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4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4015" r:id="rId4"/>
    <p:sldMasterId id="2147483965" r:id="rId5"/>
    <p:sldMasterId id="2147483990" r:id="rId6"/>
    <p:sldMasterId id="2147483648" r:id="rId7"/>
    <p:sldMasterId id="2147484067" r:id="rId8"/>
  </p:sldMasterIdLst>
  <p:notesMasterIdLst>
    <p:notesMasterId r:id="rId24"/>
  </p:notesMasterIdLst>
  <p:handoutMasterIdLst>
    <p:handoutMasterId r:id="rId25"/>
  </p:handoutMasterIdLst>
  <p:sldIdLst>
    <p:sldId id="1317" r:id="rId9"/>
    <p:sldId id="2147470116" r:id="rId10"/>
    <p:sldId id="2147475090" r:id="rId11"/>
    <p:sldId id="2147475119" r:id="rId12"/>
    <p:sldId id="2147475079" r:id="rId13"/>
    <p:sldId id="2147475120" r:id="rId14"/>
    <p:sldId id="2147475121" r:id="rId15"/>
    <p:sldId id="1182" r:id="rId16"/>
    <p:sldId id="2147475577" r:id="rId17"/>
    <p:sldId id="1210" r:id="rId18"/>
    <p:sldId id="2147475583" r:id="rId19"/>
    <p:sldId id="2147475589" r:id="rId20"/>
    <p:sldId id="2147475590" r:id="rId21"/>
    <p:sldId id="2147475578" r:id="rId22"/>
    <p:sldId id="2141413073" r:id="rId23"/>
  </p:sldIdLst>
  <p:sldSz cx="12190413" cy="6858000"/>
  <p:notesSz cx="6858000" cy="9144000"/>
  <p:embeddedFontLst>
    <p:embeddedFont>
      <p:font typeface="Calibri" panose="020F0502020204030204" pitchFamily="34" charset="0"/>
      <p:regular r:id="rId26"/>
      <p:bold r:id="rId27"/>
      <p:italic r:id="rId28"/>
      <p:boldItalic r:id="rId29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el" id="{2D98268B-63BE-4550-B527-80B7C4BF21BC}">
          <p14:sldIdLst>
            <p14:sldId id="1317"/>
            <p14:sldId id="2147470116"/>
            <p14:sldId id="2147475090"/>
            <p14:sldId id="2147475119"/>
            <p14:sldId id="2147475079"/>
            <p14:sldId id="2147475120"/>
            <p14:sldId id="2147475121"/>
            <p14:sldId id="1182"/>
            <p14:sldId id="2147475577"/>
            <p14:sldId id="1210"/>
            <p14:sldId id="2147475583"/>
            <p14:sldId id="2147475589"/>
            <p14:sldId id="2147475590"/>
            <p14:sldId id="2147475578"/>
            <p14:sldId id="2141413073"/>
          </p14:sldIdLst>
        </p14:section>
        <p14:section name="Zwischenfolie" id="{303B8327-BB84-40B2-BAEE-7B19F5B3D35E}">
          <p14:sldIdLst/>
        </p14:section>
        <p14:section name="Agenda" id="{2F2D7779-4E4A-4BF7-ACEA-A4098500D515}">
          <p14:sldIdLst/>
        </p14:section>
        <p14:section name="Text" id="{B7EC6C9E-0C95-4579-8C45-E6DB850D6253}">
          <p14:sldIdLst/>
        </p14:section>
        <p14:section name="Tabelle" id="{6F725C99-E17C-431C-857A-67C8FED3DF57}">
          <p14:sldIdLst/>
        </p14:section>
        <p14:section name="Diagramm" id="{3F6C2D72-D275-4A78-8A2C-2C092A941723}">
          <p14:sldIdLst/>
        </p14:section>
        <p14:section name="Text &amp; Bild" id="{99FF503F-D556-45F1-928F-510616335F1B}">
          <p14:sldIdLst/>
        </p14:section>
        <p14:section name="Timeline" id="{AAB3589C-20B5-4D8B-AF3C-0CA3A7FD8303}">
          <p14:sldIdLst/>
        </p14:section>
        <p14:section name="Karte" id="{DADFB0B2-422A-4F7C-B7D1-837B92116DA8}">
          <p14:sldIdLst/>
        </p14:section>
        <p14:section name="Infografik" id="{EF7F3878-8B04-4B60-BB39-6C997F46C2DB}">
          <p14:sldIdLst/>
        </p14:section>
        <p14:section name="Zitat" id="{6B041896-0486-4CB1-A7CC-F113972E7AC8}">
          <p14:sldIdLst/>
        </p14:section>
        <p14:section name="Management" id="{51E8ED8E-A7B9-4242-BB5F-AFA66A4A20D3}">
          <p14:sldIdLst/>
        </p14:section>
        <p14:section name="Kontakt" id="{05647ED4-A6B8-448A-8A0C-B6FC78FE3FC4}">
          <p14:sldIdLst/>
        </p14:section>
        <p14:section name="ICONS" id="{8271FDF2-F0A5-481C-B355-ECCE6CE04CC6}">
          <p14:sldIdLst/>
        </p14:section>
        <p14:section name="Logos" id="{C2D8D4C9-D985-4134-92EC-6BE083E8ED21}">
          <p14:sldIdLst/>
        </p14:section>
        <p14:section name="Anleitung" id="{57958B19-F717-44B5-9564-071914969E9A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ritta Böhler" initials="BB" lastIdx="1" clrIdx="0">
    <p:extLst>
      <p:ext uri="{19B8F6BF-5375-455C-9EA6-DF929625EA0E}">
        <p15:presenceInfo xmlns:p15="http://schemas.microsoft.com/office/powerpoint/2012/main" userId="Britta Böhler" providerId="None"/>
      </p:ext>
    </p:extLst>
  </p:cmAuthor>
  <p:cmAuthor id="2" name="Sylwia Tokarz" initials="ST" lastIdx="1" clrIdx="1">
    <p:extLst>
      <p:ext uri="{19B8F6BF-5375-455C-9EA6-DF929625EA0E}">
        <p15:presenceInfo xmlns:p15="http://schemas.microsoft.com/office/powerpoint/2012/main" userId="Sylwia Tokarz" providerId="None"/>
      </p:ext>
    </p:extLst>
  </p:cmAuthor>
  <p:cmAuthor id="3" name="Rostek, Matthias" initials="RM" lastIdx="2" clrIdx="2">
    <p:extLst>
      <p:ext uri="{19B8F6BF-5375-455C-9EA6-DF929625EA0E}">
        <p15:presenceInfo xmlns:p15="http://schemas.microsoft.com/office/powerpoint/2012/main" userId="S::matthias.rostek@cgm.com::9005575c-81e8-481e-a727-d4b170b71195" providerId="AD"/>
      </p:ext>
    </p:extLst>
  </p:cmAuthor>
  <p:cmAuthor id="4" name="Jansen, Daniel" initials="JD" lastIdx="2" clrIdx="3">
    <p:extLst>
      <p:ext uri="{19B8F6BF-5375-455C-9EA6-DF929625EA0E}">
        <p15:presenceInfo xmlns:p15="http://schemas.microsoft.com/office/powerpoint/2012/main" userId="S::daniel.jansen@cgm.com::8b58b83e-df9e-4f9f-816d-8e8d358763b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6"/>
    <a:srgbClr val="7F7F7F"/>
    <a:srgbClr val="0074BC"/>
    <a:srgbClr val="0064A6"/>
    <a:srgbClr val="99C7E4"/>
    <a:srgbClr val="4C9DD0"/>
    <a:srgbClr val="4C7094"/>
    <a:srgbClr val="EF7D14"/>
    <a:srgbClr val="262626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47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666" y="13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1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font" Target="fonts/font3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font" Target="fonts/font2.fntdata"/><Relationship Id="rId30" Type="http://schemas.openxmlformats.org/officeDocument/2006/relationships/commentAuthors" Target="commentAuthors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"/>
          <p:cNvSpPr>
            <a:spLocks noGrp="1"/>
          </p:cNvSpPr>
          <p:nvPr>
            <p:ph type="ftr" sz="quarter" idx="2"/>
          </p:nvPr>
        </p:nvSpPr>
        <p:spPr>
          <a:xfrm>
            <a:off x="0" y="8604000"/>
            <a:ext cx="5040000" cy="540000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/>
            </a:lvl1pPr>
          </a:lstStyle>
          <a:p>
            <a:endParaRPr lang="de-DE">
              <a:latin typeface="Calibri" panose="020F0502020204030204" pitchFamily="34" charset="0"/>
            </a:endParaRP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3"/>
          </p:nvPr>
        </p:nvSpPr>
        <p:spPr>
          <a:xfrm>
            <a:off x="5418000" y="8604000"/>
            <a:ext cx="1440000" cy="540000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/>
            </a:lvl1pPr>
          </a:lstStyle>
          <a:p>
            <a:fld id="{CD9C266D-9BF6-45DD-93F4-23D3D4380AFF}" type="slidenum">
              <a:rPr lang="de-DE" smtClean="0">
                <a:latin typeface="Calibri" panose="020F0502020204030204" pitchFamily="34" charset="0"/>
              </a:rPr>
              <a:t>‹Nr.›</a:t>
            </a:fld>
            <a:endParaRPr lang="de-DE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939925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"/>
          <p:cNvSpPr>
            <a:spLocks noGrp="1" noRot="1" noChangeAspect="1"/>
          </p:cNvSpPr>
          <p:nvPr>
            <p:ph type="sldImg" idx="2"/>
          </p:nvPr>
        </p:nvSpPr>
        <p:spPr>
          <a:xfrm>
            <a:off x="360000" y="432000"/>
            <a:ext cx="6138000" cy="3454424"/>
          </a:xfrm>
          <a:prstGeom prst="rect">
            <a:avLst/>
          </a:prstGeom>
          <a:noFill/>
          <a:ln w="12700">
            <a:solidFill>
              <a:prstClr val="black"/>
            </a:solidFill>
            <a:miter lim="800000"/>
          </a:ln>
        </p:spPr>
        <p:txBody>
          <a:bodyPr vert="horz" lIns="0" tIns="0" rIns="0" bIns="0" rtlCol="0" anchor="ctr"/>
          <a:lstStyle/>
          <a:p>
            <a:endParaRPr lang="de-DE" noProof="0"/>
          </a:p>
        </p:txBody>
      </p:sp>
      <p:sp>
        <p:nvSpPr>
          <p:cNvPr id="5" name="Notizen"/>
          <p:cNvSpPr>
            <a:spLocks noGrp="1"/>
          </p:cNvSpPr>
          <p:nvPr>
            <p:ph type="body" sz="quarter" idx="3"/>
          </p:nvPr>
        </p:nvSpPr>
        <p:spPr>
          <a:xfrm>
            <a:off x="359999" y="4248000"/>
            <a:ext cx="6138000" cy="4068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4"/>
          </p:nvPr>
        </p:nvSpPr>
        <p:spPr>
          <a:xfrm>
            <a:off x="0" y="8604000"/>
            <a:ext cx="5040000" cy="540000"/>
          </a:xfrm>
          <a:prstGeom prst="rect">
            <a:avLst/>
          </a:prstGeom>
        </p:spPr>
        <p:txBody>
          <a:bodyPr vert="horz" lIns="360000" tIns="0" rIns="0" bIns="180000" rtlCol="0" anchor="b"/>
          <a:lstStyle>
            <a:lvl1pPr algn="l">
              <a:defRPr sz="1200">
                <a:latin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5"/>
          </p:nvPr>
        </p:nvSpPr>
        <p:spPr>
          <a:xfrm>
            <a:off x="5418000" y="8604000"/>
            <a:ext cx="1440000" cy="540000"/>
          </a:xfrm>
          <a:prstGeom prst="rect">
            <a:avLst/>
          </a:prstGeom>
        </p:spPr>
        <p:txBody>
          <a:bodyPr vert="horz" lIns="0" tIns="0" rIns="360000" bIns="180000" rtlCol="0" anchor="b"/>
          <a:lstStyle>
            <a:lvl1pPr algn="r">
              <a:defRPr sz="1200">
                <a:latin typeface="Calibri" panose="020F0502020204030204" pitchFamily="34" charset="0"/>
              </a:defRPr>
            </a:lvl1pPr>
          </a:lstStyle>
          <a:p>
            <a:fld id="{92DA5471-CC57-402A-9527-36A1D012F698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8653505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">
            <a:extLst>
              <a:ext uri="{FF2B5EF4-FFF2-40B4-BE49-F238E27FC236}">
                <a16:creationId xmlns:a16="http://schemas.microsoft.com/office/drawing/2014/main" id="{D06AA6F0-F3ED-4B57-9FDE-B1A15B16DD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0413" cy="3821202"/>
          </a:xfrm>
          <a:custGeom>
            <a:avLst/>
            <a:gdLst>
              <a:gd name="connsiteX0" fmla="*/ 0 w 12190413"/>
              <a:gd name="connsiteY0" fmla="*/ 0 h 3821202"/>
              <a:gd name="connsiteX1" fmla="*/ 12190413 w 12190413"/>
              <a:gd name="connsiteY1" fmla="*/ 0 h 3821202"/>
              <a:gd name="connsiteX2" fmla="*/ 12190413 w 12190413"/>
              <a:gd name="connsiteY2" fmla="*/ 3821202 h 3821202"/>
              <a:gd name="connsiteX3" fmla="*/ 10690162 w 12190413"/>
              <a:gd name="connsiteY3" fmla="*/ 3821202 h 3821202"/>
              <a:gd name="connsiteX4" fmla="*/ 10642943 w 12190413"/>
              <a:gd name="connsiteY4" fmla="*/ 3761233 h 3821202"/>
              <a:gd name="connsiteX5" fmla="*/ 9961809 w 12190413"/>
              <a:gd name="connsiteY5" fmla="*/ 3447111 h 3821202"/>
              <a:gd name="connsiteX6" fmla="*/ 9278328 w 12190413"/>
              <a:gd name="connsiteY6" fmla="*/ 3756478 h 3821202"/>
              <a:gd name="connsiteX7" fmla="*/ 9226686 w 12190413"/>
              <a:gd name="connsiteY7" fmla="*/ 3821202 h 3821202"/>
              <a:gd name="connsiteX8" fmla="*/ 0 w 12190413"/>
              <a:gd name="connsiteY8" fmla="*/ 3821202 h 382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3821202">
                <a:moveTo>
                  <a:pt x="0" y="0"/>
                </a:moveTo>
                <a:lnTo>
                  <a:pt x="12190413" y="0"/>
                </a:lnTo>
                <a:lnTo>
                  <a:pt x="12190413" y="3821202"/>
                </a:lnTo>
                <a:lnTo>
                  <a:pt x="10690162" y="3821202"/>
                </a:lnTo>
                <a:lnTo>
                  <a:pt x="10642943" y="3761233"/>
                </a:lnTo>
                <a:cubicBezTo>
                  <a:pt x="10467138" y="3562880"/>
                  <a:pt x="10221310" y="3448078"/>
                  <a:pt x="9961809" y="3447111"/>
                </a:cubicBezTo>
                <a:cubicBezTo>
                  <a:pt x="9702156" y="3446144"/>
                  <a:pt x="9455451" y="3559243"/>
                  <a:pt x="9278328" y="3756478"/>
                </a:cubicBezTo>
                <a:lnTo>
                  <a:pt x="9226686" y="3821202"/>
                </a:lnTo>
                <a:lnTo>
                  <a:pt x="0" y="38212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42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58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8C07F86-EDDE-4BE6-A55E-0A864D6618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9310845" y="3718061"/>
            <a:ext cx="2329984" cy="1259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9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">
            <a:extLst>
              <a:ext uri="{FF2B5EF4-FFF2-40B4-BE49-F238E27FC236}">
                <a16:creationId xmlns:a16="http://schemas.microsoft.com/office/drawing/2014/main" id="{92E61FA1-2862-403F-86EF-AA46AAC539E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876166" y="-2"/>
            <a:ext cx="7314247" cy="6090146"/>
          </a:xfrm>
          <a:custGeom>
            <a:avLst/>
            <a:gdLst>
              <a:gd name="connsiteX0" fmla="*/ 0 w 7314247"/>
              <a:gd name="connsiteY0" fmla="*/ 0 h 6090146"/>
              <a:gd name="connsiteX1" fmla="*/ 7314247 w 7314247"/>
              <a:gd name="connsiteY1" fmla="*/ 0 h 6090146"/>
              <a:gd name="connsiteX2" fmla="*/ 7314247 w 7314247"/>
              <a:gd name="connsiteY2" fmla="*/ 6090146 h 6090146"/>
              <a:gd name="connsiteX3" fmla="*/ 6329725 w 7314247"/>
              <a:gd name="connsiteY3" fmla="*/ 6090146 h 6090146"/>
              <a:gd name="connsiteX4" fmla="*/ 6289777 w 7314247"/>
              <a:gd name="connsiteY4" fmla="*/ 6041729 h 6090146"/>
              <a:gd name="connsiteX5" fmla="*/ 5904810 w 7314247"/>
              <a:gd name="connsiteY5" fmla="*/ 5882270 h 6090146"/>
              <a:gd name="connsiteX6" fmla="*/ 5519843 w 7314247"/>
              <a:gd name="connsiteY6" fmla="*/ 6041729 h 6090146"/>
              <a:gd name="connsiteX7" fmla="*/ 5479895 w 7314247"/>
              <a:gd name="connsiteY7" fmla="*/ 6090146 h 6090146"/>
              <a:gd name="connsiteX8" fmla="*/ 0 w 7314247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14247" h="6090146">
                <a:moveTo>
                  <a:pt x="0" y="0"/>
                </a:moveTo>
                <a:lnTo>
                  <a:pt x="7314247" y="0"/>
                </a:lnTo>
                <a:lnTo>
                  <a:pt x="7314247" y="6090146"/>
                </a:lnTo>
                <a:lnTo>
                  <a:pt x="6329725" y="6090146"/>
                </a:lnTo>
                <a:lnTo>
                  <a:pt x="6289777" y="6041729"/>
                </a:lnTo>
                <a:cubicBezTo>
                  <a:pt x="6191255" y="5943207"/>
                  <a:pt x="6055149" y="5882270"/>
                  <a:pt x="5904810" y="5882270"/>
                </a:cubicBezTo>
                <a:cubicBezTo>
                  <a:pt x="5754471" y="5882270"/>
                  <a:pt x="5618365" y="5943207"/>
                  <a:pt x="5519843" y="6041729"/>
                </a:cubicBezTo>
                <a:lnTo>
                  <a:pt x="5479895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5" name="Nummer 1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535928" y="43180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3" name="Nummer 2">
            <a:extLst>
              <a:ext uri="{FF2B5EF4-FFF2-40B4-BE49-F238E27FC236}">
                <a16:creationId xmlns:a16="http://schemas.microsoft.com/office/drawing/2014/main" id="{EF2FD4C2-236D-4DE5-810D-A712893E31A0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 bwMode="gray">
          <a:xfrm>
            <a:off x="535928" y="131312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4" name="Nummer 3">
            <a:extLst>
              <a:ext uri="{FF2B5EF4-FFF2-40B4-BE49-F238E27FC236}">
                <a16:creationId xmlns:a16="http://schemas.microsoft.com/office/drawing/2014/main" id="{DFFDE87C-32F9-426F-99E1-5109783BBDA7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 bwMode="gray">
          <a:xfrm>
            <a:off x="535928" y="219444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5" name="Nummer 4">
            <a:extLst>
              <a:ext uri="{FF2B5EF4-FFF2-40B4-BE49-F238E27FC236}">
                <a16:creationId xmlns:a16="http://schemas.microsoft.com/office/drawing/2014/main" id="{3F625ED7-60CF-4BA9-A178-10D6E31295F4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 bwMode="gray">
          <a:xfrm>
            <a:off x="535928" y="307576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6" name="Nummer 5">
            <a:extLst>
              <a:ext uri="{FF2B5EF4-FFF2-40B4-BE49-F238E27FC236}">
                <a16:creationId xmlns:a16="http://schemas.microsoft.com/office/drawing/2014/main" id="{0B199BDB-698C-4275-A418-81445519D09B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 bwMode="gray">
          <a:xfrm>
            <a:off x="535928" y="395708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7" name="Nummer 6">
            <a:extLst>
              <a:ext uri="{FF2B5EF4-FFF2-40B4-BE49-F238E27FC236}">
                <a16:creationId xmlns:a16="http://schemas.microsoft.com/office/drawing/2014/main" id="{7BCECF30-290C-4651-84F9-2D35E59D0547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 bwMode="gray">
          <a:xfrm>
            <a:off x="535928" y="483840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620000" y="43180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28" name="Text 2">
            <a:extLst>
              <a:ext uri="{FF2B5EF4-FFF2-40B4-BE49-F238E27FC236}">
                <a16:creationId xmlns:a16="http://schemas.microsoft.com/office/drawing/2014/main" id="{910FB161-DAF6-46CB-8B48-635723402D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620000" y="131312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29" name="Text 3">
            <a:extLst>
              <a:ext uri="{FF2B5EF4-FFF2-40B4-BE49-F238E27FC236}">
                <a16:creationId xmlns:a16="http://schemas.microsoft.com/office/drawing/2014/main" id="{66EEA9CE-413D-4C2F-820A-6F2AADB4877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620000" y="219444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30" name="Text 4">
            <a:extLst>
              <a:ext uri="{FF2B5EF4-FFF2-40B4-BE49-F238E27FC236}">
                <a16:creationId xmlns:a16="http://schemas.microsoft.com/office/drawing/2014/main" id="{347757E6-AC96-44FC-AA1D-59BEAC3DAC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620000" y="307576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1AAD64B7-E970-4016-83E8-AFAE5C20F6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620000" y="395708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218BE1F3-3B20-49A3-A628-2FFCFA1A3C1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620000" y="483840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21" name="Form">
            <a:extLst>
              <a:ext uri="{FF2B5EF4-FFF2-40B4-BE49-F238E27FC236}">
                <a16:creationId xmlns:a16="http://schemas.microsoft.com/office/drawing/2014/main" id="{AC7B29B8-D37B-4C42-83DA-A8A032AE3CB1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3C1C7C95-AD6C-42C4-95B6-BA8671C37F9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51937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9997B8F-FA8F-40D6-BEF8-71DAF93C7113}"/>
              </a:ext>
            </a:extLst>
          </p:cNvPr>
          <p:cNvSpPr/>
          <p:nvPr userDrawn="1"/>
        </p:nvSpPr>
        <p:spPr bwMode="gray">
          <a:xfrm>
            <a:off x="0" y="1484313"/>
            <a:ext cx="12190413" cy="537368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D072958-08D5-4C95-ADDE-5FBD28FF45CC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222889F-3A04-4F2A-8D08-9D208D238F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2" name="Titel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616ADD7-91FC-4773-9301-5FB7DA6856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E24A3984-5DC1-449A-A589-0574453B77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08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F416D0C-C2A9-4AB8-A2B6-A3452CE46723}"/>
              </a:ext>
            </a:extLst>
          </p:cNvPr>
          <p:cNvSpPr/>
          <p:nvPr userDrawn="1"/>
        </p:nvSpPr>
        <p:spPr bwMode="gray">
          <a:xfrm>
            <a:off x="0" y="0"/>
            <a:ext cx="1219041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EA8E8765-ECAF-451A-9BAF-5B12BD9D9C2E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1F94CBBE-6BA0-4E55-A373-89F791B44E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99B5536F-DECE-4533-8A22-5A1A7045497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40000" y="1512000"/>
            <a:ext cx="11109600" cy="429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4719EF-2C76-4211-9F1C-33B44AD6FE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5F5ECD-2C1B-47E4-A69A-75456C76D5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9A4A902-EEE8-483E-8E0D-C78EADD53E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8490A94-C00A-4944-8F97-42A950885AD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D238C70-E118-4ABD-9261-183F6C2055B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567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F416D0C-C2A9-4AB8-A2B6-A3452CE46723}"/>
              </a:ext>
            </a:extLst>
          </p:cNvPr>
          <p:cNvSpPr/>
          <p:nvPr userDrawn="1"/>
        </p:nvSpPr>
        <p:spPr bwMode="gray">
          <a:xfrm>
            <a:off x="0" y="0"/>
            <a:ext cx="1219041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EA8E8765-ECAF-451A-9BAF-5B12BD9D9C2E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1F94CBBE-6BA0-4E55-A373-89F791B44E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14719EF-2C76-4211-9F1C-33B44AD6FE6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F5F5ECD-2C1B-47E4-A69A-75456C76D5A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09A4A902-EEE8-483E-8E0D-C78EADD53E9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8490A94-C00A-4944-8F97-42A950885AD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8D238C70-E118-4ABD-9261-183F6C2055B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Bildplatzhalter 5">
            <a:extLst>
              <a:ext uri="{FF2B5EF4-FFF2-40B4-BE49-F238E27FC236}">
                <a16:creationId xmlns:a16="http://schemas.microsoft.com/office/drawing/2014/main" id="{4E614882-AE97-4B91-9C58-0227FAB3856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445991" y="1911004"/>
            <a:ext cx="3307260" cy="330913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6492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Bild_Tex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/>
          </a:p>
        </p:txBody>
      </p:sp>
      <p:sp>
        <p:nvSpPr>
          <p:cNvPr id="14" name="Text 1"/>
          <p:cNvSpPr>
            <a:spLocks noGrp="1"/>
          </p:cNvSpPr>
          <p:nvPr>
            <p:ph type="body" sz="quarter" idx="41"/>
          </p:nvPr>
        </p:nvSpPr>
        <p:spPr bwMode="invGray">
          <a:xfrm>
            <a:off x="539999" y="2689125"/>
            <a:ext cx="3276000" cy="1597561"/>
          </a:xfrm>
        </p:spPr>
        <p:txBody>
          <a:bodyPr rIns="0" anchor="ctr"/>
          <a:lstStyle>
            <a:lvl1pPr marL="0" indent="0" algn="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626050" y="2057962"/>
            <a:ext cx="2844000" cy="28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20" name="Text 2"/>
          <p:cNvSpPr>
            <a:spLocks noGrp="1"/>
          </p:cNvSpPr>
          <p:nvPr>
            <p:ph type="body" sz="quarter" idx="42"/>
          </p:nvPr>
        </p:nvSpPr>
        <p:spPr bwMode="invGray">
          <a:xfrm>
            <a:off x="8371488" y="2689125"/>
            <a:ext cx="3276000" cy="1597561"/>
          </a:xfrm>
        </p:spPr>
        <p:txBody>
          <a:bodyPr lIns="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  <a:endParaRPr lang="en-US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A0CA542F-04F5-4533-AD2C-91B1FCB94C4F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cxnSp>
        <p:nvCxnSpPr>
          <p:cNvPr id="17" name="Linie">
            <a:extLst>
              <a:ext uri="{FF2B5EF4-FFF2-40B4-BE49-F238E27FC236}">
                <a16:creationId xmlns:a16="http://schemas.microsoft.com/office/drawing/2014/main" id="{F4633EB3-A2D2-4185-B3AB-7CC2F1AD4D9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3911604" y="3478294"/>
            <a:ext cx="600484" cy="3337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Kreis">
            <a:extLst>
              <a:ext uri="{FF2B5EF4-FFF2-40B4-BE49-F238E27FC236}">
                <a16:creationId xmlns:a16="http://schemas.microsoft.com/office/drawing/2014/main" id="{BBC32666-3C59-42DB-96D1-13AFAF54875A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512088" y="1944000"/>
            <a:ext cx="3071924" cy="307192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cxnSp>
        <p:nvCxnSpPr>
          <p:cNvPr id="22" name="Linie">
            <a:extLst>
              <a:ext uri="{FF2B5EF4-FFF2-40B4-BE49-F238E27FC236}">
                <a16:creationId xmlns:a16="http://schemas.microsoft.com/office/drawing/2014/main" id="{C762BAAA-22E3-4E53-B214-63DF9DF1FEEF}"/>
              </a:ext>
            </a:extLst>
          </p:cNvPr>
          <p:cNvCxnSpPr/>
          <p:nvPr userDrawn="1"/>
        </p:nvCxnSpPr>
        <p:spPr bwMode="gray">
          <a:xfrm>
            <a:off x="7584012" y="3479962"/>
            <a:ext cx="684000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1685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Weltka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A579F8AC-3FFD-4BF6-AA94-DDAA694FEAE4}"/>
              </a:ext>
            </a:extLst>
          </p:cNvPr>
          <p:cNvSpPr/>
          <p:nvPr userDrawn="1"/>
        </p:nvSpPr>
        <p:spPr bwMode="gray">
          <a:xfrm>
            <a:off x="0" y="0"/>
            <a:ext cx="12190413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92AC9175-CA54-494A-ABA0-2C646F10A4F4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BA0A3CC-95C6-4D9F-BD57-9F9A6F3144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7" name="Weltkarte">
            <a:extLst>
              <a:ext uri="{FF2B5EF4-FFF2-40B4-BE49-F238E27FC236}">
                <a16:creationId xmlns:a16="http://schemas.microsoft.com/office/drawing/2014/main" id="{A4477C10-B2A8-4541-BCA5-CD24548967F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709541" y="1282173"/>
            <a:ext cx="9504000" cy="4635395"/>
          </a:xfrm>
          <a:custGeom>
            <a:avLst/>
            <a:gdLst>
              <a:gd name="T0" fmla="*/ 2629 w 3071"/>
              <a:gd name="T1" fmla="*/ 937 h 1498"/>
              <a:gd name="T2" fmla="*/ 2624 w 3071"/>
              <a:gd name="T3" fmla="*/ 809 h 1498"/>
              <a:gd name="T4" fmla="*/ 2682 w 3071"/>
              <a:gd name="T5" fmla="*/ 915 h 1498"/>
              <a:gd name="T6" fmla="*/ 2547 w 3071"/>
              <a:gd name="T7" fmla="*/ 953 h 1498"/>
              <a:gd name="T8" fmla="*/ 2461 w 3071"/>
              <a:gd name="T9" fmla="*/ 919 h 1498"/>
              <a:gd name="T10" fmla="*/ 2747 w 3071"/>
              <a:gd name="T11" fmla="*/ 1052 h 1498"/>
              <a:gd name="T12" fmla="*/ 2583 w 3071"/>
              <a:gd name="T13" fmla="*/ 1255 h 1498"/>
              <a:gd name="T14" fmla="*/ 2387 w 3071"/>
              <a:gd name="T15" fmla="*/ 878 h 1498"/>
              <a:gd name="T16" fmla="*/ 2948 w 3071"/>
              <a:gd name="T17" fmla="*/ 1383 h 1498"/>
              <a:gd name="T18" fmla="*/ 1378 w 3071"/>
              <a:gd name="T19" fmla="*/ 255 h 1498"/>
              <a:gd name="T20" fmla="*/ 1659 w 3071"/>
              <a:gd name="T21" fmla="*/ 449 h 1498"/>
              <a:gd name="T22" fmla="*/ 1415 w 3071"/>
              <a:gd name="T23" fmla="*/ 257 h 1498"/>
              <a:gd name="T24" fmla="*/ 1829 w 3071"/>
              <a:gd name="T25" fmla="*/ 60 h 1498"/>
              <a:gd name="T26" fmla="*/ 1433 w 3071"/>
              <a:gd name="T27" fmla="*/ 438 h 1498"/>
              <a:gd name="T28" fmla="*/ 183 w 3071"/>
              <a:gd name="T29" fmla="*/ 237 h 1498"/>
              <a:gd name="T30" fmla="*/ 623 w 3071"/>
              <a:gd name="T31" fmla="*/ 92 h 1498"/>
              <a:gd name="T32" fmla="*/ 765 w 3071"/>
              <a:gd name="T33" fmla="*/ 95 h 1498"/>
              <a:gd name="T34" fmla="*/ 650 w 3071"/>
              <a:gd name="T35" fmla="*/ 65 h 1498"/>
              <a:gd name="T36" fmla="*/ 890 w 3071"/>
              <a:gd name="T37" fmla="*/ 182 h 1498"/>
              <a:gd name="T38" fmla="*/ 1040 w 3071"/>
              <a:gd name="T39" fmla="*/ 15 h 1498"/>
              <a:gd name="T40" fmla="*/ 1280 w 3071"/>
              <a:gd name="T41" fmla="*/ 82 h 1498"/>
              <a:gd name="T42" fmla="*/ 986 w 3071"/>
              <a:gd name="T43" fmla="*/ 48 h 1498"/>
              <a:gd name="T44" fmla="*/ 1077 w 3071"/>
              <a:gd name="T45" fmla="*/ 200 h 1498"/>
              <a:gd name="T46" fmla="*/ 329 w 3071"/>
              <a:gd name="T47" fmla="*/ 266 h 1498"/>
              <a:gd name="T48" fmla="*/ 908 w 3071"/>
              <a:gd name="T49" fmla="*/ 878 h 1498"/>
              <a:gd name="T50" fmla="*/ 1059 w 3071"/>
              <a:gd name="T51" fmla="*/ 935 h 1498"/>
              <a:gd name="T52" fmla="*/ 650 w 3071"/>
              <a:gd name="T53" fmla="*/ 785 h 1498"/>
              <a:gd name="T54" fmla="*/ 571 w 3071"/>
              <a:gd name="T55" fmla="*/ 536 h 1498"/>
              <a:gd name="T56" fmla="*/ 846 w 3071"/>
              <a:gd name="T57" fmla="*/ 370 h 1498"/>
              <a:gd name="T58" fmla="*/ 882 w 3071"/>
              <a:gd name="T59" fmla="*/ 203 h 1498"/>
              <a:gd name="T60" fmla="*/ 761 w 3071"/>
              <a:gd name="T61" fmla="*/ 106 h 1498"/>
              <a:gd name="T62" fmla="*/ 190 w 3071"/>
              <a:gd name="T63" fmla="*/ 165 h 1498"/>
              <a:gd name="T64" fmla="*/ 294 w 3071"/>
              <a:gd name="T65" fmla="*/ 210 h 1498"/>
              <a:gd name="T66" fmla="*/ 312 w 3071"/>
              <a:gd name="T67" fmla="*/ 536 h 1498"/>
              <a:gd name="T68" fmla="*/ 645 w 3071"/>
              <a:gd name="T69" fmla="*/ 814 h 1498"/>
              <a:gd name="T70" fmla="*/ 761 w 3071"/>
              <a:gd name="T71" fmla="*/ 1395 h 1498"/>
              <a:gd name="T72" fmla="*/ 887 w 3071"/>
              <a:gd name="T73" fmla="*/ 1307 h 1498"/>
              <a:gd name="T74" fmla="*/ 634 w 3071"/>
              <a:gd name="T75" fmla="*/ 384 h 1498"/>
              <a:gd name="T76" fmla="*/ 604 w 3071"/>
              <a:gd name="T77" fmla="*/ 286 h 1498"/>
              <a:gd name="T78" fmla="*/ 759 w 3071"/>
              <a:gd name="T79" fmla="*/ 1370 h 1498"/>
              <a:gd name="T80" fmla="*/ 1654 w 3071"/>
              <a:gd name="T81" fmla="*/ 426 h 1498"/>
              <a:gd name="T82" fmla="*/ 2428 w 3071"/>
              <a:gd name="T83" fmla="*/ 63 h 1498"/>
              <a:gd name="T84" fmla="*/ 2628 w 3071"/>
              <a:gd name="T85" fmla="*/ 294 h 1498"/>
              <a:gd name="T86" fmla="*/ 2448 w 3071"/>
              <a:gd name="T87" fmla="*/ 780 h 1498"/>
              <a:gd name="T88" fmla="*/ 2558 w 3071"/>
              <a:gd name="T89" fmla="*/ 427 h 1498"/>
              <a:gd name="T90" fmla="*/ 2670 w 3071"/>
              <a:gd name="T91" fmla="*/ 219 h 1498"/>
              <a:gd name="T92" fmla="*/ 2813 w 3071"/>
              <a:gd name="T93" fmla="*/ 144 h 1498"/>
              <a:gd name="T94" fmla="*/ 2186 w 3071"/>
              <a:gd name="T95" fmla="*/ 83 h 1498"/>
              <a:gd name="T96" fmla="*/ 1934 w 3071"/>
              <a:gd name="T97" fmla="*/ 126 h 1498"/>
              <a:gd name="T98" fmla="*/ 1560 w 3071"/>
              <a:gd name="T99" fmla="*/ 124 h 1498"/>
              <a:gd name="T100" fmla="*/ 1562 w 3071"/>
              <a:gd name="T101" fmla="*/ 228 h 1498"/>
              <a:gd name="T102" fmla="*/ 1502 w 3071"/>
              <a:gd name="T103" fmla="*/ 269 h 1498"/>
              <a:gd name="T104" fmla="*/ 1515 w 3071"/>
              <a:gd name="T105" fmla="*/ 391 h 1498"/>
              <a:gd name="T106" fmla="*/ 1752 w 3071"/>
              <a:gd name="T107" fmla="*/ 472 h 1498"/>
              <a:gd name="T108" fmla="*/ 1252 w 3071"/>
              <a:gd name="T109" fmla="*/ 626 h 1498"/>
              <a:gd name="T110" fmla="*/ 1498 w 3071"/>
              <a:gd name="T111" fmla="*/ 885 h 1498"/>
              <a:gd name="T112" fmla="*/ 1805 w 3071"/>
              <a:gd name="T113" fmla="*/ 989 h 1498"/>
              <a:gd name="T114" fmla="*/ 1957 w 3071"/>
              <a:gd name="T115" fmla="*/ 674 h 1498"/>
              <a:gd name="T116" fmla="*/ 2200 w 3071"/>
              <a:gd name="T117" fmla="*/ 717 h 1498"/>
              <a:gd name="T118" fmla="*/ 1755 w 3071"/>
              <a:gd name="T119" fmla="*/ 882 h 1498"/>
              <a:gd name="T120" fmla="*/ 1835 w 3071"/>
              <a:gd name="T121" fmla="*/ 313 h 1498"/>
              <a:gd name="T122" fmla="*/ 1906 w 3071"/>
              <a:gd name="T123" fmla="*/ 434 h 1498"/>
              <a:gd name="T124" fmla="*/ 2656 w 3071"/>
              <a:gd name="T125" fmla="*/ 500 h 1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71" h="1498">
                <a:moveTo>
                  <a:pt x="2691" y="854"/>
                </a:moveTo>
                <a:cubicBezTo>
                  <a:pt x="2694" y="851"/>
                  <a:pt x="2693" y="850"/>
                  <a:pt x="2690" y="849"/>
                </a:cubicBezTo>
                <a:cubicBezTo>
                  <a:pt x="2688" y="848"/>
                  <a:pt x="2687" y="849"/>
                  <a:pt x="2687" y="849"/>
                </a:cubicBezTo>
                <a:cubicBezTo>
                  <a:pt x="2687" y="849"/>
                  <a:pt x="2690" y="855"/>
                  <a:pt x="2691" y="854"/>
                </a:cubicBezTo>
                <a:close/>
                <a:moveTo>
                  <a:pt x="2678" y="874"/>
                </a:moveTo>
                <a:cubicBezTo>
                  <a:pt x="2678" y="876"/>
                  <a:pt x="2676" y="878"/>
                  <a:pt x="2678" y="880"/>
                </a:cubicBezTo>
                <a:cubicBezTo>
                  <a:pt x="2679" y="881"/>
                  <a:pt x="2687" y="888"/>
                  <a:pt x="2689" y="888"/>
                </a:cubicBezTo>
                <a:cubicBezTo>
                  <a:pt x="2691" y="887"/>
                  <a:pt x="2689" y="884"/>
                  <a:pt x="2687" y="883"/>
                </a:cubicBezTo>
                <a:cubicBezTo>
                  <a:pt x="2685" y="882"/>
                  <a:pt x="2683" y="879"/>
                  <a:pt x="2685" y="877"/>
                </a:cubicBezTo>
                <a:cubicBezTo>
                  <a:pt x="2688" y="875"/>
                  <a:pt x="2692" y="877"/>
                  <a:pt x="2692" y="877"/>
                </a:cubicBezTo>
                <a:cubicBezTo>
                  <a:pt x="2694" y="876"/>
                  <a:pt x="2694" y="876"/>
                  <a:pt x="2694" y="876"/>
                </a:cubicBezTo>
                <a:cubicBezTo>
                  <a:pt x="2690" y="873"/>
                  <a:pt x="2690" y="873"/>
                  <a:pt x="2690" y="873"/>
                </a:cubicBezTo>
                <a:cubicBezTo>
                  <a:pt x="2690" y="873"/>
                  <a:pt x="2693" y="872"/>
                  <a:pt x="2694" y="869"/>
                </a:cubicBezTo>
                <a:cubicBezTo>
                  <a:pt x="2694" y="867"/>
                  <a:pt x="2691" y="865"/>
                  <a:pt x="2689" y="865"/>
                </a:cubicBezTo>
                <a:cubicBezTo>
                  <a:pt x="2687" y="865"/>
                  <a:pt x="2685" y="870"/>
                  <a:pt x="2682" y="871"/>
                </a:cubicBezTo>
                <a:cubicBezTo>
                  <a:pt x="2680" y="871"/>
                  <a:pt x="2680" y="865"/>
                  <a:pt x="2680" y="865"/>
                </a:cubicBezTo>
                <a:cubicBezTo>
                  <a:pt x="2680" y="865"/>
                  <a:pt x="2683" y="863"/>
                  <a:pt x="2683" y="861"/>
                </a:cubicBezTo>
                <a:cubicBezTo>
                  <a:pt x="2684" y="858"/>
                  <a:pt x="2683" y="857"/>
                  <a:pt x="2683" y="857"/>
                </a:cubicBezTo>
                <a:cubicBezTo>
                  <a:pt x="2684" y="852"/>
                  <a:pt x="2684" y="852"/>
                  <a:pt x="2684" y="852"/>
                </a:cubicBezTo>
                <a:cubicBezTo>
                  <a:pt x="2679" y="857"/>
                  <a:pt x="2679" y="857"/>
                  <a:pt x="2679" y="857"/>
                </a:cubicBezTo>
                <a:cubicBezTo>
                  <a:pt x="2679" y="861"/>
                  <a:pt x="2679" y="861"/>
                  <a:pt x="2679" y="861"/>
                </a:cubicBezTo>
                <a:cubicBezTo>
                  <a:pt x="2679" y="861"/>
                  <a:pt x="2674" y="863"/>
                  <a:pt x="2674" y="868"/>
                </a:cubicBezTo>
                <a:cubicBezTo>
                  <a:pt x="2675" y="872"/>
                  <a:pt x="2677" y="872"/>
                  <a:pt x="2678" y="874"/>
                </a:cubicBezTo>
                <a:close/>
                <a:moveTo>
                  <a:pt x="2683" y="895"/>
                </a:moveTo>
                <a:cubicBezTo>
                  <a:pt x="2681" y="893"/>
                  <a:pt x="2677" y="890"/>
                  <a:pt x="2677" y="890"/>
                </a:cubicBezTo>
                <a:cubicBezTo>
                  <a:pt x="2677" y="897"/>
                  <a:pt x="2677" y="897"/>
                  <a:pt x="2677" y="897"/>
                </a:cubicBezTo>
                <a:cubicBezTo>
                  <a:pt x="2679" y="898"/>
                  <a:pt x="2685" y="898"/>
                  <a:pt x="2683" y="895"/>
                </a:cubicBezTo>
                <a:close/>
                <a:moveTo>
                  <a:pt x="2700" y="905"/>
                </a:moveTo>
                <a:cubicBezTo>
                  <a:pt x="2705" y="903"/>
                  <a:pt x="2705" y="899"/>
                  <a:pt x="2705" y="899"/>
                </a:cubicBezTo>
                <a:cubicBezTo>
                  <a:pt x="2695" y="899"/>
                  <a:pt x="2695" y="899"/>
                  <a:pt x="2695" y="899"/>
                </a:cubicBezTo>
                <a:cubicBezTo>
                  <a:pt x="2695" y="899"/>
                  <a:pt x="2696" y="907"/>
                  <a:pt x="2700" y="905"/>
                </a:cubicBezTo>
                <a:close/>
                <a:moveTo>
                  <a:pt x="2635" y="995"/>
                </a:moveTo>
                <a:cubicBezTo>
                  <a:pt x="2638" y="997"/>
                  <a:pt x="2646" y="989"/>
                  <a:pt x="2649" y="986"/>
                </a:cubicBezTo>
                <a:cubicBezTo>
                  <a:pt x="2650" y="986"/>
                  <a:pt x="2650" y="985"/>
                  <a:pt x="2650" y="985"/>
                </a:cubicBezTo>
                <a:cubicBezTo>
                  <a:pt x="2652" y="985"/>
                  <a:pt x="2652" y="985"/>
                  <a:pt x="2652" y="985"/>
                </a:cubicBezTo>
                <a:cubicBezTo>
                  <a:pt x="2657" y="981"/>
                  <a:pt x="2657" y="981"/>
                  <a:pt x="2657" y="981"/>
                </a:cubicBezTo>
                <a:cubicBezTo>
                  <a:pt x="2657" y="981"/>
                  <a:pt x="2659" y="983"/>
                  <a:pt x="2662" y="983"/>
                </a:cubicBezTo>
                <a:cubicBezTo>
                  <a:pt x="2664" y="982"/>
                  <a:pt x="2674" y="972"/>
                  <a:pt x="2674" y="972"/>
                </a:cubicBezTo>
                <a:cubicBezTo>
                  <a:pt x="2670" y="970"/>
                  <a:pt x="2670" y="970"/>
                  <a:pt x="2670" y="970"/>
                </a:cubicBezTo>
                <a:cubicBezTo>
                  <a:pt x="2667" y="973"/>
                  <a:pt x="2667" y="973"/>
                  <a:pt x="2667" y="973"/>
                </a:cubicBezTo>
                <a:cubicBezTo>
                  <a:pt x="2667" y="973"/>
                  <a:pt x="2658" y="973"/>
                  <a:pt x="2656" y="973"/>
                </a:cubicBezTo>
                <a:cubicBezTo>
                  <a:pt x="2654" y="973"/>
                  <a:pt x="2652" y="977"/>
                  <a:pt x="2652" y="977"/>
                </a:cubicBezTo>
                <a:cubicBezTo>
                  <a:pt x="2652" y="977"/>
                  <a:pt x="2651" y="977"/>
                  <a:pt x="2649" y="977"/>
                </a:cubicBezTo>
                <a:cubicBezTo>
                  <a:pt x="2649" y="977"/>
                  <a:pt x="2649" y="977"/>
                  <a:pt x="2649" y="977"/>
                </a:cubicBezTo>
                <a:cubicBezTo>
                  <a:pt x="2648" y="977"/>
                  <a:pt x="2647" y="978"/>
                  <a:pt x="2646" y="978"/>
                </a:cubicBezTo>
                <a:cubicBezTo>
                  <a:pt x="2645" y="979"/>
                  <a:pt x="2644" y="980"/>
                  <a:pt x="2644" y="980"/>
                </a:cubicBezTo>
                <a:cubicBezTo>
                  <a:pt x="2644" y="980"/>
                  <a:pt x="2644" y="980"/>
                  <a:pt x="2644" y="980"/>
                </a:cubicBezTo>
                <a:cubicBezTo>
                  <a:pt x="2641" y="980"/>
                  <a:pt x="2641" y="980"/>
                  <a:pt x="2641" y="980"/>
                </a:cubicBezTo>
                <a:cubicBezTo>
                  <a:pt x="2638" y="982"/>
                  <a:pt x="2638" y="982"/>
                  <a:pt x="2638" y="982"/>
                </a:cubicBezTo>
                <a:cubicBezTo>
                  <a:pt x="2639" y="984"/>
                  <a:pt x="2639" y="984"/>
                  <a:pt x="2639" y="984"/>
                </a:cubicBezTo>
                <a:cubicBezTo>
                  <a:pt x="2639" y="984"/>
                  <a:pt x="2639" y="984"/>
                  <a:pt x="2639" y="985"/>
                </a:cubicBezTo>
                <a:cubicBezTo>
                  <a:pt x="2636" y="987"/>
                  <a:pt x="2631" y="992"/>
                  <a:pt x="2635" y="995"/>
                </a:cubicBezTo>
                <a:close/>
                <a:moveTo>
                  <a:pt x="2609" y="943"/>
                </a:moveTo>
                <a:cubicBezTo>
                  <a:pt x="2605" y="950"/>
                  <a:pt x="2605" y="950"/>
                  <a:pt x="2605" y="950"/>
                </a:cubicBezTo>
                <a:cubicBezTo>
                  <a:pt x="2608" y="950"/>
                  <a:pt x="2608" y="950"/>
                  <a:pt x="2608" y="950"/>
                </a:cubicBezTo>
                <a:cubicBezTo>
                  <a:pt x="2610" y="946"/>
                  <a:pt x="2610" y="946"/>
                  <a:pt x="2610" y="946"/>
                </a:cubicBezTo>
                <a:cubicBezTo>
                  <a:pt x="2609" y="943"/>
                  <a:pt x="2609" y="943"/>
                  <a:pt x="2609" y="943"/>
                </a:cubicBezTo>
                <a:cubicBezTo>
                  <a:pt x="2609" y="943"/>
                  <a:pt x="2609" y="943"/>
                  <a:pt x="2609" y="943"/>
                </a:cubicBezTo>
                <a:close/>
                <a:moveTo>
                  <a:pt x="2609" y="976"/>
                </a:moveTo>
                <a:cubicBezTo>
                  <a:pt x="2622" y="976"/>
                  <a:pt x="2622" y="976"/>
                  <a:pt x="2622" y="976"/>
                </a:cubicBezTo>
                <a:cubicBezTo>
                  <a:pt x="2628" y="975"/>
                  <a:pt x="2628" y="975"/>
                  <a:pt x="2628" y="975"/>
                </a:cubicBezTo>
                <a:cubicBezTo>
                  <a:pt x="2634" y="970"/>
                  <a:pt x="2634" y="970"/>
                  <a:pt x="2634" y="970"/>
                </a:cubicBezTo>
                <a:cubicBezTo>
                  <a:pt x="2634" y="968"/>
                  <a:pt x="2634" y="968"/>
                  <a:pt x="2634" y="968"/>
                </a:cubicBezTo>
                <a:cubicBezTo>
                  <a:pt x="2629" y="970"/>
                  <a:pt x="2629" y="970"/>
                  <a:pt x="2629" y="970"/>
                </a:cubicBezTo>
                <a:cubicBezTo>
                  <a:pt x="2625" y="974"/>
                  <a:pt x="2625" y="974"/>
                  <a:pt x="2625" y="974"/>
                </a:cubicBezTo>
                <a:cubicBezTo>
                  <a:pt x="2625" y="974"/>
                  <a:pt x="2623" y="971"/>
                  <a:pt x="2621" y="971"/>
                </a:cubicBezTo>
                <a:cubicBezTo>
                  <a:pt x="2619" y="972"/>
                  <a:pt x="2616" y="974"/>
                  <a:pt x="2616" y="974"/>
                </a:cubicBezTo>
                <a:cubicBezTo>
                  <a:pt x="2616" y="974"/>
                  <a:pt x="2614" y="969"/>
                  <a:pt x="2610" y="970"/>
                </a:cubicBezTo>
                <a:cubicBezTo>
                  <a:pt x="2607" y="970"/>
                  <a:pt x="2602" y="976"/>
                  <a:pt x="2602" y="976"/>
                </a:cubicBezTo>
                <a:cubicBezTo>
                  <a:pt x="2597" y="975"/>
                  <a:pt x="2597" y="975"/>
                  <a:pt x="2597" y="975"/>
                </a:cubicBezTo>
                <a:cubicBezTo>
                  <a:pt x="2596" y="978"/>
                  <a:pt x="2596" y="978"/>
                  <a:pt x="2596" y="978"/>
                </a:cubicBezTo>
                <a:cubicBezTo>
                  <a:pt x="2599" y="977"/>
                  <a:pt x="2599" y="977"/>
                  <a:pt x="2599" y="977"/>
                </a:cubicBezTo>
                <a:cubicBezTo>
                  <a:pt x="2599" y="977"/>
                  <a:pt x="2601" y="978"/>
                  <a:pt x="2604" y="979"/>
                </a:cubicBezTo>
                <a:cubicBezTo>
                  <a:pt x="2606" y="980"/>
                  <a:pt x="2609" y="976"/>
                  <a:pt x="2609" y="976"/>
                </a:cubicBezTo>
                <a:close/>
                <a:moveTo>
                  <a:pt x="2636" y="933"/>
                </a:moveTo>
                <a:cubicBezTo>
                  <a:pt x="2636" y="930"/>
                  <a:pt x="2635" y="927"/>
                  <a:pt x="2635" y="927"/>
                </a:cubicBezTo>
                <a:cubicBezTo>
                  <a:pt x="2635" y="927"/>
                  <a:pt x="2627" y="921"/>
                  <a:pt x="2627" y="918"/>
                </a:cubicBezTo>
                <a:cubicBezTo>
                  <a:pt x="2628" y="916"/>
                  <a:pt x="2632" y="913"/>
                  <a:pt x="2629" y="911"/>
                </a:cubicBezTo>
                <a:cubicBezTo>
                  <a:pt x="2627" y="909"/>
                  <a:pt x="2625" y="908"/>
                  <a:pt x="2625" y="906"/>
                </a:cubicBezTo>
                <a:cubicBezTo>
                  <a:pt x="2625" y="904"/>
                  <a:pt x="2628" y="900"/>
                  <a:pt x="2625" y="899"/>
                </a:cubicBezTo>
                <a:cubicBezTo>
                  <a:pt x="2622" y="898"/>
                  <a:pt x="2618" y="895"/>
                  <a:pt x="2618" y="895"/>
                </a:cubicBezTo>
                <a:cubicBezTo>
                  <a:pt x="2618" y="895"/>
                  <a:pt x="2622" y="896"/>
                  <a:pt x="2624" y="894"/>
                </a:cubicBezTo>
                <a:cubicBezTo>
                  <a:pt x="2626" y="892"/>
                  <a:pt x="2628" y="887"/>
                  <a:pt x="2628" y="887"/>
                </a:cubicBezTo>
                <a:cubicBezTo>
                  <a:pt x="2628" y="887"/>
                  <a:pt x="2637" y="888"/>
                  <a:pt x="2637" y="886"/>
                </a:cubicBezTo>
                <a:cubicBezTo>
                  <a:pt x="2637" y="884"/>
                  <a:pt x="2635" y="881"/>
                  <a:pt x="2633" y="881"/>
                </a:cubicBezTo>
                <a:cubicBezTo>
                  <a:pt x="2630" y="881"/>
                  <a:pt x="2629" y="884"/>
                  <a:pt x="2629" y="884"/>
                </a:cubicBezTo>
                <a:cubicBezTo>
                  <a:pt x="2629" y="884"/>
                  <a:pt x="2623" y="883"/>
                  <a:pt x="2620" y="884"/>
                </a:cubicBezTo>
                <a:cubicBezTo>
                  <a:pt x="2618" y="884"/>
                  <a:pt x="2617" y="890"/>
                  <a:pt x="2614" y="890"/>
                </a:cubicBezTo>
                <a:cubicBezTo>
                  <a:pt x="2612" y="890"/>
                  <a:pt x="2612" y="886"/>
                  <a:pt x="2608" y="884"/>
                </a:cubicBezTo>
                <a:cubicBezTo>
                  <a:pt x="2605" y="882"/>
                  <a:pt x="2603" y="883"/>
                  <a:pt x="2603" y="883"/>
                </a:cubicBezTo>
                <a:cubicBezTo>
                  <a:pt x="2603" y="883"/>
                  <a:pt x="2604" y="870"/>
                  <a:pt x="2608" y="870"/>
                </a:cubicBezTo>
                <a:cubicBezTo>
                  <a:pt x="2611" y="870"/>
                  <a:pt x="2617" y="872"/>
                  <a:pt x="2620" y="871"/>
                </a:cubicBezTo>
                <a:cubicBezTo>
                  <a:pt x="2623" y="871"/>
                  <a:pt x="2621" y="868"/>
                  <a:pt x="2623" y="869"/>
                </a:cubicBezTo>
                <a:cubicBezTo>
                  <a:pt x="2626" y="869"/>
                  <a:pt x="2637" y="874"/>
                  <a:pt x="2639" y="875"/>
                </a:cubicBezTo>
                <a:cubicBezTo>
                  <a:pt x="2641" y="875"/>
                  <a:pt x="2642" y="873"/>
                  <a:pt x="2643" y="872"/>
                </a:cubicBezTo>
                <a:cubicBezTo>
                  <a:pt x="2645" y="871"/>
                  <a:pt x="2647" y="872"/>
                  <a:pt x="2649" y="871"/>
                </a:cubicBezTo>
                <a:cubicBezTo>
                  <a:pt x="2651" y="870"/>
                  <a:pt x="2649" y="869"/>
                  <a:pt x="2651" y="867"/>
                </a:cubicBezTo>
                <a:cubicBezTo>
                  <a:pt x="2652" y="865"/>
                  <a:pt x="2657" y="863"/>
                  <a:pt x="2657" y="863"/>
                </a:cubicBezTo>
                <a:cubicBezTo>
                  <a:pt x="2655" y="859"/>
                  <a:pt x="2655" y="859"/>
                  <a:pt x="2655" y="859"/>
                </a:cubicBezTo>
                <a:cubicBezTo>
                  <a:pt x="2644" y="864"/>
                  <a:pt x="2644" y="864"/>
                  <a:pt x="2644" y="864"/>
                </a:cubicBezTo>
                <a:cubicBezTo>
                  <a:pt x="2644" y="864"/>
                  <a:pt x="2647" y="866"/>
                  <a:pt x="2644" y="867"/>
                </a:cubicBezTo>
                <a:cubicBezTo>
                  <a:pt x="2640" y="867"/>
                  <a:pt x="2638" y="865"/>
                  <a:pt x="2636" y="865"/>
                </a:cubicBezTo>
                <a:cubicBezTo>
                  <a:pt x="2634" y="865"/>
                  <a:pt x="2631" y="868"/>
                  <a:pt x="2629" y="867"/>
                </a:cubicBezTo>
                <a:cubicBezTo>
                  <a:pt x="2627" y="867"/>
                  <a:pt x="2621" y="864"/>
                  <a:pt x="2620" y="864"/>
                </a:cubicBezTo>
                <a:cubicBezTo>
                  <a:pt x="2619" y="864"/>
                  <a:pt x="2615" y="864"/>
                  <a:pt x="2615" y="864"/>
                </a:cubicBezTo>
                <a:cubicBezTo>
                  <a:pt x="2617" y="862"/>
                  <a:pt x="2617" y="862"/>
                  <a:pt x="2617" y="862"/>
                </a:cubicBezTo>
                <a:cubicBezTo>
                  <a:pt x="2617" y="862"/>
                  <a:pt x="2611" y="860"/>
                  <a:pt x="2611" y="861"/>
                </a:cubicBezTo>
                <a:cubicBezTo>
                  <a:pt x="2610" y="862"/>
                  <a:pt x="2611" y="865"/>
                  <a:pt x="2608" y="867"/>
                </a:cubicBezTo>
                <a:cubicBezTo>
                  <a:pt x="2606" y="868"/>
                  <a:pt x="2601" y="868"/>
                  <a:pt x="2601" y="869"/>
                </a:cubicBezTo>
                <a:cubicBezTo>
                  <a:pt x="2601" y="870"/>
                  <a:pt x="2601" y="873"/>
                  <a:pt x="2601" y="873"/>
                </a:cubicBezTo>
                <a:cubicBezTo>
                  <a:pt x="2598" y="874"/>
                  <a:pt x="2598" y="874"/>
                  <a:pt x="2598" y="874"/>
                </a:cubicBezTo>
                <a:cubicBezTo>
                  <a:pt x="2600" y="883"/>
                  <a:pt x="2600" y="883"/>
                  <a:pt x="2600" y="883"/>
                </a:cubicBezTo>
                <a:cubicBezTo>
                  <a:pt x="2598" y="883"/>
                  <a:pt x="2598" y="883"/>
                  <a:pt x="2598" y="883"/>
                </a:cubicBezTo>
                <a:cubicBezTo>
                  <a:pt x="2598" y="883"/>
                  <a:pt x="2595" y="888"/>
                  <a:pt x="2594" y="890"/>
                </a:cubicBezTo>
                <a:cubicBezTo>
                  <a:pt x="2594" y="893"/>
                  <a:pt x="2598" y="897"/>
                  <a:pt x="2596" y="899"/>
                </a:cubicBezTo>
                <a:cubicBezTo>
                  <a:pt x="2594" y="900"/>
                  <a:pt x="2589" y="902"/>
                  <a:pt x="2589" y="904"/>
                </a:cubicBezTo>
                <a:cubicBezTo>
                  <a:pt x="2589" y="907"/>
                  <a:pt x="2591" y="910"/>
                  <a:pt x="2591" y="910"/>
                </a:cubicBezTo>
                <a:cubicBezTo>
                  <a:pt x="2591" y="910"/>
                  <a:pt x="2588" y="913"/>
                  <a:pt x="2590" y="915"/>
                </a:cubicBezTo>
                <a:cubicBezTo>
                  <a:pt x="2592" y="916"/>
                  <a:pt x="2596" y="913"/>
                  <a:pt x="2597" y="915"/>
                </a:cubicBezTo>
                <a:cubicBezTo>
                  <a:pt x="2598" y="918"/>
                  <a:pt x="2596" y="920"/>
                  <a:pt x="2596" y="920"/>
                </a:cubicBezTo>
                <a:cubicBezTo>
                  <a:pt x="2598" y="923"/>
                  <a:pt x="2598" y="923"/>
                  <a:pt x="2598" y="923"/>
                </a:cubicBezTo>
                <a:cubicBezTo>
                  <a:pt x="2597" y="932"/>
                  <a:pt x="2597" y="932"/>
                  <a:pt x="2597" y="932"/>
                </a:cubicBezTo>
                <a:cubicBezTo>
                  <a:pt x="2597" y="932"/>
                  <a:pt x="2592" y="935"/>
                  <a:pt x="2594" y="940"/>
                </a:cubicBezTo>
                <a:cubicBezTo>
                  <a:pt x="2597" y="945"/>
                  <a:pt x="2600" y="945"/>
                  <a:pt x="2604" y="941"/>
                </a:cubicBezTo>
                <a:cubicBezTo>
                  <a:pt x="2607" y="938"/>
                  <a:pt x="2603" y="931"/>
                  <a:pt x="2603" y="931"/>
                </a:cubicBezTo>
                <a:cubicBezTo>
                  <a:pt x="2603" y="931"/>
                  <a:pt x="2608" y="928"/>
                  <a:pt x="2608" y="924"/>
                </a:cubicBezTo>
                <a:cubicBezTo>
                  <a:pt x="2607" y="919"/>
                  <a:pt x="2609" y="915"/>
                  <a:pt x="2608" y="913"/>
                </a:cubicBezTo>
                <a:cubicBezTo>
                  <a:pt x="2606" y="910"/>
                  <a:pt x="2605" y="905"/>
                  <a:pt x="2606" y="904"/>
                </a:cubicBezTo>
                <a:cubicBezTo>
                  <a:pt x="2606" y="903"/>
                  <a:pt x="2607" y="897"/>
                  <a:pt x="2609" y="901"/>
                </a:cubicBezTo>
                <a:cubicBezTo>
                  <a:pt x="2612" y="904"/>
                  <a:pt x="2612" y="911"/>
                  <a:pt x="2612" y="911"/>
                </a:cubicBezTo>
                <a:cubicBezTo>
                  <a:pt x="2616" y="916"/>
                  <a:pt x="2616" y="916"/>
                  <a:pt x="2616" y="916"/>
                </a:cubicBezTo>
                <a:cubicBezTo>
                  <a:pt x="2616" y="924"/>
                  <a:pt x="2616" y="924"/>
                  <a:pt x="2616" y="924"/>
                </a:cubicBezTo>
                <a:cubicBezTo>
                  <a:pt x="2619" y="928"/>
                  <a:pt x="2619" y="928"/>
                  <a:pt x="2619" y="928"/>
                </a:cubicBezTo>
                <a:cubicBezTo>
                  <a:pt x="2620" y="933"/>
                  <a:pt x="2620" y="933"/>
                  <a:pt x="2620" y="933"/>
                </a:cubicBezTo>
                <a:cubicBezTo>
                  <a:pt x="2621" y="944"/>
                  <a:pt x="2621" y="944"/>
                  <a:pt x="2621" y="944"/>
                </a:cubicBezTo>
                <a:cubicBezTo>
                  <a:pt x="2624" y="942"/>
                  <a:pt x="2624" y="942"/>
                  <a:pt x="2624" y="942"/>
                </a:cubicBezTo>
                <a:cubicBezTo>
                  <a:pt x="2629" y="943"/>
                  <a:pt x="2629" y="943"/>
                  <a:pt x="2629" y="943"/>
                </a:cubicBezTo>
                <a:cubicBezTo>
                  <a:pt x="2629" y="943"/>
                  <a:pt x="2630" y="940"/>
                  <a:pt x="2629" y="937"/>
                </a:cubicBezTo>
                <a:cubicBezTo>
                  <a:pt x="2629" y="934"/>
                  <a:pt x="2631" y="933"/>
                  <a:pt x="2631" y="933"/>
                </a:cubicBezTo>
                <a:cubicBezTo>
                  <a:pt x="2632" y="936"/>
                  <a:pt x="2632" y="936"/>
                  <a:pt x="2632" y="936"/>
                </a:cubicBezTo>
                <a:cubicBezTo>
                  <a:pt x="2632" y="936"/>
                  <a:pt x="2635" y="936"/>
                  <a:pt x="2636" y="933"/>
                </a:cubicBezTo>
                <a:close/>
                <a:moveTo>
                  <a:pt x="2633" y="894"/>
                </a:moveTo>
                <a:cubicBezTo>
                  <a:pt x="2633" y="897"/>
                  <a:pt x="2633" y="897"/>
                  <a:pt x="2633" y="897"/>
                </a:cubicBezTo>
                <a:cubicBezTo>
                  <a:pt x="2633" y="897"/>
                  <a:pt x="2636" y="899"/>
                  <a:pt x="2637" y="896"/>
                </a:cubicBezTo>
                <a:cubicBezTo>
                  <a:pt x="2639" y="892"/>
                  <a:pt x="2633" y="894"/>
                  <a:pt x="2633" y="894"/>
                </a:cubicBezTo>
                <a:close/>
                <a:moveTo>
                  <a:pt x="2738" y="1322"/>
                </a:moveTo>
                <a:cubicBezTo>
                  <a:pt x="2737" y="1328"/>
                  <a:pt x="2737" y="1328"/>
                  <a:pt x="2737" y="1328"/>
                </a:cubicBezTo>
                <a:cubicBezTo>
                  <a:pt x="2744" y="1321"/>
                  <a:pt x="2744" y="1321"/>
                  <a:pt x="2744" y="1321"/>
                </a:cubicBezTo>
                <a:cubicBezTo>
                  <a:pt x="2738" y="1322"/>
                  <a:pt x="2738" y="1322"/>
                  <a:pt x="2738" y="1322"/>
                </a:cubicBezTo>
                <a:cubicBezTo>
                  <a:pt x="2738" y="1322"/>
                  <a:pt x="2738" y="1322"/>
                  <a:pt x="2738" y="1322"/>
                </a:cubicBezTo>
                <a:close/>
                <a:moveTo>
                  <a:pt x="2453" y="876"/>
                </a:moveTo>
                <a:cubicBezTo>
                  <a:pt x="2450" y="873"/>
                  <a:pt x="2450" y="873"/>
                  <a:pt x="2450" y="873"/>
                </a:cubicBezTo>
                <a:cubicBezTo>
                  <a:pt x="2449" y="878"/>
                  <a:pt x="2449" y="878"/>
                  <a:pt x="2449" y="878"/>
                </a:cubicBezTo>
                <a:cubicBezTo>
                  <a:pt x="2453" y="880"/>
                  <a:pt x="2453" y="880"/>
                  <a:pt x="2453" y="880"/>
                </a:cubicBezTo>
                <a:cubicBezTo>
                  <a:pt x="2453" y="876"/>
                  <a:pt x="2453" y="876"/>
                  <a:pt x="2453" y="876"/>
                </a:cubicBezTo>
                <a:cubicBezTo>
                  <a:pt x="2453" y="876"/>
                  <a:pt x="2453" y="876"/>
                  <a:pt x="2453" y="876"/>
                </a:cubicBezTo>
                <a:close/>
                <a:moveTo>
                  <a:pt x="2451" y="865"/>
                </a:moveTo>
                <a:cubicBezTo>
                  <a:pt x="2450" y="863"/>
                  <a:pt x="2447" y="864"/>
                  <a:pt x="2449" y="867"/>
                </a:cubicBezTo>
                <a:cubicBezTo>
                  <a:pt x="2451" y="871"/>
                  <a:pt x="2452" y="868"/>
                  <a:pt x="2451" y="865"/>
                </a:cubicBezTo>
                <a:close/>
                <a:moveTo>
                  <a:pt x="2420" y="857"/>
                </a:moveTo>
                <a:cubicBezTo>
                  <a:pt x="2420" y="860"/>
                  <a:pt x="2426" y="857"/>
                  <a:pt x="2423" y="855"/>
                </a:cubicBezTo>
                <a:cubicBezTo>
                  <a:pt x="2421" y="853"/>
                  <a:pt x="2418" y="854"/>
                  <a:pt x="2420" y="857"/>
                </a:cubicBezTo>
                <a:close/>
                <a:moveTo>
                  <a:pt x="2362" y="845"/>
                </a:moveTo>
                <a:cubicBezTo>
                  <a:pt x="2361" y="846"/>
                  <a:pt x="2361" y="849"/>
                  <a:pt x="2363" y="849"/>
                </a:cubicBezTo>
                <a:cubicBezTo>
                  <a:pt x="2366" y="850"/>
                  <a:pt x="2366" y="853"/>
                  <a:pt x="2369" y="851"/>
                </a:cubicBezTo>
                <a:cubicBezTo>
                  <a:pt x="2370" y="850"/>
                  <a:pt x="2363" y="844"/>
                  <a:pt x="2362" y="845"/>
                </a:cubicBezTo>
                <a:close/>
                <a:moveTo>
                  <a:pt x="2712" y="879"/>
                </a:moveTo>
                <a:cubicBezTo>
                  <a:pt x="2708" y="878"/>
                  <a:pt x="2706" y="879"/>
                  <a:pt x="2706" y="879"/>
                </a:cubicBezTo>
                <a:cubicBezTo>
                  <a:pt x="2707" y="883"/>
                  <a:pt x="2707" y="883"/>
                  <a:pt x="2707" y="883"/>
                </a:cubicBezTo>
                <a:cubicBezTo>
                  <a:pt x="2709" y="883"/>
                  <a:pt x="2715" y="882"/>
                  <a:pt x="2715" y="882"/>
                </a:cubicBezTo>
                <a:cubicBezTo>
                  <a:pt x="2715" y="882"/>
                  <a:pt x="2716" y="879"/>
                  <a:pt x="2712" y="879"/>
                </a:cubicBezTo>
                <a:close/>
                <a:moveTo>
                  <a:pt x="2451" y="889"/>
                </a:moveTo>
                <a:cubicBezTo>
                  <a:pt x="2450" y="882"/>
                  <a:pt x="2450" y="882"/>
                  <a:pt x="2450" y="882"/>
                </a:cubicBezTo>
                <a:cubicBezTo>
                  <a:pt x="2447" y="885"/>
                  <a:pt x="2447" y="885"/>
                  <a:pt x="2447" y="885"/>
                </a:cubicBezTo>
                <a:cubicBezTo>
                  <a:pt x="2451" y="889"/>
                  <a:pt x="2451" y="889"/>
                  <a:pt x="2451" y="889"/>
                </a:cubicBezTo>
                <a:cubicBezTo>
                  <a:pt x="2451" y="889"/>
                  <a:pt x="2451" y="889"/>
                  <a:pt x="2451" y="889"/>
                </a:cubicBezTo>
                <a:close/>
                <a:moveTo>
                  <a:pt x="2597" y="989"/>
                </a:moveTo>
                <a:cubicBezTo>
                  <a:pt x="2600" y="989"/>
                  <a:pt x="2598" y="991"/>
                  <a:pt x="2600" y="993"/>
                </a:cubicBezTo>
                <a:cubicBezTo>
                  <a:pt x="2602" y="995"/>
                  <a:pt x="2607" y="994"/>
                  <a:pt x="2607" y="994"/>
                </a:cubicBezTo>
                <a:cubicBezTo>
                  <a:pt x="2607" y="994"/>
                  <a:pt x="2606" y="990"/>
                  <a:pt x="2603" y="986"/>
                </a:cubicBezTo>
                <a:cubicBezTo>
                  <a:pt x="2600" y="982"/>
                  <a:pt x="2595" y="985"/>
                  <a:pt x="2595" y="985"/>
                </a:cubicBezTo>
                <a:cubicBezTo>
                  <a:pt x="2590" y="984"/>
                  <a:pt x="2590" y="984"/>
                  <a:pt x="2590" y="984"/>
                </a:cubicBezTo>
                <a:cubicBezTo>
                  <a:pt x="2589" y="985"/>
                  <a:pt x="2589" y="985"/>
                  <a:pt x="2591" y="988"/>
                </a:cubicBezTo>
                <a:cubicBezTo>
                  <a:pt x="2593" y="992"/>
                  <a:pt x="2595" y="989"/>
                  <a:pt x="2597" y="989"/>
                </a:cubicBezTo>
                <a:close/>
                <a:moveTo>
                  <a:pt x="2481" y="906"/>
                </a:moveTo>
                <a:cubicBezTo>
                  <a:pt x="2477" y="907"/>
                  <a:pt x="2478" y="911"/>
                  <a:pt x="2479" y="914"/>
                </a:cubicBezTo>
                <a:cubicBezTo>
                  <a:pt x="2483" y="913"/>
                  <a:pt x="2483" y="913"/>
                  <a:pt x="2483" y="913"/>
                </a:cubicBezTo>
                <a:cubicBezTo>
                  <a:pt x="2485" y="916"/>
                  <a:pt x="2485" y="916"/>
                  <a:pt x="2485" y="916"/>
                </a:cubicBezTo>
                <a:cubicBezTo>
                  <a:pt x="2487" y="912"/>
                  <a:pt x="2487" y="912"/>
                  <a:pt x="2487" y="912"/>
                </a:cubicBezTo>
                <a:cubicBezTo>
                  <a:pt x="2487" y="912"/>
                  <a:pt x="2485" y="906"/>
                  <a:pt x="2481" y="906"/>
                </a:cubicBezTo>
                <a:close/>
                <a:moveTo>
                  <a:pt x="2455" y="901"/>
                </a:moveTo>
                <a:cubicBezTo>
                  <a:pt x="2461" y="900"/>
                  <a:pt x="2461" y="900"/>
                  <a:pt x="2461" y="900"/>
                </a:cubicBezTo>
                <a:cubicBezTo>
                  <a:pt x="2461" y="900"/>
                  <a:pt x="2462" y="907"/>
                  <a:pt x="2464" y="909"/>
                </a:cubicBezTo>
                <a:cubicBezTo>
                  <a:pt x="2466" y="912"/>
                  <a:pt x="2472" y="912"/>
                  <a:pt x="2472" y="912"/>
                </a:cubicBezTo>
                <a:cubicBezTo>
                  <a:pt x="2471" y="906"/>
                  <a:pt x="2471" y="906"/>
                  <a:pt x="2471" y="906"/>
                </a:cubicBezTo>
                <a:cubicBezTo>
                  <a:pt x="2469" y="904"/>
                  <a:pt x="2469" y="904"/>
                  <a:pt x="2469" y="904"/>
                </a:cubicBezTo>
                <a:cubicBezTo>
                  <a:pt x="2469" y="900"/>
                  <a:pt x="2469" y="900"/>
                  <a:pt x="2469" y="900"/>
                </a:cubicBezTo>
                <a:cubicBezTo>
                  <a:pt x="2469" y="900"/>
                  <a:pt x="2466" y="895"/>
                  <a:pt x="2461" y="893"/>
                </a:cubicBezTo>
                <a:cubicBezTo>
                  <a:pt x="2456" y="892"/>
                  <a:pt x="2457" y="897"/>
                  <a:pt x="2457" y="897"/>
                </a:cubicBezTo>
                <a:cubicBezTo>
                  <a:pt x="2457" y="897"/>
                  <a:pt x="2454" y="897"/>
                  <a:pt x="2455" y="901"/>
                </a:cubicBezTo>
                <a:close/>
                <a:moveTo>
                  <a:pt x="2662" y="776"/>
                </a:moveTo>
                <a:cubicBezTo>
                  <a:pt x="2660" y="775"/>
                  <a:pt x="2654" y="768"/>
                  <a:pt x="2652" y="770"/>
                </a:cubicBezTo>
                <a:cubicBezTo>
                  <a:pt x="2651" y="771"/>
                  <a:pt x="2657" y="776"/>
                  <a:pt x="2656" y="777"/>
                </a:cubicBezTo>
                <a:cubicBezTo>
                  <a:pt x="2655" y="777"/>
                  <a:pt x="2648" y="778"/>
                  <a:pt x="2648" y="778"/>
                </a:cubicBezTo>
                <a:cubicBezTo>
                  <a:pt x="2648" y="782"/>
                  <a:pt x="2648" y="782"/>
                  <a:pt x="2648" y="782"/>
                </a:cubicBezTo>
                <a:cubicBezTo>
                  <a:pt x="2645" y="782"/>
                  <a:pt x="2645" y="782"/>
                  <a:pt x="2645" y="782"/>
                </a:cubicBezTo>
                <a:cubicBezTo>
                  <a:pt x="2644" y="785"/>
                  <a:pt x="2644" y="785"/>
                  <a:pt x="2644" y="785"/>
                </a:cubicBezTo>
                <a:cubicBezTo>
                  <a:pt x="2641" y="787"/>
                  <a:pt x="2641" y="787"/>
                  <a:pt x="2641" y="787"/>
                </a:cubicBezTo>
                <a:cubicBezTo>
                  <a:pt x="2641" y="787"/>
                  <a:pt x="2636" y="784"/>
                  <a:pt x="2634" y="786"/>
                </a:cubicBezTo>
                <a:cubicBezTo>
                  <a:pt x="2632" y="787"/>
                  <a:pt x="2629" y="793"/>
                  <a:pt x="2629" y="793"/>
                </a:cubicBezTo>
                <a:cubicBezTo>
                  <a:pt x="2629" y="793"/>
                  <a:pt x="2627" y="789"/>
                  <a:pt x="2626" y="791"/>
                </a:cubicBezTo>
                <a:cubicBezTo>
                  <a:pt x="2625" y="793"/>
                  <a:pt x="2622" y="798"/>
                  <a:pt x="2622" y="798"/>
                </a:cubicBezTo>
                <a:cubicBezTo>
                  <a:pt x="2625" y="801"/>
                  <a:pt x="2625" y="801"/>
                  <a:pt x="2625" y="801"/>
                </a:cubicBezTo>
                <a:cubicBezTo>
                  <a:pt x="2628" y="798"/>
                  <a:pt x="2628" y="798"/>
                  <a:pt x="2628" y="798"/>
                </a:cubicBezTo>
                <a:cubicBezTo>
                  <a:pt x="2630" y="801"/>
                  <a:pt x="2630" y="801"/>
                  <a:pt x="2630" y="801"/>
                </a:cubicBezTo>
                <a:cubicBezTo>
                  <a:pt x="2630" y="801"/>
                  <a:pt x="2635" y="797"/>
                  <a:pt x="2637" y="797"/>
                </a:cubicBezTo>
                <a:cubicBezTo>
                  <a:pt x="2638" y="797"/>
                  <a:pt x="2643" y="801"/>
                  <a:pt x="2643" y="801"/>
                </a:cubicBezTo>
                <a:cubicBezTo>
                  <a:pt x="2643" y="801"/>
                  <a:pt x="2641" y="802"/>
                  <a:pt x="2641" y="804"/>
                </a:cubicBezTo>
                <a:cubicBezTo>
                  <a:pt x="2641" y="806"/>
                  <a:pt x="2644" y="813"/>
                  <a:pt x="2646" y="814"/>
                </a:cubicBezTo>
                <a:cubicBezTo>
                  <a:pt x="2648" y="815"/>
                  <a:pt x="2653" y="816"/>
                  <a:pt x="2653" y="816"/>
                </a:cubicBezTo>
                <a:cubicBezTo>
                  <a:pt x="2656" y="813"/>
                  <a:pt x="2656" y="813"/>
                  <a:pt x="2656" y="813"/>
                </a:cubicBezTo>
                <a:cubicBezTo>
                  <a:pt x="2656" y="817"/>
                  <a:pt x="2656" y="817"/>
                  <a:pt x="2656" y="817"/>
                </a:cubicBezTo>
                <a:cubicBezTo>
                  <a:pt x="2659" y="817"/>
                  <a:pt x="2659" y="817"/>
                  <a:pt x="2659" y="817"/>
                </a:cubicBezTo>
                <a:cubicBezTo>
                  <a:pt x="2660" y="812"/>
                  <a:pt x="2660" y="812"/>
                  <a:pt x="2660" y="812"/>
                </a:cubicBezTo>
                <a:cubicBezTo>
                  <a:pt x="2660" y="812"/>
                  <a:pt x="2655" y="807"/>
                  <a:pt x="2656" y="804"/>
                </a:cubicBezTo>
                <a:cubicBezTo>
                  <a:pt x="2657" y="802"/>
                  <a:pt x="2659" y="801"/>
                  <a:pt x="2659" y="801"/>
                </a:cubicBezTo>
                <a:cubicBezTo>
                  <a:pt x="2662" y="808"/>
                  <a:pt x="2662" y="808"/>
                  <a:pt x="2662" y="808"/>
                </a:cubicBezTo>
                <a:cubicBezTo>
                  <a:pt x="2662" y="808"/>
                  <a:pt x="2666" y="803"/>
                  <a:pt x="2666" y="799"/>
                </a:cubicBezTo>
                <a:cubicBezTo>
                  <a:pt x="2666" y="796"/>
                  <a:pt x="2664" y="792"/>
                  <a:pt x="2664" y="792"/>
                </a:cubicBezTo>
                <a:cubicBezTo>
                  <a:pt x="2664" y="784"/>
                  <a:pt x="2664" y="784"/>
                  <a:pt x="2664" y="784"/>
                </a:cubicBezTo>
                <a:cubicBezTo>
                  <a:pt x="2664" y="784"/>
                  <a:pt x="2664" y="777"/>
                  <a:pt x="2662" y="776"/>
                </a:cubicBezTo>
                <a:close/>
                <a:moveTo>
                  <a:pt x="2653" y="900"/>
                </a:moveTo>
                <a:cubicBezTo>
                  <a:pt x="2664" y="898"/>
                  <a:pt x="2664" y="898"/>
                  <a:pt x="2664" y="898"/>
                </a:cubicBezTo>
                <a:cubicBezTo>
                  <a:pt x="2653" y="897"/>
                  <a:pt x="2653" y="897"/>
                  <a:pt x="2653" y="897"/>
                </a:cubicBezTo>
                <a:cubicBezTo>
                  <a:pt x="2653" y="897"/>
                  <a:pt x="2649" y="895"/>
                  <a:pt x="2647" y="895"/>
                </a:cubicBezTo>
                <a:cubicBezTo>
                  <a:pt x="2646" y="896"/>
                  <a:pt x="2645" y="898"/>
                  <a:pt x="2645" y="898"/>
                </a:cubicBezTo>
                <a:cubicBezTo>
                  <a:pt x="2647" y="901"/>
                  <a:pt x="2653" y="900"/>
                  <a:pt x="2653" y="900"/>
                </a:cubicBezTo>
                <a:close/>
                <a:moveTo>
                  <a:pt x="2648" y="972"/>
                </a:moveTo>
                <a:cubicBezTo>
                  <a:pt x="2648" y="968"/>
                  <a:pt x="2648" y="968"/>
                  <a:pt x="2648" y="968"/>
                </a:cubicBezTo>
                <a:cubicBezTo>
                  <a:pt x="2643" y="971"/>
                  <a:pt x="2643" y="971"/>
                  <a:pt x="2643" y="971"/>
                </a:cubicBezTo>
                <a:cubicBezTo>
                  <a:pt x="2648" y="972"/>
                  <a:pt x="2648" y="972"/>
                  <a:pt x="2648" y="972"/>
                </a:cubicBezTo>
                <a:cubicBezTo>
                  <a:pt x="2648" y="972"/>
                  <a:pt x="2648" y="972"/>
                  <a:pt x="2648" y="972"/>
                </a:cubicBezTo>
                <a:close/>
                <a:moveTo>
                  <a:pt x="2658" y="963"/>
                </a:moveTo>
                <a:cubicBezTo>
                  <a:pt x="2655" y="968"/>
                  <a:pt x="2655" y="968"/>
                  <a:pt x="2655" y="968"/>
                </a:cubicBezTo>
                <a:cubicBezTo>
                  <a:pt x="2666" y="965"/>
                  <a:pt x="2666" y="965"/>
                  <a:pt x="2666" y="965"/>
                </a:cubicBezTo>
                <a:cubicBezTo>
                  <a:pt x="2658" y="963"/>
                  <a:pt x="2658" y="963"/>
                  <a:pt x="2658" y="963"/>
                </a:cubicBezTo>
                <a:cubicBezTo>
                  <a:pt x="2658" y="963"/>
                  <a:pt x="2658" y="963"/>
                  <a:pt x="2658" y="963"/>
                </a:cubicBezTo>
                <a:close/>
                <a:moveTo>
                  <a:pt x="2671" y="826"/>
                </a:moveTo>
                <a:cubicBezTo>
                  <a:pt x="2669" y="826"/>
                  <a:pt x="2669" y="826"/>
                  <a:pt x="2669" y="826"/>
                </a:cubicBezTo>
                <a:cubicBezTo>
                  <a:pt x="2668" y="830"/>
                  <a:pt x="2668" y="830"/>
                  <a:pt x="2668" y="830"/>
                </a:cubicBezTo>
                <a:cubicBezTo>
                  <a:pt x="2669" y="834"/>
                  <a:pt x="2669" y="834"/>
                  <a:pt x="2669" y="834"/>
                </a:cubicBezTo>
                <a:cubicBezTo>
                  <a:pt x="2671" y="832"/>
                  <a:pt x="2671" y="832"/>
                  <a:pt x="2671" y="832"/>
                </a:cubicBezTo>
                <a:cubicBezTo>
                  <a:pt x="2671" y="826"/>
                  <a:pt x="2671" y="826"/>
                  <a:pt x="2671" y="826"/>
                </a:cubicBezTo>
                <a:cubicBezTo>
                  <a:pt x="2671" y="826"/>
                  <a:pt x="2671" y="826"/>
                  <a:pt x="2671" y="826"/>
                </a:cubicBezTo>
                <a:close/>
                <a:moveTo>
                  <a:pt x="2618" y="758"/>
                </a:moveTo>
                <a:cubicBezTo>
                  <a:pt x="2619" y="760"/>
                  <a:pt x="2621" y="762"/>
                  <a:pt x="2621" y="762"/>
                </a:cubicBezTo>
                <a:cubicBezTo>
                  <a:pt x="2621" y="762"/>
                  <a:pt x="2624" y="758"/>
                  <a:pt x="2625" y="759"/>
                </a:cubicBezTo>
                <a:cubicBezTo>
                  <a:pt x="2626" y="760"/>
                  <a:pt x="2626" y="764"/>
                  <a:pt x="2626" y="764"/>
                </a:cubicBezTo>
                <a:cubicBezTo>
                  <a:pt x="2628" y="766"/>
                  <a:pt x="2628" y="766"/>
                  <a:pt x="2628" y="766"/>
                </a:cubicBezTo>
                <a:cubicBezTo>
                  <a:pt x="2628" y="766"/>
                  <a:pt x="2623" y="773"/>
                  <a:pt x="2623" y="774"/>
                </a:cubicBezTo>
                <a:cubicBezTo>
                  <a:pt x="2623" y="775"/>
                  <a:pt x="2623" y="780"/>
                  <a:pt x="2627" y="779"/>
                </a:cubicBezTo>
                <a:cubicBezTo>
                  <a:pt x="2630" y="778"/>
                  <a:pt x="2635" y="777"/>
                  <a:pt x="2633" y="774"/>
                </a:cubicBezTo>
                <a:cubicBezTo>
                  <a:pt x="2631" y="771"/>
                  <a:pt x="2631" y="768"/>
                  <a:pt x="2632" y="764"/>
                </a:cubicBezTo>
                <a:cubicBezTo>
                  <a:pt x="2634" y="759"/>
                  <a:pt x="2633" y="755"/>
                  <a:pt x="2631" y="757"/>
                </a:cubicBezTo>
                <a:cubicBezTo>
                  <a:pt x="2630" y="758"/>
                  <a:pt x="2627" y="760"/>
                  <a:pt x="2627" y="758"/>
                </a:cubicBezTo>
                <a:cubicBezTo>
                  <a:pt x="2627" y="757"/>
                  <a:pt x="2631" y="750"/>
                  <a:pt x="2629" y="749"/>
                </a:cubicBezTo>
                <a:cubicBezTo>
                  <a:pt x="2626" y="749"/>
                  <a:pt x="2622" y="746"/>
                  <a:pt x="2622" y="746"/>
                </a:cubicBezTo>
                <a:cubicBezTo>
                  <a:pt x="2622" y="746"/>
                  <a:pt x="2617" y="745"/>
                  <a:pt x="2617" y="746"/>
                </a:cubicBezTo>
                <a:cubicBezTo>
                  <a:pt x="2617" y="748"/>
                  <a:pt x="2620" y="750"/>
                  <a:pt x="2620" y="750"/>
                </a:cubicBezTo>
                <a:cubicBezTo>
                  <a:pt x="2620" y="750"/>
                  <a:pt x="2617" y="755"/>
                  <a:pt x="2618" y="758"/>
                </a:cubicBezTo>
                <a:close/>
                <a:moveTo>
                  <a:pt x="2624" y="809"/>
                </a:moveTo>
                <a:cubicBezTo>
                  <a:pt x="2621" y="807"/>
                  <a:pt x="2621" y="807"/>
                  <a:pt x="2621" y="807"/>
                </a:cubicBezTo>
                <a:cubicBezTo>
                  <a:pt x="2618" y="810"/>
                  <a:pt x="2618" y="810"/>
                  <a:pt x="2618" y="810"/>
                </a:cubicBezTo>
                <a:cubicBezTo>
                  <a:pt x="2623" y="814"/>
                  <a:pt x="2623" y="814"/>
                  <a:pt x="2623" y="814"/>
                </a:cubicBezTo>
                <a:cubicBezTo>
                  <a:pt x="2624" y="809"/>
                  <a:pt x="2624" y="809"/>
                  <a:pt x="2624" y="809"/>
                </a:cubicBezTo>
                <a:cubicBezTo>
                  <a:pt x="2624" y="809"/>
                  <a:pt x="2624" y="809"/>
                  <a:pt x="2624" y="809"/>
                </a:cubicBezTo>
                <a:close/>
                <a:moveTo>
                  <a:pt x="2651" y="759"/>
                </a:moveTo>
                <a:cubicBezTo>
                  <a:pt x="2647" y="758"/>
                  <a:pt x="2647" y="758"/>
                  <a:pt x="2647" y="758"/>
                </a:cubicBezTo>
                <a:cubicBezTo>
                  <a:pt x="2647" y="758"/>
                  <a:pt x="2646" y="755"/>
                  <a:pt x="2645" y="754"/>
                </a:cubicBezTo>
                <a:cubicBezTo>
                  <a:pt x="2644" y="752"/>
                  <a:pt x="2639" y="753"/>
                  <a:pt x="2639" y="753"/>
                </a:cubicBezTo>
                <a:cubicBezTo>
                  <a:pt x="2640" y="759"/>
                  <a:pt x="2640" y="759"/>
                  <a:pt x="2640" y="759"/>
                </a:cubicBezTo>
                <a:cubicBezTo>
                  <a:pt x="2643" y="758"/>
                  <a:pt x="2643" y="758"/>
                  <a:pt x="2643" y="758"/>
                </a:cubicBezTo>
                <a:cubicBezTo>
                  <a:pt x="2644" y="761"/>
                  <a:pt x="2644" y="761"/>
                  <a:pt x="2644" y="761"/>
                </a:cubicBezTo>
                <a:cubicBezTo>
                  <a:pt x="2651" y="767"/>
                  <a:pt x="2651" y="767"/>
                  <a:pt x="2651" y="767"/>
                </a:cubicBezTo>
                <a:cubicBezTo>
                  <a:pt x="2651" y="759"/>
                  <a:pt x="2651" y="759"/>
                  <a:pt x="2651" y="759"/>
                </a:cubicBezTo>
                <a:cubicBezTo>
                  <a:pt x="2651" y="759"/>
                  <a:pt x="2651" y="759"/>
                  <a:pt x="2651" y="759"/>
                </a:cubicBezTo>
                <a:close/>
                <a:moveTo>
                  <a:pt x="2665" y="912"/>
                </a:moveTo>
                <a:cubicBezTo>
                  <a:pt x="2665" y="912"/>
                  <a:pt x="2663" y="916"/>
                  <a:pt x="2666" y="918"/>
                </a:cubicBezTo>
                <a:cubicBezTo>
                  <a:pt x="2669" y="920"/>
                  <a:pt x="2673" y="920"/>
                  <a:pt x="2673" y="920"/>
                </a:cubicBezTo>
                <a:cubicBezTo>
                  <a:pt x="2675" y="917"/>
                  <a:pt x="2672" y="912"/>
                  <a:pt x="2672" y="912"/>
                </a:cubicBezTo>
                <a:cubicBezTo>
                  <a:pt x="2670" y="912"/>
                  <a:pt x="2670" y="912"/>
                  <a:pt x="2670" y="912"/>
                </a:cubicBezTo>
                <a:cubicBezTo>
                  <a:pt x="2668" y="910"/>
                  <a:pt x="2668" y="910"/>
                  <a:pt x="2668" y="910"/>
                </a:cubicBezTo>
                <a:cubicBezTo>
                  <a:pt x="2665" y="912"/>
                  <a:pt x="2665" y="912"/>
                  <a:pt x="2665" y="912"/>
                </a:cubicBezTo>
                <a:cubicBezTo>
                  <a:pt x="2665" y="912"/>
                  <a:pt x="2665" y="912"/>
                  <a:pt x="2665" y="912"/>
                </a:cubicBezTo>
                <a:close/>
                <a:moveTo>
                  <a:pt x="2653" y="831"/>
                </a:moveTo>
                <a:cubicBezTo>
                  <a:pt x="2655" y="826"/>
                  <a:pt x="2655" y="826"/>
                  <a:pt x="2655" y="826"/>
                </a:cubicBezTo>
                <a:cubicBezTo>
                  <a:pt x="2652" y="825"/>
                  <a:pt x="2652" y="825"/>
                  <a:pt x="2652" y="825"/>
                </a:cubicBezTo>
                <a:cubicBezTo>
                  <a:pt x="2653" y="831"/>
                  <a:pt x="2653" y="831"/>
                  <a:pt x="2653" y="831"/>
                </a:cubicBezTo>
                <a:cubicBezTo>
                  <a:pt x="2653" y="831"/>
                  <a:pt x="2653" y="831"/>
                  <a:pt x="2653" y="831"/>
                </a:cubicBezTo>
                <a:close/>
                <a:moveTo>
                  <a:pt x="2640" y="770"/>
                </a:moveTo>
                <a:cubicBezTo>
                  <a:pt x="2644" y="770"/>
                  <a:pt x="2644" y="770"/>
                  <a:pt x="2644" y="770"/>
                </a:cubicBezTo>
                <a:cubicBezTo>
                  <a:pt x="2645" y="766"/>
                  <a:pt x="2645" y="766"/>
                  <a:pt x="2645" y="766"/>
                </a:cubicBezTo>
                <a:cubicBezTo>
                  <a:pt x="2641" y="765"/>
                  <a:pt x="2641" y="765"/>
                  <a:pt x="2641" y="765"/>
                </a:cubicBezTo>
                <a:cubicBezTo>
                  <a:pt x="2640" y="770"/>
                  <a:pt x="2640" y="770"/>
                  <a:pt x="2640" y="770"/>
                </a:cubicBezTo>
                <a:cubicBezTo>
                  <a:pt x="2640" y="770"/>
                  <a:pt x="2640" y="770"/>
                  <a:pt x="2640" y="770"/>
                </a:cubicBezTo>
                <a:close/>
                <a:moveTo>
                  <a:pt x="2592" y="975"/>
                </a:moveTo>
                <a:cubicBezTo>
                  <a:pt x="2593" y="972"/>
                  <a:pt x="2592" y="969"/>
                  <a:pt x="2590" y="969"/>
                </a:cubicBezTo>
                <a:cubicBezTo>
                  <a:pt x="2589" y="968"/>
                  <a:pt x="2587" y="969"/>
                  <a:pt x="2587" y="969"/>
                </a:cubicBezTo>
                <a:cubicBezTo>
                  <a:pt x="2581" y="968"/>
                  <a:pt x="2581" y="968"/>
                  <a:pt x="2581" y="968"/>
                </a:cubicBezTo>
                <a:cubicBezTo>
                  <a:pt x="2585" y="973"/>
                  <a:pt x="2585" y="973"/>
                  <a:pt x="2585" y="973"/>
                </a:cubicBezTo>
                <a:cubicBezTo>
                  <a:pt x="2585" y="973"/>
                  <a:pt x="2590" y="979"/>
                  <a:pt x="2592" y="975"/>
                </a:cubicBezTo>
                <a:close/>
                <a:moveTo>
                  <a:pt x="2573" y="983"/>
                </a:moveTo>
                <a:cubicBezTo>
                  <a:pt x="2576" y="982"/>
                  <a:pt x="2576" y="982"/>
                  <a:pt x="2576" y="982"/>
                </a:cubicBezTo>
                <a:cubicBezTo>
                  <a:pt x="2577" y="979"/>
                  <a:pt x="2577" y="979"/>
                  <a:pt x="2577" y="979"/>
                </a:cubicBezTo>
                <a:cubicBezTo>
                  <a:pt x="2581" y="981"/>
                  <a:pt x="2581" y="981"/>
                  <a:pt x="2581" y="981"/>
                </a:cubicBezTo>
                <a:cubicBezTo>
                  <a:pt x="2585" y="977"/>
                  <a:pt x="2585" y="977"/>
                  <a:pt x="2585" y="977"/>
                </a:cubicBezTo>
                <a:cubicBezTo>
                  <a:pt x="2578" y="974"/>
                  <a:pt x="2578" y="974"/>
                  <a:pt x="2578" y="974"/>
                </a:cubicBezTo>
                <a:cubicBezTo>
                  <a:pt x="2576" y="975"/>
                  <a:pt x="2576" y="975"/>
                  <a:pt x="2576" y="975"/>
                </a:cubicBezTo>
                <a:cubicBezTo>
                  <a:pt x="2576" y="975"/>
                  <a:pt x="2573" y="972"/>
                  <a:pt x="2571" y="972"/>
                </a:cubicBezTo>
                <a:cubicBezTo>
                  <a:pt x="2569" y="972"/>
                  <a:pt x="2565" y="979"/>
                  <a:pt x="2565" y="979"/>
                </a:cubicBezTo>
                <a:cubicBezTo>
                  <a:pt x="2572" y="980"/>
                  <a:pt x="2572" y="980"/>
                  <a:pt x="2572" y="980"/>
                </a:cubicBezTo>
                <a:cubicBezTo>
                  <a:pt x="2573" y="983"/>
                  <a:pt x="2573" y="983"/>
                  <a:pt x="2573" y="983"/>
                </a:cubicBezTo>
                <a:cubicBezTo>
                  <a:pt x="2573" y="983"/>
                  <a:pt x="2573" y="983"/>
                  <a:pt x="2573" y="983"/>
                </a:cubicBezTo>
                <a:close/>
                <a:moveTo>
                  <a:pt x="2572" y="787"/>
                </a:moveTo>
                <a:cubicBezTo>
                  <a:pt x="2576" y="783"/>
                  <a:pt x="2576" y="783"/>
                  <a:pt x="2576" y="783"/>
                </a:cubicBezTo>
                <a:cubicBezTo>
                  <a:pt x="2576" y="783"/>
                  <a:pt x="2575" y="780"/>
                  <a:pt x="2577" y="780"/>
                </a:cubicBezTo>
                <a:cubicBezTo>
                  <a:pt x="2579" y="780"/>
                  <a:pt x="2581" y="780"/>
                  <a:pt x="2583" y="778"/>
                </a:cubicBezTo>
                <a:cubicBezTo>
                  <a:pt x="2584" y="777"/>
                  <a:pt x="2583" y="774"/>
                  <a:pt x="2584" y="772"/>
                </a:cubicBezTo>
                <a:cubicBezTo>
                  <a:pt x="2586" y="770"/>
                  <a:pt x="2596" y="767"/>
                  <a:pt x="2596" y="764"/>
                </a:cubicBezTo>
                <a:cubicBezTo>
                  <a:pt x="2596" y="762"/>
                  <a:pt x="2594" y="760"/>
                  <a:pt x="2594" y="758"/>
                </a:cubicBezTo>
                <a:cubicBezTo>
                  <a:pt x="2593" y="755"/>
                  <a:pt x="2594" y="751"/>
                  <a:pt x="2594" y="751"/>
                </a:cubicBezTo>
                <a:cubicBezTo>
                  <a:pt x="2592" y="748"/>
                  <a:pt x="2592" y="748"/>
                  <a:pt x="2592" y="748"/>
                </a:cubicBezTo>
                <a:cubicBezTo>
                  <a:pt x="2591" y="752"/>
                  <a:pt x="2591" y="752"/>
                  <a:pt x="2591" y="752"/>
                </a:cubicBezTo>
                <a:cubicBezTo>
                  <a:pt x="2591" y="752"/>
                  <a:pt x="2587" y="755"/>
                  <a:pt x="2589" y="758"/>
                </a:cubicBezTo>
                <a:cubicBezTo>
                  <a:pt x="2590" y="761"/>
                  <a:pt x="2594" y="761"/>
                  <a:pt x="2592" y="762"/>
                </a:cubicBezTo>
                <a:cubicBezTo>
                  <a:pt x="2589" y="764"/>
                  <a:pt x="2586" y="766"/>
                  <a:pt x="2586" y="766"/>
                </a:cubicBezTo>
                <a:cubicBezTo>
                  <a:pt x="2585" y="769"/>
                  <a:pt x="2585" y="769"/>
                  <a:pt x="2585" y="769"/>
                </a:cubicBezTo>
                <a:cubicBezTo>
                  <a:pt x="2581" y="771"/>
                  <a:pt x="2581" y="771"/>
                  <a:pt x="2581" y="771"/>
                </a:cubicBezTo>
                <a:cubicBezTo>
                  <a:pt x="2581" y="771"/>
                  <a:pt x="2583" y="773"/>
                  <a:pt x="2581" y="774"/>
                </a:cubicBezTo>
                <a:cubicBezTo>
                  <a:pt x="2580" y="776"/>
                  <a:pt x="2574" y="778"/>
                  <a:pt x="2574" y="778"/>
                </a:cubicBezTo>
                <a:cubicBezTo>
                  <a:pt x="2574" y="778"/>
                  <a:pt x="2570" y="786"/>
                  <a:pt x="2572" y="787"/>
                </a:cubicBezTo>
                <a:close/>
                <a:moveTo>
                  <a:pt x="2590" y="678"/>
                </a:moveTo>
                <a:cubicBezTo>
                  <a:pt x="2589" y="680"/>
                  <a:pt x="2589" y="679"/>
                  <a:pt x="2591" y="681"/>
                </a:cubicBezTo>
                <a:cubicBezTo>
                  <a:pt x="2591" y="682"/>
                  <a:pt x="2592" y="684"/>
                  <a:pt x="2593" y="685"/>
                </a:cubicBezTo>
                <a:cubicBezTo>
                  <a:pt x="2593" y="687"/>
                  <a:pt x="2593" y="688"/>
                  <a:pt x="2593" y="690"/>
                </a:cubicBezTo>
                <a:cubicBezTo>
                  <a:pt x="2593" y="691"/>
                  <a:pt x="2591" y="692"/>
                  <a:pt x="2591" y="693"/>
                </a:cubicBezTo>
                <a:cubicBezTo>
                  <a:pt x="2591" y="695"/>
                  <a:pt x="2593" y="695"/>
                  <a:pt x="2593" y="697"/>
                </a:cubicBezTo>
                <a:cubicBezTo>
                  <a:pt x="2592" y="698"/>
                  <a:pt x="2590" y="699"/>
                  <a:pt x="2589" y="699"/>
                </a:cubicBezTo>
                <a:cubicBezTo>
                  <a:pt x="2589" y="697"/>
                  <a:pt x="2588" y="696"/>
                  <a:pt x="2587" y="696"/>
                </a:cubicBezTo>
                <a:cubicBezTo>
                  <a:pt x="2587" y="700"/>
                  <a:pt x="2588" y="703"/>
                  <a:pt x="2591" y="707"/>
                </a:cubicBezTo>
                <a:cubicBezTo>
                  <a:pt x="2594" y="710"/>
                  <a:pt x="2596" y="712"/>
                  <a:pt x="2598" y="716"/>
                </a:cubicBezTo>
                <a:cubicBezTo>
                  <a:pt x="2599" y="718"/>
                  <a:pt x="2602" y="724"/>
                  <a:pt x="2605" y="724"/>
                </a:cubicBezTo>
                <a:cubicBezTo>
                  <a:pt x="2607" y="724"/>
                  <a:pt x="2608" y="721"/>
                  <a:pt x="2611" y="721"/>
                </a:cubicBezTo>
                <a:cubicBezTo>
                  <a:pt x="2613" y="721"/>
                  <a:pt x="2614" y="723"/>
                  <a:pt x="2615" y="724"/>
                </a:cubicBezTo>
                <a:cubicBezTo>
                  <a:pt x="2620" y="728"/>
                  <a:pt x="2620" y="724"/>
                  <a:pt x="2618" y="721"/>
                </a:cubicBezTo>
                <a:cubicBezTo>
                  <a:pt x="2621" y="720"/>
                  <a:pt x="2623" y="722"/>
                  <a:pt x="2624" y="725"/>
                </a:cubicBezTo>
                <a:cubicBezTo>
                  <a:pt x="2624" y="728"/>
                  <a:pt x="2626" y="730"/>
                  <a:pt x="2629" y="731"/>
                </a:cubicBezTo>
                <a:cubicBezTo>
                  <a:pt x="2635" y="734"/>
                  <a:pt x="2635" y="721"/>
                  <a:pt x="2629" y="722"/>
                </a:cubicBezTo>
                <a:cubicBezTo>
                  <a:pt x="2628" y="721"/>
                  <a:pt x="2629" y="720"/>
                  <a:pt x="2630" y="719"/>
                </a:cubicBezTo>
                <a:cubicBezTo>
                  <a:pt x="2627" y="719"/>
                  <a:pt x="2626" y="716"/>
                  <a:pt x="2624" y="717"/>
                </a:cubicBezTo>
                <a:cubicBezTo>
                  <a:pt x="2622" y="721"/>
                  <a:pt x="2619" y="716"/>
                  <a:pt x="2616" y="716"/>
                </a:cubicBezTo>
                <a:cubicBezTo>
                  <a:pt x="2613" y="716"/>
                  <a:pt x="2612" y="721"/>
                  <a:pt x="2609" y="717"/>
                </a:cubicBezTo>
                <a:cubicBezTo>
                  <a:pt x="2607" y="714"/>
                  <a:pt x="2608" y="711"/>
                  <a:pt x="2608" y="709"/>
                </a:cubicBezTo>
                <a:cubicBezTo>
                  <a:pt x="2608" y="706"/>
                  <a:pt x="2607" y="702"/>
                  <a:pt x="2608" y="700"/>
                </a:cubicBezTo>
                <a:cubicBezTo>
                  <a:pt x="2610" y="697"/>
                  <a:pt x="2612" y="698"/>
                  <a:pt x="2612" y="694"/>
                </a:cubicBezTo>
                <a:cubicBezTo>
                  <a:pt x="2612" y="691"/>
                  <a:pt x="2610" y="689"/>
                  <a:pt x="2610" y="686"/>
                </a:cubicBezTo>
                <a:cubicBezTo>
                  <a:pt x="2610" y="683"/>
                  <a:pt x="2612" y="680"/>
                  <a:pt x="2611" y="677"/>
                </a:cubicBezTo>
                <a:cubicBezTo>
                  <a:pt x="2610" y="676"/>
                  <a:pt x="2609" y="675"/>
                  <a:pt x="2608" y="674"/>
                </a:cubicBezTo>
                <a:cubicBezTo>
                  <a:pt x="2608" y="673"/>
                  <a:pt x="2608" y="671"/>
                  <a:pt x="2608" y="670"/>
                </a:cubicBezTo>
                <a:cubicBezTo>
                  <a:pt x="2608" y="669"/>
                  <a:pt x="2607" y="667"/>
                  <a:pt x="2606" y="667"/>
                </a:cubicBezTo>
                <a:cubicBezTo>
                  <a:pt x="2605" y="667"/>
                  <a:pt x="2604" y="669"/>
                  <a:pt x="2603" y="669"/>
                </a:cubicBezTo>
                <a:cubicBezTo>
                  <a:pt x="2600" y="672"/>
                  <a:pt x="2599" y="669"/>
                  <a:pt x="2596" y="669"/>
                </a:cubicBezTo>
                <a:cubicBezTo>
                  <a:pt x="2594" y="669"/>
                  <a:pt x="2594" y="669"/>
                  <a:pt x="2594" y="669"/>
                </a:cubicBezTo>
                <a:cubicBezTo>
                  <a:pt x="2593" y="671"/>
                  <a:pt x="2594" y="672"/>
                  <a:pt x="2594" y="674"/>
                </a:cubicBezTo>
                <a:cubicBezTo>
                  <a:pt x="2593" y="675"/>
                  <a:pt x="2591" y="677"/>
                  <a:pt x="2590" y="678"/>
                </a:cubicBezTo>
                <a:close/>
                <a:moveTo>
                  <a:pt x="2606" y="812"/>
                </a:moveTo>
                <a:cubicBezTo>
                  <a:pt x="2609" y="813"/>
                  <a:pt x="2609" y="813"/>
                  <a:pt x="2609" y="813"/>
                </a:cubicBezTo>
                <a:cubicBezTo>
                  <a:pt x="2611" y="809"/>
                  <a:pt x="2611" y="809"/>
                  <a:pt x="2611" y="809"/>
                </a:cubicBezTo>
                <a:cubicBezTo>
                  <a:pt x="2608" y="807"/>
                  <a:pt x="2608" y="807"/>
                  <a:pt x="2608" y="807"/>
                </a:cubicBezTo>
                <a:cubicBezTo>
                  <a:pt x="2606" y="812"/>
                  <a:pt x="2606" y="812"/>
                  <a:pt x="2606" y="812"/>
                </a:cubicBezTo>
                <a:cubicBezTo>
                  <a:pt x="2606" y="812"/>
                  <a:pt x="2606" y="812"/>
                  <a:pt x="2606" y="812"/>
                </a:cubicBezTo>
                <a:close/>
                <a:moveTo>
                  <a:pt x="2637" y="737"/>
                </a:moveTo>
                <a:cubicBezTo>
                  <a:pt x="2635" y="741"/>
                  <a:pt x="2642" y="745"/>
                  <a:pt x="2642" y="745"/>
                </a:cubicBezTo>
                <a:cubicBezTo>
                  <a:pt x="2647" y="747"/>
                  <a:pt x="2647" y="747"/>
                  <a:pt x="2647" y="747"/>
                </a:cubicBezTo>
                <a:cubicBezTo>
                  <a:pt x="2647" y="751"/>
                  <a:pt x="2642" y="749"/>
                  <a:pt x="2642" y="749"/>
                </a:cubicBezTo>
                <a:cubicBezTo>
                  <a:pt x="2651" y="756"/>
                  <a:pt x="2651" y="756"/>
                  <a:pt x="2651" y="756"/>
                </a:cubicBezTo>
                <a:cubicBezTo>
                  <a:pt x="2651" y="753"/>
                  <a:pt x="2651" y="753"/>
                  <a:pt x="2651" y="753"/>
                </a:cubicBezTo>
                <a:cubicBezTo>
                  <a:pt x="2655" y="754"/>
                  <a:pt x="2655" y="754"/>
                  <a:pt x="2655" y="754"/>
                </a:cubicBezTo>
                <a:cubicBezTo>
                  <a:pt x="2652" y="749"/>
                  <a:pt x="2652" y="749"/>
                  <a:pt x="2652" y="749"/>
                </a:cubicBezTo>
                <a:cubicBezTo>
                  <a:pt x="2652" y="749"/>
                  <a:pt x="2651" y="744"/>
                  <a:pt x="2649" y="741"/>
                </a:cubicBezTo>
                <a:cubicBezTo>
                  <a:pt x="2646" y="739"/>
                  <a:pt x="2638" y="734"/>
                  <a:pt x="2637" y="737"/>
                </a:cubicBezTo>
                <a:close/>
                <a:moveTo>
                  <a:pt x="2610" y="733"/>
                </a:moveTo>
                <a:cubicBezTo>
                  <a:pt x="2610" y="733"/>
                  <a:pt x="2609" y="728"/>
                  <a:pt x="2608" y="727"/>
                </a:cubicBezTo>
                <a:cubicBezTo>
                  <a:pt x="2606" y="726"/>
                  <a:pt x="2600" y="726"/>
                  <a:pt x="2600" y="726"/>
                </a:cubicBezTo>
                <a:cubicBezTo>
                  <a:pt x="2605" y="732"/>
                  <a:pt x="2605" y="732"/>
                  <a:pt x="2605" y="732"/>
                </a:cubicBezTo>
                <a:cubicBezTo>
                  <a:pt x="2607" y="741"/>
                  <a:pt x="2607" y="741"/>
                  <a:pt x="2607" y="741"/>
                </a:cubicBezTo>
                <a:cubicBezTo>
                  <a:pt x="2607" y="741"/>
                  <a:pt x="2610" y="739"/>
                  <a:pt x="2611" y="738"/>
                </a:cubicBezTo>
                <a:cubicBezTo>
                  <a:pt x="2612" y="736"/>
                  <a:pt x="2610" y="733"/>
                  <a:pt x="2610" y="733"/>
                </a:cubicBezTo>
                <a:close/>
                <a:moveTo>
                  <a:pt x="2636" y="760"/>
                </a:moveTo>
                <a:cubicBezTo>
                  <a:pt x="2638" y="771"/>
                  <a:pt x="2638" y="771"/>
                  <a:pt x="2638" y="771"/>
                </a:cubicBezTo>
                <a:cubicBezTo>
                  <a:pt x="2639" y="761"/>
                  <a:pt x="2639" y="761"/>
                  <a:pt x="2639" y="761"/>
                </a:cubicBezTo>
                <a:cubicBezTo>
                  <a:pt x="2636" y="753"/>
                  <a:pt x="2636" y="753"/>
                  <a:pt x="2636" y="753"/>
                </a:cubicBezTo>
                <a:cubicBezTo>
                  <a:pt x="2633" y="753"/>
                  <a:pt x="2633" y="753"/>
                  <a:pt x="2633" y="753"/>
                </a:cubicBezTo>
                <a:cubicBezTo>
                  <a:pt x="2636" y="760"/>
                  <a:pt x="2636" y="760"/>
                  <a:pt x="2636" y="760"/>
                </a:cubicBezTo>
                <a:cubicBezTo>
                  <a:pt x="2636" y="760"/>
                  <a:pt x="2636" y="760"/>
                  <a:pt x="2636" y="760"/>
                </a:cubicBezTo>
                <a:close/>
                <a:moveTo>
                  <a:pt x="2378" y="859"/>
                </a:moveTo>
                <a:cubicBezTo>
                  <a:pt x="2376" y="859"/>
                  <a:pt x="2374" y="862"/>
                  <a:pt x="2377" y="864"/>
                </a:cubicBezTo>
                <a:cubicBezTo>
                  <a:pt x="2379" y="865"/>
                  <a:pt x="2380" y="872"/>
                  <a:pt x="2383" y="872"/>
                </a:cubicBezTo>
                <a:cubicBezTo>
                  <a:pt x="2384" y="872"/>
                  <a:pt x="2384" y="865"/>
                  <a:pt x="2384" y="864"/>
                </a:cubicBezTo>
                <a:cubicBezTo>
                  <a:pt x="2383" y="863"/>
                  <a:pt x="2380" y="859"/>
                  <a:pt x="2378" y="859"/>
                </a:cubicBezTo>
                <a:close/>
                <a:moveTo>
                  <a:pt x="2697" y="907"/>
                </a:moveTo>
                <a:cubicBezTo>
                  <a:pt x="2693" y="906"/>
                  <a:pt x="2691" y="908"/>
                  <a:pt x="2689" y="909"/>
                </a:cubicBezTo>
                <a:cubicBezTo>
                  <a:pt x="2688" y="909"/>
                  <a:pt x="2686" y="909"/>
                  <a:pt x="2685" y="909"/>
                </a:cubicBezTo>
                <a:cubicBezTo>
                  <a:pt x="2682" y="911"/>
                  <a:pt x="2681" y="914"/>
                  <a:pt x="2682" y="915"/>
                </a:cubicBezTo>
                <a:cubicBezTo>
                  <a:pt x="2684" y="916"/>
                  <a:pt x="2685" y="913"/>
                  <a:pt x="2685" y="913"/>
                </a:cubicBezTo>
                <a:cubicBezTo>
                  <a:pt x="2685" y="913"/>
                  <a:pt x="2685" y="917"/>
                  <a:pt x="2688" y="917"/>
                </a:cubicBezTo>
                <a:cubicBezTo>
                  <a:pt x="2690" y="917"/>
                  <a:pt x="2690" y="913"/>
                  <a:pt x="2690" y="913"/>
                </a:cubicBezTo>
                <a:cubicBezTo>
                  <a:pt x="2690" y="913"/>
                  <a:pt x="2692" y="915"/>
                  <a:pt x="2693" y="915"/>
                </a:cubicBezTo>
                <a:cubicBezTo>
                  <a:pt x="2695" y="915"/>
                  <a:pt x="2699" y="912"/>
                  <a:pt x="2699" y="912"/>
                </a:cubicBezTo>
                <a:cubicBezTo>
                  <a:pt x="2701" y="920"/>
                  <a:pt x="2701" y="920"/>
                  <a:pt x="2701" y="920"/>
                </a:cubicBezTo>
                <a:cubicBezTo>
                  <a:pt x="2705" y="917"/>
                  <a:pt x="2705" y="917"/>
                  <a:pt x="2705" y="917"/>
                </a:cubicBezTo>
                <a:cubicBezTo>
                  <a:pt x="2709" y="922"/>
                  <a:pt x="2709" y="922"/>
                  <a:pt x="2709" y="922"/>
                </a:cubicBezTo>
                <a:cubicBezTo>
                  <a:pt x="2710" y="918"/>
                  <a:pt x="2710" y="918"/>
                  <a:pt x="2710" y="918"/>
                </a:cubicBezTo>
                <a:cubicBezTo>
                  <a:pt x="2707" y="916"/>
                  <a:pt x="2707" y="916"/>
                  <a:pt x="2707" y="916"/>
                </a:cubicBezTo>
                <a:cubicBezTo>
                  <a:pt x="2708" y="913"/>
                  <a:pt x="2708" y="913"/>
                  <a:pt x="2708" y="913"/>
                </a:cubicBezTo>
                <a:cubicBezTo>
                  <a:pt x="2708" y="913"/>
                  <a:pt x="2706" y="909"/>
                  <a:pt x="2697" y="907"/>
                </a:cubicBezTo>
                <a:close/>
                <a:moveTo>
                  <a:pt x="2968" y="966"/>
                </a:moveTo>
                <a:cubicBezTo>
                  <a:pt x="2964" y="967"/>
                  <a:pt x="2964" y="967"/>
                  <a:pt x="2964" y="967"/>
                </a:cubicBezTo>
                <a:cubicBezTo>
                  <a:pt x="2964" y="970"/>
                  <a:pt x="2964" y="970"/>
                  <a:pt x="2964" y="970"/>
                </a:cubicBezTo>
                <a:cubicBezTo>
                  <a:pt x="2966" y="971"/>
                  <a:pt x="2966" y="971"/>
                  <a:pt x="2966" y="971"/>
                </a:cubicBezTo>
                <a:cubicBezTo>
                  <a:pt x="2968" y="966"/>
                  <a:pt x="2968" y="966"/>
                  <a:pt x="2968" y="966"/>
                </a:cubicBezTo>
                <a:cubicBezTo>
                  <a:pt x="2968" y="966"/>
                  <a:pt x="2968" y="966"/>
                  <a:pt x="2968" y="966"/>
                </a:cubicBezTo>
                <a:close/>
                <a:moveTo>
                  <a:pt x="2756" y="887"/>
                </a:moveTo>
                <a:cubicBezTo>
                  <a:pt x="2760" y="889"/>
                  <a:pt x="2762" y="887"/>
                  <a:pt x="2758" y="885"/>
                </a:cubicBezTo>
                <a:cubicBezTo>
                  <a:pt x="2756" y="884"/>
                  <a:pt x="2754" y="886"/>
                  <a:pt x="2756" y="887"/>
                </a:cubicBezTo>
                <a:close/>
                <a:moveTo>
                  <a:pt x="2968" y="955"/>
                </a:moveTo>
                <a:cubicBezTo>
                  <a:pt x="2965" y="952"/>
                  <a:pt x="2965" y="952"/>
                  <a:pt x="2965" y="952"/>
                </a:cubicBezTo>
                <a:cubicBezTo>
                  <a:pt x="2964" y="956"/>
                  <a:pt x="2964" y="956"/>
                  <a:pt x="2964" y="956"/>
                </a:cubicBezTo>
                <a:cubicBezTo>
                  <a:pt x="2967" y="959"/>
                  <a:pt x="2967" y="959"/>
                  <a:pt x="2967" y="959"/>
                </a:cubicBezTo>
                <a:cubicBezTo>
                  <a:pt x="2968" y="955"/>
                  <a:pt x="2968" y="955"/>
                  <a:pt x="2968" y="955"/>
                </a:cubicBezTo>
                <a:cubicBezTo>
                  <a:pt x="2968" y="955"/>
                  <a:pt x="2968" y="955"/>
                  <a:pt x="2968" y="955"/>
                </a:cubicBezTo>
                <a:close/>
                <a:moveTo>
                  <a:pt x="2770" y="898"/>
                </a:moveTo>
                <a:cubicBezTo>
                  <a:pt x="2770" y="898"/>
                  <a:pt x="2765" y="896"/>
                  <a:pt x="2764" y="896"/>
                </a:cubicBezTo>
                <a:cubicBezTo>
                  <a:pt x="2763" y="895"/>
                  <a:pt x="2757" y="897"/>
                  <a:pt x="2757" y="897"/>
                </a:cubicBezTo>
                <a:cubicBezTo>
                  <a:pt x="2757" y="897"/>
                  <a:pt x="2761" y="899"/>
                  <a:pt x="2763" y="899"/>
                </a:cubicBezTo>
                <a:cubicBezTo>
                  <a:pt x="2765" y="899"/>
                  <a:pt x="2770" y="898"/>
                  <a:pt x="2770" y="898"/>
                </a:cubicBezTo>
                <a:close/>
                <a:moveTo>
                  <a:pt x="2944" y="944"/>
                </a:moveTo>
                <a:cubicBezTo>
                  <a:pt x="2948" y="950"/>
                  <a:pt x="2948" y="950"/>
                  <a:pt x="2948" y="950"/>
                </a:cubicBezTo>
                <a:cubicBezTo>
                  <a:pt x="2957" y="959"/>
                  <a:pt x="2957" y="959"/>
                  <a:pt x="2957" y="959"/>
                </a:cubicBezTo>
                <a:cubicBezTo>
                  <a:pt x="2956" y="949"/>
                  <a:pt x="2956" y="949"/>
                  <a:pt x="2956" y="949"/>
                </a:cubicBezTo>
                <a:cubicBezTo>
                  <a:pt x="2948" y="939"/>
                  <a:pt x="2948" y="939"/>
                  <a:pt x="2948" y="939"/>
                </a:cubicBezTo>
                <a:cubicBezTo>
                  <a:pt x="2948" y="939"/>
                  <a:pt x="2947" y="934"/>
                  <a:pt x="2943" y="935"/>
                </a:cubicBezTo>
                <a:cubicBezTo>
                  <a:pt x="2940" y="936"/>
                  <a:pt x="2942" y="940"/>
                  <a:pt x="2942" y="940"/>
                </a:cubicBezTo>
                <a:cubicBezTo>
                  <a:pt x="2944" y="944"/>
                  <a:pt x="2944" y="944"/>
                  <a:pt x="2944" y="944"/>
                </a:cubicBezTo>
                <a:cubicBezTo>
                  <a:pt x="2944" y="944"/>
                  <a:pt x="2944" y="944"/>
                  <a:pt x="2944" y="944"/>
                </a:cubicBezTo>
                <a:close/>
                <a:moveTo>
                  <a:pt x="3068" y="1300"/>
                </a:moveTo>
                <a:cubicBezTo>
                  <a:pt x="3066" y="1298"/>
                  <a:pt x="3064" y="1302"/>
                  <a:pt x="3064" y="1302"/>
                </a:cubicBezTo>
                <a:cubicBezTo>
                  <a:pt x="3064" y="1302"/>
                  <a:pt x="3063" y="1302"/>
                  <a:pt x="3061" y="1302"/>
                </a:cubicBezTo>
                <a:cubicBezTo>
                  <a:pt x="3060" y="1301"/>
                  <a:pt x="3056" y="1304"/>
                  <a:pt x="3053" y="1303"/>
                </a:cubicBezTo>
                <a:cubicBezTo>
                  <a:pt x="3051" y="1303"/>
                  <a:pt x="3052" y="1293"/>
                  <a:pt x="3052" y="1293"/>
                </a:cubicBezTo>
                <a:cubicBezTo>
                  <a:pt x="3055" y="1288"/>
                  <a:pt x="3055" y="1288"/>
                  <a:pt x="3055" y="1288"/>
                </a:cubicBezTo>
                <a:cubicBezTo>
                  <a:pt x="3055" y="1288"/>
                  <a:pt x="3055" y="1284"/>
                  <a:pt x="3053" y="1285"/>
                </a:cubicBezTo>
                <a:cubicBezTo>
                  <a:pt x="3051" y="1285"/>
                  <a:pt x="3051" y="1288"/>
                  <a:pt x="3051" y="1290"/>
                </a:cubicBezTo>
                <a:cubicBezTo>
                  <a:pt x="3051" y="1292"/>
                  <a:pt x="3048" y="1294"/>
                  <a:pt x="3048" y="1294"/>
                </a:cubicBezTo>
                <a:cubicBezTo>
                  <a:pt x="3047" y="1290"/>
                  <a:pt x="3047" y="1290"/>
                  <a:pt x="3047" y="1290"/>
                </a:cubicBezTo>
                <a:cubicBezTo>
                  <a:pt x="3044" y="1287"/>
                  <a:pt x="3044" y="1287"/>
                  <a:pt x="3044" y="1287"/>
                </a:cubicBezTo>
                <a:cubicBezTo>
                  <a:pt x="3044" y="1287"/>
                  <a:pt x="3049" y="1280"/>
                  <a:pt x="3049" y="1276"/>
                </a:cubicBezTo>
                <a:cubicBezTo>
                  <a:pt x="3050" y="1272"/>
                  <a:pt x="3043" y="1272"/>
                  <a:pt x="3043" y="1272"/>
                </a:cubicBezTo>
                <a:cubicBezTo>
                  <a:pt x="3043" y="1269"/>
                  <a:pt x="3043" y="1269"/>
                  <a:pt x="3043" y="1269"/>
                </a:cubicBezTo>
                <a:cubicBezTo>
                  <a:pt x="3041" y="1268"/>
                  <a:pt x="3041" y="1268"/>
                  <a:pt x="3041" y="1268"/>
                </a:cubicBezTo>
                <a:cubicBezTo>
                  <a:pt x="3037" y="1265"/>
                  <a:pt x="3037" y="1265"/>
                  <a:pt x="3037" y="1265"/>
                </a:cubicBezTo>
                <a:cubicBezTo>
                  <a:pt x="3039" y="1263"/>
                  <a:pt x="3039" y="1263"/>
                  <a:pt x="3039" y="1263"/>
                </a:cubicBezTo>
                <a:cubicBezTo>
                  <a:pt x="3035" y="1266"/>
                  <a:pt x="3035" y="1266"/>
                  <a:pt x="3035" y="1266"/>
                </a:cubicBezTo>
                <a:cubicBezTo>
                  <a:pt x="3037" y="1270"/>
                  <a:pt x="3037" y="1270"/>
                  <a:pt x="3037" y="1270"/>
                </a:cubicBezTo>
                <a:cubicBezTo>
                  <a:pt x="3036" y="1276"/>
                  <a:pt x="3036" y="1276"/>
                  <a:pt x="3036" y="1276"/>
                </a:cubicBezTo>
                <a:cubicBezTo>
                  <a:pt x="3039" y="1277"/>
                  <a:pt x="3039" y="1277"/>
                  <a:pt x="3039" y="1277"/>
                </a:cubicBezTo>
                <a:cubicBezTo>
                  <a:pt x="3037" y="1278"/>
                  <a:pt x="3037" y="1278"/>
                  <a:pt x="3037" y="1278"/>
                </a:cubicBezTo>
                <a:cubicBezTo>
                  <a:pt x="3038" y="1281"/>
                  <a:pt x="3038" y="1281"/>
                  <a:pt x="3038" y="1281"/>
                </a:cubicBezTo>
                <a:cubicBezTo>
                  <a:pt x="3042" y="1282"/>
                  <a:pt x="3042" y="1282"/>
                  <a:pt x="3042" y="1282"/>
                </a:cubicBezTo>
                <a:cubicBezTo>
                  <a:pt x="3038" y="1283"/>
                  <a:pt x="3038" y="1283"/>
                  <a:pt x="3038" y="1283"/>
                </a:cubicBezTo>
                <a:cubicBezTo>
                  <a:pt x="3040" y="1284"/>
                  <a:pt x="3040" y="1284"/>
                  <a:pt x="3040" y="1284"/>
                </a:cubicBezTo>
                <a:cubicBezTo>
                  <a:pt x="3040" y="1284"/>
                  <a:pt x="3039" y="1287"/>
                  <a:pt x="3039" y="1289"/>
                </a:cubicBezTo>
                <a:cubicBezTo>
                  <a:pt x="3039" y="1290"/>
                  <a:pt x="3042" y="1292"/>
                  <a:pt x="3042" y="1292"/>
                </a:cubicBezTo>
                <a:cubicBezTo>
                  <a:pt x="3039" y="1292"/>
                  <a:pt x="3039" y="1292"/>
                  <a:pt x="3039" y="1292"/>
                </a:cubicBezTo>
                <a:cubicBezTo>
                  <a:pt x="3038" y="1294"/>
                  <a:pt x="3038" y="1294"/>
                  <a:pt x="3038" y="1294"/>
                </a:cubicBezTo>
                <a:cubicBezTo>
                  <a:pt x="3040" y="1295"/>
                  <a:pt x="3040" y="1295"/>
                  <a:pt x="3040" y="1295"/>
                </a:cubicBezTo>
                <a:cubicBezTo>
                  <a:pt x="3040" y="1295"/>
                  <a:pt x="3036" y="1300"/>
                  <a:pt x="3035" y="1302"/>
                </a:cubicBezTo>
                <a:cubicBezTo>
                  <a:pt x="3035" y="1304"/>
                  <a:pt x="3037" y="1305"/>
                  <a:pt x="3037" y="1305"/>
                </a:cubicBezTo>
                <a:cubicBezTo>
                  <a:pt x="3037" y="1305"/>
                  <a:pt x="3033" y="1306"/>
                  <a:pt x="3030" y="1307"/>
                </a:cubicBezTo>
                <a:cubicBezTo>
                  <a:pt x="3027" y="1308"/>
                  <a:pt x="3028" y="1309"/>
                  <a:pt x="3024" y="1311"/>
                </a:cubicBezTo>
                <a:cubicBezTo>
                  <a:pt x="3021" y="1314"/>
                  <a:pt x="3018" y="1314"/>
                  <a:pt x="3014" y="1316"/>
                </a:cubicBezTo>
                <a:cubicBezTo>
                  <a:pt x="3009" y="1319"/>
                  <a:pt x="3013" y="1326"/>
                  <a:pt x="3013" y="1326"/>
                </a:cubicBezTo>
                <a:cubicBezTo>
                  <a:pt x="3013" y="1326"/>
                  <a:pt x="3018" y="1326"/>
                  <a:pt x="3020" y="1326"/>
                </a:cubicBezTo>
                <a:cubicBezTo>
                  <a:pt x="3022" y="1327"/>
                  <a:pt x="3020" y="1331"/>
                  <a:pt x="3020" y="1334"/>
                </a:cubicBezTo>
                <a:cubicBezTo>
                  <a:pt x="3020" y="1337"/>
                  <a:pt x="3017" y="1337"/>
                  <a:pt x="3013" y="1338"/>
                </a:cubicBezTo>
                <a:cubicBezTo>
                  <a:pt x="3010" y="1340"/>
                  <a:pt x="3011" y="1341"/>
                  <a:pt x="3011" y="1341"/>
                </a:cubicBezTo>
                <a:cubicBezTo>
                  <a:pt x="3009" y="1343"/>
                  <a:pt x="3009" y="1343"/>
                  <a:pt x="3009" y="1343"/>
                </a:cubicBezTo>
                <a:cubicBezTo>
                  <a:pt x="3009" y="1343"/>
                  <a:pt x="3013" y="1346"/>
                  <a:pt x="3016" y="1345"/>
                </a:cubicBezTo>
                <a:cubicBezTo>
                  <a:pt x="3019" y="1344"/>
                  <a:pt x="3025" y="1337"/>
                  <a:pt x="3027" y="1334"/>
                </a:cubicBezTo>
                <a:cubicBezTo>
                  <a:pt x="3030" y="1332"/>
                  <a:pt x="3035" y="1330"/>
                  <a:pt x="3036" y="1330"/>
                </a:cubicBezTo>
                <a:cubicBezTo>
                  <a:pt x="3037" y="1330"/>
                  <a:pt x="3038" y="1328"/>
                  <a:pt x="3038" y="1328"/>
                </a:cubicBezTo>
                <a:cubicBezTo>
                  <a:pt x="3038" y="1328"/>
                  <a:pt x="3040" y="1327"/>
                  <a:pt x="3042" y="1326"/>
                </a:cubicBezTo>
                <a:cubicBezTo>
                  <a:pt x="3044" y="1325"/>
                  <a:pt x="3042" y="1321"/>
                  <a:pt x="3042" y="1321"/>
                </a:cubicBezTo>
                <a:cubicBezTo>
                  <a:pt x="3042" y="1321"/>
                  <a:pt x="3044" y="1319"/>
                  <a:pt x="3047" y="1318"/>
                </a:cubicBezTo>
                <a:cubicBezTo>
                  <a:pt x="3050" y="1317"/>
                  <a:pt x="3052" y="1319"/>
                  <a:pt x="3055" y="1319"/>
                </a:cubicBezTo>
                <a:cubicBezTo>
                  <a:pt x="3057" y="1318"/>
                  <a:pt x="3056" y="1313"/>
                  <a:pt x="3056" y="1313"/>
                </a:cubicBezTo>
                <a:cubicBezTo>
                  <a:pt x="3056" y="1313"/>
                  <a:pt x="3058" y="1313"/>
                  <a:pt x="3061" y="1313"/>
                </a:cubicBezTo>
                <a:cubicBezTo>
                  <a:pt x="3063" y="1312"/>
                  <a:pt x="3062" y="1309"/>
                  <a:pt x="3063" y="1308"/>
                </a:cubicBezTo>
                <a:cubicBezTo>
                  <a:pt x="3065" y="1307"/>
                  <a:pt x="3066" y="1308"/>
                  <a:pt x="3069" y="1306"/>
                </a:cubicBezTo>
                <a:cubicBezTo>
                  <a:pt x="3071" y="1304"/>
                  <a:pt x="3070" y="1301"/>
                  <a:pt x="3068" y="1300"/>
                </a:cubicBezTo>
                <a:close/>
                <a:moveTo>
                  <a:pt x="2873" y="898"/>
                </a:moveTo>
                <a:cubicBezTo>
                  <a:pt x="2870" y="897"/>
                  <a:pt x="2866" y="900"/>
                  <a:pt x="2866" y="900"/>
                </a:cubicBezTo>
                <a:cubicBezTo>
                  <a:pt x="2870" y="903"/>
                  <a:pt x="2870" y="903"/>
                  <a:pt x="2870" y="903"/>
                </a:cubicBezTo>
                <a:cubicBezTo>
                  <a:pt x="2874" y="904"/>
                  <a:pt x="2876" y="899"/>
                  <a:pt x="2873" y="898"/>
                </a:cubicBezTo>
                <a:close/>
                <a:moveTo>
                  <a:pt x="2972" y="979"/>
                </a:moveTo>
                <a:cubicBezTo>
                  <a:pt x="2977" y="978"/>
                  <a:pt x="2977" y="978"/>
                  <a:pt x="2977" y="978"/>
                </a:cubicBezTo>
                <a:cubicBezTo>
                  <a:pt x="2970" y="974"/>
                  <a:pt x="2970" y="974"/>
                  <a:pt x="2970" y="974"/>
                </a:cubicBezTo>
                <a:cubicBezTo>
                  <a:pt x="2972" y="979"/>
                  <a:pt x="2972" y="979"/>
                  <a:pt x="2972" y="979"/>
                </a:cubicBezTo>
                <a:cubicBezTo>
                  <a:pt x="2972" y="979"/>
                  <a:pt x="2972" y="979"/>
                  <a:pt x="2972" y="979"/>
                </a:cubicBezTo>
                <a:close/>
                <a:moveTo>
                  <a:pt x="2918" y="918"/>
                </a:moveTo>
                <a:cubicBezTo>
                  <a:pt x="2919" y="919"/>
                  <a:pt x="2923" y="919"/>
                  <a:pt x="2924" y="922"/>
                </a:cubicBezTo>
                <a:cubicBezTo>
                  <a:pt x="2925" y="925"/>
                  <a:pt x="2921" y="934"/>
                  <a:pt x="2927" y="934"/>
                </a:cubicBezTo>
                <a:cubicBezTo>
                  <a:pt x="2930" y="935"/>
                  <a:pt x="2932" y="928"/>
                  <a:pt x="2929" y="924"/>
                </a:cubicBezTo>
                <a:cubicBezTo>
                  <a:pt x="2926" y="920"/>
                  <a:pt x="2922" y="916"/>
                  <a:pt x="2922" y="916"/>
                </a:cubicBezTo>
                <a:cubicBezTo>
                  <a:pt x="2920" y="916"/>
                  <a:pt x="2920" y="916"/>
                  <a:pt x="2920" y="916"/>
                </a:cubicBezTo>
                <a:cubicBezTo>
                  <a:pt x="2920" y="916"/>
                  <a:pt x="2914" y="909"/>
                  <a:pt x="2913" y="909"/>
                </a:cubicBezTo>
                <a:cubicBezTo>
                  <a:pt x="2912" y="908"/>
                  <a:pt x="2910" y="908"/>
                  <a:pt x="2910" y="908"/>
                </a:cubicBezTo>
                <a:cubicBezTo>
                  <a:pt x="2907" y="903"/>
                  <a:pt x="2907" y="903"/>
                  <a:pt x="2907" y="903"/>
                </a:cubicBezTo>
                <a:cubicBezTo>
                  <a:pt x="2906" y="910"/>
                  <a:pt x="2906" y="910"/>
                  <a:pt x="2906" y="910"/>
                </a:cubicBezTo>
                <a:cubicBezTo>
                  <a:pt x="2912" y="911"/>
                  <a:pt x="2912" y="911"/>
                  <a:pt x="2912" y="911"/>
                </a:cubicBezTo>
                <a:cubicBezTo>
                  <a:pt x="2912" y="911"/>
                  <a:pt x="2917" y="917"/>
                  <a:pt x="2918" y="918"/>
                </a:cubicBezTo>
                <a:close/>
                <a:moveTo>
                  <a:pt x="2901" y="951"/>
                </a:moveTo>
                <a:cubicBezTo>
                  <a:pt x="2903" y="949"/>
                  <a:pt x="2903" y="949"/>
                  <a:pt x="2903" y="949"/>
                </a:cubicBezTo>
                <a:cubicBezTo>
                  <a:pt x="2903" y="949"/>
                  <a:pt x="2906" y="949"/>
                  <a:pt x="2908" y="949"/>
                </a:cubicBezTo>
                <a:cubicBezTo>
                  <a:pt x="2911" y="948"/>
                  <a:pt x="2913" y="944"/>
                  <a:pt x="2913" y="944"/>
                </a:cubicBezTo>
                <a:cubicBezTo>
                  <a:pt x="2917" y="943"/>
                  <a:pt x="2917" y="943"/>
                  <a:pt x="2917" y="943"/>
                </a:cubicBezTo>
                <a:cubicBezTo>
                  <a:pt x="2916" y="940"/>
                  <a:pt x="2916" y="940"/>
                  <a:pt x="2916" y="940"/>
                </a:cubicBezTo>
                <a:cubicBezTo>
                  <a:pt x="2920" y="940"/>
                  <a:pt x="2920" y="940"/>
                  <a:pt x="2920" y="940"/>
                </a:cubicBezTo>
                <a:cubicBezTo>
                  <a:pt x="2920" y="940"/>
                  <a:pt x="2921" y="929"/>
                  <a:pt x="2920" y="926"/>
                </a:cubicBezTo>
                <a:cubicBezTo>
                  <a:pt x="2919" y="922"/>
                  <a:pt x="2912" y="926"/>
                  <a:pt x="2910" y="928"/>
                </a:cubicBezTo>
                <a:cubicBezTo>
                  <a:pt x="2908" y="930"/>
                  <a:pt x="2913" y="932"/>
                  <a:pt x="2913" y="932"/>
                </a:cubicBezTo>
                <a:cubicBezTo>
                  <a:pt x="2913" y="935"/>
                  <a:pt x="2913" y="935"/>
                  <a:pt x="2913" y="935"/>
                </a:cubicBezTo>
                <a:cubicBezTo>
                  <a:pt x="2903" y="940"/>
                  <a:pt x="2903" y="940"/>
                  <a:pt x="2903" y="940"/>
                </a:cubicBezTo>
                <a:cubicBezTo>
                  <a:pt x="2903" y="940"/>
                  <a:pt x="2898" y="940"/>
                  <a:pt x="2895" y="940"/>
                </a:cubicBezTo>
                <a:cubicBezTo>
                  <a:pt x="2892" y="941"/>
                  <a:pt x="2890" y="943"/>
                  <a:pt x="2888" y="944"/>
                </a:cubicBezTo>
                <a:cubicBezTo>
                  <a:pt x="2886" y="945"/>
                  <a:pt x="2885" y="943"/>
                  <a:pt x="2884" y="945"/>
                </a:cubicBezTo>
                <a:cubicBezTo>
                  <a:pt x="2887" y="950"/>
                  <a:pt x="2887" y="950"/>
                  <a:pt x="2887" y="950"/>
                </a:cubicBezTo>
                <a:cubicBezTo>
                  <a:pt x="2901" y="951"/>
                  <a:pt x="2901" y="951"/>
                  <a:pt x="2901" y="951"/>
                </a:cubicBezTo>
                <a:cubicBezTo>
                  <a:pt x="2901" y="951"/>
                  <a:pt x="2901" y="951"/>
                  <a:pt x="2901" y="951"/>
                </a:cubicBezTo>
                <a:close/>
                <a:moveTo>
                  <a:pt x="2535" y="955"/>
                </a:moveTo>
                <a:cubicBezTo>
                  <a:pt x="2534" y="960"/>
                  <a:pt x="2539" y="959"/>
                  <a:pt x="2539" y="959"/>
                </a:cubicBezTo>
                <a:cubicBezTo>
                  <a:pt x="2547" y="953"/>
                  <a:pt x="2547" y="953"/>
                  <a:pt x="2547" y="953"/>
                </a:cubicBezTo>
                <a:cubicBezTo>
                  <a:pt x="2546" y="952"/>
                  <a:pt x="2546" y="952"/>
                  <a:pt x="2546" y="952"/>
                </a:cubicBezTo>
                <a:cubicBezTo>
                  <a:pt x="2546" y="952"/>
                  <a:pt x="2535" y="953"/>
                  <a:pt x="2535" y="955"/>
                </a:cubicBezTo>
                <a:close/>
                <a:moveTo>
                  <a:pt x="2975" y="971"/>
                </a:moveTo>
                <a:cubicBezTo>
                  <a:pt x="2974" y="969"/>
                  <a:pt x="2974" y="969"/>
                  <a:pt x="2974" y="969"/>
                </a:cubicBezTo>
                <a:cubicBezTo>
                  <a:pt x="2969" y="969"/>
                  <a:pt x="2969" y="969"/>
                  <a:pt x="2969" y="969"/>
                </a:cubicBezTo>
                <a:cubicBezTo>
                  <a:pt x="2969" y="972"/>
                  <a:pt x="2969" y="972"/>
                  <a:pt x="2969" y="972"/>
                </a:cubicBezTo>
                <a:cubicBezTo>
                  <a:pt x="2975" y="971"/>
                  <a:pt x="2975" y="971"/>
                  <a:pt x="2975" y="971"/>
                </a:cubicBezTo>
                <a:cubicBezTo>
                  <a:pt x="2975" y="971"/>
                  <a:pt x="2975" y="971"/>
                  <a:pt x="2975" y="971"/>
                </a:cubicBezTo>
                <a:close/>
                <a:moveTo>
                  <a:pt x="2992" y="974"/>
                </a:moveTo>
                <a:cubicBezTo>
                  <a:pt x="2996" y="973"/>
                  <a:pt x="2982" y="958"/>
                  <a:pt x="2980" y="961"/>
                </a:cubicBezTo>
                <a:cubicBezTo>
                  <a:pt x="2979" y="963"/>
                  <a:pt x="2991" y="974"/>
                  <a:pt x="2992" y="974"/>
                </a:cubicBezTo>
                <a:close/>
                <a:moveTo>
                  <a:pt x="3015" y="997"/>
                </a:moveTo>
                <a:cubicBezTo>
                  <a:pt x="3006" y="993"/>
                  <a:pt x="3006" y="993"/>
                  <a:pt x="3006" y="993"/>
                </a:cubicBezTo>
                <a:cubicBezTo>
                  <a:pt x="3013" y="1001"/>
                  <a:pt x="3013" y="1001"/>
                  <a:pt x="3013" y="1001"/>
                </a:cubicBezTo>
                <a:cubicBezTo>
                  <a:pt x="3015" y="997"/>
                  <a:pt x="3015" y="997"/>
                  <a:pt x="3015" y="997"/>
                </a:cubicBezTo>
                <a:cubicBezTo>
                  <a:pt x="3015" y="997"/>
                  <a:pt x="3015" y="997"/>
                  <a:pt x="3015" y="997"/>
                </a:cubicBezTo>
                <a:close/>
                <a:moveTo>
                  <a:pt x="2990" y="982"/>
                </a:moveTo>
                <a:cubicBezTo>
                  <a:pt x="2990" y="982"/>
                  <a:pt x="2989" y="986"/>
                  <a:pt x="2993" y="988"/>
                </a:cubicBezTo>
                <a:cubicBezTo>
                  <a:pt x="2999" y="990"/>
                  <a:pt x="3002" y="988"/>
                  <a:pt x="3002" y="988"/>
                </a:cubicBezTo>
                <a:cubicBezTo>
                  <a:pt x="3002" y="988"/>
                  <a:pt x="3002" y="986"/>
                  <a:pt x="2998" y="983"/>
                </a:cubicBezTo>
                <a:cubicBezTo>
                  <a:pt x="2994" y="981"/>
                  <a:pt x="2990" y="982"/>
                  <a:pt x="2990" y="982"/>
                </a:cubicBezTo>
                <a:close/>
                <a:moveTo>
                  <a:pt x="2570" y="909"/>
                </a:moveTo>
                <a:cubicBezTo>
                  <a:pt x="2571" y="908"/>
                  <a:pt x="2575" y="897"/>
                  <a:pt x="2575" y="897"/>
                </a:cubicBezTo>
                <a:cubicBezTo>
                  <a:pt x="2575" y="897"/>
                  <a:pt x="2572" y="897"/>
                  <a:pt x="2571" y="894"/>
                </a:cubicBezTo>
                <a:cubicBezTo>
                  <a:pt x="2570" y="892"/>
                  <a:pt x="2572" y="889"/>
                  <a:pt x="2573" y="886"/>
                </a:cubicBezTo>
                <a:cubicBezTo>
                  <a:pt x="2574" y="883"/>
                  <a:pt x="2579" y="883"/>
                  <a:pt x="2581" y="883"/>
                </a:cubicBezTo>
                <a:cubicBezTo>
                  <a:pt x="2584" y="883"/>
                  <a:pt x="2585" y="878"/>
                  <a:pt x="2585" y="876"/>
                </a:cubicBezTo>
                <a:cubicBezTo>
                  <a:pt x="2585" y="874"/>
                  <a:pt x="2580" y="876"/>
                  <a:pt x="2580" y="876"/>
                </a:cubicBezTo>
                <a:cubicBezTo>
                  <a:pt x="2580" y="876"/>
                  <a:pt x="2580" y="873"/>
                  <a:pt x="2582" y="871"/>
                </a:cubicBezTo>
                <a:cubicBezTo>
                  <a:pt x="2585" y="868"/>
                  <a:pt x="2591" y="869"/>
                  <a:pt x="2593" y="870"/>
                </a:cubicBezTo>
                <a:cubicBezTo>
                  <a:pt x="2595" y="870"/>
                  <a:pt x="2595" y="867"/>
                  <a:pt x="2595" y="867"/>
                </a:cubicBezTo>
                <a:cubicBezTo>
                  <a:pt x="2590" y="862"/>
                  <a:pt x="2590" y="862"/>
                  <a:pt x="2590" y="862"/>
                </a:cubicBezTo>
                <a:cubicBezTo>
                  <a:pt x="2590" y="857"/>
                  <a:pt x="2590" y="857"/>
                  <a:pt x="2590" y="857"/>
                </a:cubicBezTo>
                <a:cubicBezTo>
                  <a:pt x="2590" y="857"/>
                  <a:pt x="2586" y="856"/>
                  <a:pt x="2586" y="855"/>
                </a:cubicBezTo>
                <a:cubicBezTo>
                  <a:pt x="2586" y="853"/>
                  <a:pt x="2588" y="850"/>
                  <a:pt x="2588" y="848"/>
                </a:cubicBezTo>
                <a:cubicBezTo>
                  <a:pt x="2588" y="846"/>
                  <a:pt x="2581" y="845"/>
                  <a:pt x="2581" y="845"/>
                </a:cubicBezTo>
                <a:cubicBezTo>
                  <a:pt x="2583" y="841"/>
                  <a:pt x="2583" y="841"/>
                  <a:pt x="2583" y="841"/>
                </a:cubicBezTo>
                <a:cubicBezTo>
                  <a:pt x="2581" y="840"/>
                  <a:pt x="2581" y="840"/>
                  <a:pt x="2581" y="840"/>
                </a:cubicBezTo>
                <a:cubicBezTo>
                  <a:pt x="2582" y="836"/>
                  <a:pt x="2582" y="836"/>
                  <a:pt x="2582" y="836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3" y="833"/>
                  <a:pt x="2583" y="833"/>
                  <a:pt x="2583" y="833"/>
                </a:cubicBezTo>
                <a:cubicBezTo>
                  <a:pt x="2581" y="824"/>
                  <a:pt x="2581" y="824"/>
                  <a:pt x="2581" y="824"/>
                </a:cubicBezTo>
                <a:cubicBezTo>
                  <a:pt x="2581" y="824"/>
                  <a:pt x="2584" y="827"/>
                  <a:pt x="2586" y="828"/>
                </a:cubicBezTo>
                <a:cubicBezTo>
                  <a:pt x="2588" y="828"/>
                  <a:pt x="2591" y="827"/>
                  <a:pt x="2591" y="827"/>
                </a:cubicBezTo>
                <a:cubicBezTo>
                  <a:pt x="2591" y="827"/>
                  <a:pt x="2586" y="822"/>
                  <a:pt x="2587" y="820"/>
                </a:cubicBezTo>
                <a:cubicBezTo>
                  <a:pt x="2588" y="818"/>
                  <a:pt x="2595" y="821"/>
                  <a:pt x="2595" y="821"/>
                </a:cubicBezTo>
                <a:cubicBezTo>
                  <a:pt x="2598" y="817"/>
                  <a:pt x="2598" y="817"/>
                  <a:pt x="2598" y="817"/>
                </a:cubicBezTo>
                <a:cubicBezTo>
                  <a:pt x="2595" y="816"/>
                  <a:pt x="2595" y="816"/>
                  <a:pt x="2595" y="816"/>
                </a:cubicBezTo>
                <a:cubicBezTo>
                  <a:pt x="2595" y="816"/>
                  <a:pt x="2594" y="813"/>
                  <a:pt x="2592" y="812"/>
                </a:cubicBezTo>
                <a:cubicBezTo>
                  <a:pt x="2591" y="811"/>
                  <a:pt x="2584" y="810"/>
                  <a:pt x="2584" y="810"/>
                </a:cubicBezTo>
                <a:cubicBezTo>
                  <a:pt x="2584" y="810"/>
                  <a:pt x="2584" y="806"/>
                  <a:pt x="2581" y="804"/>
                </a:cubicBezTo>
                <a:cubicBezTo>
                  <a:pt x="2579" y="801"/>
                  <a:pt x="2576" y="803"/>
                  <a:pt x="2576" y="803"/>
                </a:cubicBezTo>
                <a:cubicBezTo>
                  <a:pt x="2574" y="794"/>
                  <a:pt x="2574" y="794"/>
                  <a:pt x="2574" y="794"/>
                </a:cubicBezTo>
                <a:cubicBezTo>
                  <a:pt x="2573" y="797"/>
                  <a:pt x="2573" y="797"/>
                  <a:pt x="2573" y="797"/>
                </a:cubicBezTo>
                <a:cubicBezTo>
                  <a:pt x="2571" y="794"/>
                  <a:pt x="2571" y="794"/>
                  <a:pt x="2571" y="794"/>
                </a:cubicBezTo>
                <a:cubicBezTo>
                  <a:pt x="2569" y="803"/>
                  <a:pt x="2569" y="803"/>
                  <a:pt x="2569" y="803"/>
                </a:cubicBezTo>
                <a:cubicBezTo>
                  <a:pt x="2569" y="803"/>
                  <a:pt x="2566" y="803"/>
                  <a:pt x="2565" y="804"/>
                </a:cubicBezTo>
                <a:cubicBezTo>
                  <a:pt x="2563" y="805"/>
                  <a:pt x="2563" y="810"/>
                  <a:pt x="2563" y="810"/>
                </a:cubicBezTo>
                <a:cubicBezTo>
                  <a:pt x="2560" y="811"/>
                  <a:pt x="2560" y="811"/>
                  <a:pt x="2560" y="811"/>
                </a:cubicBezTo>
                <a:cubicBezTo>
                  <a:pt x="2561" y="816"/>
                  <a:pt x="2561" y="816"/>
                  <a:pt x="2561" y="816"/>
                </a:cubicBezTo>
                <a:cubicBezTo>
                  <a:pt x="2561" y="816"/>
                  <a:pt x="2556" y="816"/>
                  <a:pt x="2553" y="815"/>
                </a:cubicBezTo>
                <a:cubicBezTo>
                  <a:pt x="2549" y="814"/>
                  <a:pt x="2549" y="822"/>
                  <a:pt x="2549" y="822"/>
                </a:cubicBezTo>
                <a:cubicBezTo>
                  <a:pt x="2544" y="829"/>
                  <a:pt x="2544" y="829"/>
                  <a:pt x="2544" y="829"/>
                </a:cubicBezTo>
                <a:cubicBezTo>
                  <a:pt x="2544" y="829"/>
                  <a:pt x="2542" y="836"/>
                  <a:pt x="2539" y="839"/>
                </a:cubicBezTo>
                <a:cubicBezTo>
                  <a:pt x="2535" y="841"/>
                  <a:pt x="2527" y="843"/>
                  <a:pt x="2525" y="843"/>
                </a:cubicBezTo>
                <a:cubicBezTo>
                  <a:pt x="2523" y="844"/>
                  <a:pt x="2516" y="849"/>
                  <a:pt x="2516" y="849"/>
                </a:cubicBezTo>
                <a:cubicBezTo>
                  <a:pt x="2514" y="854"/>
                  <a:pt x="2514" y="854"/>
                  <a:pt x="2514" y="854"/>
                </a:cubicBezTo>
                <a:cubicBezTo>
                  <a:pt x="2514" y="854"/>
                  <a:pt x="2519" y="857"/>
                  <a:pt x="2515" y="860"/>
                </a:cubicBezTo>
                <a:cubicBezTo>
                  <a:pt x="2512" y="863"/>
                  <a:pt x="2509" y="858"/>
                  <a:pt x="2507" y="858"/>
                </a:cubicBezTo>
                <a:cubicBezTo>
                  <a:pt x="2504" y="857"/>
                  <a:pt x="2502" y="861"/>
                  <a:pt x="2502" y="861"/>
                </a:cubicBezTo>
                <a:cubicBezTo>
                  <a:pt x="2502" y="861"/>
                  <a:pt x="2498" y="858"/>
                  <a:pt x="2495" y="861"/>
                </a:cubicBezTo>
                <a:cubicBezTo>
                  <a:pt x="2492" y="864"/>
                  <a:pt x="2491" y="871"/>
                  <a:pt x="2491" y="871"/>
                </a:cubicBezTo>
                <a:cubicBezTo>
                  <a:pt x="2494" y="876"/>
                  <a:pt x="2494" y="876"/>
                  <a:pt x="2494" y="876"/>
                </a:cubicBezTo>
                <a:cubicBezTo>
                  <a:pt x="2496" y="883"/>
                  <a:pt x="2496" y="883"/>
                  <a:pt x="2496" y="883"/>
                </a:cubicBezTo>
                <a:cubicBezTo>
                  <a:pt x="2502" y="887"/>
                  <a:pt x="2502" y="887"/>
                  <a:pt x="2502" y="887"/>
                </a:cubicBezTo>
                <a:cubicBezTo>
                  <a:pt x="2501" y="892"/>
                  <a:pt x="2501" y="892"/>
                  <a:pt x="2501" y="892"/>
                </a:cubicBezTo>
                <a:cubicBezTo>
                  <a:pt x="2504" y="894"/>
                  <a:pt x="2504" y="894"/>
                  <a:pt x="2504" y="894"/>
                </a:cubicBezTo>
                <a:cubicBezTo>
                  <a:pt x="2502" y="898"/>
                  <a:pt x="2502" y="898"/>
                  <a:pt x="2502" y="898"/>
                </a:cubicBezTo>
                <a:cubicBezTo>
                  <a:pt x="2505" y="902"/>
                  <a:pt x="2505" y="902"/>
                  <a:pt x="2505" y="902"/>
                </a:cubicBezTo>
                <a:cubicBezTo>
                  <a:pt x="2503" y="903"/>
                  <a:pt x="2503" y="903"/>
                  <a:pt x="2503" y="903"/>
                </a:cubicBezTo>
                <a:cubicBezTo>
                  <a:pt x="2505" y="911"/>
                  <a:pt x="2505" y="911"/>
                  <a:pt x="2505" y="911"/>
                </a:cubicBezTo>
                <a:cubicBezTo>
                  <a:pt x="2511" y="911"/>
                  <a:pt x="2511" y="911"/>
                  <a:pt x="2511" y="911"/>
                </a:cubicBezTo>
                <a:cubicBezTo>
                  <a:pt x="2515" y="912"/>
                  <a:pt x="2515" y="912"/>
                  <a:pt x="2515" y="912"/>
                </a:cubicBezTo>
                <a:cubicBezTo>
                  <a:pt x="2515" y="912"/>
                  <a:pt x="2517" y="907"/>
                  <a:pt x="2520" y="907"/>
                </a:cubicBezTo>
                <a:cubicBezTo>
                  <a:pt x="2522" y="907"/>
                  <a:pt x="2520" y="914"/>
                  <a:pt x="2522" y="916"/>
                </a:cubicBezTo>
                <a:cubicBezTo>
                  <a:pt x="2525" y="918"/>
                  <a:pt x="2527" y="912"/>
                  <a:pt x="2527" y="912"/>
                </a:cubicBezTo>
                <a:cubicBezTo>
                  <a:pt x="2530" y="914"/>
                  <a:pt x="2530" y="914"/>
                  <a:pt x="2530" y="914"/>
                </a:cubicBezTo>
                <a:cubicBezTo>
                  <a:pt x="2530" y="914"/>
                  <a:pt x="2534" y="911"/>
                  <a:pt x="2536" y="911"/>
                </a:cubicBezTo>
                <a:cubicBezTo>
                  <a:pt x="2538" y="911"/>
                  <a:pt x="2536" y="917"/>
                  <a:pt x="2538" y="917"/>
                </a:cubicBezTo>
                <a:cubicBezTo>
                  <a:pt x="2540" y="918"/>
                  <a:pt x="2547" y="915"/>
                  <a:pt x="2550" y="915"/>
                </a:cubicBezTo>
                <a:cubicBezTo>
                  <a:pt x="2554" y="916"/>
                  <a:pt x="2551" y="926"/>
                  <a:pt x="2551" y="926"/>
                </a:cubicBezTo>
                <a:cubicBezTo>
                  <a:pt x="2551" y="926"/>
                  <a:pt x="2553" y="926"/>
                  <a:pt x="2557" y="924"/>
                </a:cubicBezTo>
                <a:cubicBezTo>
                  <a:pt x="2560" y="922"/>
                  <a:pt x="2565" y="914"/>
                  <a:pt x="2565" y="914"/>
                </a:cubicBezTo>
                <a:cubicBezTo>
                  <a:pt x="2565" y="914"/>
                  <a:pt x="2569" y="911"/>
                  <a:pt x="2570" y="909"/>
                </a:cubicBezTo>
                <a:close/>
                <a:moveTo>
                  <a:pt x="2711" y="969"/>
                </a:moveTo>
                <a:cubicBezTo>
                  <a:pt x="2715" y="966"/>
                  <a:pt x="2715" y="966"/>
                  <a:pt x="2715" y="966"/>
                </a:cubicBezTo>
                <a:cubicBezTo>
                  <a:pt x="2715" y="966"/>
                  <a:pt x="2719" y="967"/>
                  <a:pt x="2719" y="963"/>
                </a:cubicBezTo>
                <a:cubicBezTo>
                  <a:pt x="2719" y="958"/>
                  <a:pt x="2708" y="964"/>
                  <a:pt x="2708" y="968"/>
                </a:cubicBezTo>
                <a:cubicBezTo>
                  <a:pt x="2711" y="969"/>
                  <a:pt x="2711" y="969"/>
                  <a:pt x="2711" y="969"/>
                </a:cubicBezTo>
                <a:cubicBezTo>
                  <a:pt x="2711" y="969"/>
                  <a:pt x="2711" y="969"/>
                  <a:pt x="2711" y="969"/>
                </a:cubicBezTo>
                <a:close/>
                <a:moveTo>
                  <a:pt x="2550" y="969"/>
                </a:moveTo>
                <a:cubicBezTo>
                  <a:pt x="2549" y="973"/>
                  <a:pt x="2549" y="973"/>
                  <a:pt x="2549" y="973"/>
                </a:cubicBezTo>
                <a:cubicBezTo>
                  <a:pt x="2549" y="973"/>
                  <a:pt x="2551" y="979"/>
                  <a:pt x="2554" y="977"/>
                </a:cubicBezTo>
                <a:cubicBezTo>
                  <a:pt x="2557" y="975"/>
                  <a:pt x="2557" y="969"/>
                  <a:pt x="2555" y="969"/>
                </a:cubicBezTo>
                <a:cubicBezTo>
                  <a:pt x="2553" y="969"/>
                  <a:pt x="2550" y="969"/>
                  <a:pt x="2550" y="969"/>
                </a:cubicBezTo>
                <a:close/>
                <a:moveTo>
                  <a:pt x="2700" y="1011"/>
                </a:moveTo>
                <a:cubicBezTo>
                  <a:pt x="2702" y="1013"/>
                  <a:pt x="2705" y="1006"/>
                  <a:pt x="2705" y="1006"/>
                </a:cubicBezTo>
                <a:cubicBezTo>
                  <a:pt x="2703" y="1003"/>
                  <a:pt x="2698" y="1008"/>
                  <a:pt x="2700" y="1011"/>
                </a:cubicBezTo>
                <a:close/>
                <a:moveTo>
                  <a:pt x="2562" y="969"/>
                </a:moveTo>
                <a:cubicBezTo>
                  <a:pt x="2560" y="969"/>
                  <a:pt x="2558" y="971"/>
                  <a:pt x="2558" y="971"/>
                </a:cubicBezTo>
                <a:cubicBezTo>
                  <a:pt x="2558" y="971"/>
                  <a:pt x="2562" y="974"/>
                  <a:pt x="2564" y="973"/>
                </a:cubicBezTo>
                <a:cubicBezTo>
                  <a:pt x="2566" y="971"/>
                  <a:pt x="2564" y="969"/>
                  <a:pt x="2562" y="969"/>
                </a:cubicBezTo>
                <a:close/>
                <a:moveTo>
                  <a:pt x="2748" y="940"/>
                </a:moveTo>
                <a:cubicBezTo>
                  <a:pt x="2744" y="941"/>
                  <a:pt x="2744" y="941"/>
                  <a:pt x="2744" y="941"/>
                </a:cubicBezTo>
                <a:cubicBezTo>
                  <a:pt x="2743" y="945"/>
                  <a:pt x="2743" y="945"/>
                  <a:pt x="2743" y="945"/>
                </a:cubicBezTo>
                <a:cubicBezTo>
                  <a:pt x="2741" y="947"/>
                  <a:pt x="2741" y="947"/>
                  <a:pt x="2741" y="947"/>
                </a:cubicBezTo>
                <a:cubicBezTo>
                  <a:pt x="2742" y="954"/>
                  <a:pt x="2742" y="954"/>
                  <a:pt x="2742" y="954"/>
                </a:cubicBezTo>
                <a:cubicBezTo>
                  <a:pt x="2744" y="955"/>
                  <a:pt x="2744" y="955"/>
                  <a:pt x="2744" y="955"/>
                </a:cubicBezTo>
                <a:cubicBezTo>
                  <a:pt x="2744" y="952"/>
                  <a:pt x="2744" y="952"/>
                  <a:pt x="2744" y="952"/>
                </a:cubicBezTo>
                <a:cubicBezTo>
                  <a:pt x="2745" y="952"/>
                  <a:pt x="2745" y="952"/>
                  <a:pt x="2745" y="952"/>
                </a:cubicBezTo>
                <a:cubicBezTo>
                  <a:pt x="2745" y="949"/>
                  <a:pt x="2745" y="949"/>
                  <a:pt x="2745" y="949"/>
                </a:cubicBezTo>
                <a:cubicBezTo>
                  <a:pt x="2743" y="949"/>
                  <a:pt x="2743" y="949"/>
                  <a:pt x="2743" y="949"/>
                </a:cubicBezTo>
                <a:cubicBezTo>
                  <a:pt x="2746" y="944"/>
                  <a:pt x="2746" y="944"/>
                  <a:pt x="2746" y="944"/>
                </a:cubicBezTo>
                <a:cubicBezTo>
                  <a:pt x="2748" y="940"/>
                  <a:pt x="2748" y="940"/>
                  <a:pt x="2748" y="940"/>
                </a:cubicBezTo>
                <a:cubicBezTo>
                  <a:pt x="2748" y="940"/>
                  <a:pt x="2748" y="940"/>
                  <a:pt x="2748" y="940"/>
                </a:cubicBezTo>
                <a:close/>
                <a:moveTo>
                  <a:pt x="3003" y="970"/>
                </a:moveTo>
                <a:cubicBezTo>
                  <a:pt x="3003" y="970"/>
                  <a:pt x="3001" y="977"/>
                  <a:pt x="3002" y="979"/>
                </a:cubicBezTo>
                <a:cubicBezTo>
                  <a:pt x="3003" y="981"/>
                  <a:pt x="3009" y="986"/>
                  <a:pt x="3009" y="986"/>
                </a:cubicBezTo>
                <a:cubicBezTo>
                  <a:pt x="3003" y="970"/>
                  <a:pt x="3003" y="970"/>
                  <a:pt x="3003" y="970"/>
                </a:cubicBezTo>
                <a:cubicBezTo>
                  <a:pt x="3003" y="970"/>
                  <a:pt x="3003" y="970"/>
                  <a:pt x="3003" y="970"/>
                </a:cubicBezTo>
                <a:close/>
                <a:moveTo>
                  <a:pt x="2454" y="943"/>
                </a:moveTo>
                <a:cubicBezTo>
                  <a:pt x="2455" y="942"/>
                  <a:pt x="2455" y="939"/>
                  <a:pt x="2455" y="939"/>
                </a:cubicBezTo>
                <a:cubicBezTo>
                  <a:pt x="2459" y="943"/>
                  <a:pt x="2459" y="943"/>
                  <a:pt x="2459" y="943"/>
                </a:cubicBezTo>
                <a:cubicBezTo>
                  <a:pt x="2459" y="943"/>
                  <a:pt x="2461" y="938"/>
                  <a:pt x="2461" y="935"/>
                </a:cubicBezTo>
                <a:cubicBezTo>
                  <a:pt x="2461" y="931"/>
                  <a:pt x="2463" y="922"/>
                  <a:pt x="2463" y="922"/>
                </a:cubicBezTo>
                <a:cubicBezTo>
                  <a:pt x="2463" y="922"/>
                  <a:pt x="2461" y="921"/>
                  <a:pt x="2461" y="919"/>
                </a:cubicBezTo>
                <a:cubicBezTo>
                  <a:pt x="2461" y="917"/>
                  <a:pt x="2465" y="914"/>
                  <a:pt x="2463" y="913"/>
                </a:cubicBezTo>
                <a:cubicBezTo>
                  <a:pt x="2462" y="912"/>
                  <a:pt x="2461" y="911"/>
                  <a:pt x="2461" y="911"/>
                </a:cubicBezTo>
                <a:cubicBezTo>
                  <a:pt x="2460" y="904"/>
                  <a:pt x="2460" y="904"/>
                  <a:pt x="2460" y="904"/>
                </a:cubicBezTo>
                <a:cubicBezTo>
                  <a:pt x="2454" y="905"/>
                  <a:pt x="2454" y="905"/>
                  <a:pt x="2454" y="905"/>
                </a:cubicBezTo>
                <a:cubicBezTo>
                  <a:pt x="2454" y="905"/>
                  <a:pt x="2455" y="901"/>
                  <a:pt x="2453" y="900"/>
                </a:cubicBezTo>
                <a:cubicBezTo>
                  <a:pt x="2452" y="899"/>
                  <a:pt x="2449" y="899"/>
                  <a:pt x="2449" y="899"/>
                </a:cubicBezTo>
                <a:cubicBezTo>
                  <a:pt x="2448" y="890"/>
                  <a:pt x="2448" y="890"/>
                  <a:pt x="2448" y="890"/>
                </a:cubicBezTo>
                <a:cubicBezTo>
                  <a:pt x="2448" y="890"/>
                  <a:pt x="2439" y="890"/>
                  <a:pt x="2438" y="888"/>
                </a:cubicBezTo>
                <a:cubicBezTo>
                  <a:pt x="2438" y="885"/>
                  <a:pt x="2440" y="882"/>
                  <a:pt x="2440" y="882"/>
                </a:cubicBezTo>
                <a:cubicBezTo>
                  <a:pt x="2437" y="881"/>
                  <a:pt x="2437" y="881"/>
                  <a:pt x="2437" y="881"/>
                </a:cubicBezTo>
                <a:cubicBezTo>
                  <a:pt x="2437" y="881"/>
                  <a:pt x="2442" y="875"/>
                  <a:pt x="2440" y="874"/>
                </a:cubicBezTo>
                <a:cubicBezTo>
                  <a:pt x="2438" y="872"/>
                  <a:pt x="2430" y="876"/>
                  <a:pt x="2430" y="876"/>
                </a:cubicBezTo>
                <a:cubicBezTo>
                  <a:pt x="2430" y="876"/>
                  <a:pt x="2435" y="871"/>
                  <a:pt x="2433" y="870"/>
                </a:cubicBezTo>
                <a:cubicBezTo>
                  <a:pt x="2431" y="869"/>
                  <a:pt x="2426" y="868"/>
                  <a:pt x="2426" y="868"/>
                </a:cubicBezTo>
                <a:cubicBezTo>
                  <a:pt x="2426" y="868"/>
                  <a:pt x="2429" y="867"/>
                  <a:pt x="2426" y="863"/>
                </a:cubicBezTo>
                <a:cubicBezTo>
                  <a:pt x="2423" y="859"/>
                  <a:pt x="2418" y="859"/>
                  <a:pt x="2418" y="859"/>
                </a:cubicBezTo>
                <a:cubicBezTo>
                  <a:pt x="2418" y="859"/>
                  <a:pt x="2417" y="855"/>
                  <a:pt x="2416" y="853"/>
                </a:cubicBezTo>
                <a:cubicBezTo>
                  <a:pt x="2414" y="852"/>
                  <a:pt x="2412" y="853"/>
                  <a:pt x="2412" y="853"/>
                </a:cubicBezTo>
                <a:cubicBezTo>
                  <a:pt x="2413" y="856"/>
                  <a:pt x="2413" y="856"/>
                  <a:pt x="2413" y="856"/>
                </a:cubicBezTo>
                <a:cubicBezTo>
                  <a:pt x="2413" y="856"/>
                  <a:pt x="2408" y="852"/>
                  <a:pt x="2407" y="851"/>
                </a:cubicBezTo>
                <a:cubicBezTo>
                  <a:pt x="2406" y="849"/>
                  <a:pt x="2403" y="844"/>
                  <a:pt x="2403" y="844"/>
                </a:cubicBezTo>
                <a:cubicBezTo>
                  <a:pt x="2403" y="844"/>
                  <a:pt x="2397" y="839"/>
                  <a:pt x="2394" y="837"/>
                </a:cubicBezTo>
                <a:cubicBezTo>
                  <a:pt x="2391" y="834"/>
                  <a:pt x="2387" y="830"/>
                  <a:pt x="2387" y="830"/>
                </a:cubicBezTo>
                <a:cubicBezTo>
                  <a:pt x="2387" y="830"/>
                  <a:pt x="2387" y="829"/>
                  <a:pt x="2386" y="828"/>
                </a:cubicBezTo>
                <a:cubicBezTo>
                  <a:pt x="2385" y="827"/>
                  <a:pt x="2384" y="826"/>
                  <a:pt x="2384" y="826"/>
                </a:cubicBezTo>
                <a:cubicBezTo>
                  <a:pt x="2384" y="826"/>
                  <a:pt x="2381" y="822"/>
                  <a:pt x="2380" y="820"/>
                </a:cubicBezTo>
                <a:cubicBezTo>
                  <a:pt x="2378" y="819"/>
                  <a:pt x="2376" y="819"/>
                  <a:pt x="2376" y="819"/>
                </a:cubicBezTo>
                <a:cubicBezTo>
                  <a:pt x="2365" y="818"/>
                  <a:pt x="2365" y="818"/>
                  <a:pt x="2365" y="818"/>
                </a:cubicBezTo>
                <a:cubicBezTo>
                  <a:pt x="2365" y="818"/>
                  <a:pt x="2360" y="813"/>
                  <a:pt x="2358" y="813"/>
                </a:cubicBezTo>
                <a:cubicBezTo>
                  <a:pt x="2356" y="814"/>
                  <a:pt x="2355" y="819"/>
                  <a:pt x="2356" y="822"/>
                </a:cubicBezTo>
                <a:cubicBezTo>
                  <a:pt x="2358" y="824"/>
                  <a:pt x="2373" y="838"/>
                  <a:pt x="2373" y="838"/>
                </a:cubicBezTo>
                <a:cubicBezTo>
                  <a:pt x="2378" y="846"/>
                  <a:pt x="2378" y="846"/>
                  <a:pt x="2378" y="846"/>
                </a:cubicBezTo>
                <a:cubicBezTo>
                  <a:pt x="2380" y="845"/>
                  <a:pt x="2380" y="845"/>
                  <a:pt x="2380" y="845"/>
                </a:cubicBezTo>
                <a:cubicBezTo>
                  <a:pt x="2380" y="845"/>
                  <a:pt x="2380" y="850"/>
                  <a:pt x="2381" y="852"/>
                </a:cubicBezTo>
                <a:cubicBezTo>
                  <a:pt x="2383" y="853"/>
                  <a:pt x="2390" y="855"/>
                  <a:pt x="2392" y="859"/>
                </a:cubicBezTo>
                <a:cubicBezTo>
                  <a:pt x="2394" y="862"/>
                  <a:pt x="2395" y="869"/>
                  <a:pt x="2395" y="869"/>
                </a:cubicBezTo>
                <a:cubicBezTo>
                  <a:pt x="2395" y="869"/>
                  <a:pt x="2395" y="876"/>
                  <a:pt x="2396" y="876"/>
                </a:cubicBezTo>
                <a:cubicBezTo>
                  <a:pt x="2398" y="876"/>
                  <a:pt x="2401" y="874"/>
                  <a:pt x="2401" y="876"/>
                </a:cubicBezTo>
                <a:cubicBezTo>
                  <a:pt x="2402" y="878"/>
                  <a:pt x="2403" y="882"/>
                  <a:pt x="2403" y="882"/>
                </a:cubicBezTo>
                <a:cubicBezTo>
                  <a:pt x="2408" y="886"/>
                  <a:pt x="2408" y="886"/>
                  <a:pt x="2408" y="886"/>
                </a:cubicBezTo>
                <a:cubicBezTo>
                  <a:pt x="2408" y="889"/>
                  <a:pt x="2408" y="889"/>
                  <a:pt x="2408" y="889"/>
                </a:cubicBezTo>
                <a:cubicBezTo>
                  <a:pt x="2412" y="898"/>
                  <a:pt x="2412" y="898"/>
                  <a:pt x="2412" y="898"/>
                </a:cubicBezTo>
                <a:cubicBezTo>
                  <a:pt x="2412" y="898"/>
                  <a:pt x="2411" y="901"/>
                  <a:pt x="2413" y="904"/>
                </a:cubicBezTo>
                <a:cubicBezTo>
                  <a:pt x="2415" y="907"/>
                  <a:pt x="2417" y="908"/>
                  <a:pt x="2417" y="908"/>
                </a:cubicBezTo>
                <a:cubicBezTo>
                  <a:pt x="2417" y="908"/>
                  <a:pt x="2419" y="913"/>
                  <a:pt x="2420" y="915"/>
                </a:cubicBezTo>
                <a:cubicBezTo>
                  <a:pt x="2422" y="916"/>
                  <a:pt x="2426" y="918"/>
                  <a:pt x="2426" y="918"/>
                </a:cubicBezTo>
                <a:cubicBezTo>
                  <a:pt x="2426" y="923"/>
                  <a:pt x="2426" y="923"/>
                  <a:pt x="2426" y="923"/>
                </a:cubicBezTo>
                <a:cubicBezTo>
                  <a:pt x="2426" y="923"/>
                  <a:pt x="2437" y="932"/>
                  <a:pt x="2437" y="933"/>
                </a:cubicBezTo>
                <a:cubicBezTo>
                  <a:pt x="2438" y="934"/>
                  <a:pt x="2441" y="934"/>
                  <a:pt x="2441" y="934"/>
                </a:cubicBezTo>
                <a:cubicBezTo>
                  <a:pt x="2441" y="934"/>
                  <a:pt x="2443" y="939"/>
                  <a:pt x="2445" y="940"/>
                </a:cubicBezTo>
                <a:cubicBezTo>
                  <a:pt x="2446" y="941"/>
                  <a:pt x="2447" y="945"/>
                  <a:pt x="2448" y="945"/>
                </a:cubicBezTo>
                <a:cubicBezTo>
                  <a:pt x="2448" y="945"/>
                  <a:pt x="2447" y="940"/>
                  <a:pt x="2448" y="940"/>
                </a:cubicBezTo>
                <a:cubicBezTo>
                  <a:pt x="2449" y="939"/>
                  <a:pt x="2453" y="944"/>
                  <a:pt x="2454" y="943"/>
                </a:cubicBezTo>
                <a:close/>
                <a:moveTo>
                  <a:pt x="2770" y="1339"/>
                </a:moveTo>
                <a:cubicBezTo>
                  <a:pt x="2768" y="1337"/>
                  <a:pt x="2765" y="1342"/>
                  <a:pt x="2765" y="1342"/>
                </a:cubicBezTo>
                <a:cubicBezTo>
                  <a:pt x="2765" y="1342"/>
                  <a:pt x="2765" y="1340"/>
                  <a:pt x="2764" y="1340"/>
                </a:cubicBezTo>
                <a:cubicBezTo>
                  <a:pt x="2763" y="1340"/>
                  <a:pt x="2758" y="1341"/>
                  <a:pt x="2758" y="1341"/>
                </a:cubicBezTo>
                <a:cubicBezTo>
                  <a:pt x="2757" y="1343"/>
                  <a:pt x="2757" y="1343"/>
                  <a:pt x="2757" y="1343"/>
                </a:cubicBezTo>
                <a:cubicBezTo>
                  <a:pt x="2755" y="1340"/>
                  <a:pt x="2755" y="1340"/>
                  <a:pt x="2755" y="1340"/>
                </a:cubicBezTo>
                <a:cubicBezTo>
                  <a:pt x="2749" y="1340"/>
                  <a:pt x="2749" y="1340"/>
                  <a:pt x="2749" y="1340"/>
                </a:cubicBezTo>
                <a:cubicBezTo>
                  <a:pt x="2746" y="1336"/>
                  <a:pt x="2746" y="1336"/>
                  <a:pt x="2746" y="1336"/>
                </a:cubicBezTo>
                <a:cubicBezTo>
                  <a:pt x="2746" y="1336"/>
                  <a:pt x="2745" y="1337"/>
                  <a:pt x="2744" y="1337"/>
                </a:cubicBezTo>
                <a:cubicBezTo>
                  <a:pt x="2743" y="1337"/>
                  <a:pt x="2739" y="1333"/>
                  <a:pt x="2739" y="1333"/>
                </a:cubicBezTo>
                <a:cubicBezTo>
                  <a:pt x="2739" y="1335"/>
                  <a:pt x="2739" y="1335"/>
                  <a:pt x="2739" y="1335"/>
                </a:cubicBezTo>
                <a:cubicBezTo>
                  <a:pt x="2739" y="1338"/>
                  <a:pt x="2739" y="1338"/>
                  <a:pt x="2739" y="1338"/>
                </a:cubicBezTo>
                <a:cubicBezTo>
                  <a:pt x="2739" y="1338"/>
                  <a:pt x="2740" y="1341"/>
                  <a:pt x="2739" y="1342"/>
                </a:cubicBezTo>
                <a:cubicBezTo>
                  <a:pt x="2739" y="1343"/>
                  <a:pt x="2738" y="1345"/>
                  <a:pt x="2739" y="1347"/>
                </a:cubicBezTo>
                <a:cubicBezTo>
                  <a:pt x="2740" y="1350"/>
                  <a:pt x="2739" y="1351"/>
                  <a:pt x="2737" y="1352"/>
                </a:cubicBezTo>
                <a:cubicBezTo>
                  <a:pt x="2735" y="1352"/>
                  <a:pt x="2734" y="1350"/>
                  <a:pt x="2734" y="1350"/>
                </a:cubicBezTo>
                <a:cubicBezTo>
                  <a:pt x="2734" y="1350"/>
                  <a:pt x="2733" y="1353"/>
                  <a:pt x="2733" y="1356"/>
                </a:cubicBezTo>
                <a:cubicBezTo>
                  <a:pt x="2732" y="1359"/>
                  <a:pt x="2735" y="1363"/>
                  <a:pt x="2735" y="1363"/>
                </a:cubicBezTo>
                <a:cubicBezTo>
                  <a:pt x="2738" y="1363"/>
                  <a:pt x="2738" y="1363"/>
                  <a:pt x="2738" y="1363"/>
                </a:cubicBezTo>
                <a:cubicBezTo>
                  <a:pt x="2735" y="1365"/>
                  <a:pt x="2735" y="1365"/>
                  <a:pt x="2735" y="1365"/>
                </a:cubicBezTo>
                <a:cubicBezTo>
                  <a:pt x="2736" y="1368"/>
                  <a:pt x="2736" y="1368"/>
                  <a:pt x="2736" y="1368"/>
                </a:cubicBezTo>
                <a:cubicBezTo>
                  <a:pt x="2736" y="1368"/>
                  <a:pt x="2739" y="1367"/>
                  <a:pt x="2740" y="1367"/>
                </a:cubicBezTo>
                <a:cubicBezTo>
                  <a:pt x="2742" y="1366"/>
                  <a:pt x="2743" y="1368"/>
                  <a:pt x="2745" y="1367"/>
                </a:cubicBezTo>
                <a:cubicBezTo>
                  <a:pt x="2747" y="1366"/>
                  <a:pt x="2749" y="1363"/>
                  <a:pt x="2750" y="1364"/>
                </a:cubicBezTo>
                <a:cubicBezTo>
                  <a:pt x="2752" y="1365"/>
                  <a:pt x="2749" y="1367"/>
                  <a:pt x="2749" y="1367"/>
                </a:cubicBezTo>
                <a:cubicBezTo>
                  <a:pt x="2752" y="1368"/>
                  <a:pt x="2752" y="1368"/>
                  <a:pt x="2752" y="1368"/>
                </a:cubicBezTo>
                <a:cubicBezTo>
                  <a:pt x="2752" y="1368"/>
                  <a:pt x="2756" y="1362"/>
                  <a:pt x="2758" y="1361"/>
                </a:cubicBezTo>
                <a:cubicBezTo>
                  <a:pt x="2760" y="1360"/>
                  <a:pt x="2756" y="1358"/>
                  <a:pt x="2756" y="1358"/>
                </a:cubicBezTo>
                <a:cubicBezTo>
                  <a:pt x="2759" y="1354"/>
                  <a:pt x="2759" y="1354"/>
                  <a:pt x="2759" y="1354"/>
                </a:cubicBezTo>
                <a:cubicBezTo>
                  <a:pt x="2759" y="1354"/>
                  <a:pt x="2761" y="1355"/>
                  <a:pt x="2764" y="1354"/>
                </a:cubicBezTo>
                <a:cubicBezTo>
                  <a:pt x="2766" y="1353"/>
                  <a:pt x="2764" y="1348"/>
                  <a:pt x="2766" y="1346"/>
                </a:cubicBezTo>
                <a:cubicBezTo>
                  <a:pt x="2768" y="1344"/>
                  <a:pt x="2771" y="1340"/>
                  <a:pt x="2770" y="1339"/>
                </a:cubicBezTo>
                <a:close/>
                <a:moveTo>
                  <a:pt x="2402" y="906"/>
                </a:moveTo>
                <a:cubicBezTo>
                  <a:pt x="2401" y="908"/>
                  <a:pt x="2404" y="910"/>
                  <a:pt x="2404" y="910"/>
                </a:cubicBezTo>
                <a:cubicBezTo>
                  <a:pt x="2404" y="910"/>
                  <a:pt x="2407" y="915"/>
                  <a:pt x="2409" y="913"/>
                </a:cubicBezTo>
                <a:cubicBezTo>
                  <a:pt x="2410" y="911"/>
                  <a:pt x="2404" y="906"/>
                  <a:pt x="2402" y="906"/>
                </a:cubicBezTo>
                <a:close/>
                <a:moveTo>
                  <a:pt x="2882" y="1159"/>
                </a:moveTo>
                <a:cubicBezTo>
                  <a:pt x="2882" y="1159"/>
                  <a:pt x="2881" y="1151"/>
                  <a:pt x="2881" y="1149"/>
                </a:cubicBezTo>
                <a:cubicBezTo>
                  <a:pt x="2881" y="1148"/>
                  <a:pt x="2876" y="1148"/>
                  <a:pt x="2876" y="1148"/>
                </a:cubicBezTo>
                <a:cubicBezTo>
                  <a:pt x="2876" y="1145"/>
                  <a:pt x="2876" y="1145"/>
                  <a:pt x="2876" y="1145"/>
                </a:cubicBezTo>
                <a:cubicBezTo>
                  <a:pt x="2874" y="1143"/>
                  <a:pt x="2874" y="1143"/>
                  <a:pt x="2874" y="1143"/>
                </a:cubicBezTo>
                <a:cubicBezTo>
                  <a:pt x="2874" y="1143"/>
                  <a:pt x="2875" y="1140"/>
                  <a:pt x="2874" y="1138"/>
                </a:cubicBezTo>
                <a:cubicBezTo>
                  <a:pt x="2873" y="1137"/>
                  <a:pt x="2869" y="1135"/>
                  <a:pt x="2869" y="1135"/>
                </a:cubicBezTo>
                <a:cubicBezTo>
                  <a:pt x="2869" y="1135"/>
                  <a:pt x="2876" y="1134"/>
                  <a:pt x="2876" y="1131"/>
                </a:cubicBezTo>
                <a:cubicBezTo>
                  <a:pt x="2877" y="1128"/>
                  <a:pt x="2872" y="1128"/>
                  <a:pt x="2872" y="1128"/>
                </a:cubicBezTo>
                <a:cubicBezTo>
                  <a:pt x="2872" y="1128"/>
                  <a:pt x="2871" y="1123"/>
                  <a:pt x="2868" y="1123"/>
                </a:cubicBezTo>
                <a:cubicBezTo>
                  <a:pt x="2866" y="1124"/>
                  <a:pt x="2867" y="1127"/>
                  <a:pt x="2867" y="1127"/>
                </a:cubicBezTo>
                <a:cubicBezTo>
                  <a:pt x="2864" y="1127"/>
                  <a:pt x="2864" y="1127"/>
                  <a:pt x="2864" y="1127"/>
                </a:cubicBezTo>
                <a:cubicBezTo>
                  <a:pt x="2864" y="1127"/>
                  <a:pt x="2867" y="1118"/>
                  <a:pt x="2867" y="1116"/>
                </a:cubicBezTo>
                <a:cubicBezTo>
                  <a:pt x="2866" y="1114"/>
                  <a:pt x="2862" y="1114"/>
                  <a:pt x="2861" y="1112"/>
                </a:cubicBezTo>
                <a:cubicBezTo>
                  <a:pt x="2861" y="1110"/>
                  <a:pt x="2864" y="1106"/>
                  <a:pt x="2863" y="1103"/>
                </a:cubicBezTo>
                <a:cubicBezTo>
                  <a:pt x="2862" y="1101"/>
                  <a:pt x="2849" y="1094"/>
                  <a:pt x="2849" y="1094"/>
                </a:cubicBezTo>
                <a:cubicBezTo>
                  <a:pt x="2848" y="1096"/>
                  <a:pt x="2848" y="1096"/>
                  <a:pt x="2848" y="1096"/>
                </a:cubicBezTo>
                <a:cubicBezTo>
                  <a:pt x="2848" y="1096"/>
                  <a:pt x="2842" y="1089"/>
                  <a:pt x="2842" y="1084"/>
                </a:cubicBezTo>
                <a:cubicBezTo>
                  <a:pt x="2842" y="1080"/>
                  <a:pt x="2843" y="1077"/>
                  <a:pt x="2843" y="1073"/>
                </a:cubicBezTo>
                <a:cubicBezTo>
                  <a:pt x="2843" y="1069"/>
                  <a:pt x="2839" y="1060"/>
                  <a:pt x="2839" y="1056"/>
                </a:cubicBezTo>
                <a:cubicBezTo>
                  <a:pt x="2838" y="1053"/>
                  <a:pt x="2840" y="1051"/>
                  <a:pt x="2840" y="1049"/>
                </a:cubicBezTo>
                <a:cubicBezTo>
                  <a:pt x="2841" y="1047"/>
                  <a:pt x="2839" y="1039"/>
                  <a:pt x="2839" y="1039"/>
                </a:cubicBezTo>
                <a:cubicBezTo>
                  <a:pt x="2836" y="1037"/>
                  <a:pt x="2836" y="1037"/>
                  <a:pt x="2836" y="1037"/>
                </a:cubicBezTo>
                <a:cubicBezTo>
                  <a:pt x="2836" y="1037"/>
                  <a:pt x="2833" y="1034"/>
                  <a:pt x="2831" y="1034"/>
                </a:cubicBezTo>
                <a:cubicBezTo>
                  <a:pt x="2829" y="1034"/>
                  <a:pt x="2828" y="1037"/>
                  <a:pt x="2828" y="1037"/>
                </a:cubicBezTo>
                <a:cubicBezTo>
                  <a:pt x="2828" y="1037"/>
                  <a:pt x="2826" y="1034"/>
                  <a:pt x="2826" y="1032"/>
                </a:cubicBezTo>
                <a:cubicBezTo>
                  <a:pt x="2826" y="1030"/>
                  <a:pt x="2827" y="1025"/>
                  <a:pt x="2827" y="1025"/>
                </a:cubicBezTo>
                <a:cubicBezTo>
                  <a:pt x="2825" y="1022"/>
                  <a:pt x="2825" y="1022"/>
                  <a:pt x="2825" y="1022"/>
                </a:cubicBezTo>
                <a:cubicBezTo>
                  <a:pt x="2825" y="1011"/>
                  <a:pt x="2825" y="1011"/>
                  <a:pt x="2825" y="1011"/>
                </a:cubicBezTo>
                <a:cubicBezTo>
                  <a:pt x="2825" y="1011"/>
                  <a:pt x="2820" y="1008"/>
                  <a:pt x="2821" y="1006"/>
                </a:cubicBezTo>
                <a:cubicBezTo>
                  <a:pt x="2822" y="1004"/>
                  <a:pt x="2823" y="1001"/>
                  <a:pt x="2822" y="1000"/>
                </a:cubicBezTo>
                <a:cubicBezTo>
                  <a:pt x="2821" y="999"/>
                  <a:pt x="2818" y="999"/>
                  <a:pt x="2818" y="999"/>
                </a:cubicBezTo>
                <a:cubicBezTo>
                  <a:pt x="2818" y="997"/>
                  <a:pt x="2818" y="997"/>
                  <a:pt x="2818" y="997"/>
                </a:cubicBezTo>
                <a:cubicBezTo>
                  <a:pt x="2814" y="998"/>
                  <a:pt x="2814" y="998"/>
                  <a:pt x="2814" y="998"/>
                </a:cubicBezTo>
                <a:cubicBezTo>
                  <a:pt x="2813" y="1001"/>
                  <a:pt x="2813" y="1001"/>
                  <a:pt x="2813" y="1001"/>
                </a:cubicBezTo>
                <a:cubicBezTo>
                  <a:pt x="2813" y="1001"/>
                  <a:pt x="2811" y="1003"/>
                  <a:pt x="2810" y="1003"/>
                </a:cubicBezTo>
                <a:cubicBezTo>
                  <a:pt x="2808" y="1004"/>
                  <a:pt x="2811" y="1010"/>
                  <a:pt x="2811" y="1012"/>
                </a:cubicBezTo>
                <a:cubicBezTo>
                  <a:pt x="2811" y="1014"/>
                  <a:pt x="2804" y="1022"/>
                  <a:pt x="2804" y="1022"/>
                </a:cubicBezTo>
                <a:cubicBezTo>
                  <a:pt x="2806" y="1024"/>
                  <a:pt x="2806" y="1024"/>
                  <a:pt x="2806" y="1024"/>
                </a:cubicBezTo>
                <a:cubicBezTo>
                  <a:pt x="2806" y="1024"/>
                  <a:pt x="2803" y="1028"/>
                  <a:pt x="2803" y="1030"/>
                </a:cubicBezTo>
                <a:cubicBezTo>
                  <a:pt x="2802" y="1031"/>
                  <a:pt x="2803" y="1037"/>
                  <a:pt x="2803" y="1037"/>
                </a:cubicBezTo>
                <a:cubicBezTo>
                  <a:pt x="2803" y="1037"/>
                  <a:pt x="2799" y="1054"/>
                  <a:pt x="2799" y="1057"/>
                </a:cubicBezTo>
                <a:cubicBezTo>
                  <a:pt x="2799" y="1059"/>
                  <a:pt x="2793" y="1065"/>
                  <a:pt x="2793" y="1065"/>
                </a:cubicBezTo>
                <a:cubicBezTo>
                  <a:pt x="2793" y="1065"/>
                  <a:pt x="2793" y="1072"/>
                  <a:pt x="2790" y="1074"/>
                </a:cubicBezTo>
                <a:cubicBezTo>
                  <a:pt x="2786" y="1075"/>
                  <a:pt x="2779" y="1077"/>
                  <a:pt x="2779" y="1077"/>
                </a:cubicBezTo>
                <a:cubicBezTo>
                  <a:pt x="2779" y="1077"/>
                  <a:pt x="2774" y="1070"/>
                  <a:pt x="2773" y="1068"/>
                </a:cubicBezTo>
                <a:cubicBezTo>
                  <a:pt x="2772" y="1066"/>
                  <a:pt x="2764" y="1063"/>
                  <a:pt x="2759" y="1061"/>
                </a:cubicBezTo>
                <a:cubicBezTo>
                  <a:pt x="2755" y="1060"/>
                  <a:pt x="2752" y="1053"/>
                  <a:pt x="2752" y="1052"/>
                </a:cubicBezTo>
                <a:cubicBezTo>
                  <a:pt x="2751" y="1051"/>
                  <a:pt x="2747" y="1052"/>
                  <a:pt x="2747" y="1052"/>
                </a:cubicBezTo>
                <a:cubicBezTo>
                  <a:pt x="2743" y="1046"/>
                  <a:pt x="2743" y="1046"/>
                  <a:pt x="2743" y="1046"/>
                </a:cubicBezTo>
                <a:cubicBezTo>
                  <a:pt x="2746" y="1043"/>
                  <a:pt x="2746" y="1043"/>
                  <a:pt x="2746" y="1043"/>
                </a:cubicBezTo>
                <a:cubicBezTo>
                  <a:pt x="2746" y="1043"/>
                  <a:pt x="2745" y="1040"/>
                  <a:pt x="2746" y="1038"/>
                </a:cubicBezTo>
                <a:cubicBezTo>
                  <a:pt x="2748" y="1036"/>
                  <a:pt x="2750" y="1035"/>
                  <a:pt x="2750" y="1035"/>
                </a:cubicBezTo>
                <a:cubicBezTo>
                  <a:pt x="2749" y="1029"/>
                  <a:pt x="2749" y="1029"/>
                  <a:pt x="2749" y="1029"/>
                </a:cubicBezTo>
                <a:cubicBezTo>
                  <a:pt x="2752" y="1026"/>
                  <a:pt x="2752" y="1026"/>
                  <a:pt x="2752" y="1026"/>
                </a:cubicBezTo>
                <a:cubicBezTo>
                  <a:pt x="2752" y="1026"/>
                  <a:pt x="2755" y="1028"/>
                  <a:pt x="2756" y="1027"/>
                </a:cubicBezTo>
                <a:cubicBezTo>
                  <a:pt x="2757" y="1027"/>
                  <a:pt x="2757" y="1022"/>
                  <a:pt x="2757" y="1022"/>
                </a:cubicBezTo>
                <a:cubicBezTo>
                  <a:pt x="2763" y="1017"/>
                  <a:pt x="2763" y="1017"/>
                  <a:pt x="2763" y="1017"/>
                </a:cubicBezTo>
                <a:cubicBezTo>
                  <a:pt x="2763" y="1017"/>
                  <a:pt x="2760" y="1012"/>
                  <a:pt x="2756" y="1012"/>
                </a:cubicBezTo>
                <a:cubicBezTo>
                  <a:pt x="2753" y="1011"/>
                  <a:pt x="2748" y="1016"/>
                  <a:pt x="2748" y="1016"/>
                </a:cubicBezTo>
                <a:cubicBezTo>
                  <a:pt x="2748" y="1013"/>
                  <a:pt x="2748" y="1013"/>
                  <a:pt x="2748" y="1013"/>
                </a:cubicBezTo>
                <a:cubicBezTo>
                  <a:pt x="2744" y="1014"/>
                  <a:pt x="2744" y="1014"/>
                  <a:pt x="2744" y="1014"/>
                </a:cubicBezTo>
                <a:cubicBezTo>
                  <a:pt x="2742" y="1016"/>
                  <a:pt x="2742" y="1016"/>
                  <a:pt x="2742" y="1016"/>
                </a:cubicBezTo>
                <a:cubicBezTo>
                  <a:pt x="2741" y="1013"/>
                  <a:pt x="2741" y="1013"/>
                  <a:pt x="2741" y="1013"/>
                </a:cubicBezTo>
                <a:cubicBezTo>
                  <a:pt x="2736" y="1013"/>
                  <a:pt x="2736" y="1013"/>
                  <a:pt x="2736" y="1013"/>
                </a:cubicBezTo>
                <a:cubicBezTo>
                  <a:pt x="2736" y="1013"/>
                  <a:pt x="2730" y="1009"/>
                  <a:pt x="2729" y="1009"/>
                </a:cubicBezTo>
                <a:cubicBezTo>
                  <a:pt x="2728" y="1009"/>
                  <a:pt x="2721" y="1008"/>
                  <a:pt x="2721" y="1008"/>
                </a:cubicBezTo>
                <a:cubicBezTo>
                  <a:pt x="2721" y="1008"/>
                  <a:pt x="2720" y="1004"/>
                  <a:pt x="2718" y="1003"/>
                </a:cubicBezTo>
                <a:cubicBezTo>
                  <a:pt x="2717" y="1002"/>
                  <a:pt x="2716" y="1005"/>
                  <a:pt x="2716" y="1005"/>
                </a:cubicBezTo>
                <a:cubicBezTo>
                  <a:pt x="2716" y="1005"/>
                  <a:pt x="2711" y="1002"/>
                  <a:pt x="2710" y="1003"/>
                </a:cubicBezTo>
                <a:cubicBezTo>
                  <a:pt x="2709" y="1004"/>
                  <a:pt x="2711" y="1006"/>
                  <a:pt x="2711" y="1006"/>
                </a:cubicBezTo>
                <a:cubicBezTo>
                  <a:pt x="2711" y="1006"/>
                  <a:pt x="2708" y="1006"/>
                  <a:pt x="2707" y="1007"/>
                </a:cubicBezTo>
                <a:cubicBezTo>
                  <a:pt x="2707" y="1008"/>
                  <a:pt x="2710" y="1009"/>
                  <a:pt x="2713" y="1010"/>
                </a:cubicBezTo>
                <a:cubicBezTo>
                  <a:pt x="2715" y="1011"/>
                  <a:pt x="2716" y="1009"/>
                  <a:pt x="2716" y="1009"/>
                </a:cubicBezTo>
                <a:cubicBezTo>
                  <a:pt x="2721" y="1011"/>
                  <a:pt x="2721" y="1011"/>
                  <a:pt x="2721" y="1011"/>
                </a:cubicBezTo>
                <a:cubicBezTo>
                  <a:pt x="2721" y="1011"/>
                  <a:pt x="2716" y="1013"/>
                  <a:pt x="2714" y="1015"/>
                </a:cubicBezTo>
                <a:cubicBezTo>
                  <a:pt x="2711" y="1016"/>
                  <a:pt x="2704" y="1015"/>
                  <a:pt x="2703" y="1015"/>
                </a:cubicBezTo>
                <a:cubicBezTo>
                  <a:pt x="2701" y="1016"/>
                  <a:pt x="2691" y="1021"/>
                  <a:pt x="2691" y="1021"/>
                </a:cubicBezTo>
                <a:cubicBezTo>
                  <a:pt x="2691" y="1021"/>
                  <a:pt x="2689" y="1025"/>
                  <a:pt x="2689" y="1027"/>
                </a:cubicBezTo>
                <a:cubicBezTo>
                  <a:pt x="2689" y="1029"/>
                  <a:pt x="2693" y="1031"/>
                  <a:pt x="2693" y="1031"/>
                </a:cubicBezTo>
                <a:cubicBezTo>
                  <a:pt x="2687" y="1031"/>
                  <a:pt x="2687" y="1031"/>
                  <a:pt x="2687" y="1031"/>
                </a:cubicBezTo>
                <a:cubicBezTo>
                  <a:pt x="2682" y="1036"/>
                  <a:pt x="2682" y="1036"/>
                  <a:pt x="2682" y="1036"/>
                </a:cubicBezTo>
                <a:cubicBezTo>
                  <a:pt x="2682" y="1036"/>
                  <a:pt x="2683" y="1040"/>
                  <a:pt x="2681" y="1042"/>
                </a:cubicBezTo>
                <a:cubicBezTo>
                  <a:pt x="2680" y="1043"/>
                  <a:pt x="2685" y="1044"/>
                  <a:pt x="2687" y="1046"/>
                </a:cubicBezTo>
                <a:cubicBezTo>
                  <a:pt x="2689" y="1046"/>
                  <a:pt x="2688" y="1051"/>
                  <a:pt x="2688" y="1051"/>
                </a:cubicBezTo>
                <a:cubicBezTo>
                  <a:pt x="2685" y="1048"/>
                  <a:pt x="2685" y="1048"/>
                  <a:pt x="2685" y="1048"/>
                </a:cubicBezTo>
                <a:cubicBezTo>
                  <a:pt x="2681" y="1048"/>
                  <a:pt x="2681" y="1048"/>
                  <a:pt x="2681" y="1048"/>
                </a:cubicBezTo>
                <a:cubicBezTo>
                  <a:pt x="2679" y="1051"/>
                  <a:pt x="2679" y="1051"/>
                  <a:pt x="2679" y="1051"/>
                </a:cubicBezTo>
                <a:cubicBezTo>
                  <a:pt x="2673" y="1046"/>
                  <a:pt x="2673" y="1046"/>
                  <a:pt x="2673" y="1046"/>
                </a:cubicBezTo>
                <a:cubicBezTo>
                  <a:pt x="2673" y="1051"/>
                  <a:pt x="2673" y="1051"/>
                  <a:pt x="2673" y="1051"/>
                </a:cubicBezTo>
                <a:cubicBezTo>
                  <a:pt x="2669" y="1052"/>
                  <a:pt x="2669" y="1052"/>
                  <a:pt x="2669" y="1052"/>
                </a:cubicBezTo>
                <a:cubicBezTo>
                  <a:pt x="2670" y="1056"/>
                  <a:pt x="2670" y="1056"/>
                  <a:pt x="2670" y="1056"/>
                </a:cubicBezTo>
                <a:cubicBezTo>
                  <a:pt x="2666" y="1055"/>
                  <a:pt x="2666" y="1055"/>
                  <a:pt x="2666" y="1055"/>
                </a:cubicBezTo>
                <a:cubicBezTo>
                  <a:pt x="2670" y="1046"/>
                  <a:pt x="2670" y="1046"/>
                  <a:pt x="2670" y="1046"/>
                </a:cubicBezTo>
                <a:cubicBezTo>
                  <a:pt x="2670" y="1046"/>
                  <a:pt x="2669" y="1044"/>
                  <a:pt x="2668" y="1042"/>
                </a:cubicBezTo>
                <a:cubicBezTo>
                  <a:pt x="2668" y="1040"/>
                  <a:pt x="2664" y="1040"/>
                  <a:pt x="2664" y="1040"/>
                </a:cubicBezTo>
                <a:cubicBezTo>
                  <a:pt x="2662" y="1036"/>
                  <a:pt x="2662" y="1036"/>
                  <a:pt x="2662" y="1036"/>
                </a:cubicBezTo>
                <a:cubicBezTo>
                  <a:pt x="2662" y="1036"/>
                  <a:pt x="2663" y="1032"/>
                  <a:pt x="2661" y="1030"/>
                </a:cubicBezTo>
                <a:cubicBezTo>
                  <a:pt x="2659" y="1029"/>
                  <a:pt x="2656" y="1031"/>
                  <a:pt x="2656" y="1033"/>
                </a:cubicBezTo>
                <a:cubicBezTo>
                  <a:pt x="2655" y="1034"/>
                  <a:pt x="2657" y="1034"/>
                  <a:pt x="2657" y="1034"/>
                </a:cubicBezTo>
                <a:cubicBezTo>
                  <a:pt x="2656" y="1036"/>
                  <a:pt x="2656" y="1036"/>
                  <a:pt x="2656" y="1036"/>
                </a:cubicBezTo>
                <a:cubicBezTo>
                  <a:pt x="2652" y="1036"/>
                  <a:pt x="2652" y="1036"/>
                  <a:pt x="2652" y="1036"/>
                </a:cubicBezTo>
                <a:cubicBezTo>
                  <a:pt x="2652" y="1039"/>
                  <a:pt x="2652" y="1039"/>
                  <a:pt x="2652" y="1039"/>
                </a:cubicBezTo>
                <a:cubicBezTo>
                  <a:pt x="2649" y="1038"/>
                  <a:pt x="2649" y="1038"/>
                  <a:pt x="2649" y="1038"/>
                </a:cubicBezTo>
                <a:cubicBezTo>
                  <a:pt x="2647" y="1039"/>
                  <a:pt x="2647" y="1039"/>
                  <a:pt x="2647" y="1039"/>
                </a:cubicBezTo>
                <a:cubicBezTo>
                  <a:pt x="2647" y="1039"/>
                  <a:pt x="2648" y="1041"/>
                  <a:pt x="2648" y="1043"/>
                </a:cubicBezTo>
                <a:cubicBezTo>
                  <a:pt x="2647" y="1045"/>
                  <a:pt x="2644" y="1047"/>
                  <a:pt x="2644" y="1047"/>
                </a:cubicBezTo>
                <a:cubicBezTo>
                  <a:pt x="2645" y="1042"/>
                  <a:pt x="2645" y="1042"/>
                  <a:pt x="2645" y="1042"/>
                </a:cubicBezTo>
                <a:cubicBezTo>
                  <a:pt x="2642" y="1045"/>
                  <a:pt x="2642" y="1045"/>
                  <a:pt x="2642" y="1045"/>
                </a:cubicBezTo>
                <a:cubicBezTo>
                  <a:pt x="2642" y="1045"/>
                  <a:pt x="2640" y="1045"/>
                  <a:pt x="2639" y="1047"/>
                </a:cubicBezTo>
                <a:cubicBezTo>
                  <a:pt x="2637" y="1049"/>
                  <a:pt x="2639" y="1053"/>
                  <a:pt x="2639" y="1053"/>
                </a:cubicBezTo>
                <a:cubicBezTo>
                  <a:pt x="2633" y="1051"/>
                  <a:pt x="2633" y="1051"/>
                  <a:pt x="2633" y="1051"/>
                </a:cubicBezTo>
                <a:cubicBezTo>
                  <a:pt x="2632" y="1056"/>
                  <a:pt x="2632" y="1056"/>
                  <a:pt x="2632" y="1056"/>
                </a:cubicBezTo>
                <a:cubicBezTo>
                  <a:pt x="2630" y="1056"/>
                  <a:pt x="2630" y="1056"/>
                  <a:pt x="2630" y="1056"/>
                </a:cubicBezTo>
                <a:cubicBezTo>
                  <a:pt x="2632" y="1060"/>
                  <a:pt x="2632" y="1060"/>
                  <a:pt x="2632" y="1060"/>
                </a:cubicBezTo>
                <a:cubicBezTo>
                  <a:pt x="2635" y="1059"/>
                  <a:pt x="2635" y="1059"/>
                  <a:pt x="2635" y="1059"/>
                </a:cubicBezTo>
                <a:cubicBezTo>
                  <a:pt x="2634" y="1062"/>
                  <a:pt x="2634" y="1062"/>
                  <a:pt x="2634" y="1062"/>
                </a:cubicBezTo>
                <a:cubicBezTo>
                  <a:pt x="2624" y="1062"/>
                  <a:pt x="2624" y="1062"/>
                  <a:pt x="2624" y="1062"/>
                </a:cubicBezTo>
                <a:cubicBezTo>
                  <a:pt x="2624" y="1062"/>
                  <a:pt x="2621" y="1060"/>
                  <a:pt x="2619" y="1062"/>
                </a:cubicBezTo>
                <a:cubicBezTo>
                  <a:pt x="2617" y="1064"/>
                  <a:pt x="2621" y="1068"/>
                  <a:pt x="2621" y="1068"/>
                </a:cubicBezTo>
                <a:cubicBezTo>
                  <a:pt x="2621" y="1072"/>
                  <a:pt x="2621" y="1072"/>
                  <a:pt x="2621" y="1072"/>
                </a:cubicBezTo>
                <a:cubicBezTo>
                  <a:pt x="2620" y="1075"/>
                  <a:pt x="2620" y="1075"/>
                  <a:pt x="2620" y="1075"/>
                </a:cubicBezTo>
                <a:cubicBezTo>
                  <a:pt x="2621" y="1081"/>
                  <a:pt x="2621" y="1081"/>
                  <a:pt x="2621" y="1081"/>
                </a:cubicBezTo>
                <a:cubicBezTo>
                  <a:pt x="2618" y="1081"/>
                  <a:pt x="2618" y="1081"/>
                  <a:pt x="2618" y="1081"/>
                </a:cubicBezTo>
                <a:cubicBezTo>
                  <a:pt x="2618" y="1070"/>
                  <a:pt x="2618" y="1070"/>
                  <a:pt x="2618" y="1070"/>
                </a:cubicBezTo>
                <a:cubicBezTo>
                  <a:pt x="2615" y="1068"/>
                  <a:pt x="2615" y="1068"/>
                  <a:pt x="2615" y="1068"/>
                </a:cubicBezTo>
                <a:cubicBezTo>
                  <a:pt x="2615" y="1063"/>
                  <a:pt x="2615" y="1063"/>
                  <a:pt x="2615" y="1063"/>
                </a:cubicBezTo>
                <a:cubicBezTo>
                  <a:pt x="2612" y="1064"/>
                  <a:pt x="2612" y="1064"/>
                  <a:pt x="2612" y="1064"/>
                </a:cubicBezTo>
                <a:cubicBezTo>
                  <a:pt x="2610" y="1067"/>
                  <a:pt x="2610" y="1067"/>
                  <a:pt x="2610" y="1067"/>
                </a:cubicBezTo>
                <a:cubicBezTo>
                  <a:pt x="2610" y="1067"/>
                  <a:pt x="2607" y="1069"/>
                  <a:pt x="2603" y="1073"/>
                </a:cubicBezTo>
                <a:cubicBezTo>
                  <a:pt x="2599" y="1076"/>
                  <a:pt x="2602" y="1083"/>
                  <a:pt x="2602" y="1083"/>
                </a:cubicBezTo>
                <a:cubicBezTo>
                  <a:pt x="2602" y="1083"/>
                  <a:pt x="2606" y="1084"/>
                  <a:pt x="2605" y="1086"/>
                </a:cubicBezTo>
                <a:cubicBezTo>
                  <a:pt x="2605" y="1088"/>
                  <a:pt x="2598" y="1090"/>
                  <a:pt x="2596" y="1091"/>
                </a:cubicBezTo>
                <a:cubicBezTo>
                  <a:pt x="2595" y="1092"/>
                  <a:pt x="2596" y="1094"/>
                  <a:pt x="2596" y="1094"/>
                </a:cubicBezTo>
                <a:cubicBezTo>
                  <a:pt x="2596" y="1094"/>
                  <a:pt x="2591" y="1098"/>
                  <a:pt x="2588" y="1101"/>
                </a:cubicBezTo>
                <a:cubicBezTo>
                  <a:pt x="2584" y="1103"/>
                  <a:pt x="2573" y="1104"/>
                  <a:pt x="2573" y="1104"/>
                </a:cubicBezTo>
                <a:cubicBezTo>
                  <a:pt x="2566" y="1103"/>
                  <a:pt x="2566" y="1103"/>
                  <a:pt x="2566" y="1103"/>
                </a:cubicBezTo>
                <a:cubicBezTo>
                  <a:pt x="2560" y="1106"/>
                  <a:pt x="2560" y="1106"/>
                  <a:pt x="2560" y="1106"/>
                </a:cubicBezTo>
                <a:cubicBezTo>
                  <a:pt x="2553" y="1107"/>
                  <a:pt x="2553" y="1107"/>
                  <a:pt x="2553" y="1107"/>
                </a:cubicBezTo>
                <a:cubicBezTo>
                  <a:pt x="2552" y="1108"/>
                  <a:pt x="2552" y="1108"/>
                  <a:pt x="2552" y="1108"/>
                </a:cubicBezTo>
                <a:cubicBezTo>
                  <a:pt x="2552" y="1108"/>
                  <a:pt x="2549" y="1108"/>
                  <a:pt x="2548" y="1109"/>
                </a:cubicBezTo>
                <a:cubicBezTo>
                  <a:pt x="2546" y="1110"/>
                  <a:pt x="2543" y="1112"/>
                  <a:pt x="2543" y="1112"/>
                </a:cubicBezTo>
                <a:cubicBezTo>
                  <a:pt x="2543" y="1112"/>
                  <a:pt x="2539" y="1112"/>
                  <a:pt x="2537" y="1113"/>
                </a:cubicBezTo>
                <a:cubicBezTo>
                  <a:pt x="2534" y="1114"/>
                  <a:pt x="2530" y="1120"/>
                  <a:pt x="2530" y="1120"/>
                </a:cubicBezTo>
                <a:cubicBezTo>
                  <a:pt x="2530" y="1120"/>
                  <a:pt x="2523" y="1122"/>
                  <a:pt x="2521" y="1123"/>
                </a:cubicBezTo>
                <a:cubicBezTo>
                  <a:pt x="2520" y="1124"/>
                  <a:pt x="2512" y="1133"/>
                  <a:pt x="2512" y="1133"/>
                </a:cubicBezTo>
                <a:cubicBezTo>
                  <a:pt x="2514" y="1124"/>
                  <a:pt x="2514" y="1124"/>
                  <a:pt x="2514" y="1124"/>
                </a:cubicBezTo>
                <a:cubicBezTo>
                  <a:pt x="2511" y="1125"/>
                  <a:pt x="2511" y="1125"/>
                  <a:pt x="2511" y="1125"/>
                </a:cubicBezTo>
                <a:cubicBezTo>
                  <a:pt x="2508" y="1133"/>
                  <a:pt x="2508" y="1133"/>
                  <a:pt x="2508" y="1133"/>
                </a:cubicBezTo>
                <a:cubicBezTo>
                  <a:pt x="2508" y="1133"/>
                  <a:pt x="2505" y="1138"/>
                  <a:pt x="2504" y="1142"/>
                </a:cubicBezTo>
                <a:cubicBezTo>
                  <a:pt x="2503" y="1145"/>
                  <a:pt x="2507" y="1146"/>
                  <a:pt x="2507" y="1146"/>
                </a:cubicBezTo>
                <a:cubicBezTo>
                  <a:pt x="2507" y="1146"/>
                  <a:pt x="2503" y="1150"/>
                  <a:pt x="2501" y="1152"/>
                </a:cubicBezTo>
                <a:cubicBezTo>
                  <a:pt x="2499" y="1154"/>
                  <a:pt x="2503" y="1162"/>
                  <a:pt x="2503" y="1164"/>
                </a:cubicBezTo>
                <a:cubicBezTo>
                  <a:pt x="2503" y="1165"/>
                  <a:pt x="2508" y="1174"/>
                  <a:pt x="2507" y="1175"/>
                </a:cubicBezTo>
                <a:cubicBezTo>
                  <a:pt x="2506" y="1176"/>
                  <a:pt x="2501" y="1167"/>
                  <a:pt x="2501" y="1167"/>
                </a:cubicBezTo>
                <a:cubicBezTo>
                  <a:pt x="2498" y="1167"/>
                  <a:pt x="2498" y="1167"/>
                  <a:pt x="2498" y="1167"/>
                </a:cubicBezTo>
                <a:cubicBezTo>
                  <a:pt x="2501" y="1173"/>
                  <a:pt x="2501" y="1173"/>
                  <a:pt x="2501" y="1173"/>
                </a:cubicBezTo>
                <a:cubicBezTo>
                  <a:pt x="2496" y="1169"/>
                  <a:pt x="2496" y="1169"/>
                  <a:pt x="2496" y="1169"/>
                </a:cubicBezTo>
                <a:cubicBezTo>
                  <a:pt x="2496" y="1169"/>
                  <a:pt x="2495" y="1174"/>
                  <a:pt x="2496" y="1177"/>
                </a:cubicBezTo>
                <a:cubicBezTo>
                  <a:pt x="2496" y="1180"/>
                  <a:pt x="2501" y="1187"/>
                  <a:pt x="2501" y="1187"/>
                </a:cubicBezTo>
                <a:cubicBezTo>
                  <a:pt x="2501" y="1187"/>
                  <a:pt x="2499" y="1192"/>
                  <a:pt x="2498" y="1193"/>
                </a:cubicBezTo>
                <a:cubicBezTo>
                  <a:pt x="2498" y="1195"/>
                  <a:pt x="2504" y="1200"/>
                  <a:pt x="2504" y="1201"/>
                </a:cubicBezTo>
                <a:cubicBezTo>
                  <a:pt x="2504" y="1202"/>
                  <a:pt x="2505" y="1207"/>
                  <a:pt x="2503" y="1209"/>
                </a:cubicBezTo>
                <a:cubicBezTo>
                  <a:pt x="2502" y="1210"/>
                  <a:pt x="2505" y="1220"/>
                  <a:pt x="2505" y="1220"/>
                </a:cubicBezTo>
                <a:cubicBezTo>
                  <a:pt x="2505" y="1220"/>
                  <a:pt x="2504" y="1220"/>
                  <a:pt x="2503" y="1222"/>
                </a:cubicBezTo>
                <a:cubicBezTo>
                  <a:pt x="2501" y="1223"/>
                  <a:pt x="2504" y="1230"/>
                  <a:pt x="2504" y="1230"/>
                </a:cubicBezTo>
                <a:cubicBezTo>
                  <a:pt x="2504" y="1230"/>
                  <a:pt x="2509" y="1232"/>
                  <a:pt x="2509" y="1236"/>
                </a:cubicBezTo>
                <a:cubicBezTo>
                  <a:pt x="2510" y="1239"/>
                  <a:pt x="2503" y="1245"/>
                  <a:pt x="2503" y="1245"/>
                </a:cubicBezTo>
                <a:cubicBezTo>
                  <a:pt x="2503" y="1245"/>
                  <a:pt x="2505" y="1252"/>
                  <a:pt x="2502" y="1256"/>
                </a:cubicBezTo>
                <a:cubicBezTo>
                  <a:pt x="2498" y="1259"/>
                  <a:pt x="2492" y="1257"/>
                  <a:pt x="2492" y="1257"/>
                </a:cubicBezTo>
                <a:cubicBezTo>
                  <a:pt x="2491" y="1264"/>
                  <a:pt x="2491" y="1264"/>
                  <a:pt x="2491" y="1264"/>
                </a:cubicBezTo>
                <a:cubicBezTo>
                  <a:pt x="2491" y="1264"/>
                  <a:pt x="2498" y="1266"/>
                  <a:pt x="2499" y="1267"/>
                </a:cubicBezTo>
                <a:cubicBezTo>
                  <a:pt x="2501" y="1268"/>
                  <a:pt x="2503" y="1270"/>
                  <a:pt x="2503" y="1270"/>
                </a:cubicBezTo>
                <a:cubicBezTo>
                  <a:pt x="2506" y="1270"/>
                  <a:pt x="2506" y="1270"/>
                  <a:pt x="2506" y="1270"/>
                </a:cubicBezTo>
                <a:cubicBezTo>
                  <a:pt x="2506" y="1270"/>
                  <a:pt x="2508" y="1272"/>
                  <a:pt x="2511" y="1273"/>
                </a:cubicBezTo>
                <a:cubicBezTo>
                  <a:pt x="2514" y="1274"/>
                  <a:pt x="2520" y="1272"/>
                  <a:pt x="2523" y="1272"/>
                </a:cubicBezTo>
                <a:cubicBezTo>
                  <a:pt x="2525" y="1272"/>
                  <a:pt x="2523" y="1268"/>
                  <a:pt x="2523" y="1268"/>
                </a:cubicBezTo>
                <a:cubicBezTo>
                  <a:pt x="2529" y="1269"/>
                  <a:pt x="2529" y="1269"/>
                  <a:pt x="2529" y="1269"/>
                </a:cubicBezTo>
                <a:cubicBezTo>
                  <a:pt x="2530" y="1266"/>
                  <a:pt x="2530" y="1266"/>
                  <a:pt x="2530" y="1266"/>
                </a:cubicBezTo>
                <a:cubicBezTo>
                  <a:pt x="2535" y="1265"/>
                  <a:pt x="2535" y="1265"/>
                  <a:pt x="2535" y="1265"/>
                </a:cubicBezTo>
                <a:cubicBezTo>
                  <a:pt x="2535" y="1265"/>
                  <a:pt x="2540" y="1260"/>
                  <a:pt x="2543" y="1260"/>
                </a:cubicBezTo>
                <a:cubicBezTo>
                  <a:pt x="2546" y="1260"/>
                  <a:pt x="2548" y="1263"/>
                  <a:pt x="2550" y="1263"/>
                </a:cubicBezTo>
                <a:cubicBezTo>
                  <a:pt x="2551" y="1262"/>
                  <a:pt x="2559" y="1258"/>
                  <a:pt x="2559" y="1258"/>
                </a:cubicBezTo>
                <a:cubicBezTo>
                  <a:pt x="2559" y="1258"/>
                  <a:pt x="2564" y="1260"/>
                  <a:pt x="2566" y="1260"/>
                </a:cubicBezTo>
                <a:cubicBezTo>
                  <a:pt x="2568" y="1260"/>
                  <a:pt x="2570" y="1258"/>
                  <a:pt x="2571" y="1257"/>
                </a:cubicBezTo>
                <a:cubicBezTo>
                  <a:pt x="2573" y="1257"/>
                  <a:pt x="2577" y="1260"/>
                  <a:pt x="2580" y="1259"/>
                </a:cubicBezTo>
                <a:cubicBezTo>
                  <a:pt x="2583" y="1259"/>
                  <a:pt x="2583" y="1255"/>
                  <a:pt x="2583" y="1255"/>
                </a:cubicBezTo>
                <a:cubicBezTo>
                  <a:pt x="2583" y="1255"/>
                  <a:pt x="2585" y="1254"/>
                  <a:pt x="2586" y="1254"/>
                </a:cubicBezTo>
                <a:cubicBezTo>
                  <a:pt x="2587" y="1253"/>
                  <a:pt x="2588" y="1247"/>
                  <a:pt x="2591" y="1245"/>
                </a:cubicBezTo>
                <a:cubicBezTo>
                  <a:pt x="2594" y="1242"/>
                  <a:pt x="2601" y="1244"/>
                  <a:pt x="2603" y="1243"/>
                </a:cubicBezTo>
                <a:cubicBezTo>
                  <a:pt x="2605" y="1243"/>
                  <a:pt x="2612" y="1239"/>
                  <a:pt x="2615" y="1238"/>
                </a:cubicBezTo>
                <a:cubicBezTo>
                  <a:pt x="2619" y="1238"/>
                  <a:pt x="2619" y="1239"/>
                  <a:pt x="2623" y="1240"/>
                </a:cubicBezTo>
                <a:cubicBezTo>
                  <a:pt x="2627" y="1241"/>
                  <a:pt x="2637" y="1234"/>
                  <a:pt x="2641" y="1233"/>
                </a:cubicBezTo>
                <a:cubicBezTo>
                  <a:pt x="2645" y="1231"/>
                  <a:pt x="2662" y="1230"/>
                  <a:pt x="2662" y="1230"/>
                </a:cubicBezTo>
                <a:cubicBezTo>
                  <a:pt x="2664" y="1229"/>
                  <a:pt x="2664" y="1229"/>
                  <a:pt x="2664" y="1229"/>
                </a:cubicBezTo>
                <a:cubicBezTo>
                  <a:pt x="2664" y="1229"/>
                  <a:pt x="2670" y="1234"/>
                  <a:pt x="2673" y="1235"/>
                </a:cubicBezTo>
                <a:cubicBezTo>
                  <a:pt x="2677" y="1237"/>
                  <a:pt x="2678" y="1235"/>
                  <a:pt x="2678" y="1235"/>
                </a:cubicBezTo>
                <a:cubicBezTo>
                  <a:pt x="2678" y="1235"/>
                  <a:pt x="2679" y="1238"/>
                  <a:pt x="2681" y="1239"/>
                </a:cubicBezTo>
                <a:cubicBezTo>
                  <a:pt x="2682" y="1240"/>
                  <a:pt x="2683" y="1238"/>
                  <a:pt x="2683" y="1238"/>
                </a:cubicBezTo>
                <a:cubicBezTo>
                  <a:pt x="2684" y="1241"/>
                  <a:pt x="2684" y="1241"/>
                  <a:pt x="2684" y="1241"/>
                </a:cubicBezTo>
                <a:cubicBezTo>
                  <a:pt x="2684" y="1241"/>
                  <a:pt x="2687" y="1241"/>
                  <a:pt x="2687" y="1243"/>
                </a:cubicBezTo>
                <a:cubicBezTo>
                  <a:pt x="2687" y="1245"/>
                  <a:pt x="2683" y="1250"/>
                  <a:pt x="2683" y="1250"/>
                </a:cubicBezTo>
                <a:cubicBezTo>
                  <a:pt x="2686" y="1254"/>
                  <a:pt x="2686" y="1254"/>
                  <a:pt x="2686" y="1254"/>
                </a:cubicBezTo>
                <a:cubicBezTo>
                  <a:pt x="2688" y="1252"/>
                  <a:pt x="2688" y="1252"/>
                  <a:pt x="2688" y="1252"/>
                </a:cubicBezTo>
                <a:cubicBezTo>
                  <a:pt x="2690" y="1257"/>
                  <a:pt x="2690" y="1257"/>
                  <a:pt x="2690" y="1257"/>
                </a:cubicBezTo>
                <a:cubicBezTo>
                  <a:pt x="2690" y="1257"/>
                  <a:pt x="2692" y="1263"/>
                  <a:pt x="2693" y="1265"/>
                </a:cubicBezTo>
                <a:cubicBezTo>
                  <a:pt x="2693" y="1266"/>
                  <a:pt x="2687" y="1265"/>
                  <a:pt x="2687" y="1265"/>
                </a:cubicBezTo>
                <a:cubicBezTo>
                  <a:pt x="2688" y="1270"/>
                  <a:pt x="2688" y="1270"/>
                  <a:pt x="2688" y="1270"/>
                </a:cubicBezTo>
                <a:cubicBezTo>
                  <a:pt x="2688" y="1270"/>
                  <a:pt x="2690" y="1270"/>
                  <a:pt x="2692" y="1270"/>
                </a:cubicBezTo>
                <a:cubicBezTo>
                  <a:pt x="2694" y="1270"/>
                  <a:pt x="2694" y="1272"/>
                  <a:pt x="2694" y="1272"/>
                </a:cubicBezTo>
                <a:cubicBezTo>
                  <a:pt x="2697" y="1271"/>
                  <a:pt x="2697" y="1271"/>
                  <a:pt x="2697" y="1271"/>
                </a:cubicBezTo>
                <a:cubicBezTo>
                  <a:pt x="2697" y="1271"/>
                  <a:pt x="2696" y="1268"/>
                  <a:pt x="2696" y="1266"/>
                </a:cubicBezTo>
                <a:cubicBezTo>
                  <a:pt x="2696" y="1263"/>
                  <a:pt x="2700" y="1261"/>
                  <a:pt x="2702" y="1261"/>
                </a:cubicBezTo>
                <a:cubicBezTo>
                  <a:pt x="2705" y="1260"/>
                  <a:pt x="2710" y="1253"/>
                  <a:pt x="2710" y="1253"/>
                </a:cubicBezTo>
                <a:cubicBezTo>
                  <a:pt x="2713" y="1253"/>
                  <a:pt x="2713" y="1253"/>
                  <a:pt x="2713" y="1253"/>
                </a:cubicBezTo>
                <a:cubicBezTo>
                  <a:pt x="2716" y="1246"/>
                  <a:pt x="2716" y="1246"/>
                  <a:pt x="2716" y="1246"/>
                </a:cubicBezTo>
                <a:cubicBezTo>
                  <a:pt x="2716" y="1246"/>
                  <a:pt x="2720" y="1246"/>
                  <a:pt x="2721" y="1246"/>
                </a:cubicBezTo>
                <a:cubicBezTo>
                  <a:pt x="2723" y="1245"/>
                  <a:pt x="2724" y="1239"/>
                  <a:pt x="2724" y="1239"/>
                </a:cubicBezTo>
                <a:cubicBezTo>
                  <a:pt x="2724" y="1239"/>
                  <a:pt x="2725" y="1244"/>
                  <a:pt x="2725" y="1246"/>
                </a:cubicBezTo>
                <a:cubicBezTo>
                  <a:pt x="2726" y="1247"/>
                  <a:pt x="2720" y="1250"/>
                  <a:pt x="2720" y="1250"/>
                </a:cubicBezTo>
                <a:cubicBezTo>
                  <a:pt x="2717" y="1250"/>
                  <a:pt x="2717" y="1250"/>
                  <a:pt x="2717" y="1250"/>
                </a:cubicBezTo>
                <a:cubicBezTo>
                  <a:pt x="2716" y="1252"/>
                  <a:pt x="2716" y="1252"/>
                  <a:pt x="2716" y="1252"/>
                </a:cubicBezTo>
                <a:cubicBezTo>
                  <a:pt x="2719" y="1257"/>
                  <a:pt x="2719" y="1257"/>
                  <a:pt x="2719" y="1257"/>
                </a:cubicBezTo>
                <a:cubicBezTo>
                  <a:pt x="2719" y="1257"/>
                  <a:pt x="2717" y="1257"/>
                  <a:pt x="2715" y="1258"/>
                </a:cubicBezTo>
                <a:cubicBezTo>
                  <a:pt x="2714" y="1259"/>
                  <a:pt x="2710" y="1264"/>
                  <a:pt x="2710" y="1264"/>
                </a:cubicBezTo>
                <a:cubicBezTo>
                  <a:pt x="2710" y="1264"/>
                  <a:pt x="2709" y="1268"/>
                  <a:pt x="2707" y="1269"/>
                </a:cubicBezTo>
                <a:cubicBezTo>
                  <a:pt x="2706" y="1270"/>
                  <a:pt x="2701" y="1272"/>
                  <a:pt x="2702" y="1273"/>
                </a:cubicBezTo>
                <a:cubicBezTo>
                  <a:pt x="2704" y="1275"/>
                  <a:pt x="2710" y="1273"/>
                  <a:pt x="2711" y="1272"/>
                </a:cubicBezTo>
                <a:cubicBezTo>
                  <a:pt x="2713" y="1271"/>
                  <a:pt x="2713" y="1268"/>
                  <a:pt x="2715" y="1266"/>
                </a:cubicBezTo>
                <a:cubicBezTo>
                  <a:pt x="2716" y="1264"/>
                  <a:pt x="2719" y="1262"/>
                  <a:pt x="2719" y="1262"/>
                </a:cubicBezTo>
                <a:cubicBezTo>
                  <a:pt x="2719" y="1262"/>
                  <a:pt x="2720" y="1268"/>
                  <a:pt x="2720" y="1269"/>
                </a:cubicBezTo>
                <a:cubicBezTo>
                  <a:pt x="2720" y="1270"/>
                  <a:pt x="2718" y="1272"/>
                  <a:pt x="2716" y="1273"/>
                </a:cubicBezTo>
                <a:cubicBezTo>
                  <a:pt x="2714" y="1274"/>
                  <a:pt x="2714" y="1276"/>
                  <a:pt x="2715" y="1277"/>
                </a:cubicBezTo>
                <a:cubicBezTo>
                  <a:pt x="2717" y="1278"/>
                  <a:pt x="2723" y="1278"/>
                  <a:pt x="2723" y="1278"/>
                </a:cubicBezTo>
                <a:cubicBezTo>
                  <a:pt x="2724" y="1280"/>
                  <a:pt x="2724" y="1280"/>
                  <a:pt x="2724" y="1280"/>
                </a:cubicBezTo>
                <a:cubicBezTo>
                  <a:pt x="2721" y="1283"/>
                  <a:pt x="2721" y="1283"/>
                  <a:pt x="2721" y="1283"/>
                </a:cubicBezTo>
                <a:cubicBezTo>
                  <a:pt x="2721" y="1283"/>
                  <a:pt x="2724" y="1289"/>
                  <a:pt x="2725" y="1291"/>
                </a:cubicBezTo>
                <a:cubicBezTo>
                  <a:pt x="2725" y="1293"/>
                  <a:pt x="2720" y="1296"/>
                  <a:pt x="2719" y="1299"/>
                </a:cubicBezTo>
                <a:cubicBezTo>
                  <a:pt x="2716" y="1301"/>
                  <a:pt x="2723" y="1306"/>
                  <a:pt x="2725" y="1306"/>
                </a:cubicBezTo>
                <a:cubicBezTo>
                  <a:pt x="2726" y="1307"/>
                  <a:pt x="2729" y="1311"/>
                  <a:pt x="2732" y="1312"/>
                </a:cubicBezTo>
                <a:cubicBezTo>
                  <a:pt x="2735" y="1313"/>
                  <a:pt x="2738" y="1311"/>
                  <a:pt x="2741" y="1312"/>
                </a:cubicBezTo>
                <a:cubicBezTo>
                  <a:pt x="2743" y="1313"/>
                  <a:pt x="2744" y="1316"/>
                  <a:pt x="2748" y="1317"/>
                </a:cubicBezTo>
                <a:cubicBezTo>
                  <a:pt x="2752" y="1318"/>
                  <a:pt x="2762" y="1311"/>
                  <a:pt x="2762" y="1311"/>
                </a:cubicBezTo>
                <a:cubicBezTo>
                  <a:pt x="2762" y="1311"/>
                  <a:pt x="2761" y="1308"/>
                  <a:pt x="2764" y="1306"/>
                </a:cubicBezTo>
                <a:cubicBezTo>
                  <a:pt x="2767" y="1304"/>
                  <a:pt x="2767" y="1311"/>
                  <a:pt x="2767" y="1311"/>
                </a:cubicBezTo>
                <a:cubicBezTo>
                  <a:pt x="2769" y="1311"/>
                  <a:pt x="2769" y="1311"/>
                  <a:pt x="2769" y="1311"/>
                </a:cubicBezTo>
                <a:cubicBezTo>
                  <a:pt x="2767" y="1315"/>
                  <a:pt x="2767" y="1315"/>
                  <a:pt x="2767" y="1315"/>
                </a:cubicBezTo>
                <a:cubicBezTo>
                  <a:pt x="2770" y="1315"/>
                  <a:pt x="2770" y="1315"/>
                  <a:pt x="2770" y="1315"/>
                </a:cubicBezTo>
                <a:cubicBezTo>
                  <a:pt x="2770" y="1315"/>
                  <a:pt x="2770" y="1317"/>
                  <a:pt x="2771" y="1319"/>
                </a:cubicBezTo>
                <a:cubicBezTo>
                  <a:pt x="2773" y="1321"/>
                  <a:pt x="2774" y="1320"/>
                  <a:pt x="2774" y="1320"/>
                </a:cubicBezTo>
                <a:cubicBezTo>
                  <a:pt x="2775" y="1318"/>
                  <a:pt x="2775" y="1318"/>
                  <a:pt x="2775" y="1318"/>
                </a:cubicBezTo>
                <a:cubicBezTo>
                  <a:pt x="2775" y="1318"/>
                  <a:pt x="2779" y="1317"/>
                  <a:pt x="2781" y="1315"/>
                </a:cubicBezTo>
                <a:cubicBezTo>
                  <a:pt x="2784" y="1314"/>
                  <a:pt x="2793" y="1307"/>
                  <a:pt x="2793" y="1307"/>
                </a:cubicBezTo>
                <a:cubicBezTo>
                  <a:pt x="2792" y="1305"/>
                  <a:pt x="2792" y="1305"/>
                  <a:pt x="2792" y="1305"/>
                </a:cubicBezTo>
                <a:cubicBezTo>
                  <a:pt x="2797" y="1304"/>
                  <a:pt x="2797" y="1304"/>
                  <a:pt x="2797" y="1304"/>
                </a:cubicBezTo>
                <a:cubicBezTo>
                  <a:pt x="2799" y="1306"/>
                  <a:pt x="2799" y="1306"/>
                  <a:pt x="2799" y="1306"/>
                </a:cubicBezTo>
                <a:cubicBezTo>
                  <a:pt x="2799" y="1306"/>
                  <a:pt x="2807" y="1305"/>
                  <a:pt x="2812" y="1303"/>
                </a:cubicBezTo>
                <a:cubicBezTo>
                  <a:pt x="2816" y="1301"/>
                  <a:pt x="2817" y="1292"/>
                  <a:pt x="2817" y="1289"/>
                </a:cubicBezTo>
                <a:cubicBezTo>
                  <a:pt x="2818" y="1287"/>
                  <a:pt x="2824" y="1284"/>
                  <a:pt x="2824" y="1284"/>
                </a:cubicBezTo>
                <a:cubicBezTo>
                  <a:pt x="2824" y="1281"/>
                  <a:pt x="2824" y="1281"/>
                  <a:pt x="2824" y="1281"/>
                </a:cubicBezTo>
                <a:cubicBezTo>
                  <a:pt x="2824" y="1281"/>
                  <a:pt x="2827" y="1279"/>
                  <a:pt x="2828" y="1277"/>
                </a:cubicBezTo>
                <a:cubicBezTo>
                  <a:pt x="2830" y="1275"/>
                  <a:pt x="2832" y="1272"/>
                  <a:pt x="2832" y="1272"/>
                </a:cubicBezTo>
                <a:cubicBezTo>
                  <a:pt x="2832" y="1272"/>
                  <a:pt x="2833" y="1266"/>
                  <a:pt x="2834" y="1264"/>
                </a:cubicBezTo>
                <a:cubicBezTo>
                  <a:pt x="2836" y="1262"/>
                  <a:pt x="2843" y="1254"/>
                  <a:pt x="2846" y="1253"/>
                </a:cubicBezTo>
                <a:cubicBezTo>
                  <a:pt x="2848" y="1252"/>
                  <a:pt x="2848" y="1245"/>
                  <a:pt x="2848" y="1245"/>
                </a:cubicBezTo>
                <a:cubicBezTo>
                  <a:pt x="2848" y="1245"/>
                  <a:pt x="2853" y="1246"/>
                  <a:pt x="2855" y="1244"/>
                </a:cubicBezTo>
                <a:cubicBezTo>
                  <a:pt x="2857" y="1242"/>
                  <a:pt x="2867" y="1230"/>
                  <a:pt x="2867" y="1228"/>
                </a:cubicBezTo>
                <a:cubicBezTo>
                  <a:pt x="2868" y="1227"/>
                  <a:pt x="2868" y="1220"/>
                  <a:pt x="2870" y="1219"/>
                </a:cubicBezTo>
                <a:cubicBezTo>
                  <a:pt x="2872" y="1218"/>
                  <a:pt x="2881" y="1200"/>
                  <a:pt x="2883" y="1196"/>
                </a:cubicBezTo>
                <a:cubicBezTo>
                  <a:pt x="2885" y="1192"/>
                  <a:pt x="2883" y="1190"/>
                  <a:pt x="2882" y="1187"/>
                </a:cubicBezTo>
                <a:cubicBezTo>
                  <a:pt x="2882" y="1184"/>
                  <a:pt x="2884" y="1180"/>
                  <a:pt x="2886" y="1177"/>
                </a:cubicBezTo>
                <a:cubicBezTo>
                  <a:pt x="2888" y="1174"/>
                  <a:pt x="2886" y="1161"/>
                  <a:pt x="2886" y="1161"/>
                </a:cubicBezTo>
                <a:cubicBezTo>
                  <a:pt x="2882" y="1159"/>
                  <a:pt x="2882" y="1159"/>
                  <a:pt x="2882" y="1159"/>
                </a:cubicBezTo>
                <a:cubicBezTo>
                  <a:pt x="2882" y="1159"/>
                  <a:pt x="2882" y="1159"/>
                  <a:pt x="2882" y="1159"/>
                </a:cubicBezTo>
                <a:close/>
                <a:moveTo>
                  <a:pt x="2509" y="971"/>
                </a:moveTo>
                <a:cubicBezTo>
                  <a:pt x="2511" y="973"/>
                  <a:pt x="2518" y="974"/>
                  <a:pt x="2521" y="975"/>
                </a:cubicBezTo>
                <a:cubicBezTo>
                  <a:pt x="2524" y="975"/>
                  <a:pt x="2525" y="974"/>
                  <a:pt x="2530" y="975"/>
                </a:cubicBezTo>
                <a:cubicBezTo>
                  <a:pt x="2534" y="975"/>
                  <a:pt x="2538" y="981"/>
                  <a:pt x="2540" y="982"/>
                </a:cubicBezTo>
                <a:cubicBezTo>
                  <a:pt x="2542" y="983"/>
                  <a:pt x="2544" y="981"/>
                  <a:pt x="2544" y="981"/>
                </a:cubicBezTo>
                <a:cubicBezTo>
                  <a:pt x="2544" y="981"/>
                  <a:pt x="2547" y="983"/>
                  <a:pt x="2547" y="981"/>
                </a:cubicBezTo>
                <a:cubicBezTo>
                  <a:pt x="2547" y="979"/>
                  <a:pt x="2545" y="976"/>
                  <a:pt x="2545" y="976"/>
                </a:cubicBezTo>
                <a:cubicBezTo>
                  <a:pt x="2545" y="976"/>
                  <a:pt x="2547" y="975"/>
                  <a:pt x="2547" y="971"/>
                </a:cubicBezTo>
                <a:cubicBezTo>
                  <a:pt x="2547" y="967"/>
                  <a:pt x="2542" y="967"/>
                  <a:pt x="2539" y="966"/>
                </a:cubicBezTo>
                <a:cubicBezTo>
                  <a:pt x="2536" y="965"/>
                  <a:pt x="2536" y="972"/>
                  <a:pt x="2536" y="972"/>
                </a:cubicBezTo>
                <a:cubicBezTo>
                  <a:pt x="2531" y="968"/>
                  <a:pt x="2531" y="968"/>
                  <a:pt x="2531" y="968"/>
                </a:cubicBezTo>
                <a:cubicBezTo>
                  <a:pt x="2531" y="968"/>
                  <a:pt x="2532" y="965"/>
                  <a:pt x="2532" y="960"/>
                </a:cubicBezTo>
                <a:cubicBezTo>
                  <a:pt x="2532" y="955"/>
                  <a:pt x="2522" y="957"/>
                  <a:pt x="2522" y="957"/>
                </a:cubicBezTo>
                <a:cubicBezTo>
                  <a:pt x="2517" y="954"/>
                  <a:pt x="2517" y="954"/>
                  <a:pt x="2517" y="954"/>
                </a:cubicBezTo>
                <a:cubicBezTo>
                  <a:pt x="2517" y="951"/>
                  <a:pt x="2517" y="951"/>
                  <a:pt x="2517" y="951"/>
                </a:cubicBezTo>
                <a:cubicBezTo>
                  <a:pt x="2511" y="951"/>
                  <a:pt x="2511" y="951"/>
                  <a:pt x="2511" y="951"/>
                </a:cubicBezTo>
                <a:cubicBezTo>
                  <a:pt x="2511" y="951"/>
                  <a:pt x="2510" y="955"/>
                  <a:pt x="2510" y="956"/>
                </a:cubicBezTo>
                <a:cubicBezTo>
                  <a:pt x="2510" y="957"/>
                  <a:pt x="2503" y="955"/>
                  <a:pt x="2500" y="954"/>
                </a:cubicBezTo>
                <a:cubicBezTo>
                  <a:pt x="2496" y="953"/>
                  <a:pt x="2490" y="954"/>
                  <a:pt x="2490" y="954"/>
                </a:cubicBezTo>
                <a:cubicBezTo>
                  <a:pt x="2490" y="954"/>
                  <a:pt x="2487" y="949"/>
                  <a:pt x="2485" y="947"/>
                </a:cubicBezTo>
                <a:cubicBezTo>
                  <a:pt x="2483" y="945"/>
                  <a:pt x="2480" y="947"/>
                  <a:pt x="2480" y="947"/>
                </a:cubicBezTo>
                <a:cubicBezTo>
                  <a:pt x="2480" y="947"/>
                  <a:pt x="2475" y="944"/>
                  <a:pt x="2473" y="944"/>
                </a:cubicBezTo>
                <a:cubicBezTo>
                  <a:pt x="2472" y="944"/>
                  <a:pt x="2467" y="944"/>
                  <a:pt x="2467" y="944"/>
                </a:cubicBezTo>
                <a:cubicBezTo>
                  <a:pt x="2467" y="944"/>
                  <a:pt x="2464" y="942"/>
                  <a:pt x="2462" y="943"/>
                </a:cubicBezTo>
                <a:cubicBezTo>
                  <a:pt x="2459" y="944"/>
                  <a:pt x="2459" y="949"/>
                  <a:pt x="2457" y="950"/>
                </a:cubicBezTo>
                <a:cubicBezTo>
                  <a:pt x="2456" y="951"/>
                  <a:pt x="2453" y="952"/>
                  <a:pt x="2453" y="955"/>
                </a:cubicBezTo>
                <a:cubicBezTo>
                  <a:pt x="2458" y="954"/>
                  <a:pt x="2458" y="954"/>
                  <a:pt x="2458" y="954"/>
                </a:cubicBezTo>
                <a:cubicBezTo>
                  <a:pt x="2465" y="954"/>
                  <a:pt x="2465" y="954"/>
                  <a:pt x="2465" y="954"/>
                </a:cubicBezTo>
                <a:cubicBezTo>
                  <a:pt x="2465" y="954"/>
                  <a:pt x="2460" y="957"/>
                  <a:pt x="2462" y="959"/>
                </a:cubicBezTo>
                <a:cubicBezTo>
                  <a:pt x="2464" y="961"/>
                  <a:pt x="2471" y="958"/>
                  <a:pt x="2471" y="958"/>
                </a:cubicBezTo>
                <a:cubicBezTo>
                  <a:pt x="2471" y="958"/>
                  <a:pt x="2482" y="963"/>
                  <a:pt x="2485" y="964"/>
                </a:cubicBezTo>
                <a:cubicBezTo>
                  <a:pt x="2488" y="965"/>
                  <a:pt x="2498" y="965"/>
                  <a:pt x="2502" y="965"/>
                </a:cubicBezTo>
                <a:cubicBezTo>
                  <a:pt x="2506" y="965"/>
                  <a:pt x="2507" y="969"/>
                  <a:pt x="2509" y="971"/>
                </a:cubicBezTo>
                <a:close/>
                <a:moveTo>
                  <a:pt x="2697" y="1278"/>
                </a:moveTo>
                <a:cubicBezTo>
                  <a:pt x="2694" y="1278"/>
                  <a:pt x="2690" y="1279"/>
                  <a:pt x="2692" y="1281"/>
                </a:cubicBezTo>
                <a:cubicBezTo>
                  <a:pt x="2693" y="1282"/>
                  <a:pt x="2694" y="1283"/>
                  <a:pt x="2694" y="1283"/>
                </a:cubicBezTo>
                <a:cubicBezTo>
                  <a:pt x="2697" y="1283"/>
                  <a:pt x="2700" y="1282"/>
                  <a:pt x="2700" y="1282"/>
                </a:cubicBezTo>
                <a:cubicBezTo>
                  <a:pt x="2702" y="1282"/>
                  <a:pt x="2702" y="1282"/>
                  <a:pt x="2702" y="1282"/>
                </a:cubicBezTo>
                <a:cubicBezTo>
                  <a:pt x="2702" y="1281"/>
                  <a:pt x="2702" y="1281"/>
                  <a:pt x="2702" y="1281"/>
                </a:cubicBezTo>
                <a:cubicBezTo>
                  <a:pt x="2705" y="1281"/>
                  <a:pt x="2705" y="1281"/>
                  <a:pt x="2705" y="1281"/>
                </a:cubicBezTo>
                <a:cubicBezTo>
                  <a:pt x="2706" y="1280"/>
                  <a:pt x="2706" y="1280"/>
                  <a:pt x="2706" y="1280"/>
                </a:cubicBezTo>
                <a:cubicBezTo>
                  <a:pt x="2702" y="1279"/>
                  <a:pt x="2702" y="1279"/>
                  <a:pt x="2702" y="1279"/>
                </a:cubicBezTo>
                <a:cubicBezTo>
                  <a:pt x="2702" y="1279"/>
                  <a:pt x="2700" y="1278"/>
                  <a:pt x="2697" y="1278"/>
                </a:cubicBezTo>
                <a:close/>
                <a:moveTo>
                  <a:pt x="2403" y="904"/>
                </a:moveTo>
                <a:cubicBezTo>
                  <a:pt x="2405" y="904"/>
                  <a:pt x="2402" y="899"/>
                  <a:pt x="2400" y="900"/>
                </a:cubicBezTo>
                <a:cubicBezTo>
                  <a:pt x="2399" y="901"/>
                  <a:pt x="2401" y="904"/>
                  <a:pt x="2403" y="904"/>
                </a:cubicBezTo>
                <a:close/>
                <a:moveTo>
                  <a:pt x="2773" y="1337"/>
                </a:moveTo>
                <a:cubicBezTo>
                  <a:pt x="2773" y="1338"/>
                  <a:pt x="2778" y="1336"/>
                  <a:pt x="2776" y="1334"/>
                </a:cubicBezTo>
                <a:cubicBezTo>
                  <a:pt x="2774" y="1333"/>
                  <a:pt x="2773" y="1337"/>
                  <a:pt x="2773" y="1337"/>
                </a:cubicBezTo>
                <a:close/>
                <a:moveTo>
                  <a:pt x="2390" y="875"/>
                </a:moveTo>
                <a:cubicBezTo>
                  <a:pt x="2387" y="878"/>
                  <a:pt x="2387" y="878"/>
                  <a:pt x="2387" y="878"/>
                </a:cubicBezTo>
                <a:cubicBezTo>
                  <a:pt x="2389" y="882"/>
                  <a:pt x="2389" y="882"/>
                  <a:pt x="2389" y="882"/>
                </a:cubicBezTo>
                <a:cubicBezTo>
                  <a:pt x="2389" y="882"/>
                  <a:pt x="2387" y="886"/>
                  <a:pt x="2389" y="885"/>
                </a:cubicBezTo>
                <a:cubicBezTo>
                  <a:pt x="2390" y="884"/>
                  <a:pt x="2390" y="879"/>
                  <a:pt x="2390" y="879"/>
                </a:cubicBezTo>
                <a:cubicBezTo>
                  <a:pt x="2391" y="877"/>
                  <a:pt x="2391" y="877"/>
                  <a:pt x="2391" y="877"/>
                </a:cubicBezTo>
                <a:cubicBezTo>
                  <a:pt x="2390" y="875"/>
                  <a:pt x="2390" y="875"/>
                  <a:pt x="2390" y="875"/>
                </a:cubicBezTo>
                <a:cubicBezTo>
                  <a:pt x="2390" y="875"/>
                  <a:pt x="2390" y="875"/>
                  <a:pt x="2390" y="875"/>
                </a:cubicBezTo>
                <a:close/>
                <a:moveTo>
                  <a:pt x="2898" y="994"/>
                </a:moveTo>
                <a:cubicBezTo>
                  <a:pt x="2898" y="991"/>
                  <a:pt x="2898" y="991"/>
                  <a:pt x="2898" y="991"/>
                </a:cubicBezTo>
                <a:cubicBezTo>
                  <a:pt x="2893" y="988"/>
                  <a:pt x="2893" y="988"/>
                  <a:pt x="2893" y="988"/>
                </a:cubicBezTo>
                <a:cubicBezTo>
                  <a:pt x="2895" y="986"/>
                  <a:pt x="2895" y="986"/>
                  <a:pt x="2895" y="986"/>
                </a:cubicBezTo>
                <a:cubicBezTo>
                  <a:pt x="2895" y="986"/>
                  <a:pt x="2890" y="985"/>
                  <a:pt x="2889" y="984"/>
                </a:cubicBezTo>
                <a:cubicBezTo>
                  <a:pt x="2888" y="983"/>
                  <a:pt x="2889" y="980"/>
                  <a:pt x="2889" y="978"/>
                </a:cubicBezTo>
                <a:cubicBezTo>
                  <a:pt x="2889" y="976"/>
                  <a:pt x="2882" y="979"/>
                  <a:pt x="2882" y="979"/>
                </a:cubicBezTo>
                <a:cubicBezTo>
                  <a:pt x="2882" y="975"/>
                  <a:pt x="2882" y="975"/>
                  <a:pt x="2882" y="975"/>
                </a:cubicBezTo>
                <a:cubicBezTo>
                  <a:pt x="2879" y="973"/>
                  <a:pt x="2879" y="973"/>
                  <a:pt x="2879" y="973"/>
                </a:cubicBezTo>
                <a:cubicBezTo>
                  <a:pt x="2879" y="967"/>
                  <a:pt x="2879" y="967"/>
                  <a:pt x="2879" y="967"/>
                </a:cubicBezTo>
                <a:cubicBezTo>
                  <a:pt x="2871" y="962"/>
                  <a:pt x="2871" y="962"/>
                  <a:pt x="2871" y="962"/>
                </a:cubicBezTo>
                <a:cubicBezTo>
                  <a:pt x="2867" y="954"/>
                  <a:pt x="2867" y="954"/>
                  <a:pt x="2867" y="954"/>
                </a:cubicBezTo>
                <a:cubicBezTo>
                  <a:pt x="2867" y="954"/>
                  <a:pt x="2875" y="951"/>
                  <a:pt x="2875" y="948"/>
                </a:cubicBezTo>
                <a:cubicBezTo>
                  <a:pt x="2875" y="944"/>
                  <a:pt x="2868" y="943"/>
                  <a:pt x="2868" y="943"/>
                </a:cubicBezTo>
                <a:cubicBezTo>
                  <a:pt x="2868" y="942"/>
                  <a:pt x="2857" y="939"/>
                  <a:pt x="2857" y="939"/>
                </a:cubicBezTo>
                <a:cubicBezTo>
                  <a:pt x="2857" y="939"/>
                  <a:pt x="2857" y="936"/>
                  <a:pt x="2857" y="932"/>
                </a:cubicBezTo>
                <a:cubicBezTo>
                  <a:pt x="2858" y="928"/>
                  <a:pt x="2852" y="927"/>
                  <a:pt x="2852" y="927"/>
                </a:cubicBezTo>
                <a:cubicBezTo>
                  <a:pt x="2846" y="920"/>
                  <a:pt x="2846" y="920"/>
                  <a:pt x="2846" y="920"/>
                </a:cubicBezTo>
                <a:cubicBezTo>
                  <a:pt x="2840" y="920"/>
                  <a:pt x="2840" y="920"/>
                  <a:pt x="2840" y="920"/>
                </a:cubicBezTo>
                <a:cubicBezTo>
                  <a:pt x="2835" y="916"/>
                  <a:pt x="2835" y="916"/>
                  <a:pt x="2835" y="916"/>
                </a:cubicBezTo>
                <a:cubicBezTo>
                  <a:pt x="2831" y="915"/>
                  <a:pt x="2831" y="915"/>
                  <a:pt x="2831" y="915"/>
                </a:cubicBezTo>
                <a:cubicBezTo>
                  <a:pt x="2814" y="907"/>
                  <a:pt x="2814" y="907"/>
                  <a:pt x="2814" y="907"/>
                </a:cubicBezTo>
                <a:cubicBezTo>
                  <a:pt x="2811" y="908"/>
                  <a:pt x="2811" y="908"/>
                  <a:pt x="2811" y="908"/>
                </a:cubicBezTo>
                <a:cubicBezTo>
                  <a:pt x="2805" y="904"/>
                  <a:pt x="2805" y="904"/>
                  <a:pt x="2805" y="904"/>
                </a:cubicBezTo>
                <a:cubicBezTo>
                  <a:pt x="2805" y="904"/>
                  <a:pt x="2801" y="904"/>
                  <a:pt x="2799" y="904"/>
                </a:cubicBezTo>
                <a:cubicBezTo>
                  <a:pt x="2797" y="904"/>
                  <a:pt x="2783" y="895"/>
                  <a:pt x="2780" y="895"/>
                </a:cubicBezTo>
                <a:cubicBezTo>
                  <a:pt x="2777" y="894"/>
                  <a:pt x="2773" y="898"/>
                  <a:pt x="2773" y="898"/>
                </a:cubicBezTo>
                <a:cubicBezTo>
                  <a:pt x="2775" y="902"/>
                  <a:pt x="2775" y="902"/>
                  <a:pt x="2775" y="902"/>
                </a:cubicBezTo>
                <a:cubicBezTo>
                  <a:pt x="2764" y="903"/>
                  <a:pt x="2764" y="903"/>
                  <a:pt x="2764" y="903"/>
                </a:cubicBezTo>
                <a:cubicBezTo>
                  <a:pt x="2765" y="906"/>
                  <a:pt x="2765" y="906"/>
                  <a:pt x="2765" y="906"/>
                </a:cubicBezTo>
                <a:cubicBezTo>
                  <a:pt x="2765" y="906"/>
                  <a:pt x="2763" y="913"/>
                  <a:pt x="2755" y="914"/>
                </a:cubicBezTo>
                <a:cubicBezTo>
                  <a:pt x="2747" y="916"/>
                  <a:pt x="2749" y="906"/>
                  <a:pt x="2748" y="906"/>
                </a:cubicBezTo>
                <a:cubicBezTo>
                  <a:pt x="2747" y="906"/>
                  <a:pt x="2746" y="910"/>
                  <a:pt x="2746" y="910"/>
                </a:cubicBezTo>
                <a:cubicBezTo>
                  <a:pt x="2746" y="910"/>
                  <a:pt x="2744" y="907"/>
                  <a:pt x="2744" y="905"/>
                </a:cubicBezTo>
                <a:cubicBezTo>
                  <a:pt x="2744" y="903"/>
                  <a:pt x="2744" y="897"/>
                  <a:pt x="2744" y="894"/>
                </a:cubicBezTo>
                <a:cubicBezTo>
                  <a:pt x="2743" y="890"/>
                  <a:pt x="2741" y="886"/>
                  <a:pt x="2741" y="886"/>
                </a:cubicBezTo>
                <a:cubicBezTo>
                  <a:pt x="2735" y="886"/>
                  <a:pt x="2735" y="886"/>
                  <a:pt x="2735" y="886"/>
                </a:cubicBezTo>
                <a:cubicBezTo>
                  <a:pt x="2735" y="886"/>
                  <a:pt x="2731" y="881"/>
                  <a:pt x="2727" y="881"/>
                </a:cubicBezTo>
                <a:cubicBezTo>
                  <a:pt x="2724" y="881"/>
                  <a:pt x="2720" y="886"/>
                  <a:pt x="2720" y="886"/>
                </a:cubicBezTo>
                <a:cubicBezTo>
                  <a:pt x="2716" y="887"/>
                  <a:pt x="2716" y="887"/>
                  <a:pt x="2716" y="887"/>
                </a:cubicBezTo>
                <a:cubicBezTo>
                  <a:pt x="2715" y="890"/>
                  <a:pt x="2715" y="890"/>
                  <a:pt x="2715" y="890"/>
                </a:cubicBezTo>
                <a:cubicBezTo>
                  <a:pt x="2713" y="891"/>
                  <a:pt x="2713" y="891"/>
                  <a:pt x="2713" y="891"/>
                </a:cubicBezTo>
                <a:cubicBezTo>
                  <a:pt x="2713" y="889"/>
                  <a:pt x="2713" y="889"/>
                  <a:pt x="2713" y="889"/>
                </a:cubicBezTo>
                <a:cubicBezTo>
                  <a:pt x="2713" y="889"/>
                  <a:pt x="2711" y="887"/>
                  <a:pt x="2709" y="888"/>
                </a:cubicBezTo>
                <a:cubicBezTo>
                  <a:pt x="2709" y="888"/>
                  <a:pt x="2709" y="890"/>
                  <a:pt x="2711" y="893"/>
                </a:cubicBezTo>
                <a:cubicBezTo>
                  <a:pt x="2713" y="896"/>
                  <a:pt x="2717" y="894"/>
                  <a:pt x="2721" y="895"/>
                </a:cubicBezTo>
                <a:cubicBezTo>
                  <a:pt x="2724" y="896"/>
                  <a:pt x="2721" y="898"/>
                  <a:pt x="2723" y="901"/>
                </a:cubicBezTo>
                <a:cubicBezTo>
                  <a:pt x="2725" y="904"/>
                  <a:pt x="2731" y="902"/>
                  <a:pt x="2736" y="902"/>
                </a:cubicBezTo>
                <a:cubicBezTo>
                  <a:pt x="2740" y="902"/>
                  <a:pt x="2741" y="903"/>
                  <a:pt x="2741" y="905"/>
                </a:cubicBezTo>
                <a:cubicBezTo>
                  <a:pt x="2741" y="907"/>
                  <a:pt x="2735" y="905"/>
                  <a:pt x="2734" y="905"/>
                </a:cubicBezTo>
                <a:cubicBezTo>
                  <a:pt x="2732" y="906"/>
                  <a:pt x="2728" y="908"/>
                  <a:pt x="2728" y="908"/>
                </a:cubicBezTo>
                <a:cubicBezTo>
                  <a:pt x="2728" y="908"/>
                  <a:pt x="2722" y="908"/>
                  <a:pt x="2721" y="909"/>
                </a:cubicBezTo>
                <a:cubicBezTo>
                  <a:pt x="2720" y="911"/>
                  <a:pt x="2726" y="912"/>
                  <a:pt x="2727" y="913"/>
                </a:cubicBezTo>
                <a:cubicBezTo>
                  <a:pt x="2729" y="914"/>
                  <a:pt x="2731" y="917"/>
                  <a:pt x="2731" y="917"/>
                </a:cubicBezTo>
                <a:cubicBezTo>
                  <a:pt x="2731" y="917"/>
                  <a:pt x="2727" y="921"/>
                  <a:pt x="2729" y="924"/>
                </a:cubicBezTo>
                <a:cubicBezTo>
                  <a:pt x="2731" y="927"/>
                  <a:pt x="2735" y="919"/>
                  <a:pt x="2735" y="918"/>
                </a:cubicBezTo>
                <a:cubicBezTo>
                  <a:pt x="2735" y="918"/>
                  <a:pt x="2739" y="912"/>
                  <a:pt x="2739" y="912"/>
                </a:cubicBezTo>
                <a:cubicBezTo>
                  <a:pt x="2739" y="917"/>
                  <a:pt x="2739" y="917"/>
                  <a:pt x="2739" y="917"/>
                </a:cubicBezTo>
                <a:cubicBezTo>
                  <a:pt x="2739" y="917"/>
                  <a:pt x="2742" y="920"/>
                  <a:pt x="2744" y="921"/>
                </a:cubicBezTo>
                <a:cubicBezTo>
                  <a:pt x="2746" y="924"/>
                  <a:pt x="2750" y="922"/>
                  <a:pt x="2750" y="922"/>
                </a:cubicBezTo>
                <a:cubicBezTo>
                  <a:pt x="2748" y="924"/>
                  <a:pt x="2748" y="924"/>
                  <a:pt x="2748" y="924"/>
                </a:cubicBezTo>
                <a:cubicBezTo>
                  <a:pt x="2753" y="928"/>
                  <a:pt x="2753" y="928"/>
                  <a:pt x="2753" y="928"/>
                </a:cubicBezTo>
                <a:cubicBezTo>
                  <a:pt x="2761" y="928"/>
                  <a:pt x="2761" y="928"/>
                  <a:pt x="2761" y="928"/>
                </a:cubicBezTo>
                <a:cubicBezTo>
                  <a:pt x="2766" y="932"/>
                  <a:pt x="2766" y="932"/>
                  <a:pt x="2766" y="932"/>
                </a:cubicBezTo>
                <a:cubicBezTo>
                  <a:pt x="2766" y="932"/>
                  <a:pt x="2774" y="935"/>
                  <a:pt x="2779" y="938"/>
                </a:cubicBezTo>
                <a:cubicBezTo>
                  <a:pt x="2784" y="942"/>
                  <a:pt x="2783" y="943"/>
                  <a:pt x="2783" y="947"/>
                </a:cubicBezTo>
                <a:cubicBezTo>
                  <a:pt x="2784" y="951"/>
                  <a:pt x="2788" y="953"/>
                  <a:pt x="2788" y="953"/>
                </a:cubicBezTo>
                <a:cubicBezTo>
                  <a:pt x="2788" y="953"/>
                  <a:pt x="2785" y="954"/>
                  <a:pt x="2785" y="956"/>
                </a:cubicBezTo>
                <a:cubicBezTo>
                  <a:pt x="2785" y="957"/>
                  <a:pt x="2790" y="958"/>
                  <a:pt x="2790" y="958"/>
                </a:cubicBezTo>
                <a:cubicBezTo>
                  <a:pt x="2787" y="959"/>
                  <a:pt x="2787" y="959"/>
                  <a:pt x="2787" y="959"/>
                </a:cubicBezTo>
                <a:cubicBezTo>
                  <a:pt x="2787" y="961"/>
                  <a:pt x="2787" y="961"/>
                  <a:pt x="2787" y="961"/>
                </a:cubicBezTo>
                <a:cubicBezTo>
                  <a:pt x="2788" y="961"/>
                  <a:pt x="2788" y="961"/>
                  <a:pt x="2788" y="961"/>
                </a:cubicBezTo>
                <a:cubicBezTo>
                  <a:pt x="2789" y="966"/>
                  <a:pt x="2789" y="966"/>
                  <a:pt x="2789" y="966"/>
                </a:cubicBezTo>
                <a:cubicBezTo>
                  <a:pt x="2787" y="970"/>
                  <a:pt x="2787" y="970"/>
                  <a:pt x="2787" y="970"/>
                </a:cubicBezTo>
                <a:cubicBezTo>
                  <a:pt x="2788" y="970"/>
                  <a:pt x="2789" y="970"/>
                  <a:pt x="2790" y="970"/>
                </a:cubicBezTo>
                <a:cubicBezTo>
                  <a:pt x="2791" y="970"/>
                  <a:pt x="2798" y="967"/>
                  <a:pt x="2798" y="967"/>
                </a:cubicBezTo>
                <a:cubicBezTo>
                  <a:pt x="2798" y="971"/>
                  <a:pt x="2798" y="971"/>
                  <a:pt x="2798" y="971"/>
                </a:cubicBezTo>
                <a:cubicBezTo>
                  <a:pt x="2798" y="971"/>
                  <a:pt x="2804" y="978"/>
                  <a:pt x="2806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11" y="981"/>
                  <a:pt x="2820" y="979"/>
                  <a:pt x="2820" y="979"/>
                </a:cubicBezTo>
                <a:cubicBezTo>
                  <a:pt x="2822" y="982"/>
                  <a:pt x="2822" y="982"/>
                  <a:pt x="2822" y="982"/>
                </a:cubicBezTo>
                <a:cubicBezTo>
                  <a:pt x="2822" y="982"/>
                  <a:pt x="2828" y="980"/>
                  <a:pt x="2830" y="978"/>
                </a:cubicBezTo>
                <a:cubicBezTo>
                  <a:pt x="2833" y="975"/>
                  <a:pt x="2819" y="969"/>
                  <a:pt x="2819" y="969"/>
                </a:cubicBezTo>
                <a:cubicBezTo>
                  <a:pt x="2819" y="969"/>
                  <a:pt x="2830" y="971"/>
                  <a:pt x="2833" y="970"/>
                </a:cubicBezTo>
                <a:cubicBezTo>
                  <a:pt x="2835" y="970"/>
                  <a:pt x="2831" y="965"/>
                  <a:pt x="2831" y="965"/>
                </a:cubicBezTo>
                <a:cubicBezTo>
                  <a:pt x="2831" y="965"/>
                  <a:pt x="2834" y="968"/>
                  <a:pt x="2835" y="967"/>
                </a:cubicBezTo>
                <a:cubicBezTo>
                  <a:pt x="2837" y="967"/>
                  <a:pt x="2834" y="962"/>
                  <a:pt x="2834" y="962"/>
                </a:cubicBezTo>
                <a:cubicBezTo>
                  <a:pt x="2834" y="962"/>
                  <a:pt x="2837" y="964"/>
                  <a:pt x="2838" y="964"/>
                </a:cubicBezTo>
                <a:cubicBezTo>
                  <a:pt x="2839" y="965"/>
                  <a:pt x="2841" y="962"/>
                  <a:pt x="2843" y="962"/>
                </a:cubicBezTo>
                <a:cubicBezTo>
                  <a:pt x="2844" y="961"/>
                  <a:pt x="2846" y="965"/>
                  <a:pt x="2848" y="966"/>
                </a:cubicBezTo>
                <a:cubicBezTo>
                  <a:pt x="2849" y="967"/>
                  <a:pt x="2854" y="966"/>
                  <a:pt x="2858" y="968"/>
                </a:cubicBezTo>
                <a:cubicBezTo>
                  <a:pt x="2862" y="970"/>
                  <a:pt x="2860" y="975"/>
                  <a:pt x="2862" y="978"/>
                </a:cubicBezTo>
                <a:cubicBezTo>
                  <a:pt x="2863" y="980"/>
                  <a:pt x="2866" y="979"/>
                  <a:pt x="2867" y="980"/>
                </a:cubicBezTo>
                <a:cubicBezTo>
                  <a:pt x="2868" y="981"/>
                  <a:pt x="2870" y="990"/>
                  <a:pt x="2873" y="992"/>
                </a:cubicBezTo>
                <a:cubicBezTo>
                  <a:pt x="2876" y="994"/>
                  <a:pt x="2889" y="993"/>
                  <a:pt x="2891" y="994"/>
                </a:cubicBezTo>
                <a:cubicBezTo>
                  <a:pt x="2893" y="994"/>
                  <a:pt x="2897" y="999"/>
                  <a:pt x="2900" y="999"/>
                </a:cubicBezTo>
                <a:cubicBezTo>
                  <a:pt x="2902" y="999"/>
                  <a:pt x="2898" y="994"/>
                  <a:pt x="2898" y="994"/>
                </a:cubicBezTo>
                <a:close/>
                <a:moveTo>
                  <a:pt x="2997" y="1342"/>
                </a:moveTo>
                <a:cubicBezTo>
                  <a:pt x="2995" y="1342"/>
                  <a:pt x="2995" y="1342"/>
                  <a:pt x="2995" y="1342"/>
                </a:cubicBezTo>
                <a:cubicBezTo>
                  <a:pt x="2996" y="1336"/>
                  <a:pt x="2996" y="1336"/>
                  <a:pt x="2996" y="1336"/>
                </a:cubicBezTo>
                <a:cubicBezTo>
                  <a:pt x="2992" y="1339"/>
                  <a:pt x="2992" y="1339"/>
                  <a:pt x="2992" y="1339"/>
                </a:cubicBezTo>
                <a:cubicBezTo>
                  <a:pt x="2992" y="1339"/>
                  <a:pt x="2995" y="1333"/>
                  <a:pt x="2993" y="1333"/>
                </a:cubicBezTo>
                <a:cubicBezTo>
                  <a:pt x="2990" y="1333"/>
                  <a:pt x="2988" y="1337"/>
                  <a:pt x="2988" y="1337"/>
                </a:cubicBezTo>
                <a:cubicBezTo>
                  <a:pt x="2986" y="1338"/>
                  <a:pt x="2986" y="1338"/>
                  <a:pt x="2986" y="1338"/>
                </a:cubicBezTo>
                <a:cubicBezTo>
                  <a:pt x="2986" y="1338"/>
                  <a:pt x="2983" y="1340"/>
                  <a:pt x="2982" y="1343"/>
                </a:cubicBezTo>
                <a:cubicBezTo>
                  <a:pt x="2980" y="1345"/>
                  <a:pt x="2975" y="1345"/>
                  <a:pt x="2972" y="1347"/>
                </a:cubicBezTo>
                <a:cubicBezTo>
                  <a:pt x="2969" y="1350"/>
                  <a:pt x="2968" y="1354"/>
                  <a:pt x="2968" y="1354"/>
                </a:cubicBezTo>
                <a:cubicBezTo>
                  <a:pt x="2968" y="1354"/>
                  <a:pt x="2958" y="1356"/>
                  <a:pt x="2955" y="1358"/>
                </a:cubicBezTo>
                <a:cubicBezTo>
                  <a:pt x="2952" y="1360"/>
                  <a:pt x="2947" y="1364"/>
                  <a:pt x="2947" y="1364"/>
                </a:cubicBezTo>
                <a:cubicBezTo>
                  <a:pt x="2947" y="1364"/>
                  <a:pt x="2942" y="1365"/>
                  <a:pt x="2938" y="1367"/>
                </a:cubicBezTo>
                <a:cubicBezTo>
                  <a:pt x="2935" y="1368"/>
                  <a:pt x="2933" y="1369"/>
                  <a:pt x="2930" y="1370"/>
                </a:cubicBezTo>
                <a:cubicBezTo>
                  <a:pt x="2926" y="1372"/>
                  <a:pt x="2920" y="1375"/>
                  <a:pt x="2917" y="1376"/>
                </a:cubicBezTo>
                <a:cubicBezTo>
                  <a:pt x="2915" y="1377"/>
                  <a:pt x="2916" y="1381"/>
                  <a:pt x="2916" y="1381"/>
                </a:cubicBezTo>
                <a:cubicBezTo>
                  <a:pt x="2914" y="1379"/>
                  <a:pt x="2914" y="1379"/>
                  <a:pt x="2914" y="1379"/>
                </a:cubicBezTo>
                <a:cubicBezTo>
                  <a:pt x="2914" y="1379"/>
                  <a:pt x="2907" y="1384"/>
                  <a:pt x="2904" y="1385"/>
                </a:cubicBezTo>
                <a:cubicBezTo>
                  <a:pt x="2902" y="1387"/>
                  <a:pt x="2901" y="1386"/>
                  <a:pt x="2897" y="1387"/>
                </a:cubicBezTo>
                <a:cubicBezTo>
                  <a:pt x="2894" y="1388"/>
                  <a:pt x="2893" y="1390"/>
                  <a:pt x="2893" y="1390"/>
                </a:cubicBezTo>
                <a:cubicBezTo>
                  <a:pt x="2893" y="1390"/>
                  <a:pt x="2897" y="1390"/>
                  <a:pt x="2896" y="1391"/>
                </a:cubicBezTo>
                <a:cubicBezTo>
                  <a:pt x="2896" y="1392"/>
                  <a:pt x="2894" y="1393"/>
                  <a:pt x="2895" y="1395"/>
                </a:cubicBezTo>
                <a:cubicBezTo>
                  <a:pt x="2896" y="1397"/>
                  <a:pt x="2901" y="1394"/>
                  <a:pt x="2901" y="1394"/>
                </a:cubicBezTo>
                <a:cubicBezTo>
                  <a:pt x="2902" y="1395"/>
                  <a:pt x="2902" y="1395"/>
                  <a:pt x="2902" y="1395"/>
                </a:cubicBezTo>
                <a:cubicBezTo>
                  <a:pt x="2906" y="1395"/>
                  <a:pt x="2906" y="1395"/>
                  <a:pt x="2906" y="1395"/>
                </a:cubicBezTo>
                <a:cubicBezTo>
                  <a:pt x="2906" y="1396"/>
                  <a:pt x="2906" y="1396"/>
                  <a:pt x="2906" y="1396"/>
                </a:cubicBezTo>
                <a:cubicBezTo>
                  <a:pt x="2911" y="1396"/>
                  <a:pt x="2911" y="1396"/>
                  <a:pt x="2911" y="1396"/>
                </a:cubicBezTo>
                <a:cubicBezTo>
                  <a:pt x="2913" y="1399"/>
                  <a:pt x="2913" y="1399"/>
                  <a:pt x="2913" y="1399"/>
                </a:cubicBezTo>
                <a:cubicBezTo>
                  <a:pt x="2917" y="1398"/>
                  <a:pt x="2917" y="1398"/>
                  <a:pt x="2917" y="1398"/>
                </a:cubicBezTo>
                <a:cubicBezTo>
                  <a:pt x="2917" y="1398"/>
                  <a:pt x="2921" y="1400"/>
                  <a:pt x="2924" y="1400"/>
                </a:cubicBezTo>
                <a:cubicBezTo>
                  <a:pt x="2928" y="1399"/>
                  <a:pt x="2929" y="1396"/>
                  <a:pt x="2931" y="1394"/>
                </a:cubicBezTo>
                <a:cubicBezTo>
                  <a:pt x="2933" y="1393"/>
                  <a:pt x="2934" y="1395"/>
                  <a:pt x="2938" y="1393"/>
                </a:cubicBezTo>
                <a:cubicBezTo>
                  <a:pt x="2941" y="1391"/>
                  <a:pt x="2939" y="1388"/>
                  <a:pt x="2941" y="1386"/>
                </a:cubicBezTo>
                <a:cubicBezTo>
                  <a:pt x="2943" y="1383"/>
                  <a:pt x="2946" y="1385"/>
                  <a:pt x="2948" y="1383"/>
                </a:cubicBezTo>
                <a:cubicBezTo>
                  <a:pt x="2950" y="1382"/>
                  <a:pt x="2948" y="1380"/>
                  <a:pt x="2948" y="1380"/>
                </a:cubicBezTo>
                <a:cubicBezTo>
                  <a:pt x="2951" y="1380"/>
                  <a:pt x="2951" y="1380"/>
                  <a:pt x="2951" y="1380"/>
                </a:cubicBezTo>
                <a:cubicBezTo>
                  <a:pt x="2959" y="1373"/>
                  <a:pt x="2959" y="1373"/>
                  <a:pt x="2959" y="1373"/>
                </a:cubicBezTo>
                <a:cubicBezTo>
                  <a:pt x="2957" y="1371"/>
                  <a:pt x="2957" y="1371"/>
                  <a:pt x="2957" y="1371"/>
                </a:cubicBezTo>
                <a:cubicBezTo>
                  <a:pt x="2962" y="1373"/>
                  <a:pt x="2962" y="1373"/>
                  <a:pt x="2962" y="1373"/>
                </a:cubicBezTo>
                <a:cubicBezTo>
                  <a:pt x="2962" y="1373"/>
                  <a:pt x="2962" y="1370"/>
                  <a:pt x="2964" y="1370"/>
                </a:cubicBezTo>
                <a:cubicBezTo>
                  <a:pt x="2966" y="1370"/>
                  <a:pt x="2968" y="1371"/>
                  <a:pt x="2970" y="1372"/>
                </a:cubicBezTo>
                <a:cubicBezTo>
                  <a:pt x="2973" y="1372"/>
                  <a:pt x="2974" y="1368"/>
                  <a:pt x="2974" y="1368"/>
                </a:cubicBezTo>
                <a:cubicBezTo>
                  <a:pt x="2972" y="1367"/>
                  <a:pt x="2972" y="1367"/>
                  <a:pt x="2972" y="1367"/>
                </a:cubicBezTo>
                <a:cubicBezTo>
                  <a:pt x="2975" y="1364"/>
                  <a:pt x="2975" y="1364"/>
                  <a:pt x="2975" y="1364"/>
                </a:cubicBezTo>
                <a:cubicBezTo>
                  <a:pt x="2978" y="1361"/>
                  <a:pt x="2978" y="1361"/>
                  <a:pt x="2978" y="1361"/>
                </a:cubicBezTo>
                <a:cubicBezTo>
                  <a:pt x="2978" y="1361"/>
                  <a:pt x="2980" y="1359"/>
                  <a:pt x="2983" y="1359"/>
                </a:cubicBezTo>
                <a:cubicBezTo>
                  <a:pt x="2985" y="1358"/>
                  <a:pt x="2986" y="1354"/>
                  <a:pt x="2986" y="1354"/>
                </a:cubicBezTo>
                <a:cubicBezTo>
                  <a:pt x="2986" y="1354"/>
                  <a:pt x="2988" y="1354"/>
                  <a:pt x="2990" y="1353"/>
                </a:cubicBezTo>
                <a:cubicBezTo>
                  <a:pt x="2993" y="1352"/>
                  <a:pt x="2995" y="1349"/>
                  <a:pt x="2995" y="1349"/>
                </a:cubicBezTo>
                <a:cubicBezTo>
                  <a:pt x="2995" y="1349"/>
                  <a:pt x="2999" y="1347"/>
                  <a:pt x="3001" y="1345"/>
                </a:cubicBezTo>
                <a:cubicBezTo>
                  <a:pt x="3003" y="1342"/>
                  <a:pt x="3001" y="1337"/>
                  <a:pt x="3001" y="1337"/>
                </a:cubicBezTo>
                <a:cubicBezTo>
                  <a:pt x="2997" y="1342"/>
                  <a:pt x="2997" y="1342"/>
                  <a:pt x="2997" y="1342"/>
                </a:cubicBezTo>
                <a:cubicBezTo>
                  <a:pt x="2997" y="1342"/>
                  <a:pt x="2997" y="1342"/>
                  <a:pt x="2997" y="1342"/>
                </a:cubicBezTo>
                <a:close/>
                <a:moveTo>
                  <a:pt x="2787" y="970"/>
                </a:moveTo>
                <a:cubicBezTo>
                  <a:pt x="2788" y="965"/>
                  <a:pt x="2788" y="965"/>
                  <a:pt x="2788" y="965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5" y="960"/>
                  <a:pt x="2781" y="962"/>
                </a:cubicBezTo>
                <a:cubicBezTo>
                  <a:pt x="2776" y="964"/>
                  <a:pt x="2775" y="972"/>
                  <a:pt x="2775" y="972"/>
                </a:cubicBezTo>
                <a:cubicBezTo>
                  <a:pt x="2784" y="971"/>
                  <a:pt x="2784" y="971"/>
                  <a:pt x="2784" y="971"/>
                </a:cubicBezTo>
                <a:cubicBezTo>
                  <a:pt x="2784" y="971"/>
                  <a:pt x="2785" y="970"/>
                  <a:pt x="2787" y="970"/>
                </a:cubicBezTo>
                <a:close/>
                <a:moveTo>
                  <a:pt x="2392" y="888"/>
                </a:moveTo>
                <a:cubicBezTo>
                  <a:pt x="2390" y="891"/>
                  <a:pt x="2392" y="900"/>
                  <a:pt x="2396" y="899"/>
                </a:cubicBezTo>
                <a:cubicBezTo>
                  <a:pt x="2398" y="898"/>
                  <a:pt x="2395" y="886"/>
                  <a:pt x="2392" y="888"/>
                </a:cubicBezTo>
                <a:close/>
                <a:moveTo>
                  <a:pt x="2756" y="1031"/>
                </a:moveTo>
                <a:cubicBezTo>
                  <a:pt x="2755" y="1031"/>
                  <a:pt x="2754" y="1038"/>
                  <a:pt x="2754" y="1038"/>
                </a:cubicBezTo>
                <a:cubicBezTo>
                  <a:pt x="2756" y="1040"/>
                  <a:pt x="2761" y="1038"/>
                  <a:pt x="2761" y="1038"/>
                </a:cubicBezTo>
                <a:cubicBezTo>
                  <a:pt x="2760" y="1036"/>
                  <a:pt x="2760" y="1036"/>
                  <a:pt x="2760" y="1036"/>
                </a:cubicBezTo>
                <a:cubicBezTo>
                  <a:pt x="2761" y="1032"/>
                  <a:pt x="2761" y="1032"/>
                  <a:pt x="2761" y="1032"/>
                </a:cubicBezTo>
                <a:cubicBezTo>
                  <a:pt x="2761" y="1032"/>
                  <a:pt x="2757" y="1031"/>
                  <a:pt x="2756" y="1031"/>
                </a:cubicBezTo>
                <a:close/>
                <a:moveTo>
                  <a:pt x="2775" y="1331"/>
                </a:moveTo>
                <a:cubicBezTo>
                  <a:pt x="2772" y="1326"/>
                  <a:pt x="2772" y="1326"/>
                  <a:pt x="2772" y="1326"/>
                </a:cubicBezTo>
                <a:cubicBezTo>
                  <a:pt x="2772" y="1326"/>
                  <a:pt x="2770" y="1328"/>
                  <a:pt x="2770" y="1329"/>
                </a:cubicBezTo>
                <a:cubicBezTo>
                  <a:pt x="2770" y="1331"/>
                  <a:pt x="2770" y="1331"/>
                  <a:pt x="2772" y="1332"/>
                </a:cubicBezTo>
                <a:cubicBezTo>
                  <a:pt x="2774" y="1333"/>
                  <a:pt x="2775" y="1331"/>
                  <a:pt x="2775" y="1331"/>
                </a:cubicBezTo>
                <a:close/>
                <a:moveTo>
                  <a:pt x="1371" y="240"/>
                </a:moveTo>
                <a:cubicBezTo>
                  <a:pt x="1370" y="238"/>
                  <a:pt x="1370" y="238"/>
                  <a:pt x="1370" y="238"/>
                </a:cubicBezTo>
                <a:cubicBezTo>
                  <a:pt x="1368" y="243"/>
                  <a:pt x="1368" y="243"/>
                  <a:pt x="1368" y="243"/>
                </a:cubicBezTo>
                <a:cubicBezTo>
                  <a:pt x="1371" y="240"/>
                  <a:pt x="1371" y="240"/>
                  <a:pt x="1371" y="240"/>
                </a:cubicBezTo>
                <a:cubicBezTo>
                  <a:pt x="1371" y="240"/>
                  <a:pt x="1371" y="240"/>
                  <a:pt x="1371" y="240"/>
                </a:cubicBezTo>
                <a:close/>
                <a:moveTo>
                  <a:pt x="1382" y="256"/>
                </a:moveTo>
                <a:cubicBezTo>
                  <a:pt x="1381" y="256"/>
                  <a:pt x="1381" y="257"/>
                  <a:pt x="1380" y="261"/>
                </a:cubicBezTo>
                <a:cubicBezTo>
                  <a:pt x="1380" y="263"/>
                  <a:pt x="1384" y="256"/>
                  <a:pt x="1382" y="256"/>
                </a:cubicBezTo>
                <a:close/>
                <a:moveTo>
                  <a:pt x="1378" y="236"/>
                </a:moveTo>
                <a:cubicBezTo>
                  <a:pt x="1376" y="236"/>
                  <a:pt x="1377" y="238"/>
                  <a:pt x="1377" y="238"/>
                </a:cubicBezTo>
                <a:cubicBezTo>
                  <a:pt x="1377" y="238"/>
                  <a:pt x="1376" y="237"/>
                  <a:pt x="1375" y="238"/>
                </a:cubicBezTo>
                <a:cubicBezTo>
                  <a:pt x="1374" y="239"/>
                  <a:pt x="1377" y="240"/>
                  <a:pt x="1377" y="241"/>
                </a:cubicBezTo>
                <a:cubicBezTo>
                  <a:pt x="1378" y="242"/>
                  <a:pt x="1381" y="241"/>
                  <a:pt x="1381" y="241"/>
                </a:cubicBezTo>
                <a:cubicBezTo>
                  <a:pt x="1379" y="239"/>
                  <a:pt x="1379" y="239"/>
                  <a:pt x="1379" y="239"/>
                </a:cubicBezTo>
                <a:cubicBezTo>
                  <a:pt x="1379" y="239"/>
                  <a:pt x="1380" y="236"/>
                  <a:pt x="1378" y="236"/>
                </a:cubicBezTo>
                <a:close/>
                <a:moveTo>
                  <a:pt x="1386" y="259"/>
                </a:moveTo>
                <a:cubicBezTo>
                  <a:pt x="1388" y="258"/>
                  <a:pt x="1386" y="255"/>
                  <a:pt x="1385" y="257"/>
                </a:cubicBezTo>
                <a:cubicBezTo>
                  <a:pt x="1383" y="258"/>
                  <a:pt x="1385" y="260"/>
                  <a:pt x="1386" y="259"/>
                </a:cubicBezTo>
                <a:close/>
                <a:moveTo>
                  <a:pt x="1391" y="271"/>
                </a:moveTo>
                <a:cubicBezTo>
                  <a:pt x="1390" y="267"/>
                  <a:pt x="1389" y="272"/>
                  <a:pt x="1387" y="273"/>
                </a:cubicBezTo>
                <a:cubicBezTo>
                  <a:pt x="1387" y="273"/>
                  <a:pt x="1392" y="274"/>
                  <a:pt x="1391" y="271"/>
                </a:cubicBezTo>
                <a:close/>
                <a:moveTo>
                  <a:pt x="1376" y="230"/>
                </a:moveTo>
                <a:cubicBezTo>
                  <a:pt x="1376" y="230"/>
                  <a:pt x="1374" y="229"/>
                  <a:pt x="1373" y="229"/>
                </a:cubicBezTo>
                <a:cubicBezTo>
                  <a:pt x="1372" y="230"/>
                  <a:pt x="1373" y="235"/>
                  <a:pt x="1373" y="235"/>
                </a:cubicBezTo>
                <a:cubicBezTo>
                  <a:pt x="1375" y="233"/>
                  <a:pt x="1375" y="233"/>
                  <a:pt x="1375" y="233"/>
                </a:cubicBezTo>
                <a:cubicBezTo>
                  <a:pt x="1375" y="233"/>
                  <a:pt x="1376" y="233"/>
                  <a:pt x="1377" y="233"/>
                </a:cubicBezTo>
                <a:cubicBezTo>
                  <a:pt x="1379" y="233"/>
                  <a:pt x="1380" y="227"/>
                  <a:pt x="1380" y="227"/>
                </a:cubicBezTo>
                <a:cubicBezTo>
                  <a:pt x="1380" y="227"/>
                  <a:pt x="1379" y="227"/>
                  <a:pt x="1377" y="228"/>
                </a:cubicBezTo>
                <a:cubicBezTo>
                  <a:pt x="1376" y="229"/>
                  <a:pt x="1376" y="230"/>
                  <a:pt x="1376" y="230"/>
                </a:cubicBezTo>
                <a:close/>
                <a:moveTo>
                  <a:pt x="1333" y="156"/>
                </a:moveTo>
                <a:cubicBezTo>
                  <a:pt x="1330" y="154"/>
                  <a:pt x="1327" y="156"/>
                  <a:pt x="1327" y="156"/>
                </a:cubicBezTo>
                <a:cubicBezTo>
                  <a:pt x="1328" y="154"/>
                  <a:pt x="1328" y="154"/>
                  <a:pt x="1328" y="154"/>
                </a:cubicBezTo>
                <a:cubicBezTo>
                  <a:pt x="1324" y="154"/>
                  <a:pt x="1324" y="154"/>
                  <a:pt x="1324" y="154"/>
                </a:cubicBezTo>
                <a:cubicBezTo>
                  <a:pt x="1326" y="151"/>
                  <a:pt x="1326" y="151"/>
                  <a:pt x="1326" y="151"/>
                </a:cubicBezTo>
                <a:cubicBezTo>
                  <a:pt x="1324" y="150"/>
                  <a:pt x="1324" y="150"/>
                  <a:pt x="1324" y="150"/>
                </a:cubicBezTo>
                <a:cubicBezTo>
                  <a:pt x="1325" y="148"/>
                  <a:pt x="1325" y="148"/>
                  <a:pt x="1325" y="148"/>
                </a:cubicBezTo>
                <a:cubicBezTo>
                  <a:pt x="1321" y="149"/>
                  <a:pt x="1321" y="149"/>
                  <a:pt x="1321" y="149"/>
                </a:cubicBezTo>
                <a:cubicBezTo>
                  <a:pt x="1321" y="149"/>
                  <a:pt x="1316" y="145"/>
                  <a:pt x="1315" y="145"/>
                </a:cubicBezTo>
                <a:cubicBezTo>
                  <a:pt x="1313" y="145"/>
                  <a:pt x="1314" y="149"/>
                  <a:pt x="1314" y="149"/>
                </a:cubicBezTo>
                <a:cubicBezTo>
                  <a:pt x="1311" y="150"/>
                  <a:pt x="1311" y="150"/>
                  <a:pt x="1311" y="150"/>
                </a:cubicBezTo>
                <a:cubicBezTo>
                  <a:pt x="1311" y="150"/>
                  <a:pt x="1309" y="149"/>
                  <a:pt x="1308" y="149"/>
                </a:cubicBezTo>
                <a:cubicBezTo>
                  <a:pt x="1306" y="149"/>
                  <a:pt x="1305" y="151"/>
                  <a:pt x="1305" y="151"/>
                </a:cubicBezTo>
                <a:cubicBezTo>
                  <a:pt x="1305" y="151"/>
                  <a:pt x="1302" y="149"/>
                  <a:pt x="1300" y="149"/>
                </a:cubicBezTo>
                <a:cubicBezTo>
                  <a:pt x="1299" y="150"/>
                  <a:pt x="1300" y="154"/>
                  <a:pt x="1300" y="154"/>
                </a:cubicBezTo>
                <a:cubicBezTo>
                  <a:pt x="1300" y="154"/>
                  <a:pt x="1296" y="149"/>
                  <a:pt x="1295" y="149"/>
                </a:cubicBezTo>
                <a:cubicBezTo>
                  <a:pt x="1293" y="149"/>
                  <a:pt x="1294" y="150"/>
                  <a:pt x="1294" y="150"/>
                </a:cubicBezTo>
                <a:cubicBezTo>
                  <a:pt x="1294" y="150"/>
                  <a:pt x="1291" y="150"/>
                  <a:pt x="1291" y="151"/>
                </a:cubicBezTo>
                <a:cubicBezTo>
                  <a:pt x="1291" y="151"/>
                  <a:pt x="1291" y="153"/>
                  <a:pt x="1291" y="153"/>
                </a:cubicBezTo>
                <a:cubicBezTo>
                  <a:pt x="1289" y="153"/>
                  <a:pt x="1289" y="153"/>
                  <a:pt x="1289" y="153"/>
                </a:cubicBezTo>
                <a:cubicBezTo>
                  <a:pt x="1289" y="153"/>
                  <a:pt x="1285" y="149"/>
                  <a:pt x="1284" y="150"/>
                </a:cubicBezTo>
                <a:cubicBezTo>
                  <a:pt x="1283" y="151"/>
                  <a:pt x="1284" y="156"/>
                  <a:pt x="1283" y="156"/>
                </a:cubicBezTo>
                <a:cubicBezTo>
                  <a:pt x="1282" y="156"/>
                  <a:pt x="1281" y="154"/>
                  <a:pt x="1280" y="154"/>
                </a:cubicBezTo>
                <a:cubicBezTo>
                  <a:pt x="1279" y="154"/>
                  <a:pt x="1276" y="158"/>
                  <a:pt x="1276" y="158"/>
                </a:cubicBezTo>
                <a:cubicBezTo>
                  <a:pt x="1276" y="157"/>
                  <a:pt x="1276" y="157"/>
                  <a:pt x="1276" y="157"/>
                </a:cubicBezTo>
                <a:cubicBezTo>
                  <a:pt x="1274" y="154"/>
                  <a:pt x="1274" y="154"/>
                  <a:pt x="1274" y="154"/>
                </a:cubicBezTo>
                <a:cubicBezTo>
                  <a:pt x="1274" y="154"/>
                  <a:pt x="1277" y="153"/>
                  <a:pt x="1276" y="151"/>
                </a:cubicBezTo>
                <a:cubicBezTo>
                  <a:pt x="1275" y="149"/>
                  <a:pt x="1268" y="146"/>
                  <a:pt x="1267" y="147"/>
                </a:cubicBezTo>
                <a:cubicBezTo>
                  <a:pt x="1266" y="148"/>
                  <a:pt x="1267" y="151"/>
                  <a:pt x="1267" y="151"/>
                </a:cubicBezTo>
                <a:cubicBezTo>
                  <a:pt x="1267" y="151"/>
                  <a:pt x="1263" y="149"/>
                  <a:pt x="1262" y="149"/>
                </a:cubicBezTo>
                <a:cubicBezTo>
                  <a:pt x="1261" y="149"/>
                  <a:pt x="1258" y="152"/>
                  <a:pt x="1258" y="152"/>
                </a:cubicBezTo>
                <a:cubicBezTo>
                  <a:pt x="1260" y="153"/>
                  <a:pt x="1260" y="153"/>
                  <a:pt x="1260" y="153"/>
                </a:cubicBezTo>
                <a:cubicBezTo>
                  <a:pt x="1260" y="153"/>
                  <a:pt x="1258" y="153"/>
                  <a:pt x="1256" y="154"/>
                </a:cubicBezTo>
                <a:cubicBezTo>
                  <a:pt x="1255" y="155"/>
                  <a:pt x="1254" y="155"/>
                  <a:pt x="1254" y="155"/>
                </a:cubicBezTo>
                <a:cubicBezTo>
                  <a:pt x="1254" y="155"/>
                  <a:pt x="1255" y="157"/>
                  <a:pt x="1257" y="157"/>
                </a:cubicBezTo>
                <a:cubicBezTo>
                  <a:pt x="1259" y="157"/>
                  <a:pt x="1264" y="154"/>
                  <a:pt x="1264" y="154"/>
                </a:cubicBezTo>
                <a:cubicBezTo>
                  <a:pt x="1272" y="156"/>
                  <a:pt x="1272" y="156"/>
                  <a:pt x="1272" y="156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6" y="158"/>
                  <a:pt x="1270" y="159"/>
                  <a:pt x="1270" y="160"/>
                </a:cubicBezTo>
                <a:cubicBezTo>
                  <a:pt x="1270" y="160"/>
                  <a:pt x="1261" y="160"/>
                  <a:pt x="1260" y="161"/>
                </a:cubicBezTo>
                <a:cubicBezTo>
                  <a:pt x="1259" y="161"/>
                  <a:pt x="1253" y="160"/>
                  <a:pt x="1254" y="162"/>
                </a:cubicBezTo>
                <a:cubicBezTo>
                  <a:pt x="1255" y="163"/>
                  <a:pt x="1258" y="162"/>
                  <a:pt x="1261" y="162"/>
                </a:cubicBezTo>
                <a:cubicBezTo>
                  <a:pt x="1263" y="163"/>
                  <a:pt x="1266" y="165"/>
                  <a:pt x="1266" y="165"/>
                </a:cubicBezTo>
                <a:cubicBezTo>
                  <a:pt x="1271" y="164"/>
                  <a:pt x="1271" y="164"/>
                  <a:pt x="1271" y="164"/>
                </a:cubicBezTo>
                <a:cubicBezTo>
                  <a:pt x="1268" y="166"/>
                  <a:pt x="1268" y="166"/>
                  <a:pt x="1268" y="166"/>
                </a:cubicBezTo>
                <a:cubicBezTo>
                  <a:pt x="1271" y="167"/>
                  <a:pt x="1271" y="167"/>
                  <a:pt x="1271" y="167"/>
                </a:cubicBezTo>
                <a:cubicBezTo>
                  <a:pt x="1271" y="167"/>
                  <a:pt x="1270" y="169"/>
                  <a:pt x="1268" y="170"/>
                </a:cubicBezTo>
                <a:cubicBezTo>
                  <a:pt x="1267" y="171"/>
                  <a:pt x="1260" y="170"/>
                  <a:pt x="1261" y="171"/>
                </a:cubicBezTo>
                <a:cubicBezTo>
                  <a:pt x="1263" y="173"/>
                  <a:pt x="1268" y="172"/>
                  <a:pt x="1270" y="172"/>
                </a:cubicBezTo>
                <a:cubicBezTo>
                  <a:pt x="1271" y="172"/>
                  <a:pt x="1273" y="171"/>
                  <a:pt x="1273" y="171"/>
                </a:cubicBezTo>
                <a:cubicBezTo>
                  <a:pt x="1277" y="173"/>
                  <a:pt x="1277" y="173"/>
                  <a:pt x="1277" y="173"/>
                </a:cubicBezTo>
                <a:cubicBezTo>
                  <a:pt x="1279" y="172"/>
                  <a:pt x="1279" y="172"/>
                  <a:pt x="1279" y="172"/>
                </a:cubicBezTo>
                <a:cubicBezTo>
                  <a:pt x="1279" y="172"/>
                  <a:pt x="1278" y="173"/>
                  <a:pt x="1280" y="174"/>
                </a:cubicBezTo>
                <a:cubicBezTo>
                  <a:pt x="1282" y="175"/>
                  <a:pt x="1287" y="177"/>
                  <a:pt x="1289" y="177"/>
                </a:cubicBezTo>
                <a:cubicBezTo>
                  <a:pt x="1295" y="175"/>
                  <a:pt x="1295" y="176"/>
                  <a:pt x="1296" y="175"/>
                </a:cubicBezTo>
                <a:cubicBezTo>
                  <a:pt x="1298" y="174"/>
                  <a:pt x="1297" y="173"/>
                  <a:pt x="1297" y="173"/>
                </a:cubicBezTo>
                <a:cubicBezTo>
                  <a:pt x="1297" y="173"/>
                  <a:pt x="1301" y="174"/>
                  <a:pt x="1303" y="174"/>
                </a:cubicBezTo>
                <a:cubicBezTo>
                  <a:pt x="1304" y="173"/>
                  <a:pt x="1304" y="172"/>
                  <a:pt x="1304" y="172"/>
                </a:cubicBezTo>
                <a:cubicBezTo>
                  <a:pt x="1304" y="172"/>
                  <a:pt x="1307" y="172"/>
                  <a:pt x="1308" y="172"/>
                </a:cubicBezTo>
                <a:cubicBezTo>
                  <a:pt x="1309" y="172"/>
                  <a:pt x="1317" y="168"/>
                  <a:pt x="1318" y="167"/>
                </a:cubicBezTo>
                <a:cubicBezTo>
                  <a:pt x="1320" y="167"/>
                  <a:pt x="1322" y="169"/>
                  <a:pt x="1324" y="167"/>
                </a:cubicBezTo>
                <a:cubicBezTo>
                  <a:pt x="1325" y="166"/>
                  <a:pt x="1325" y="163"/>
                  <a:pt x="1325" y="163"/>
                </a:cubicBezTo>
                <a:cubicBezTo>
                  <a:pt x="1325" y="163"/>
                  <a:pt x="1327" y="163"/>
                  <a:pt x="1329" y="163"/>
                </a:cubicBezTo>
                <a:cubicBezTo>
                  <a:pt x="1331" y="162"/>
                  <a:pt x="1333" y="160"/>
                  <a:pt x="1333" y="160"/>
                </a:cubicBezTo>
                <a:cubicBezTo>
                  <a:pt x="1331" y="160"/>
                  <a:pt x="1331" y="160"/>
                  <a:pt x="1331" y="160"/>
                </a:cubicBezTo>
                <a:cubicBezTo>
                  <a:pt x="1331" y="160"/>
                  <a:pt x="1336" y="157"/>
                  <a:pt x="1333" y="156"/>
                </a:cubicBezTo>
                <a:close/>
                <a:moveTo>
                  <a:pt x="1376" y="257"/>
                </a:moveTo>
                <a:cubicBezTo>
                  <a:pt x="1379" y="257"/>
                  <a:pt x="1381" y="255"/>
                  <a:pt x="1378" y="255"/>
                </a:cubicBezTo>
                <a:cubicBezTo>
                  <a:pt x="1376" y="254"/>
                  <a:pt x="1374" y="257"/>
                  <a:pt x="1376" y="257"/>
                </a:cubicBezTo>
                <a:close/>
                <a:moveTo>
                  <a:pt x="1371" y="235"/>
                </a:moveTo>
                <a:cubicBezTo>
                  <a:pt x="1370" y="235"/>
                  <a:pt x="1369" y="235"/>
                  <a:pt x="1369" y="237"/>
                </a:cubicBezTo>
                <a:cubicBezTo>
                  <a:pt x="1372" y="237"/>
                  <a:pt x="1372" y="237"/>
                  <a:pt x="1372" y="237"/>
                </a:cubicBezTo>
                <a:cubicBezTo>
                  <a:pt x="1372" y="237"/>
                  <a:pt x="1372" y="235"/>
                  <a:pt x="1371" y="235"/>
                </a:cubicBezTo>
                <a:close/>
                <a:moveTo>
                  <a:pt x="1376" y="282"/>
                </a:moveTo>
                <a:cubicBezTo>
                  <a:pt x="1376" y="280"/>
                  <a:pt x="1374" y="278"/>
                  <a:pt x="1374" y="278"/>
                </a:cubicBezTo>
                <a:cubicBezTo>
                  <a:pt x="1374" y="278"/>
                  <a:pt x="1374" y="276"/>
                  <a:pt x="1373" y="275"/>
                </a:cubicBezTo>
                <a:cubicBezTo>
                  <a:pt x="1373" y="274"/>
                  <a:pt x="1375" y="274"/>
                  <a:pt x="1376" y="274"/>
                </a:cubicBezTo>
                <a:cubicBezTo>
                  <a:pt x="1377" y="274"/>
                  <a:pt x="1377" y="274"/>
                  <a:pt x="1377" y="273"/>
                </a:cubicBezTo>
                <a:cubicBezTo>
                  <a:pt x="1378" y="273"/>
                  <a:pt x="1379" y="271"/>
                  <a:pt x="1379" y="271"/>
                </a:cubicBezTo>
                <a:cubicBezTo>
                  <a:pt x="1379" y="271"/>
                  <a:pt x="1380" y="273"/>
                  <a:pt x="1380" y="272"/>
                </a:cubicBezTo>
                <a:cubicBezTo>
                  <a:pt x="1381" y="270"/>
                  <a:pt x="1382" y="268"/>
                  <a:pt x="1381" y="267"/>
                </a:cubicBezTo>
                <a:cubicBezTo>
                  <a:pt x="1379" y="266"/>
                  <a:pt x="1379" y="264"/>
                  <a:pt x="1379" y="264"/>
                </a:cubicBezTo>
                <a:cubicBezTo>
                  <a:pt x="1378" y="264"/>
                  <a:pt x="1378" y="264"/>
                  <a:pt x="1378" y="264"/>
                </a:cubicBezTo>
                <a:cubicBezTo>
                  <a:pt x="1378" y="264"/>
                  <a:pt x="1377" y="262"/>
                  <a:pt x="1376" y="261"/>
                </a:cubicBezTo>
                <a:cubicBezTo>
                  <a:pt x="1374" y="261"/>
                  <a:pt x="1371" y="262"/>
                  <a:pt x="1371" y="262"/>
                </a:cubicBezTo>
                <a:cubicBezTo>
                  <a:pt x="1371" y="262"/>
                  <a:pt x="1371" y="262"/>
                  <a:pt x="1371" y="261"/>
                </a:cubicBezTo>
                <a:cubicBezTo>
                  <a:pt x="1370" y="261"/>
                  <a:pt x="1370" y="261"/>
                  <a:pt x="1369" y="260"/>
                </a:cubicBezTo>
                <a:cubicBezTo>
                  <a:pt x="1367" y="260"/>
                  <a:pt x="1366" y="263"/>
                  <a:pt x="1366" y="263"/>
                </a:cubicBezTo>
                <a:cubicBezTo>
                  <a:pt x="1365" y="261"/>
                  <a:pt x="1365" y="261"/>
                  <a:pt x="1365" y="261"/>
                </a:cubicBezTo>
                <a:cubicBezTo>
                  <a:pt x="1365" y="261"/>
                  <a:pt x="1360" y="261"/>
                  <a:pt x="1359" y="262"/>
                </a:cubicBezTo>
                <a:cubicBezTo>
                  <a:pt x="1358" y="263"/>
                  <a:pt x="1358" y="266"/>
                  <a:pt x="1358" y="266"/>
                </a:cubicBezTo>
                <a:cubicBezTo>
                  <a:pt x="1358" y="266"/>
                  <a:pt x="1354" y="266"/>
                  <a:pt x="1354" y="267"/>
                </a:cubicBezTo>
                <a:cubicBezTo>
                  <a:pt x="1354" y="269"/>
                  <a:pt x="1359" y="268"/>
                  <a:pt x="1358" y="269"/>
                </a:cubicBezTo>
                <a:cubicBezTo>
                  <a:pt x="1357" y="271"/>
                  <a:pt x="1357" y="270"/>
                  <a:pt x="1356" y="270"/>
                </a:cubicBezTo>
                <a:cubicBezTo>
                  <a:pt x="1356" y="271"/>
                  <a:pt x="1355" y="272"/>
                  <a:pt x="1355" y="272"/>
                </a:cubicBezTo>
                <a:cubicBezTo>
                  <a:pt x="1351" y="272"/>
                  <a:pt x="1351" y="272"/>
                  <a:pt x="1351" y="272"/>
                </a:cubicBezTo>
                <a:cubicBezTo>
                  <a:pt x="1351" y="273"/>
                  <a:pt x="1351" y="273"/>
                  <a:pt x="1351" y="273"/>
                </a:cubicBezTo>
                <a:cubicBezTo>
                  <a:pt x="1351" y="273"/>
                  <a:pt x="1349" y="270"/>
                  <a:pt x="1347" y="271"/>
                </a:cubicBezTo>
                <a:cubicBezTo>
                  <a:pt x="1345" y="271"/>
                  <a:pt x="1343" y="271"/>
                  <a:pt x="1343" y="271"/>
                </a:cubicBezTo>
                <a:cubicBezTo>
                  <a:pt x="1343" y="271"/>
                  <a:pt x="1343" y="275"/>
                  <a:pt x="1344" y="275"/>
                </a:cubicBezTo>
                <a:cubicBezTo>
                  <a:pt x="1345" y="275"/>
                  <a:pt x="1346" y="276"/>
                  <a:pt x="1346" y="276"/>
                </a:cubicBezTo>
                <a:cubicBezTo>
                  <a:pt x="1343" y="278"/>
                  <a:pt x="1343" y="278"/>
                  <a:pt x="1343" y="278"/>
                </a:cubicBezTo>
                <a:cubicBezTo>
                  <a:pt x="1343" y="278"/>
                  <a:pt x="1341" y="279"/>
                  <a:pt x="1342" y="280"/>
                </a:cubicBezTo>
                <a:cubicBezTo>
                  <a:pt x="1343" y="282"/>
                  <a:pt x="1347" y="282"/>
                  <a:pt x="1347" y="282"/>
                </a:cubicBezTo>
                <a:cubicBezTo>
                  <a:pt x="1347" y="282"/>
                  <a:pt x="1351" y="281"/>
                  <a:pt x="1351" y="282"/>
                </a:cubicBezTo>
                <a:cubicBezTo>
                  <a:pt x="1350" y="284"/>
                  <a:pt x="1347" y="284"/>
                  <a:pt x="1347" y="284"/>
                </a:cubicBezTo>
                <a:cubicBezTo>
                  <a:pt x="1347" y="287"/>
                  <a:pt x="1347" y="287"/>
                  <a:pt x="1347" y="287"/>
                </a:cubicBezTo>
                <a:cubicBezTo>
                  <a:pt x="1347" y="287"/>
                  <a:pt x="1345" y="286"/>
                  <a:pt x="1344" y="288"/>
                </a:cubicBezTo>
                <a:cubicBezTo>
                  <a:pt x="1344" y="290"/>
                  <a:pt x="1343" y="293"/>
                  <a:pt x="1343" y="293"/>
                </a:cubicBezTo>
                <a:cubicBezTo>
                  <a:pt x="1343" y="293"/>
                  <a:pt x="1338" y="293"/>
                  <a:pt x="1338" y="294"/>
                </a:cubicBezTo>
                <a:cubicBezTo>
                  <a:pt x="1338" y="295"/>
                  <a:pt x="1340" y="295"/>
                  <a:pt x="1340" y="295"/>
                </a:cubicBezTo>
                <a:cubicBezTo>
                  <a:pt x="1340" y="295"/>
                  <a:pt x="1337" y="295"/>
                  <a:pt x="1337" y="297"/>
                </a:cubicBezTo>
                <a:cubicBezTo>
                  <a:pt x="1337" y="298"/>
                  <a:pt x="1338" y="298"/>
                  <a:pt x="1338" y="298"/>
                </a:cubicBezTo>
                <a:cubicBezTo>
                  <a:pt x="1343" y="298"/>
                  <a:pt x="1343" y="298"/>
                  <a:pt x="1343" y="298"/>
                </a:cubicBezTo>
                <a:cubicBezTo>
                  <a:pt x="1341" y="300"/>
                  <a:pt x="1341" y="300"/>
                  <a:pt x="1341" y="300"/>
                </a:cubicBezTo>
                <a:cubicBezTo>
                  <a:pt x="1341" y="300"/>
                  <a:pt x="1344" y="299"/>
                  <a:pt x="1344" y="300"/>
                </a:cubicBezTo>
                <a:cubicBezTo>
                  <a:pt x="1344" y="300"/>
                  <a:pt x="1340" y="302"/>
                  <a:pt x="1343" y="302"/>
                </a:cubicBezTo>
                <a:cubicBezTo>
                  <a:pt x="1346" y="302"/>
                  <a:pt x="1350" y="301"/>
                  <a:pt x="1352" y="300"/>
                </a:cubicBezTo>
                <a:cubicBezTo>
                  <a:pt x="1354" y="299"/>
                  <a:pt x="1354" y="297"/>
                  <a:pt x="1354" y="297"/>
                </a:cubicBezTo>
                <a:cubicBezTo>
                  <a:pt x="1354" y="297"/>
                  <a:pt x="1356" y="298"/>
                  <a:pt x="1358" y="297"/>
                </a:cubicBezTo>
                <a:cubicBezTo>
                  <a:pt x="1360" y="296"/>
                  <a:pt x="1360" y="295"/>
                  <a:pt x="1363" y="295"/>
                </a:cubicBezTo>
                <a:cubicBezTo>
                  <a:pt x="1365" y="294"/>
                  <a:pt x="1366" y="294"/>
                  <a:pt x="1366" y="294"/>
                </a:cubicBezTo>
                <a:cubicBezTo>
                  <a:pt x="1367" y="293"/>
                  <a:pt x="1367" y="293"/>
                  <a:pt x="1367" y="293"/>
                </a:cubicBezTo>
                <a:cubicBezTo>
                  <a:pt x="1372" y="293"/>
                  <a:pt x="1372" y="293"/>
                  <a:pt x="1372" y="293"/>
                </a:cubicBezTo>
                <a:cubicBezTo>
                  <a:pt x="1372" y="291"/>
                  <a:pt x="1372" y="291"/>
                  <a:pt x="1372" y="291"/>
                </a:cubicBezTo>
                <a:cubicBezTo>
                  <a:pt x="1372" y="291"/>
                  <a:pt x="1374" y="291"/>
                  <a:pt x="1374" y="291"/>
                </a:cubicBezTo>
                <a:cubicBezTo>
                  <a:pt x="1374" y="290"/>
                  <a:pt x="1373" y="289"/>
                  <a:pt x="1374" y="288"/>
                </a:cubicBezTo>
                <a:cubicBezTo>
                  <a:pt x="1375" y="287"/>
                  <a:pt x="1376" y="284"/>
                  <a:pt x="1376" y="282"/>
                </a:cubicBezTo>
                <a:close/>
                <a:moveTo>
                  <a:pt x="1379" y="247"/>
                </a:moveTo>
                <a:cubicBezTo>
                  <a:pt x="1378" y="247"/>
                  <a:pt x="1377" y="249"/>
                  <a:pt x="1377" y="250"/>
                </a:cubicBezTo>
                <a:cubicBezTo>
                  <a:pt x="1378" y="250"/>
                  <a:pt x="1381" y="249"/>
                  <a:pt x="1381" y="249"/>
                </a:cubicBezTo>
                <a:cubicBezTo>
                  <a:pt x="1381" y="249"/>
                  <a:pt x="1380" y="247"/>
                  <a:pt x="1379" y="247"/>
                </a:cubicBezTo>
                <a:close/>
                <a:moveTo>
                  <a:pt x="1667" y="452"/>
                </a:moveTo>
                <a:cubicBezTo>
                  <a:pt x="1665" y="451"/>
                  <a:pt x="1665" y="454"/>
                  <a:pt x="1665" y="454"/>
                </a:cubicBezTo>
                <a:cubicBezTo>
                  <a:pt x="1668" y="456"/>
                  <a:pt x="1669" y="454"/>
                  <a:pt x="1667" y="452"/>
                </a:cubicBezTo>
                <a:close/>
                <a:moveTo>
                  <a:pt x="1661" y="435"/>
                </a:moveTo>
                <a:cubicBezTo>
                  <a:pt x="1657" y="436"/>
                  <a:pt x="1657" y="436"/>
                  <a:pt x="1657" y="436"/>
                </a:cubicBezTo>
                <a:cubicBezTo>
                  <a:pt x="1657" y="439"/>
                  <a:pt x="1659" y="438"/>
                  <a:pt x="1659" y="438"/>
                </a:cubicBezTo>
                <a:cubicBezTo>
                  <a:pt x="1659" y="438"/>
                  <a:pt x="1661" y="440"/>
                  <a:pt x="1662" y="439"/>
                </a:cubicBezTo>
                <a:cubicBezTo>
                  <a:pt x="1664" y="438"/>
                  <a:pt x="1661" y="435"/>
                  <a:pt x="1661" y="435"/>
                </a:cubicBezTo>
                <a:close/>
                <a:moveTo>
                  <a:pt x="1567" y="30"/>
                </a:moveTo>
                <a:cubicBezTo>
                  <a:pt x="1573" y="30"/>
                  <a:pt x="1573" y="30"/>
                  <a:pt x="1573" y="30"/>
                </a:cubicBezTo>
                <a:cubicBezTo>
                  <a:pt x="1573" y="30"/>
                  <a:pt x="1580" y="32"/>
                  <a:pt x="1580" y="31"/>
                </a:cubicBezTo>
                <a:cubicBezTo>
                  <a:pt x="1581" y="31"/>
                  <a:pt x="1586" y="30"/>
                  <a:pt x="1587" y="30"/>
                </a:cubicBezTo>
                <a:cubicBezTo>
                  <a:pt x="1588" y="30"/>
                  <a:pt x="1598" y="34"/>
                  <a:pt x="1598" y="34"/>
                </a:cubicBezTo>
                <a:cubicBezTo>
                  <a:pt x="1601" y="31"/>
                  <a:pt x="1601" y="31"/>
                  <a:pt x="1601" y="31"/>
                </a:cubicBezTo>
                <a:cubicBezTo>
                  <a:pt x="1609" y="31"/>
                  <a:pt x="1609" y="31"/>
                  <a:pt x="1609" y="31"/>
                </a:cubicBezTo>
                <a:cubicBezTo>
                  <a:pt x="1610" y="29"/>
                  <a:pt x="1610" y="29"/>
                  <a:pt x="1610" y="29"/>
                </a:cubicBezTo>
                <a:cubicBezTo>
                  <a:pt x="1610" y="29"/>
                  <a:pt x="1614" y="30"/>
                  <a:pt x="1616" y="26"/>
                </a:cubicBezTo>
                <a:cubicBezTo>
                  <a:pt x="1619" y="21"/>
                  <a:pt x="1609" y="25"/>
                  <a:pt x="1609" y="25"/>
                </a:cubicBezTo>
                <a:cubicBezTo>
                  <a:pt x="1609" y="25"/>
                  <a:pt x="1608" y="23"/>
                  <a:pt x="1603" y="23"/>
                </a:cubicBezTo>
                <a:cubicBezTo>
                  <a:pt x="1598" y="23"/>
                  <a:pt x="1595" y="25"/>
                  <a:pt x="1593" y="25"/>
                </a:cubicBezTo>
                <a:cubicBezTo>
                  <a:pt x="1592" y="25"/>
                  <a:pt x="1593" y="22"/>
                  <a:pt x="1589" y="22"/>
                </a:cubicBezTo>
                <a:cubicBezTo>
                  <a:pt x="1585" y="22"/>
                  <a:pt x="1584" y="25"/>
                  <a:pt x="1584" y="25"/>
                </a:cubicBezTo>
                <a:cubicBezTo>
                  <a:pt x="1575" y="22"/>
                  <a:pt x="1575" y="22"/>
                  <a:pt x="1575" y="22"/>
                </a:cubicBezTo>
                <a:cubicBezTo>
                  <a:pt x="1575" y="22"/>
                  <a:pt x="1571" y="24"/>
                  <a:pt x="1566" y="25"/>
                </a:cubicBezTo>
                <a:cubicBezTo>
                  <a:pt x="1561" y="25"/>
                  <a:pt x="1565" y="22"/>
                  <a:pt x="1565" y="22"/>
                </a:cubicBezTo>
                <a:cubicBezTo>
                  <a:pt x="1560" y="24"/>
                  <a:pt x="1560" y="24"/>
                  <a:pt x="1560" y="24"/>
                </a:cubicBezTo>
                <a:cubicBezTo>
                  <a:pt x="1562" y="27"/>
                  <a:pt x="1562" y="27"/>
                  <a:pt x="1562" y="27"/>
                </a:cubicBezTo>
                <a:cubicBezTo>
                  <a:pt x="1567" y="30"/>
                  <a:pt x="1567" y="30"/>
                  <a:pt x="1567" y="30"/>
                </a:cubicBezTo>
                <a:cubicBezTo>
                  <a:pt x="1567" y="30"/>
                  <a:pt x="1567" y="30"/>
                  <a:pt x="1567" y="30"/>
                </a:cubicBezTo>
                <a:close/>
                <a:moveTo>
                  <a:pt x="1662" y="467"/>
                </a:moveTo>
                <a:cubicBezTo>
                  <a:pt x="1664" y="468"/>
                  <a:pt x="1666" y="466"/>
                  <a:pt x="1664" y="465"/>
                </a:cubicBezTo>
                <a:cubicBezTo>
                  <a:pt x="1662" y="464"/>
                  <a:pt x="1661" y="466"/>
                  <a:pt x="1662" y="467"/>
                </a:cubicBezTo>
                <a:close/>
                <a:moveTo>
                  <a:pt x="1662" y="454"/>
                </a:moveTo>
                <a:cubicBezTo>
                  <a:pt x="1661" y="454"/>
                  <a:pt x="1658" y="454"/>
                  <a:pt x="1658" y="456"/>
                </a:cubicBezTo>
                <a:cubicBezTo>
                  <a:pt x="1658" y="457"/>
                  <a:pt x="1663" y="455"/>
                  <a:pt x="1662" y="454"/>
                </a:cubicBezTo>
                <a:close/>
                <a:moveTo>
                  <a:pt x="1652" y="460"/>
                </a:moveTo>
                <a:cubicBezTo>
                  <a:pt x="1653" y="463"/>
                  <a:pt x="1655" y="463"/>
                  <a:pt x="1656" y="461"/>
                </a:cubicBezTo>
                <a:cubicBezTo>
                  <a:pt x="1657" y="459"/>
                  <a:pt x="1652" y="457"/>
                  <a:pt x="1652" y="460"/>
                </a:cubicBezTo>
                <a:close/>
                <a:moveTo>
                  <a:pt x="1650" y="455"/>
                </a:moveTo>
                <a:cubicBezTo>
                  <a:pt x="1651" y="453"/>
                  <a:pt x="1651" y="453"/>
                  <a:pt x="1651" y="453"/>
                </a:cubicBezTo>
                <a:cubicBezTo>
                  <a:pt x="1646" y="449"/>
                  <a:pt x="1646" y="449"/>
                  <a:pt x="1646" y="449"/>
                </a:cubicBezTo>
                <a:cubicBezTo>
                  <a:pt x="1650" y="455"/>
                  <a:pt x="1650" y="455"/>
                  <a:pt x="1650" y="455"/>
                </a:cubicBezTo>
                <a:cubicBezTo>
                  <a:pt x="1650" y="455"/>
                  <a:pt x="1650" y="455"/>
                  <a:pt x="1650" y="455"/>
                </a:cubicBezTo>
                <a:close/>
                <a:moveTo>
                  <a:pt x="1789" y="125"/>
                </a:moveTo>
                <a:cubicBezTo>
                  <a:pt x="1794" y="126"/>
                  <a:pt x="1795" y="124"/>
                  <a:pt x="1797" y="124"/>
                </a:cubicBezTo>
                <a:cubicBezTo>
                  <a:pt x="1798" y="123"/>
                  <a:pt x="1799" y="121"/>
                  <a:pt x="1799" y="121"/>
                </a:cubicBezTo>
                <a:cubicBezTo>
                  <a:pt x="1801" y="121"/>
                  <a:pt x="1801" y="121"/>
                  <a:pt x="1801" y="121"/>
                </a:cubicBezTo>
                <a:cubicBezTo>
                  <a:pt x="1801" y="121"/>
                  <a:pt x="1800" y="119"/>
                  <a:pt x="1794" y="117"/>
                </a:cubicBezTo>
                <a:cubicBezTo>
                  <a:pt x="1789" y="116"/>
                  <a:pt x="1786" y="121"/>
                  <a:pt x="1786" y="121"/>
                </a:cubicBezTo>
                <a:cubicBezTo>
                  <a:pt x="1786" y="121"/>
                  <a:pt x="1784" y="124"/>
                  <a:pt x="1789" y="125"/>
                </a:cubicBezTo>
                <a:close/>
                <a:moveTo>
                  <a:pt x="1638" y="480"/>
                </a:moveTo>
                <a:cubicBezTo>
                  <a:pt x="1640" y="482"/>
                  <a:pt x="1641" y="481"/>
                  <a:pt x="1641" y="481"/>
                </a:cubicBezTo>
                <a:cubicBezTo>
                  <a:pt x="1642" y="482"/>
                  <a:pt x="1642" y="482"/>
                  <a:pt x="1642" y="482"/>
                </a:cubicBezTo>
                <a:cubicBezTo>
                  <a:pt x="1647" y="482"/>
                  <a:pt x="1647" y="482"/>
                  <a:pt x="1647" y="482"/>
                </a:cubicBezTo>
                <a:cubicBezTo>
                  <a:pt x="1649" y="485"/>
                  <a:pt x="1649" y="485"/>
                  <a:pt x="1649" y="485"/>
                </a:cubicBezTo>
                <a:cubicBezTo>
                  <a:pt x="1654" y="485"/>
                  <a:pt x="1654" y="485"/>
                  <a:pt x="1654" y="485"/>
                </a:cubicBezTo>
                <a:cubicBezTo>
                  <a:pt x="1655" y="484"/>
                  <a:pt x="1655" y="484"/>
                  <a:pt x="1655" y="484"/>
                </a:cubicBezTo>
                <a:cubicBezTo>
                  <a:pt x="1655" y="484"/>
                  <a:pt x="1663" y="485"/>
                  <a:pt x="1663" y="482"/>
                </a:cubicBezTo>
                <a:cubicBezTo>
                  <a:pt x="1663" y="479"/>
                  <a:pt x="1659" y="482"/>
                  <a:pt x="1658" y="482"/>
                </a:cubicBezTo>
                <a:cubicBezTo>
                  <a:pt x="1658" y="482"/>
                  <a:pt x="1657" y="480"/>
                  <a:pt x="1657" y="480"/>
                </a:cubicBezTo>
                <a:cubicBezTo>
                  <a:pt x="1652" y="480"/>
                  <a:pt x="1652" y="480"/>
                  <a:pt x="1652" y="480"/>
                </a:cubicBezTo>
                <a:cubicBezTo>
                  <a:pt x="1648" y="479"/>
                  <a:pt x="1648" y="479"/>
                  <a:pt x="1648" y="479"/>
                </a:cubicBezTo>
                <a:cubicBezTo>
                  <a:pt x="1644" y="479"/>
                  <a:pt x="1644" y="479"/>
                  <a:pt x="1644" y="479"/>
                </a:cubicBezTo>
                <a:cubicBezTo>
                  <a:pt x="1639" y="476"/>
                  <a:pt x="1639" y="476"/>
                  <a:pt x="1639" y="476"/>
                </a:cubicBezTo>
                <a:cubicBezTo>
                  <a:pt x="1639" y="476"/>
                  <a:pt x="1636" y="478"/>
                  <a:pt x="1638" y="480"/>
                </a:cubicBezTo>
                <a:close/>
                <a:moveTo>
                  <a:pt x="1643" y="426"/>
                </a:moveTo>
                <a:cubicBezTo>
                  <a:pt x="1644" y="425"/>
                  <a:pt x="1644" y="425"/>
                  <a:pt x="1644" y="425"/>
                </a:cubicBezTo>
                <a:cubicBezTo>
                  <a:pt x="1639" y="424"/>
                  <a:pt x="1639" y="424"/>
                  <a:pt x="1639" y="424"/>
                </a:cubicBezTo>
                <a:cubicBezTo>
                  <a:pt x="1643" y="426"/>
                  <a:pt x="1643" y="426"/>
                  <a:pt x="1643" y="426"/>
                </a:cubicBezTo>
                <a:cubicBezTo>
                  <a:pt x="1643" y="426"/>
                  <a:pt x="1643" y="426"/>
                  <a:pt x="1643" y="426"/>
                </a:cubicBezTo>
                <a:close/>
                <a:moveTo>
                  <a:pt x="1660" y="443"/>
                </a:moveTo>
                <a:cubicBezTo>
                  <a:pt x="1657" y="443"/>
                  <a:pt x="1657" y="443"/>
                  <a:pt x="1657" y="443"/>
                </a:cubicBezTo>
                <a:cubicBezTo>
                  <a:pt x="1657" y="446"/>
                  <a:pt x="1657" y="446"/>
                  <a:pt x="1657" y="446"/>
                </a:cubicBezTo>
                <a:cubicBezTo>
                  <a:pt x="1659" y="449"/>
                  <a:pt x="1659" y="449"/>
                  <a:pt x="1659" y="449"/>
                </a:cubicBezTo>
                <a:cubicBezTo>
                  <a:pt x="1660" y="443"/>
                  <a:pt x="1660" y="443"/>
                  <a:pt x="1660" y="443"/>
                </a:cubicBezTo>
                <a:cubicBezTo>
                  <a:pt x="1660" y="443"/>
                  <a:pt x="1660" y="443"/>
                  <a:pt x="1660" y="443"/>
                </a:cubicBezTo>
                <a:close/>
                <a:moveTo>
                  <a:pt x="1667" y="460"/>
                </a:moveTo>
                <a:cubicBezTo>
                  <a:pt x="1668" y="458"/>
                  <a:pt x="1668" y="458"/>
                  <a:pt x="1668" y="458"/>
                </a:cubicBezTo>
                <a:cubicBezTo>
                  <a:pt x="1666" y="458"/>
                  <a:pt x="1666" y="458"/>
                  <a:pt x="1666" y="458"/>
                </a:cubicBezTo>
                <a:cubicBezTo>
                  <a:pt x="1667" y="460"/>
                  <a:pt x="1667" y="460"/>
                  <a:pt x="1667" y="460"/>
                </a:cubicBezTo>
                <a:cubicBezTo>
                  <a:pt x="1667" y="460"/>
                  <a:pt x="1667" y="460"/>
                  <a:pt x="1667" y="460"/>
                </a:cubicBezTo>
                <a:close/>
                <a:moveTo>
                  <a:pt x="1649" y="466"/>
                </a:moveTo>
                <a:cubicBezTo>
                  <a:pt x="1648" y="467"/>
                  <a:pt x="1650" y="467"/>
                  <a:pt x="1650" y="466"/>
                </a:cubicBezTo>
                <a:cubicBezTo>
                  <a:pt x="1650" y="464"/>
                  <a:pt x="1649" y="465"/>
                  <a:pt x="1649" y="466"/>
                </a:cubicBezTo>
                <a:close/>
                <a:moveTo>
                  <a:pt x="1517" y="31"/>
                </a:moveTo>
                <a:cubicBezTo>
                  <a:pt x="1519" y="32"/>
                  <a:pt x="1522" y="32"/>
                  <a:pt x="1522" y="33"/>
                </a:cubicBezTo>
                <a:cubicBezTo>
                  <a:pt x="1523" y="34"/>
                  <a:pt x="1519" y="36"/>
                  <a:pt x="1519" y="36"/>
                </a:cubicBezTo>
                <a:cubicBezTo>
                  <a:pt x="1525" y="38"/>
                  <a:pt x="1525" y="38"/>
                  <a:pt x="1525" y="38"/>
                </a:cubicBezTo>
                <a:cubicBezTo>
                  <a:pt x="1525" y="38"/>
                  <a:pt x="1528" y="40"/>
                  <a:pt x="1531" y="41"/>
                </a:cubicBezTo>
                <a:cubicBezTo>
                  <a:pt x="1534" y="41"/>
                  <a:pt x="1536" y="37"/>
                  <a:pt x="1536" y="37"/>
                </a:cubicBezTo>
                <a:cubicBezTo>
                  <a:pt x="1542" y="36"/>
                  <a:pt x="1542" y="36"/>
                  <a:pt x="1542" y="36"/>
                </a:cubicBezTo>
                <a:cubicBezTo>
                  <a:pt x="1547" y="39"/>
                  <a:pt x="1547" y="39"/>
                  <a:pt x="1547" y="39"/>
                </a:cubicBezTo>
                <a:cubicBezTo>
                  <a:pt x="1547" y="39"/>
                  <a:pt x="1543" y="40"/>
                  <a:pt x="1539" y="41"/>
                </a:cubicBezTo>
                <a:cubicBezTo>
                  <a:pt x="1535" y="42"/>
                  <a:pt x="1536" y="43"/>
                  <a:pt x="1536" y="43"/>
                </a:cubicBezTo>
                <a:cubicBezTo>
                  <a:pt x="1536" y="43"/>
                  <a:pt x="1546" y="44"/>
                  <a:pt x="1545" y="44"/>
                </a:cubicBezTo>
                <a:cubicBezTo>
                  <a:pt x="1543" y="45"/>
                  <a:pt x="1537" y="47"/>
                  <a:pt x="1537" y="47"/>
                </a:cubicBezTo>
                <a:cubicBezTo>
                  <a:pt x="1544" y="50"/>
                  <a:pt x="1544" y="50"/>
                  <a:pt x="1544" y="50"/>
                </a:cubicBezTo>
                <a:cubicBezTo>
                  <a:pt x="1544" y="50"/>
                  <a:pt x="1550" y="53"/>
                  <a:pt x="1555" y="52"/>
                </a:cubicBezTo>
                <a:cubicBezTo>
                  <a:pt x="1561" y="51"/>
                  <a:pt x="1557" y="48"/>
                  <a:pt x="1557" y="47"/>
                </a:cubicBezTo>
                <a:cubicBezTo>
                  <a:pt x="1557" y="45"/>
                  <a:pt x="1563" y="45"/>
                  <a:pt x="1563" y="45"/>
                </a:cubicBezTo>
                <a:cubicBezTo>
                  <a:pt x="1563" y="42"/>
                  <a:pt x="1563" y="42"/>
                  <a:pt x="1563" y="42"/>
                </a:cubicBezTo>
                <a:cubicBezTo>
                  <a:pt x="1567" y="41"/>
                  <a:pt x="1567" y="41"/>
                  <a:pt x="1567" y="41"/>
                </a:cubicBezTo>
                <a:cubicBezTo>
                  <a:pt x="1569" y="37"/>
                  <a:pt x="1569" y="37"/>
                  <a:pt x="1569" y="37"/>
                </a:cubicBezTo>
                <a:cubicBezTo>
                  <a:pt x="1571" y="38"/>
                  <a:pt x="1571" y="38"/>
                  <a:pt x="1571" y="38"/>
                </a:cubicBezTo>
                <a:cubicBezTo>
                  <a:pt x="1575" y="36"/>
                  <a:pt x="1575" y="36"/>
                  <a:pt x="1575" y="36"/>
                </a:cubicBezTo>
                <a:cubicBezTo>
                  <a:pt x="1575" y="36"/>
                  <a:pt x="1577" y="39"/>
                  <a:pt x="1581" y="40"/>
                </a:cubicBezTo>
                <a:cubicBezTo>
                  <a:pt x="1585" y="41"/>
                  <a:pt x="1580" y="47"/>
                  <a:pt x="1580" y="47"/>
                </a:cubicBezTo>
                <a:cubicBezTo>
                  <a:pt x="1588" y="47"/>
                  <a:pt x="1588" y="47"/>
                  <a:pt x="1588" y="47"/>
                </a:cubicBezTo>
                <a:cubicBezTo>
                  <a:pt x="1588" y="47"/>
                  <a:pt x="1592" y="50"/>
                  <a:pt x="1592" y="49"/>
                </a:cubicBezTo>
                <a:cubicBezTo>
                  <a:pt x="1592" y="48"/>
                  <a:pt x="1603" y="45"/>
                  <a:pt x="1604" y="43"/>
                </a:cubicBezTo>
                <a:cubicBezTo>
                  <a:pt x="1605" y="41"/>
                  <a:pt x="1596" y="42"/>
                  <a:pt x="1596" y="42"/>
                </a:cubicBezTo>
                <a:cubicBezTo>
                  <a:pt x="1595" y="39"/>
                  <a:pt x="1595" y="39"/>
                  <a:pt x="1595" y="39"/>
                </a:cubicBezTo>
                <a:cubicBezTo>
                  <a:pt x="1588" y="38"/>
                  <a:pt x="1588" y="38"/>
                  <a:pt x="1588" y="38"/>
                </a:cubicBezTo>
                <a:cubicBezTo>
                  <a:pt x="1588" y="36"/>
                  <a:pt x="1588" y="36"/>
                  <a:pt x="1588" y="36"/>
                </a:cubicBezTo>
                <a:cubicBezTo>
                  <a:pt x="1583" y="36"/>
                  <a:pt x="1583" y="36"/>
                  <a:pt x="1583" y="36"/>
                </a:cubicBezTo>
                <a:cubicBezTo>
                  <a:pt x="1584" y="34"/>
                  <a:pt x="1584" y="34"/>
                  <a:pt x="1584" y="34"/>
                </a:cubicBezTo>
                <a:cubicBezTo>
                  <a:pt x="1573" y="34"/>
                  <a:pt x="1573" y="34"/>
                  <a:pt x="1573" y="34"/>
                </a:cubicBezTo>
                <a:cubicBezTo>
                  <a:pt x="1572" y="32"/>
                  <a:pt x="1572" y="32"/>
                  <a:pt x="1572" y="32"/>
                </a:cubicBezTo>
                <a:cubicBezTo>
                  <a:pt x="1567" y="32"/>
                  <a:pt x="1567" y="32"/>
                  <a:pt x="1567" y="32"/>
                </a:cubicBezTo>
                <a:cubicBezTo>
                  <a:pt x="1567" y="32"/>
                  <a:pt x="1567" y="30"/>
                  <a:pt x="1563" y="29"/>
                </a:cubicBezTo>
                <a:cubicBezTo>
                  <a:pt x="1560" y="28"/>
                  <a:pt x="1559" y="29"/>
                  <a:pt x="1559" y="29"/>
                </a:cubicBezTo>
                <a:cubicBezTo>
                  <a:pt x="1559" y="27"/>
                  <a:pt x="1559" y="27"/>
                  <a:pt x="1559" y="27"/>
                </a:cubicBezTo>
                <a:cubicBezTo>
                  <a:pt x="1559" y="27"/>
                  <a:pt x="1555" y="25"/>
                  <a:pt x="1549" y="26"/>
                </a:cubicBezTo>
                <a:cubicBezTo>
                  <a:pt x="1543" y="26"/>
                  <a:pt x="1551" y="33"/>
                  <a:pt x="1551" y="33"/>
                </a:cubicBezTo>
                <a:cubicBezTo>
                  <a:pt x="1551" y="33"/>
                  <a:pt x="1544" y="27"/>
                  <a:pt x="1541" y="27"/>
                </a:cubicBezTo>
                <a:cubicBezTo>
                  <a:pt x="1538" y="26"/>
                  <a:pt x="1537" y="30"/>
                  <a:pt x="1537" y="30"/>
                </a:cubicBezTo>
                <a:cubicBezTo>
                  <a:pt x="1537" y="30"/>
                  <a:pt x="1532" y="30"/>
                  <a:pt x="1531" y="29"/>
                </a:cubicBezTo>
                <a:cubicBezTo>
                  <a:pt x="1530" y="28"/>
                  <a:pt x="1533" y="26"/>
                  <a:pt x="1533" y="26"/>
                </a:cubicBezTo>
                <a:cubicBezTo>
                  <a:pt x="1526" y="27"/>
                  <a:pt x="1526" y="27"/>
                  <a:pt x="1526" y="27"/>
                </a:cubicBezTo>
                <a:cubicBezTo>
                  <a:pt x="1524" y="29"/>
                  <a:pt x="1524" y="29"/>
                  <a:pt x="1524" y="29"/>
                </a:cubicBezTo>
                <a:cubicBezTo>
                  <a:pt x="1523" y="26"/>
                  <a:pt x="1523" y="26"/>
                  <a:pt x="1523" y="26"/>
                </a:cubicBezTo>
                <a:cubicBezTo>
                  <a:pt x="1523" y="26"/>
                  <a:pt x="1518" y="28"/>
                  <a:pt x="1516" y="29"/>
                </a:cubicBezTo>
                <a:cubicBezTo>
                  <a:pt x="1516" y="29"/>
                  <a:pt x="1516" y="31"/>
                  <a:pt x="1517" y="31"/>
                </a:cubicBezTo>
                <a:close/>
                <a:moveTo>
                  <a:pt x="1658" y="463"/>
                </a:moveTo>
                <a:cubicBezTo>
                  <a:pt x="1658" y="465"/>
                  <a:pt x="1658" y="465"/>
                  <a:pt x="1658" y="465"/>
                </a:cubicBezTo>
                <a:cubicBezTo>
                  <a:pt x="1659" y="463"/>
                  <a:pt x="1659" y="463"/>
                  <a:pt x="1659" y="463"/>
                </a:cubicBezTo>
                <a:cubicBezTo>
                  <a:pt x="1658" y="463"/>
                  <a:pt x="1658" y="463"/>
                  <a:pt x="1658" y="463"/>
                </a:cubicBezTo>
                <a:cubicBezTo>
                  <a:pt x="1658" y="463"/>
                  <a:pt x="1658" y="463"/>
                  <a:pt x="1658" y="463"/>
                </a:cubicBezTo>
                <a:close/>
                <a:moveTo>
                  <a:pt x="1385" y="240"/>
                </a:moveTo>
                <a:cubicBezTo>
                  <a:pt x="1385" y="240"/>
                  <a:pt x="1384" y="241"/>
                  <a:pt x="1383" y="242"/>
                </a:cubicBezTo>
                <a:cubicBezTo>
                  <a:pt x="1382" y="243"/>
                  <a:pt x="1382" y="244"/>
                  <a:pt x="1382" y="244"/>
                </a:cubicBezTo>
                <a:cubicBezTo>
                  <a:pt x="1380" y="245"/>
                  <a:pt x="1380" y="245"/>
                  <a:pt x="1380" y="245"/>
                </a:cubicBezTo>
                <a:cubicBezTo>
                  <a:pt x="1380" y="245"/>
                  <a:pt x="1381" y="247"/>
                  <a:pt x="1383" y="247"/>
                </a:cubicBezTo>
                <a:cubicBezTo>
                  <a:pt x="1384" y="247"/>
                  <a:pt x="1386" y="245"/>
                  <a:pt x="1386" y="245"/>
                </a:cubicBezTo>
                <a:cubicBezTo>
                  <a:pt x="1386" y="247"/>
                  <a:pt x="1386" y="247"/>
                  <a:pt x="1386" y="247"/>
                </a:cubicBezTo>
                <a:cubicBezTo>
                  <a:pt x="1386" y="247"/>
                  <a:pt x="1383" y="249"/>
                  <a:pt x="1382" y="250"/>
                </a:cubicBezTo>
                <a:cubicBezTo>
                  <a:pt x="1381" y="252"/>
                  <a:pt x="1382" y="255"/>
                  <a:pt x="1382" y="255"/>
                </a:cubicBezTo>
                <a:cubicBezTo>
                  <a:pt x="1382" y="255"/>
                  <a:pt x="1384" y="253"/>
                  <a:pt x="1386" y="254"/>
                </a:cubicBezTo>
                <a:cubicBezTo>
                  <a:pt x="1387" y="255"/>
                  <a:pt x="1390" y="253"/>
                  <a:pt x="1390" y="253"/>
                </a:cubicBezTo>
                <a:cubicBezTo>
                  <a:pt x="1388" y="255"/>
                  <a:pt x="1388" y="255"/>
                  <a:pt x="1388" y="255"/>
                </a:cubicBezTo>
                <a:cubicBezTo>
                  <a:pt x="1389" y="259"/>
                  <a:pt x="1389" y="259"/>
                  <a:pt x="1389" y="259"/>
                </a:cubicBezTo>
                <a:cubicBezTo>
                  <a:pt x="1389" y="259"/>
                  <a:pt x="1387" y="262"/>
                  <a:pt x="1385" y="265"/>
                </a:cubicBezTo>
                <a:cubicBezTo>
                  <a:pt x="1384" y="267"/>
                  <a:pt x="1388" y="267"/>
                  <a:pt x="1388" y="267"/>
                </a:cubicBezTo>
                <a:cubicBezTo>
                  <a:pt x="1388" y="267"/>
                  <a:pt x="1391" y="265"/>
                  <a:pt x="1393" y="266"/>
                </a:cubicBezTo>
                <a:cubicBezTo>
                  <a:pt x="1394" y="267"/>
                  <a:pt x="1397" y="264"/>
                  <a:pt x="1397" y="264"/>
                </a:cubicBezTo>
                <a:cubicBezTo>
                  <a:pt x="1402" y="264"/>
                  <a:pt x="1402" y="264"/>
                  <a:pt x="1402" y="264"/>
                </a:cubicBezTo>
                <a:cubicBezTo>
                  <a:pt x="1402" y="264"/>
                  <a:pt x="1397" y="267"/>
                  <a:pt x="1397" y="269"/>
                </a:cubicBezTo>
                <a:cubicBezTo>
                  <a:pt x="1397" y="271"/>
                  <a:pt x="1403" y="273"/>
                  <a:pt x="1403" y="273"/>
                </a:cubicBezTo>
                <a:cubicBezTo>
                  <a:pt x="1403" y="276"/>
                  <a:pt x="1403" y="276"/>
                  <a:pt x="1403" y="276"/>
                </a:cubicBezTo>
                <a:cubicBezTo>
                  <a:pt x="1401" y="278"/>
                  <a:pt x="1401" y="278"/>
                  <a:pt x="1401" y="278"/>
                </a:cubicBezTo>
                <a:cubicBezTo>
                  <a:pt x="1401" y="278"/>
                  <a:pt x="1402" y="281"/>
                  <a:pt x="1401" y="282"/>
                </a:cubicBezTo>
                <a:cubicBezTo>
                  <a:pt x="1400" y="283"/>
                  <a:pt x="1392" y="282"/>
                  <a:pt x="1392" y="282"/>
                </a:cubicBezTo>
                <a:cubicBezTo>
                  <a:pt x="1392" y="282"/>
                  <a:pt x="1390" y="281"/>
                  <a:pt x="1388" y="281"/>
                </a:cubicBezTo>
                <a:cubicBezTo>
                  <a:pt x="1386" y="282"/>
                  <a:pt x="1389" y="284"/>
                  <a:pt x="1389" y="284"/>
                </a:cubicBezTo>
                <a:cubicBezTo>
                  <a:pt x="1386" y="287"/>
                  <a:pt x="1386" y="287"/>
                  <a:pt x="1386" y="287"/>
                </a:cubicBezTo>
                <a:cubicBezTo>
                  <a:pt x="1392" y="286"/>
                  <a:pt x="1392" y="286"/>
                  <a:pt x="1392" y="286"/>
                </a:cubicBezTo>
                <a:cubicBezTo>
                  <a:pt x="1392" y="286"/>
                  <a:pt x="1392" y="291"/>
                  <a:pt x="1390" y="293"/>
                </a:cubicBezTo>
                <a:cubicBezTo>
                  <a:pt x="1389" y="294"/>
                  <a:pt x="1383" y="296"/>
                  <a:pt x="1382" y="296"/>
                </a:cubicBezTo>
                <a:cubicBezTo>
                  <a:pt x="1381" y="297"/>
                  <a:pt x="1382" y="300"/>
                  <a:pt x="1383" y="301"/>
                </a:cubicBezTo>
                <a:cubicBezTo>
                  <a:pt x="1384" y="301"/>
                  <a:pt x="1388" y="298"/>
                  <a:pt x="1388" y="298"/>
                </a:cubicBezTo>
                <a:cubicBezTo>
                  <a:pt x="1388" y="298"/>
                  <a:pt x="1389" y="299"/>
                  <a:pt x="1389" y="300"/>
                </a:cubicBezTo>
                <a:cubicBezTo>
                  <a:pt x="1390" y="301"/>
                  <a:pt x="1392" y="300"/>
                  <a:pt x="1392" y="300"/>
                </a:cubicBezTo>
                <a:cubicBezTo>
                  <a:pt x="1392" y="300"/>
                  <a:pt x="1394" y="302"/>
                  <a:pt x="1396" y="302"/>
                </a:cubicBezTo>
                <a:cubicBezTo>
                  <a:pt x="1398" y="302"/>
                  <a:pt x="1399" y="301"/>
                  <a:pt x="1400" y="300"/>
                </a:cubicBezTo>
                <a:cubicBezTo>
                  <a:pt x="1401" y="299"/>
                  <a:pt x="1404" y="300"/>
                  <a:pt x="1404" y="300"/>
                </a:cubicBezTo>
                <a:cubicBezTo>
                  <a:pt x="1404" y="300"/>
                  <a:pt x="1400" y="303"/>
                  <a:pt x="1398" y="304"/>
                </a:cubicBezTo>
                <a:cubicBezTo>
                  <a:pt x="1396" y="306"/>
                  <a:pt x="1392" y="304"/>
                  <a:pt x="1390" y="304"/>
                </a:cubicBezTo>
                <a:cubicBezTo>
                  <a:pt x="1389" y="304"/>
                  <a:pt x="1389" y="306"/>
                  <a:pt x="1389" y="306"/>
                </a:cubicBezTo>
                <a:cubicBezTo>
                  <a:pt x="1389" y="306"/>
                  <a:pt x="1388" y="306"/>
                  <a:pt x="1386" y="307"/>
                </a:cubicBezTo>
                <a:cubicBezTo>
                  <a:pt x="1384" y="307"/>
                  <a:pt x="1386" y="309"/>
                  <a:pt x="1385" y="311"/>
                </a:cubicBezTo>
                <a:cubicBezTo>
                  <a:pt x="1384" y="312"/>
                  <a:pt x="1382" y="311"/>
                  <a:pt x="1381" y="311"/>
                </a:cubicBezTo>
                <a:cubicBezTo>
                  <a:pt x="1379" y="311"/>
                  <a:pt x="1380" y="314"/>
                  <a:pt x="1379" y="315"/>
                </a:cubicBezTo>
                <a:cubicBezTo>
                  <a:pt x="1377" y="316"/>
                  <a:pt x="1375" y="316"/>
                  <a:pt x="1375" y="317"/>
                </a:cubicBezTo>
                <a:cubicBezTo>
                  <a:pt x="1375" y="318"/>
                  <a:pt x="1379" y="318"/>
                  <a:pt x="1380" y="318"/>
                </a:cubicBezTo>
                <a:cubicBezTo>
                  <a:pt x="1380" y="318"/>
                  <a:pt x="1382" y="315"/>
                  <a:pt x="1383" y="314"/>
                </a:cubicBezTo>
                <a:cubicBezTo>
                  <a:pt x="1385" y="313"/>
                  <a:pt x="1387" y="314"/>
                  <a:pt x="1389" y="314"/>
                </a:cubicBezTo>
                <a:cubicBezTo>
                  <a:pt x="1390" y="314"/>
                  <a:pt x="1391" y="316"/>
                  <a:pt x="1392" y="316"/>
                </a:cubicBezTo>
                <a:cubicBezTo>
                  <a:pt x="1394" y="316"/>
                  <a:pt x="1396" y="310"/>
                  <a:pt x="1398" y="310"/>
                </a:cubicBezTo>
                <a:cubicBezTo>
                  <a:pt x="1399" y="309"/>
                  <a:pt x="1402" y="311"/>
                  <a:pt x="1402" y="311"/>
                </a:cubicBezTo>
                <a:cubicBezTo>
                  <a:pt x="1406" y="311"/>
                  <a:pt x="1406" y="311"/>
                  <a:pt x="1406" y="311"/>
                </a:cubicBezTo>
                <a:cubicBezTo>
                  <a:pt x="1410" y="310"/>
                  <a:pt x="1410" y="310"/>
                  <a:pt x="1410" y="310"/>
                </a:cubicBezTo>
                <a:cubicBezTo>
                  <a:pt x="1410" y="310"/>
                  <a:pt x="1414" y="312"/>
                  <a:pt x="1415" y="311"/>
                </a:cubicBezTo>
                <a:cubicBezTo>
                  <a:pt x="1416" y="311"/>
                  <a:pt x="1413" y="309"/>
                  <a:pt x="1414" y="308"/>
                </a:cubicBezTo>
                <a:cubicBezTo>
                  <a:pt x="1416" y="307"/>
                  <a:pt x="1418" y="310"/>
                  <a:pt x="1418" y="310"/>
                </a:cubicBezTo>
                <a:cubicBezTo>
                  <a:pt x="1419" y="309"/>
                  <a:pt x="1419" y="309"/>
                  <a:pt x="1419" y="309"/>
                </a:cubicBezTo>
                <a:cubicBezTo>
                  <a:pt x="1419" y="309"/>
                  <a:pt x="1430" y="309"/>
                  <a:pt x="1433" y="307"/>
                </a:cubicBezTo>
                <a:cubicBezTo>
                  <a:pt x="1435" y="306"/>
                  <a:pt x="1437" y="303"/>
                  <a:pt x="1437" y="303"/>
                </a:cubicBezTo>
                <a:cubicBezTo>
                  <a:pt x="1429" y="302"/>
                  <a:pt x="1429" y="302"/>
                  <a:pt x="1429" y="302"/>
                </a:cubicBezTo>
                <a:cubicBezTo>
                  <a:pt x="1433" y="301"/>
                  <a:pt x="1433" y="301"/>
                  <a:pt x="1433" y="301"/>
                </a:cubicBezTo>
                <a:cubicBezTo>
                  <a:pt x="1432" y="299"/>
                  <a:pt x="1432" y="299"/>
                  <a:pt x="1432" y="299"/>
                </a:cubicBezTo>
                <a:cubicBezTo>
                  <a:pt x="1432" y="299"/>
                  <a:pt x="1435" y="296"/>
                  <a:pt x="1436" y="296"/>
                </a:cubicBezTo>
                <a:cubicBezTo>
                  <a:pt x="1438" y="296"/>
                  <a:pt x="1440" y="294"/>
                  <a:pt x="1440" y="289"/>
                </a:cubicBezTo>
                <a:cubicBezTo>
                  <a:pt x="1440" y="285"/>
                  <a:pt x="1430" y="285"/>
                  <a:pt x="1430" y="285"/>
                </a:cubicBezTo>
                <a:cubicBezTo>
                  <a:pt x="1430" y="285"/>
                  <a:pt x="1429" y="288"/>
                  <a:pt x="1427" y="287"/>
                </a:cubicBezTo>
                <a:cubicBezTo>
                  <a:pt x="1425" y="285"/>
                  <a:pt x="1429" y="284"/>
                  <a:pt x="1429" y="282"/>
                </a:cubicBezTo>
                <a:cubicBezTo>
                  <a:pt x="1429" y="280"/>
                  <a:pt x="1422" y="279"/>
                  <a:pt x="1422" y="278"/>
                </a:cubicBezTo>
                <a:cubicBezTo>
                  <a:pt x="1422" y="277"/>
                  <a:pt x="1427" y="277"/>
                  <a:pt x="1427" y="277"/>
                </a:cubicBezTo>
                <a:cubicBezTo>
                  <a:pt x="1425" y="276"/>
                  <a:pt x="1425" y="276"/>
                  <a:pt x="1425" y="276"/>
                </a:cubicBezTo>
                <a:cubicBezTo>
                  <a:pt x="1425" y="276"/>
                  <a:pt x="1423" y="271"/>
                  <a:pt x="1422" y="270"/>
                </a:cubicBezTo>
                <a:cubicBezTo>
                  <a:pt x="1421" y="268"/>
                  <a:pt x="1419" y="268"/>
                  <a:pt x="1419" y="268"/>
                </a:cubicBezTo>
                <a:cubicBezTo>
                  <a:pt x="1419" y="268"/>
                  <a:pt x="1417" y="266"/>
                  <a:pt x="1415" y="265"/>
                </a:cubicBezTo>
                <a:cubicBezTo>
                  <a:pt x="1414" y="264"/>
                  <a:pt x="1415" y="257"/>
                  <a:pt x="1415" y="257"/>
                </a:cubicBezTo>
                <a:cubicBezTo>
                  <a:pt x="1413" y="257"/>
                  <a:pt x="1413" y="257"/>
                  <a:pt x="1413" y="257"/>
                </a:cubicBezTo>
                <a:cubicBezTo>
                  <a:pt x="1413" y="257"/>
                  <a:pt x="1413" y="256"/>
                  <a:pt x="1410" y="254"/>
                </a:cubicBezTo>
                <a:cubicBezTo>
                  <a:pt x="1407" y="252"/>
                  <a:pt x="1403" y="254"/>
                  <a:pt x="1401" y="254"/>
                </a:cubicBezTo>
                <a:cubicBezTo>
                  <a:pt x="1400" y="254"/>
                  <a:pt x="1398" y="252"/>
                  <a:pt x="1398" y="252"/>
                </a:cubicBezTo>
                <a:cubicBezTo>
                  <a:pt x="1398" y="252"/>
                  <a:pt x="1401" y="253"/>
                  <a:pt x="1402" y="253"/>
                </a:cubicBezTo>
                <a:cubicBezTo>
                  <a:pt x="1402" y="252"/>
                  <a:pt x="1406" y="252"/>
                  <a:pt x="1406" y="250"/>
                </a:cubicBezTo>
                <a:cubicBezTo>
                  <a:pt x="1407" y="249"/>
                  <a:pt x="1403" y="249"/>
                  <a:pt x="1403" y="249"/>
                </a:cubicBezTo>
                <a:cubicBezTo>
                  <a:pt x="1406" y="248"/>
                  <a:pt x="1406" y="248"/>
                  <a:pt x="1406" y="248"/>
                </a:cubicBezTo>
                <a:cubicBezTo>
                  <a:pt x="1406" y="248"/>
                  <a:pt x="1408" y="247"/>
                  <a:pt x="1409" y="246"/>
                </a:cubicBezTo>
                <a:cubicBezTo>
                  <a:pt x="1410" y="245"/>
                  <a:pt x="1412" y="240"/>
                  <a:pt x="1412" y="240"/>
                </a:cubicBezTo>
                <a:cubicBezTo>
                  <a:pt x="1412" y="240"/>
                  <a:pt x="1416" y="238"/>
                  <a:pt x="1416" y="236"/>
                </a:cubicBezTo>
                <a:cubicBezTo>
                  <a:pt x="1416" y="235"/>
                  <a:pt x="1404" y="236"/>
                  <a:pt x="1404" y="236"/>
                </a:cubicBezTo>
                <a:cubicBezTo>
                  <a:pt x="1404" y="236"/>
                  <a:pt x="1404" y="235"/>
                  <a:pt x="1402" y="235"/>
                </a:cubicBezTo>
                <a:cubicBezTo>
                  <a:pt x="1399" y="235"/>
                  <a:pt x="1395" y="237"/>
                  <a:pt x="1395" y="237"/>
                </a:cubicBezTo>
                <a:cubicBezTo>
                  <a:pt x="1397" y="235"/>
                  <a:pt x="1397" y="235"/>
                  <a:pt x="1397" y="235"/>
                </a:cubicBezTo>
                <a:cubicBezTo>
                  <a:pt x="1395" y="233"/>
                  <a:pt x="1395" y="233"/>
                  <a:pt x="1395" y="233"/>
                </a:cubicBezTo>
                <a:cubicBezTo>
                  <a:pt x="1398" y="233"/>
                  <a:pt x="1398" y="233"/>
                  <a:pt x="1398" y="233"/>
                </a:cubicBezTo>
                <a:cubicBezTo>
                  <a:pt x="1402" y="230"/>
                  <a:pt x="1402" y="230"/>
                  <a:pt x="1402" y="230"/>
                </a:cubicBezTo>
                <a:cubicBezTo>
                  <a:pt x="1402" y="230"/>
                  <a:pt x="1404" y="228"/>
                  <a:pt x="1405" y="226"/>
                </a:cubicBezTo>
                <a:cubicBezTo>
                  <a:pt x="1405" y="225"/>
                  <a:pt x="1402" y="225"/>
                  <a:pt x="1400" y="225"/>
                </a:cubicBezTo>
                <a:cubicBezTo>
                  <a:pt x="1399" y="225"/>
                  <a:pt x="1396" y="227"/>
                  <a:pt x="1394" y="227"/>
                </a:cubicBezTo>
                <a:cubicBezTo>
                  <a:pt x="1393" y="227"/>
                  <a:pt x="1391" y="225"/>
                  <a:pt x="1390" y="226"/>
                </a:cubicBezTo>
                <a:cubicBezTo>
                  <a:pt x="1388" y="226"/>
                  <a:pt x="1390" y="229"/>
                  <a:pt x="1390" y="229"/>
                </a:cubicBezTo>
                <a:cubicBezTo>
                  <a:pt x="1390" y="229"/>
                  <a:pt x="1388" y="229"/>
                  <a:pt x="1387" y="230"/>
                </a:cubicBezTo>
                <a:cubicBezTo>
                  <a:pt x="1386" y="230"/>
                  <a:pt x="1388" y="234"/>
                  <a:pt x="1388" y="234"/>
                </a:cubicBezTo>
                <a:cubicBezTo>
                  <a:pt x="1382" y="234"/>
                  <a:pt x="1382" y="234"/>
                  <a:pt x="1382" y="234"/>
                </a:cubicBezTo>
                <a:cubicBezTo>
                  <a:pt x="1382" y="235"/>
                  <a:pt x="1382" y="235"/>
                  <a:pt x="1382" y="235"/>
                </a:cubicBezTo>
                <a:cubicBezTo>
                  <a:pt x="1383" y="237"/>
                  <a:pt x="1383" y="237"/>
                  <a:pt x="1383" y="237"/>
                </a:cubicBezTo>
                <a:cubicBezTo>
                  <a:pt x="1385" y="240"/>
                  <a:pt x="1385" y="240"/>
                  <a:pt x="1385" y="240"/>
                </a:cubicBezTo>
                <a:cubicBezTo>
                  <a:pt x="1385" y="240"/>
                  <a:pt x="1385" y="240"/>
                  <a:pt x="1385" y="240"/>
                </a:cubicBezTo>
                <a:close/>
                <a:moveTo>
                  <a:pt x="1569" y="241"/>
                </a:moveTo>
                <a:cubicBezTo>
                  <a:pt x="1568" y="238"/>
                  <a:pt x="1568" y="238"/>
                  <a:pt x="1568" y="238"/>
                </a:cubicBezTo>
                <a:cubicBezTo>
                  <a:pt x="1568" y="238"/>
                  <a:pt x="1563" y="245"/>
                  <a:pt x="1563" y="247"/>
                </a:cubicBezTo>
                <a:cubicBezTo>
                  <a:pt x="1563" y="248"/>
                  <a:pt x="1563" y="250"/>
                  <a:pt x="1563" y="250"/>
                </a:cubicBezTo>
                <a:cubicBezTo>
                  <a:pt x="1565" y="250"/>
                  <a:pt x="1566" y="244"/>
                  <a:pt x="1566" y="244"/>
                </a:cubicBezTo>
                <a:cubicBezTo>
                  <a:pt x="1569" y="241"/>
                  <a:pt x="1569" y="241"/>
                  <a:pt x="1569" y="241"/>
                </a:cubicBezTo>
                <a:cubicBezTo>
                  <a:pt x="1569" y="241"/>
                  <a:pt x="1569" y="241"/>
                  <a:pt x="1569" y="241"/>
                </a:cubicBezTo>
                <a:close/>
                <a:moveTo>
                  <a:pt x="1648" y="462"/>
                </a:moveTo>
                <a:cubicBezTo>
                  <a:pt x="1647" y="461"/>
                  <a:pt x="1647" y="461"/>
                  <a:pt x="1647" y="461"/>
                </a:cubicBezTo>
                <a:cubicBezTo>
                  <a:pt x="1646" y="463"/>
                  <a:pt x="1646" y="463"/>
                  <a:pt x="1646" y="463"/>
                </a:cubicBezTo>
                <a:cubicBezTo>
                  <a:pt x="1648" y="462"/>
                  <a:pt x="1648" y="462"/>
                  <a:pt x="1648" y="462"/>
                </a:cubicBezTo>
                <a:cubicBezTo>
                  <a:pt x="1648" y="462"/>
                  <a:pt x="1648" y="462"/>
                  <a:pt x="1648" y="462"/>
                </a:cubicBezTo>
                <a:close/>
                <a:moveTo>
                  <a:pt x="1576" y="237"/>
                </a:moveTo>
                <a:cubicBezTo>
                  <a:pt x="1575" y="239"/>
                  <a:pt x="1578" y="244"/>
                  <a:pt x="1578" y="244"/>
                </a:cubicBezTo>
                <a:cubicBezTo>
                  <a:pt x="1580" y="240"/>
                  <a:pt x="1580" y="240"/>
                  <a:pt x="1580" y="240"/>
                </a:cubicBezTo>
                <a:cubicBezTo>
                  <a:pt x="1580" y="240"/>
                  <a:pt x="1581" y="241"/>
                  <a:pt x="1582" y="239"/>
                </a:cubicBezTo>
                <a:cubicBezTo>
                  <a:pt x="1583" y="237"/>
                  <a:pt x="1582" y="235"/>
                  <a:pt x="1582" y="235"/>
                </a:cubicBezTo>
                <a:cubicBezTo>
                  <a:pt x="1584" y="233"/>
                  <a:pt x="1584" y="233"/>
                  <a:pt x="1584" y="233"/>
                </a:cubicBezTo>
                <a:cubicBezTo>
                  <a:pt x="1584" y="233"/>
                  <a:pt x="1577" y="234"/>
                  <a:pt x="1576" y="237"/>
                </a:cubicBezTo>
                <a:close/>
                <a:moveTo>
                  <a:pt x="1607" y="226"/>
                </a:moveTo>
                <a:cubicBezTo>
                  <a:pt x="1605" y="227"/>
                  <a:pt x="1607" y="230"/>
                  <a:pt x="1607" y="230"/>
                </a:cubicBezTo>
                <a:cubicBezTo>
                  <a:pt x="1608" y="233"/>
                  <a:pt x="1608" y="233"/>
                  <a:pt x="1608" y="233"/>
                </a:cubicBezTo>
                <a:cubicBezTo>
                  <a:pt x="1608" y="233"/>
                  <a:pt x="1611" y="230"/>
                  <a:pt x="1612" y="230"/>
                </a:cubicBezTo>
                <a:cubicBezTo>
                  <a:pt x="1613" y="230"/>
                  <a:pt x="1617" y="227"/>
                  <a:pt x="1617" y="227"/>
                </a:cubicBezTo>
                <a:cubicBezTo>
                  <a:pt x="1616" y="225"/>
                  <a:pt x="1616" y="225"/>
                  <a:pt x="1616" y="225"/>
                </a:cubicBezTo>
                <a:cubicBezTo>
                  <a:pt x="1611" y="226"/>
                  <a:pt x="1611" y="226"/>
                  <a:pt x="1611" y="226"/>
                </a:cubicBezTo>
                <a:cubicBezTo>
                  <a:pt x="1611" y="226"/>
                  <a:pt x="1608" y="226"/>
                  <a:pt x="1607" y="226"/>
                </a:cubicBezTo>
                <a:close/>
                <a:moveTo>
                  <a:pt x="1612" y="220"/>
                </a:moveTo>
                <a:cubicBezTo>
                  <a:pt x="1610" y="221"/>
                  <a:pt x="1608" y="224"/>
                  <a:pt x="1611" y="224"/>
                </a:cubicBezTo>
                <a:cubicBezTo>
                  <a:pt x="1614" y="224"/>
                  <a:pt x="1615" y="220"/>
                  <a:pt x="1612" y="220"/>
                </a:cubicBezTo>
                <a:close/>
                <a:moveTo>
                  <a:pt x="1531" y="253"/>
                </a:moveTo>
                <a:cubicBezTo>
                  <a:pt x="1531" y="253"/>
                  <a:pt x="1529" y="251"/>
                  <a:pt x="1529" y="251"/>
                </a:cubicBezTo>
                <a:cubicBezTo>
                  <a:pt x="1529" y="251"/>
                  <a:pt x="1526" y="252"/>
                  <a:pt x="1526" y="253"/>
                </a:cubicBezTo>
                <a:cubicBezTo>
                  <a:pt x="1526" y="254"/>
                  <a:pt x="1526" y="255"/>
                  <a:pt x="1526" y="255"/>
                </a:cubicBezTo>
                <a:cubicBezTo>
                  <a:pt x="1526" y="255"/>
                  <a:pt x="1524" y="253"/>
                  <a:pt x="1524" y="253"/>
                </a:cubicBezTo>
                <a:cubicBezTo>
                  <a:pt x="1523" y="253"/>
                  <a:pt x="1523" y="254"/>
                  <a:pt x="1523" y="254"/>
                </a:cubicBezTo>
                <a:cubicBezTo>
                  <a:pt x="1519" y="256"/>
                  <a:pt x="1519" y="256"/>
                  <a:pt x="1519" y="256"/>
                </a:cubicBezTo>
                <a:cubicBezTo>
                  <a:pt x="1519" y="256"/>
                  <a:pt x="1521" y="257"/>
                  <a:pt x="1521" y="260"/>
                </a:cubicBezTo>
                <a:cubicBezTo>
                  <a:pt x="1521" y="262"/>
                  <a:pt x="1519" y="262"/>
                  <a:pt x="1521" y="262"/>
                </a:cubicBezTo>
                <a:cubicBezTo>
                  <a:pt x="1524" y="263"/>
                  <a:pt x="1525" y="262"/>
                  <a:pt x="1525" y="262"/>
                </a:cubicBezTo>
                <a:cubicBezTo>
                  <a:pt x="1525" y="262"/>
                  <a:pt x="1527" y="266"/>
                  <a:pt x="1527" y="265"/>
                </a:cubicBezTo>
                <a:cubicBezTo>
                  <a:pt x="1527" y="264"/>
                  <a:pt x="1529" y="261"/>
                  <a:pt x="1530" y="260"/>
                </a:cubicBezTo>
                <a:cubicBezTo>
                  <a:pt x="1530" y="260"/>
                  <a:pt x="1532" y="260"/>
                  <a:pt x="1530" y="259"/>
                </a:cubicBezTo>
                <a:cubicBezTo>
                  <a:pt x="1529" y="258"/>
                  <a:pt x="1527" y="257"/>
                  <a:pt x="1528" y="257"/>
                </a:cubicBezTo>
                <a:cubicBezTo>
                  <a:pt x="1529" y="257"/>
                  <a:pt x="1530" y="257"/>
                  <a:pt x="1529" y="256"/>
                </a:cubicBezTo>
                <a:cubicBezTo>
                  <a:pt x="1528" y="255"/>
                  <a:pt x="1531" y="253"/>
                  <a:pt x="1531" y="253"/>
                </a:cubicBezTo>
                <a:close/>
                <a:moveTo>
                  <a:pt x="1520" y="266"/>
                </a:moveTo>
                <a:cubicBezTo>
                  <a:pt x="1522" y="266"/>
                  <a:pt x="1524" y="268"/>
                  <a:pt x="1524" y="268"/>
                </a:cubicBezTo>
                <a:cubicBezTo>
                  <a:pt x="1524" y="268"/>
                  <a:pt x="1528" y="268"/>
                  <a:pt x="1531" y="267"/>
                </a:cubicBezTo>
                <a:cubicBezTo>
                  <a:pt x="1535" y="266"/>
                  <a:pt x="1532" y="264"/>
                  <a:pt x="1532" y="264"/>
                </a:cubicBezTo>
                <a:cubicBezTo>
                  <a:pt x="1528" y="265"/>
                  <a:pt x="1528" y="265"/>
                  <a:pt x="1528" y="265"/>
                </a:cubicBezTo>
                <a:cubicBezTo>
                  <a:pt x="1528" y="265"/>
                  <a:pt x="1526" y="266"/>
                  <a:pt x="1525" y="266"/>
                </a:cubicBezTo>
                <a:cubicBezTo>
                  <a:pt x="1525" y="266"/>
                  <a:pt x="1521" y="264"/>
                  <a:pt x="1520" y="264"/>
                </a:cubicBezTo>
                <a:cubicBezTo>
                  <a:pt x="1518" y="264"/>
                  <a:pt x="1518" y="266"/>
                  <a:pt x="1520" y="266"/>
                </a:cubicBezTo>
                <a:close/>
                <a:moveTo>
                  <a:pt x="1672" y="479"/>
                </a:moveTo>
                <a:cubicBezTo>
                  <a:pt x="1671" y="474"/>
                  <a:pt x="1671" y="474"/>
                  <a:pt x="1671" y="474"/>
                </a:cubicBezTo>
                <a:cubicBezTo>
                  <a:pt x="1669" y="480"/>
                  <a:pt x="1669" y="480"/>
                  <a:pt x="1669" y="480"/>
                </a:cubicBezTo>
                <a:cubicBezTo>
                  <a:pt x="1672" y="479"/>
                  <a:pt x="1672" y="479"/>
                  <a:pt x="1672" y="479"/>
                </a:cubicBezTo>
                <a:cubicBezTo>
                  <a:pt x="1672" y="479"/>
                  <a:pt x="1672" y="479"/>
                  <a:pt x="1672" y="479"/>
                </a:cubicBezTo>
                <a:close/>
                <a:moveTo>
                  <a:pt x="1672" y="460"/>
                </a:moveTo>
                <a:cubicBezTo>
                  <a:pt x="1669" y="462"/>
                  <a:pt x="1669" y="462"/>
                  <a:pt x="1669" y="462"/>
                </a:cubicBezTo>
                <a:cubicBezTo>
                  <a:pt x="1669" y="465"/>
                  <a:pt x="1669" y="465"/>
                  <a:pt x="1669" y="465"/>
                </a:cubicBezTo>
                <a:cubicBezTo>
                  <a:pt x="1674" y="461"/>
                  <a:pt x="1674" y="461"/>
                  <a:pt x="1674" y="461"/>
                </a:cubicBezTo>
                <a:cubicBezTo>
                  <a:pt x="1672" y="460"/>
                  <a:pt x="1672" y="460"/>
                  <a:pt x="1672" y="460"/>
                </a:cubicBezTo>
                <a:cubicBezTo>
                  <a:pt x="1672" y="460"/>
                  <a:pt x="1672" y="460"/>
                  <a:pt x="1672" y="460"/>
                </a:cubicBezTo>
                <a:close/>
                <a:moveTo>
                  <a:pt x="1680" y="467"/>
                </a:moveTo>
                <a:cubicBezTo>
                  <a:pt x="1679" y="466"/>
                  <a:pt x="1675" y="472"/>
                  <a:pt x="1676" y="474"/>
                </a:cubicBezTo>
                <a:cubicBezTo>
                  <a:pt x="1677" y="475"/>
                  <a:pt x="1681" y="469"/>
                  <a:pt x="1680" y="467"/>
                </a:cubicBezTo>
                <a:close/>
                <a:moveTo>
                  <a:pt x="1856" y="110"/>
                </a:moveTo>
                <a:cubicBezTo>
                  <a:pt x="1855" y="111"/>
                  <a:pt x="1869" y="119"/>
                  <a:pt x="1870" y="115"/>
                </a:cubicBezTo>
                <a:cubicBezTo>
                  <a:pt x="1871" y="112"/>
                  <a:pt x="1857" y="108"/>
                  <a:pt x="1856" y="110"/>
                </a:cubicBezTo>
                <a:close/>
                <a:moveTo>
                  <a:pt x="1511" y="262"/>
                </a:moveTo>
                <a:cubicBezTo>
                  <a:pt x="1512" y="262"/>
                  <a:pt x="1514" y="264"/>
                  <a:pt x="1514" y="264"/>
                </a:cubicBezTo>
                <a:cubicBezTo>
                  <a:pt x="1515" y="260"/>
                  <a:pt x="1515" y="260"/>
                  <a:pt x="1515" y="260"/>
                </a:cubicBezTo>
                <a:cubicBezTo>
                  <a:pt x="1513" y="257"/>
                  <a:pt x="1513" y="257"/>
                  <a:pt x="1513" y="257"/>
                </a:cubicBezTo>
                <a:cubicBezTo>
                  <a:pt x="1510" y="257"/>
                  <a:pt x="1510" y="257"/>
                  <a:pt x="1510" y="257"/>
                </a:cubicBezTo>
                <a:cubicBezTo>
                  <a:pt x="1511" y="262"/>
                  <a:pt x="1511" y="262"/>
                  <a:pt x="1511" y="262"/>
                </a:cubicBezTo>
                <a:cubicBezTo>
                  <a:pt x="1511" y="262"/>
                  <a:pt x="1511" y="262"/>
                  <a:pt x="1511" y="262"/>
                </a:cubicBezTo>
                <a:close/>
                <a:moveTo>
                  <a:pt x="1808" y="97"/>
                </a:moveTo>
                <a:cubicBezTo>
                  <a:pt x="1811" y="97"/>
                  <a:pt x="1815" y="98"/>
                  <a:pt x="1817" y="99"/>
                </a:cubicBezTo>
                <a:cubicBezTo>
                  <a:pt x="1819" y="100"/>
                  <a:pt x="1819" y="104"/>
                  <a:pt x="1819" y="104"/>
                </a:cubicBezTo>
                <a:cubicBezTo>
                  <a:pt x="1820" y="104"/>
                  <a:pt x="1830" y="106"/>
                  <a:pt x="1830" y="106"/>
                </a:cubicBezTo>
                <a:cubicBezTo>
                  <a:pt x="1846" y="105"/>
                  <a:pt x="1846" y="105"/>
                  <a:pt x="1846" y="105"/>
                </a:cubicBezTo>
                <a:cubicBezTo>
                  <a:pt x="1846" y="105"/>
                  <a:pt x="1833" y="104"/>
                  <a:pt x="1830" y="98"/>
                </a:cubicBezTo>
                <a:cubicBezTo>
                  <a:pt x="1826" y="93"/>
                  <a:pt x="1823" y="93"/>
                  <a:pt x="1826" y="88"/>
                </a:cubicBezTo>
                <a:cubicBezTo>
                  <a:pt x="1830" y="83"/>
                  <a:pt x="1826" y="83"/>
                  <a:pt x="1826" y="83"/>
                </a:cubicBezTo>
                <a:cubicBezTo>
                  <a:pt x="1831" y="82"/>
                  <a:pt x="1831" y="82"/>
                  <a:pt x="1831" y="82"/>
                </a:cubicBezTo>
                <a:cubicBezTo>
                  <a:pt x="1829" y="79"/>
                  <a:pt x="1829" y="79"/>
                  <a:pt x="1829" y="79"/>
                </a:cubicBezTo>
                <a:cubicBezTo>
                  <a:pt x="1834" y="80"/>
                  <a:pt x="1834" y="80"/>
                  <a:pt x="1834" y="80"/>
                </a:cubicBezTo>
                <a:cubicBezTo>
                  <a:pt x="1831" y="78"/>
                  <a:pt x="1831" y="78"/>
                  <a:pt x="1831" y="78"/>
                </a:cubicBezTo>
                <a:cubicBezTo>
                  <a:pt x="1835" y="79"/>
                  <a:pt x="1835" y="79"/>
                  <a:pt x="1835" y="79"/>
                </a:cubicBezTo>
                <a:cubicBezTo>
                  <a:pt x="1835" y="76"/>
                  <a:pt x="1835" y="76"/>
                  <a:pt x="1835" y="76"/>
                </a:cubicBezTo>
                <a:cubicBezTo>
                  <a:pt x="1833" y="75"/>
                  <a:pt x="1833" y="75"/>
                  <a:pt x="1833" y="75"/>
                </a:cubicBezTo>
                <a:cubicBezTo>
                  <a:pt x="1833" y="75"/>
                  <a:pt x="1838" y="76"/>
                  <a:pt x="1839" y="75"/>
                </a:cubicBezTo>
                <a:cubicBezTo>
                  <a:pt x="1840" y="74"/>
                  <a:pt x="1837" y="72"/>
                  <a:pt x="1837" y="72"/>
                </a:cubicBezTo>
                <a:cubicBezTo>
                  <a:pt x="1841" y="72"/>
                  <a:pt x="1841" y="72"/>
                  <a:pt x="1841" y="72"/>
                </a:cubicBezTo>
                <a:cubicBezTo>
                  <a:pt x="1841" y="68"/>
                  <a:pt x="1841" y="68"/>
                  <a:pt x="1841" y="68"/>
                </a:cubicBezTo>
                <a:cubicBezTo>
                  <a:pt x="1841" y="68"/>
                  <a:pt x="1844" y="71"/>
                  <a:pt x="1848" y="69"/>
                </a:cubicBezTo>
                <a:cubicBezTo>
                  <a:pt x="1852" y="68"/>
                  <a:pt x="1854" y="65"/>
                  <a:pt x="1854" y="65"/>
                </a:cubicBezTo>
                <a:cubicBezTo>
                  <a:pt x="1854" y="65"/>
                  <a:pt x="1884" y="60"/>
                  <a:pt x="1889" y="58"/>
                </a:cubicBezTo>
                <a:cubicBezTo>
                  <a:pt x="1893" y="56"/>
                  <a:pt x="1898" y="53"/>
                  <a:pt x="1891" y="51"/>
                </a:cubicBezTo>
                <a:cubicBezTo>
                  <a:pt x="1884" y="48"/>
                  <a:pt x="1877" y="52"/>
                  <a:pt x="1874" y="53"/>
                </a:cubicBezTo>
                <a:cubicBezTo>
                  <a:pt x="1871" y="54"/>
                  <a:pt x="1862" y="57"/>
                  <a:pt x="1857" y="57"/>
                </a:cubicBezTo>
                <a:cubicBezTo>
                  <a:pt x="1853" y="56"/>
                  <a:pt x="1847" y="56"/>
                  <a:pt x="1847" y="56"/>
                </a:cubicBezTo>
                <a:cubicBezTo>
                  <a:pt x="1844" y="59"/>
                  <a:pt x="1844" y="59"/>
                  <a:pt x="1844" y="59"/>
                </a:cubicBezTo>
                <a:cubicBezTo>
                  <a:pt x="1841" y="57"/>
                  <a:pt x="1841" y="57"/>
                  <a:pt x="1841" y="57"/>
                </a:cubicBezTo>
                <a:cubicBezTo>
                  <a:pt x="1833" y="60"/>
                  <a:pt x="1833" y="60"/>
                  <a:pt x="1833" y="60"/>
                </a:cubicBezTo>
                <a:cubicBezTo>
                  <a:pt x="1829" y="60"/>
                  <a:pt x="1829" y="60"/>
                  <a:pt x="1829" y="60"/>
                </a:cubicBezTo>
                <a:cubicBezTo>
                  <a:pt x="1825" y="63"/>
                  <a:pt x="1825" y="63"/>
                  <a:pt x="1825" y="63"/>
                </a:cubicBezTo>
                <a:cubicBezTo>
                  <a:pt x="1828" y="64"/>
                  <a:pt x="1828" y="64"/>
                  <a:pt x="1828" y="64"/>
                </a:cubicBezTo>
                <a:cubicBezTo>
                  <a:pt x="1821" y="64"/>
                  <a:pt x="1821" y="64"/>
                  <a:pt x="1821" y="64"/>
                </a:cubicBezTo>
                <a:cubicBezTo>
                  <a:pt x="1817" y="66"/>
                  <a:pt x="1817" y="66"/>
                  <a:pt x="1817" y="66"/>
                </a:cubicBezTo>
                <a:cubicBezTo>
                  <a:pt x="1818" y="67"/>
                  <a:pt x="1818" y="67"/>
                  <a:pt x="1818" y="67"/>
                </a:cubicBezTo>
                <a:cubicBezTo>
                  <a:pt x="1821" y="66"/>
                  <a:pt x="1821" y="66"/>
                  <a:pt x="1821" y="66"/>
                </a:cubicBezTo>
                <a:cubicBezTo>
                  <a:pt x="1821" y="67"/>
                  <a:pt x="1821" y="67"/>
                  <a:pt x="1821" y="67"/>
                </a:cubicBezTo>
                <a:cubicBezTo>
                  <a:pt x="1825" y="68"/>
                  <a:pt x="1825" y="68"/>
                  <a:pt x="1825" y="68"/>
                </a:cubicBezTo>
                <a:cubicBezTo>
                  <a:pt x="1824" y="70"/>
                  <a:pt x="1824" y="70"/>
                  <a:pt x="1824" y="70"/>
                </a:cubicBezTo>
                <a:cubicBezTo>
                  <a:pt x="1819" y="70"/>
                  <a:pt x="1819" y="70"/>
                  <a:pt x="1819" y="70"/>
                </a:cubicBezTo>
                <a:cubicBezTo>
                  <a:pt x="1818" y="71"/>
                  <a:pt x="1818" y="71"/>
                  <a:pt x="1818" y="71"/>
                </a:cubicBezTo>
                <a:cubicBezTo>
                  <a:pt x="1822" y="72"/>
                  <a:pt x="1822" y="72"/>
                  <a:pt x="1822" y="72"/>
                </a:cubicBezTo>
                <a:cubicBezTo>
                  <a:pt x="1815" y="72"/>
                  <a:pt x="1815" y="72"/>
                  <a:pt x="1815" y="72"/>
                </a:cubicBezTo>
                <a:cubicBezTo>
                  <a:pt x="1820" y="74"/>
                  <a:pt x="1820" y="74"/>
                  <a:pt x="1820" y="74"/>
                </a:cubicBezTo>
                <a:cubicBezTo>
                  <a:pt x="1814" y="74"/>
                  <a:pt x="1814" y="74"/>
                  <a:pt x="1814" y="74"/>
                </a:cubicBezTo>
                <a:cubicBezTo>
                  <a:pt x="1813" y="77"/>
                  <a:pt x="1813" y="77"/>
                  <a:pt x="1813" y="77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811" y="81"/>
                  <a:pt x="1811" y="81"/>
                  <a:pt x="1811" y="81"/>
                </a:cubicBezTo>
                <a:cubicBezTo>
                  <a:pt x="1816" y="78"/>
                  <a:pt x="1816" y="78"/>
                  <a:pt x="1816" y="78"/>
                </a:cubicBezTo>
                <a:cubicBezTo>
                  <a:pt x="1814" y="82"/>
                  <a:pt x="1814" y="82"/>
                  <a:pt x="1814" y="82"/>
                </a:cubicBezTo>
                <a:cubicBezTo>
                  <a:pt x="1814" y="82"/>
                  <a:pt x="1809" y="81"/>
                  <a:pt x="1808" y="82"/>
                </a:cubicBezTo>
                <a:cubicBezTo>
                  <a:pt x="1806" y="84"/>
                  <a:pt x="1808" y="85"/>
                  <a:pt x="1808" y="85"/>
                </a:cubicBezTo>
                <a:cubicBezTo>
                  <a:pt x="1801" y="86"/>
                  <a:pt x="1801" y="86"/>
                  <a:pt x="1801" y="86"/>
                </a:cubicBezTo>
                <a:cubicBezTo>
                  <a:pt x="1803" y="89"/>
                  <a:pt x="1803" y="89"/>
                  <a:pt x="1803" y="89"/>
                </a:cubicBezTo>
                <a:cubicBezTo>
                  <a:pt x="1807" y="87"/>
                  <a:pt x="1807" y="87"/>
                  <a:pt x="1807" y="87"/>
                </a:cubicBezTo>
                <a:cubicBezTo>
                  <a:pt x="1805" y="90"/>
                  <a:pt x="1805" y="90"/>
                  <a:pt x="1805" y="90"/>
                </a:cubicBezTo>
                <a:cubicBezTo>
                  <a:pt x="1805" y="90"/>
                  <a:pt x="1799" y="92"/>
                  <a:pt x="1800" y="94"/>
                </a:cubicBezTo>
                <a:cubicBezTo>
                  <a:pt x="1800" y="96"/>
                  <a:pt x="1806" y="97"/>
                  <a:pt x="1808" y="97"/>
                </a:cubicBezTo>
                <a:close/>
                <a:moveTo>
                  <a:pt x="1557" y="125"/>
                </a:moveTo>
                <a:cubicBezTo>
                  <a:pt x="1559" y="124"/>
                  <a:pt x="1562" y="124"/>
                  <a:pt x="1558" y="123"/>
                </a:cubicBezTo>
                <a:cubicBezTo>
                  <a:pt x="1554" y="122"/>
                  <a:pt x="1552" y="125"/>
                  <a:pt x="1552" y="125"/>
                </a:cubicBezTo>
                <a:cubicBezTo>
                  <a:pt x="1553" y="126"/>
                  <a:pt x="1553" y="126"/>
                  <a:pt x="1553" y="126"/>
                </a:cubicBezTo>
                <a:cubicBezTo>
                  <a:pt x="1557" y="125"/>
                  <a:pt x="1557" y="125"/>
                  <a:pt x="1557" y="125"/>
                </a:cubicBezTo>
                <a:cubicBezTo>
                  <a:pt x="1557" y="125"/>
                  <a:pt x="1557" y="125"/>
                  <a:pt x="1557" y="125"/>
                </a:cubicBezTo>
                <a:close/>
                <a:moveTo>
                  <a:pt x="1554" y="120"/>
                </a:moveTo>
                <a:cubicBezTo>
                  <a:pt x="1550" y="119"/>
                  <a:pt x="1548" y="122"/>
                  <a:pt x="1548" y="122"/>
                </a:cubicBezTo>
                <a:cubicBezTo>
                  <a:pt x="1552" y="123"/>
                  <a:pt x="1552" y="123"/>
                  <a:pt x="1552" y="123"/>
                </a:cubicBezTo>
                <a:cubicBezTo>
                  <a:pt x="1553" y="122"/>
                  <a:pt x="1558" y="120"/>
                  <a:pt x="1554" y="120"/>
                </a:cubicBezTo>
                <a:close/>
                <a:moveTo>
                  <a:pt x="1550" y="124"/>
                </a:moveTo>
                <a:cubicBezTo>
                  <a:pt x="1547" y="125"/>
                  <a:pt x="1547" y="125"/>
                  <a:pt x="1547" y="125"/>
                </a:cubicBezTo>
                <a:cubicBezTo>
                  <a:pt x="1548" y="128"/>
                  <a:pt x="1548" y="128"/>
                  <a:pt x="1548" y="128"/>
                </a:cubicBezTo>
                <a:cubicBezTo>
                  <a:pt x="1552" y="128"/>
                  <a:pt x="1552" y="128"/>
                  <a:pt x="1552" y="128"/>
                </a:cubicBezTo>
                <a:cubicBezTo>
                  <a:pt x="1551" y="126"/>
                  <a:pt x="1551" y="126"/>
                  <a:pt x="1551" y="126"/>
                </a:cubicBezTo>
                <a:cubicBezTo>
                  <a:pt x="1550" y="124"/>
                  <a:pt x="1550" y="124"/>
                  <a:pt x="1550" y="124"/>
                </a:cubicBezTo>
                <a:cubicBezTo>
                  <a:pt x="1550" y="124"/>
                  <a:pt x="1550" y="124"/>
                  <a:pt x="1550" y="124"/>
                </a:cubicBezTo>
                <a:close/>
                <a:moveTo>
                  <a:pt x="1545" y="122"/>
                </a:moveTo>
                <a:cubicBezTo>
                  <a:pt x="1543" y="123"/>
                  <a:pt x="1543" y="127"/>
                  <a:pt x="1543" y="127"/>
                </a:cubicBezTo>
                <a:cubicBezTo>
                  <a:pt x="1546" y="129"/>
                  <a:pt x="1546" y="129"/>
                  <a:pt x="1546" y="129"/>
                </a:cubicBezTo>
                <a:cubicBezTo>
                  <a:pt x="1546" y="129"/>
                  <a:pt x="1547" y="121"/>
                  <a:pt x="1545" y="122"/>
                </a:cubicBezTo>
                <a:close/>
                <a:moveTo>
                  <a:pt x="1561" y="121"/>
                </a:moveTo>
                <a:cubicBezTo>
                  <a:pt x="1565" y="120"/>
                  <a:pt x="1565" y="118"/>
                  <a:pt x="1566" y="118"/>
                </a:cubicBezTo>
                <a:cubicBezTo>
                  <a:pt x="1567" y="118"/>
                  <a:pt x="1566" y="116"/>
                  <a:pt x="1566" y="116"/>
                </a:cubicBezTo>
                <a:cubicBezTo>
                  <a:pt x="1560" y="119"/>
                  <a:pt x="1560" y="119"/>
                  <a:pt x="1560" y="119"/>
                </a:cubicBezTo>
                <a:cubicBezTo>
                  <a:pt x="1561" y="121"/>
                  <a:pt x="1561" y="121"/>
                  <a:pt x="1561" y="121"/>
                </a:cubicBezTo>
                <a:cubicBezTo>
                  <a:pt x="1561" y="121"/>
                  <a:pt x="1561" y="121"/>
                  <a:pt x="1561" y="121"/>
                </a:cubicBezTo>
                <a:close/>
                <a:moveTo>
                  <a:pt x="1580" y="113"/>
                </a:moveTo>
                <a:cubicBezTo>
                  <a:pt x="1582" y="112"/>
                  <a:pt x="1584" y="110"/>
                  <a:pt x="1581" y="110"/>
                </a:cubicBezTo>
                <a:cubicBezTo>
                  <a:pt x="1577" y="110"/>
                  <a:pt x="1580" y="113"/>
                  <a:pt x="1580" y="113"/>
                </a:cubicBezTo>
                <a:close/>
                <a:moveTo>
                  <a:pt x="1753" y="349"/>
                </a:move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lose/>
                <a:moveTo>
                  <a:pt x="1517" y="39"/>
                </a:moveTo>
                <a:cubicBezTo>
                  <a:pt x="1520" y="41"/>
                  <a:pt x="1525" y="41"/>
                  <a:pt x="1525" y="41"/>
                </a:cubicBezTo>
                <a:cubicBezTo>
                  <a:pt x="1520" y="38"/>
                  <a:pt x="1520" y="38"/>
                  <a:pt x="1520" y="38"/>
                </a:cubicBezTo>
                <a:cubicBezTo>
                  <a:pt x="1513" y="35"/>
                  <a:pt x="1513" y="35"/>
                  <a:pt x="1513" y="35"/>
                </a:cubicBezTo>
                <a:cubicBezTo>
                  <a:pt x="1512" y="38"/>
                  <a:pt x="1515" y="38"/>
                  <a:pt x="1517" y="39"/>
                </a:cubicBezTo>
                <a:close/>
                <a:moveTo>
                  <a:pt x="1408" y="222"/>
                </a:moveTo>
                <a:cubicBezTo>
                  <a:pt x="1407" y="224"/>
                  <a:pt x="1407" y="224"/>
                  <a:pt x="1407" y="224"/>
                </a:cubicBezTo>
                <a:cubicBezTo>
                  <a:pt x="1409" y="223"/>
                  <a:pt x="1409" y="223"/>
                  <a:pt x="1409" y="223"/>
                </a:cubicBezTo>
                <a:cubicBezTo>
                  <a:pt x="1408" y="222"/>
                  <a:pt x="1408" y="222"/>
                  <a:pt x="1408" y="222"/>
                </a:cubicBezTo>
                <a:cubicBezTo>
                  <a:pt x="1408" y="222"/>
                  <a:pt x="1408" y="222"/>
                  <a:pt x="1408" y="222"/>
                </a:cubicBezTo>
                <a:close/>
                <a:moveTo>
                  <a:pt x="1420" y="210"/>
                </a:moveTo>
                <a:cubicBezTo>
                  <a:pt x="1421" y="212"/>
                  <a:pt x="1421" y="212"/>
                  <a:pt x="1421" y="212"/>
                </a:cubicBezTo>
                <a:cubicBezTo>
                  <a:pt x="1422" y="213"/>
                  <a:pt x="1423" y="208"/>
                  <a:pt x="1423" y="208"/>
                </a:cubicBezTo>
                <a:cubicBezTo>
                  <a:pt x="1423" y="207"/>
                  <a:pt x="1421" y="205"/>
                  <a:pt x="1421" y="205"/>
                </a:cubicBezTo>
                <a:cubicBezTo>
                  <a:pt x="1421" y="207"/>
                  <a:pt x="1421" y="207"/>
                  <a:pt x="1421" y="207"/>
                </a:cubicBezTo>
                <a:cubicBezTo>
                  <a:pt x="1421" y="207"/>
                  <a:pt x="1418" y="208"/>
                  <a:pt x="1418" y="209"/>
                </a:cubicBezTo>
                <a:cubicBezTo>
                  <a:pt x="1418" y="210"/>
                  <a:pt x="1420" y="210"/>
                  <a:pt x="1420" y="210"/>
                </a:cubicBezTo>
                <a:close/>
                <a:moveTo>
                  <a:pt x="1406" y="220"/>
                </a:moveTo>
                <a:cubicBezTo>
                  <a:pt x="1404" y="219"/>
                  <a:pt x="1404" y="222"/>
                  <a:pt x="1404" y="222"/>
                </a:cubicBezTo>
                <a:cubicBezTo>
                  <a:pt x="1406" y="223"/>
                  <a:pt x="1408" y="222"/>
                  <a:pt x="1406" y="220"/>
                </a:cubicBezTo>
                <a:close/>
                <a:moveTo>
                  <a:pt x="1426" y="203"/>
                </a:moveTo>
                <a:cubicBezTo>
                  <a:pt x="1424" y="203"/>
                  <a:pt x="1424" y="205"/>
                  <a:pt x="1424" y="205"/>
                </a:cubicBezTo>
                <a:cubicBezTo>
                  <a:pt x="1426" y="206"/>
                  <a:pt x="1427" y="203"/>
                  <a:pt x="1426" y="203"/>
                </a:cubicBezTo>
                <a:close/>
                <a:moveTo>
                  <a:pt x="1600" y="108"/>
                </a:moveTo>
                <a:cubicBezTo>
                  <a:pt x="1603" y="108"/>
                  <a:pt x="1603" y="108"/>
                  <a:pt x="1603" y="108"/>
                </a:cubicBezTo>
                <a:cubicBezTo>
                  <a:pt x="1604" y="107"/>
                  <a:pt x="1604" y="105"/>
                  <a:pt x="1604" y="105"/>
                </a:cubicBezTo>
                <a:cubicBezTo>
                  <a:pt x="1600" y="106"/>
                  <a:pt x="1600" y="106"/>
                  <a:pt x="1600" y="106"/>
                </a:cubicBezTo>
                <a:cubicBezTo>
                  <a:pt x="1600" y="108"/>
                  <a:pt x="1600" y="108"/>
                  <a:pt x="1600" y="108"/>
                </a:cubicBezTo>
                <a:cubicBezTo>
                  <a:pt x="1600" y="108"/>
                  <a:pt x="1600" y="108"/>
                  <a:pt x="1600" y="108"/>
                </a:cubicBezTo>
                <a:close/>
                <a:moveTo>
                  <a:pt x="1643" y="455"/>
                </a:moveTo>
                <a:cubicBezTo>
                  <a:pt x="1642" y="456"/>
                  <a:pt x="1643" y="457"/>
                  <a:pt x="1644" y="457"/>
                </a:cubicBezTo>
                <a:cubicBezTo>
                  <a:pt x="1646" y="456"/>
                  <a:pt x="1644" y="454"/>
                  <a:pt x="1643" y="455"/>
                </a:cubicBezTo>
                <a:close/>
                <a:moveTo>
                  <a:pt x="1539" y="128"/>
                </a:moveTo>
                <a:cubicBezTo>
                  <a:pt x="1536" y="128"/>
                  <a:pt x="1531" y="132"/>
                  <a:pt x="1532" y="133"/>
                </a:cubicBezTo>
                <a:cubicBezTo>
                  <a:pt x="1533" y="133"/>
                  <a:pt x="1538" y="130"/>
                  <a:pt x="1538" y="130"/>
                </a:cubicBezTo>
                <a:cubicBezTo>
                  <a:pt x="1543" y="129"/>
                  <a:pt x="1543" y="129"/>
                  <a:pt x="1543" y="129"/>
                </a:cubicBezTo>
                <a:cubicBezTo>
                  <a:pt x="1543" y="129"/>
                  <a:pt x="1543" y="128"/>
                  <a:pt x="1539" y="128"/>
                </a:cubicBezTo>
                <a:close/>
                <a:moveTo>
                  <a:pt x="1608" y="452"/>
                </a:moveTo>
                <a:cubicBezTo>
                  <a:pt x="1606" y="453"/>
                  <a:pt x="1611" y="454"/>
                  <a:pt x="1611" y="454"/>
                </a:cubicBezTo>
                <a:cubicBezTo>
                  <a:pt x="1612" y="454"/>
                  <a:pt x="1610" y="450"/>
                  <a:pt x="1608" y="452"/>
                </a:cubicBezTo>
                <a:close/>
                <a:moveTo>
                  <a:pt x="1605" y="448"/>
                </a:moveTo>
                <a:cubicBezTo>
                  <a:pt x="1611" y="449"/>
                  <a:pt x="1611" y="449"/>
                  <a:pt x="1611" y="449"/>
                </a:cubicBezTo>
                <a:cubicBezTo>
                  <a:pt x="1608" y="445"/>
                  <a:pt x="1608" y="445"/>
                  <a:pt x="1608" y="445"/>
                </a:cubicBezTo>
                <a:cubicBezTo>
                  <a:pt x="1605" y="448"/>
                  <a:pt x="1605" y="448"/>
                  <a:pt x="1605" y="448"/>
                </a:cubicBezTo>
                <a:cubicBezTo>
                  <a:pt x="1605" y="448"/>
                  <a:pt x="1605" y="448"/>
                  <a:pt x="1605" y="448"/>
                </a:cubicBezTo>
                <a:close/>
                <a:moveTo>
                  <a:pt x="1634" y="457"/>
                </a:moveTo>
                <a:cubicBezTo>
                  <a:pt x="1636" y="456"/>
                  <a:pt x="1636" y="456"/>
                  <a:pt x="1636" y="456"/>
                </a:cubicBezTo>
                <a:cubicBezTo>
                  <a:pt x="1636" y="456"/>
                  <a:pt x="1634" y="455"/>
                  <a:pt x="1632" y="453"/>
                </a:cubicBezTo>
                <a:cubicBezTo>
                  <a:pt x="1630" y="451"/>
                  <a:pt x="1621" y="447"/>
                  <a:pt x="1621" y="447"/>
                </a:cubicBezTo>
                <a:cubicBezTo>
                  <a:pt x="1618" y="449"/>
                  <a:pt x="1618" y="449"/>
                  <a:pt x="1618" y="449"/>
                </a:cubicBezTo>
                <a:cubicBezTo>
                  <a:pt x="1616" y="449"/>
                  <a:pt x="1616" y="449"/>
                  <a:pt x="1616" y="449"/>
                </a:cubicBezTo>
                <a:cubicBezTo>
                  <a:pt x="1614" y="452"/>
                  <a:pt x="1614" y="452"/>
                  <a:pt x="1614" y="452"/>
                </a:cubicBezTo>
                <a:cubicBezTo>
                  <a:pt x="1618" y="455"/>
                  <a:pt x="1618" y="455"/>
                  <a:pt x="1618" y="455"/>
                </a:cubicBezTo>
                <a:cubicBezTo>
                  <a:pt x="1618" y="455"/>
                  <a:pt x="1617" y="459"/>
                  <a:pt x="1617" y="461"/>
                </a:cubicBezTo>
                <a:cubicBezTo>
                  <a:pt x="1617" y="463"/>
                  <a:pt x="1621" y="464"/>
                  <a:pt x="1621" y="463"/>
                </a:cubicBezTo>
                <a:cubicBezTo>
                  <a:pt x="1622" y="461"/>
                  <a:pt x="1624" y="461"/>
                  <a:pt x="1624" y="461"/>
                </a:cubicBezTo>
                <a:cubicBezTo>
                  <a:pt x="1627" y="467"/>
                  <a:pt x="1627" y="467"/>
                  <a:pt x="1627" y="467"/>
                </a:cubicBezTo>
                <a:cubicBezTo>
                  <a:pt x="1628" y="463"/>
                  <a:pt x="1628" y="463"/>
                  <a:pt x="1628" y="463"/>
                </a:cubicBezTo>
                <a:cubicBezTo>
                  <a:pt x="1630" y="466"/>
                  <a:pt x="1630" y="466"/>
                  <a:pt x="1630" y="466"/>
                </a:cubicBezTo>
                <a:cubicBezTo>
                  <a:pt x="1633" y="467"/>
                  <a:pt x="1633" y="467"/>
                  <a:pt x="1633" y="467"/>
                </a:cubicBezTo>
                <a:cubicBezTo>
                  <a:pt x="1631" y="465"/>
                  <a:pt x="1631" y="465"/>
                  <a:pt x="1631" y="465"/>
                </a:cubicBezTo>
                <a:cubicBezTo>
                  <a:pt x="1632" y="464"/>
                  <a:pt x="1632" y="464"/>
                  <a:pt x="1632" y="464"/>
                </a:cubicBezTo>
                <a:cubicBezTo>
                  <a:pt x="1632" y="461"/>
                  <a:pt x="1632" y="461"/>
                  <a:pt x="1632" y="461"/>
                </a:cubicBezTo>
                <a:cubicBezTo>
                  <a:pt x="1632" y="461"/>
                  <a:pt x="1628" y="456"/>
                  <a:pt x="1629" y="455"/>
                </a:cubicBezTo>
                <a:cubicBezTo>
                  <a:pt x="1629" y="453"/>
                  <a:pt x="1634" y="457"/>
                  <a:pt x="1634" y="457"/>
                </a:cubicBezTo>
                <a:close/>
                <a:moveTo>
                  <a:pt x="1643" y="439"/>
                </a:moveTo>
                <a:cubicBezTo>
                  <a:pt x="1643" y="439"/>
                  <a:pt x="1642" y="441"/>
                  <a:pt x="1645" y="441"/>
                </a:cubicBezTo>
                <a:cubicBezTo>
                  <a:pt x="1643" y="439"/>
                  <a:pt x="1643" y="439"/>
                  <a:pt x="1643" y="439"/>
                </a:cubicBezTo>
                <a:cubicBezTo>
                  <a:pt x="1643" y="439"/>
                  <a:pt x="1643" y="439"/>
                  <a:pt x="1643" y="439"/>
                </a:cubicBezTo>
                <a:close/>
                <a:moveTo>
                  <a:pt x="1631" y="469"/>
                </a:moveTo>
                <a:cubicBezTo>
                  <a:pt x="1630" y="469"/>
                  <a:pt x="1631" y="473"/>
                  <a:pt x="1632" y="471"/>
                </a:cubicBezTo>
                <a:cubicBezTo>
                  <a:pt x="1634" y="470"/>
                  <a:pt x="1632" y="468"/>
                  <a:pt x="1631" y="469"/>
                </a:cubicBezTo>
                <a:close/>
                <a:moveTo>
                  <a:pt x="1549" y="471"/>
                </a:moveTo>
                <a:cubicBezTo>
                  <a:pt x="1548" y="474"/>
                  <a:pt x="1552" y="475"/>
                  <a:pt x="1552" y="475"/>
                </a:cubicBezTo>
                <a:cubicBezTo>
                  <a:pt x="1555" y="472"/>
                  <a:pt x="1551" y="468"/>
                  <a:pt x="1549" y="471"/>
                </a:cubicBezTo>
                <a:close/>
                <a:moveTo>
                  <a:pt x="1433" y="438"/>
                </a:moveTo>
                <a:cubicBezTo>
                  <a:pt x="1432" y="436"/>
                  <a:pt x="1430" y="441"/>
                  <a:pt x="1430" y="441"/>
                </a:cubicBezTo>
                <a:cubicBezTo>
                  <a:pt x="1432" y="442"/>
                  <a:pt x="1434" y="440"/>
                  <a:pt x="1433" y="438"/>
                </a:cubicBezTo>
                <a:close/>
                <a:moveTo>
                  <a:pt x="1458" y="431"/>
                </a:moveTo>
                <a:cubicBezTo>
                  <a:pt x="1460" y="429"/>
                  <a:pt x="1456" y="426"/>
                  <a:pt x="1454" y="427"/>
                </a:cubicBezTo>
                <a:cubicBezTo>
                  <a:pt x="1454" y="427"/>
                  <a:pt x="1456" y="432"/>
                  <a:pt x="1458" y="431"/>
                </a:cubicBezTo>
                <a:close/>
                <a:moveTo>
                  <a:pt x="1506" y="395"/>
                </a:moveTo>
                <a:cubicBezTo>
                  <a:pt x="1505" y="393"/>
                  <a:pt x="1503" y="397"/>
                  <a:pt x="1503" y="397"/>
                </a:cubicBezTo>
                <a:cubicBezTo>
                  <a:pt x="1503" y="397"/>
                  <a:pt x="1497" y="400"/>
                  <a:pt x="1498" y="403"/>
                </a:cubicBezTo>
                <a:cubicBezTo>
                  <a:pt x="1498" y="406"/>
                  <a:pt x="1500" y="407"/>
                  <a:pt x="1500" y="407"/>
                </a:cubicBezTo>
                <a:cubicBezTo>
                  <a:pt x="1500" y="407"/>
                  <a:pt x="1498" y="409"/>
                  <a:pt x="1500" y="411"/>
                </a:cubicBezTo>
                <a:cubicBezTo>
                  <a:pt x="1501" y="412"/>
                  <a:pt x="1503" y="413"/>
                  <a:pt x="1503" y="413"/>
                </a:cubicBezTo>
                <a:cubicBezTo>
                  <a:pt x="1503" y="413"/>
                  <a:pt x="1505" y="411"/>
                  <a:pt x="1505" y="409"/>
                </a:cubicBezTo>
                <a:cubicBezTo>
                  <a:pt x="1505" y="406"/>
                  <a:pt x="1505" y="406"/>
                  <a:pt x="1505" y="406"/>
                </a:cubicBezTo>
                <a:cubicBezTo>
                  <a:pt x="1507" y="405"/>
                  <a:pt x="1507" y="405"/>
                  <a:pt x="1507" y="405"/>
                </a:cubicBezTo>
                <a:cubicBezTo>
                  <a:pt x="1506" y="398"/>
                  <a:pt x="1506" y="398"/>
                  <a:pt x="1506" y="398"/>
                </a:cubicBezTo>
                <a:cubicBezTo>
                  <a:pt x="1505" y="398"/>
                  <a:pt x="1505" y="398"/>
                  <a:pt x="1505" y="398"/>
                </a:cubicBezTo>
                <a:cubicBezTo>
                  <a:pt x="1505" y="398"/>
                  <a:pt x="1507" y="396"/>
                  <a:pt x="1506" y="395"/>
                </a:cubicBezTo>
                <a:close/>
                <a:moveTo>
                  <a:pt x="1443" y="433"/>
                </a:moveTo>
                <a:cubicBezTo>
                  <a:pt x="1443" y="433"/>
                  <a:pt x="1444" y="435"/>
                  <a:pt x="1445" y="435"/>
                </a:cubicBezTo>
                <a:cubicBezTo>
                  <a:pt x="1446" y="436"/>
                  <a:pt x="1448" y="436"/>
                  <a:pt x="1448" y="436"/>
                </a:cubicBezTo>
                <a:cubicBezTo>
                  <a:pt x="1449" y="435"/>
                  <a:pt x="1451" y="433"/>
                  <a:pt x="1451" y="432"/>
                </a:cubicBezTo>
                <a:cubicBezTo>
                  <a:pt x="1450" y="430"/>
                  <a:pt x="1449" y="430"/>
                  <a:pt x="1449" y="430"/>
                </a:cubicBezTo>
                <a:cubicBezTo>
                  <a:pt x="1449" y="430"/>
                  <a:pt x="1448" y="429"/>
                  <a:pt x="1447" y="429"/>
                </a:cubicBezTo>
                <a:cubicBezTo>
                  <a:pt x="1445" y="429"/>
                  <a:pt x="1441" y="432"/>
                  <a:pt x="1441" y="433"/>
                </a:cubicBezTo>
                <a:cubicBezTo>
                  <a:pt x="1442" y="434"/>
                  <a:pt x="1443" y="433"/>
                  <a:pt x="1443" y="433"/>
                </a:cubicBezTo>
                <a:close/>
                <a:moveTo>
                  <a:pt x="1560" y="452"/>
                </a:moveTo>
                <a:cubicBezTo>
                  <a:pt x="1561" y="451"/>
                  <a:pt x="1560" y="447"/>
                  <a:pt x="1560" y="447"/>
                </a:cubicBezTo>
                <a:cubicBezTo>
                  <a:pt x="1559" y="449"/>
                  <a:pt x="1559" y="449"/>
                  <a:pt x="1559" y="449"/>
                </a:cubicBezTo>
                <a:cubicBezTo>
                  <a:pt x="1559" y="449"/>
                  <a:pt x="1556" y="448"/>
                  <a:pt x="1555" y="448"/>
                </a:cubicBezTo>
                <a:cubicBezTo>
                  <a:pt x="1553" y="449"/>
                  <a:pt x="1551" y="450"/>
                  <a:pt x="1551" y="450"/>
                </a:cubicBezTo>
                <a:cubicBezTo>
                  <a:pt x="1551" y="450"/>
                  <a:pt x="1547" y="451"/>
                  <a:pt x="1546" y="451"/>
                </a:cubicBezTo>
                <a:cubicBezTo>
                  <a:pt x="1544" y="451"/>
                  <a:pt x="1541" y="447"/>
                  <a:pt x="1540" y="448"/>
                </a:cubicBezTo>
                <a:cubicBezTo>
                  <a:pt x="1540" y="449"/>
                  <a:pt x="1538" y="450"/>
                  <a:pt x="1538" y="450"/>
                </a:cubicBezTo>
                <a:cubicBezTo>
                  <a:pt x="1535" y="449"/>
                  <a:pt x="1535" y="449"/>
                  <a:pt x="1535" y="449"/>
                </a:cubicBezTo>
                <a:cubicBezTo>
                  <a:pt x="1535" y="449"/>
                  <a:pt x="1531" y="450"/>
                  <a:pt x="1533" y="452"/>
                </a:cubicBezTo>
                <a:cubicBezTo>
                  <a:pt x="1535" y="456"/>
                  <a:pt x="1538" y="455"/>
                  <a:pt x="1539" y="455"/>
                </a:cubicBezTo>
                <a:cubicBezTo>
                  <a:pt x="1540" y="455"/>
                  <a:pt x="1541" y="457"/>
                  <a:pt x="1541" y="458"/>
                </a:cubicBezTo>
                <a:cubicBezTo>
                  <a:pt x="1542" y="459"/>
                  <a:pt x="1546" y="461"/>
                  <a:pt x="1546" y="461"/>
                </a:cubicBezTo>
                <a:cubicBezTo>
                  <a:pt x="1549" y="460"/>
                  <a:pt x="1549" y="460"/>
                  <a:pt x="1549" y="460"/>
                </a:cubicBezTo>
                <a:cubicBezTo>
                  <a:pt x="1549" y="460"/>
                  <a:pt x="1552" y="464"/>
                  <a:pt x="1556" y="465"/>
                </a:cubicBezTo>
                <a:cubicBezTo>
                  <a:pt x="1560" y="465"/>
                  <a:pt x="1559" y="461"/>
                  <a:pt x="1559" y="461"/>
                </a:cubicBezTo>
                <a:cubicBezTo>
                  <a:pt x="1559" y="461"/>
                  <a:pt x="1558" y="458"/>
                  <a:pt x="1558" y="456"/>
                </a:cubicBezTo>
                <a:cubicBezTo>
                  <a:pt x="1558" y="455"/>
                  <a:pt x="1559" y="453"/>
                  <a:pt x="1560" y="452"/>
                </a:cubicBezTo>
                <a:close/>
                <a:moveTo>
                  <a:pt x="1494" y="416"/>
                </a:moveTo>
                <a:cubicBezTo>
                  <a:pt x="1493" y="418"/>
                  <a:pt x="1493" y="418"/>
                  <a:pt x="1493" y="418"/>
                </a:cubicBezTo>
                <a:cubicBezTo>
                  <a:pt x="1493" y="418"/>
                  <a:pt x="1497" y="421"/>
                  <a:pt x="1497" y="423"/>
                </a:cubicBezTo>
                <a:cubicBezTo>
                  <a:pt x="1497" y="425"/>
                  <a:pt x="1496" y="429"/>
                  <a:pt x="1496" y="429"/>
                </a:cubicBezTo>
                <a:cubicBezTo>
                  <a:pt x="1497" y="430"/>
                  <a:pt x="1497" y="430"/>
                  <a:pt x="1497" y="430"/>
                </a:cubicBezTo>
                <a:cubicBezTo>
                  <a:pt x="1495" y="431"/>
                  <a:pt x="1495" y="431"/>
                  <a:pt x="1495" y="431"/>
                </a:cubicBezTo>
                <a:cubicBezTo>
                  <a:pt x="1496" y="438"/>
                  <a:pt x="1496" y="438"/>
                  <a:pt x="1496" y="438"/>
                </a:cubicBezTo>
                <a:cubicBezTo>
                  <a:pt x="1494" y="438"/>
                  <a:pt x="1494" y="438"/>
                  <a:pt x="1494" y="438"/>
                </a:cubicBezTo>
                <a:cubicBezTo>
                  <a:pt x="1497" y="440"/>
                  <a:pt x="1497" y="440"/>
                  <a:pt x="1497" y="440"/>
                </a:cubicBezTo>
                <a:cubicBezTo>
                  <a:pt x="1500" y="440"/>
                  <a:pt x="1502" y="436"/>
                  <a:pt x="1502" y="436"/>
                </a:cubicBezTo>
                <a:cubicBezTo>
                  <a:pt x="1502" y="436"/>
                  <a:pt x="1504" y="439"/>
                  <a:pt x="1506" y="437"/>
                </a:cubicBezTo>
                <a:cubicBezTo>
                  <a:pt x="1508" y="436"/>
                  <a:pt x="1507" y="432"/>
                  <a:pt x="1507" y="432"/>
                </a:cubicBezTo>
                <a:cubicBezTo>
                  <a:pt x="1508" y="430"/>
                  <a:pt x="1508" y="430"/>
                  <a:pt x="1508" y="430"/>
                </a:cubicBezTo>
                <a:cubicBezTo>
                  <a:pt x="1508" y="427"/>
                  <a:pt x="1508" y="427"/>
                  <a:pt x="1508" y="427"/>
                </a:cubicBezTo>
                <a:cubicBezTo>
                  <a:pt x="1508" y="427"/>
                  <a:pt x="1507" y="426"/>
                  <a:pt x="1507" y="425"/>
                </a:cubicBezTo>
                <a:cubicBezTo>
                  <a:pt x="1507" y="424"/>
                  <a:pt x="1509" y="424"/>
                  <a:pt x="1509" y="423"/>
                </a:cubicBezTo>
                <a:cubicBezTo>
                  <a:pt x="1509" y="421"/>
                  <a:pt x="1507" y="414"/>
                  <a:pt x="1505" y="414"/>
                </a:cubicBezTo>
                <a:cubicBezTo>
                  <a:pt x="1502" y="414"/>
                  <a:pt x="1500" y="418"/>
                  <a:pt x="1498" y="418"/>
                </a:cubicBezTo>
                <a:cubicBezTo>
                  <a:pt x="1497" y="418"/>
                  <a:pt x="1494" y="416"/>
                  <a:pt x="1494" y="416"/>
                </a:cubicBezTo>
                <a:close/>
                <a:moveTo>
                  <a:pt x="891" y="134"/>
                </a:moveTo>
                <a:cubicBezTo>
                  <a:pt x="900" y="133"/>
                  <a:pt x="900" y="133"/>
                  <a:pt x="900" y="133"/>
                </a:cubicBezTo>
                <a:cubicBezTo>
                  <a:pt x="900" y="131"/>
                  <a:pt x="900" y="131"/>
                  <a:pt x="900" y="131"/>
                </a:cubicBezTo>
                <a:cubicBezTo>
                  <a:pt x="894" y="131"/>
                  <a:pt x="894" y="131"/>
                  <a:pt x="894" y="131"/>
                </a:cubicBezTo>
                <a:cubicBezTo>
                  <a:pt x="891" y="134"/>
                  <a:pt x="891" y="134"/>
                  <a:pt x="891" y="134"/>
                </a:cubicBezTo>
                <a:cubicBezTo>
                  <a:pt x="891" y="134"/>
                  <a:pt x="891" y="134"/>
                  <a:pt x="891" y="134"/>
                </a:cubicBezTo>
                <a:close/>
                <a:moveTo>
                  <a:pt x="891" y="125"/>
                </a:moveTo>
                <a:cubicBezTo>
                  <a:pt x="886" y="123"/>
                  <a:pt x="891" y="127"/>
                  <a:pt x="891" y="127"/>
                </a:cubicBezTo>
                <a:cubicBezTo>
                  <a:pt x="895" y="127"/>
                  <a:pt x="897" y="126"/>
                  <a:pt x="891" y="125"/>
                </a:cubicBezTo>
                <a:close/>
                <a:moveTo>
                  <a:pt x="796" y="84"/>
                </a:moveTo>
                <a:cubicBezTo>
                  <a:pt x="801" y="83"/>
                  <a:pt x="805" y="87"/>
                  <a:pt x="805" y="87"/>
                </a:cubicBezTo>
                <a:cubicBezTo>
                  <a:pt x="813" y="86"/>
                  <a:pt x="813" y="86"/>
                  <a:pt x="813" y="86"/>
                </a:cubicBezTo>
                <a:cubicBezTo>
                  <a:pt x="812" y="83"/>
                  <a:pt x="812" y="83"/>
                  <a:pt x="812" y="83"/>
                </a:cubicBezTo>
                <a:cubicBezTo>
                  <a:pt x="812" y="83"/>
                  <a:pt x="822" y="83"/>
                  <a:pt x="824" y="80"/>
                </a:cubicBezTo>
                <a:cubicBezTo>
                  <a:pt x="826" y="78"/>
                  <a:pt x="830" y="75"/>
                  <a:pt x="827" y="75"/>
                </a:cubicBezTo>
                <a:cubicBezTo>
                  <a:pt x="824" y="75"/>
                  <a:pt x="808" y="73"/>
                  <a:pt x="799" y="74"/>
                </a:cubicBezTo>
                <a:cubicBezTo>
                  <a:pt x="791" y="74"/>
                  <a:pt x="794" y="74"/>
                  <a:pt x="793" y="75"/>
                </a:cubicBezTo>
                <a:cubicBezTo>
                  <a:pt x="793" y="77"/>
                  <a:pt x="790" y="78"/>
                  <a:pt x="783" y="80"/>
                </a:cubicBezTo>
                <a:cubicBezTo>
                  <a:pt x="776" y="81"/>
                  <a:pt x="783" y="81"/>
                  <a:pt x="782" y="86"/>
                </a:cubicBezTo>
                <a:cubicBezTo>
                  <a:pt x="780" y="89"/>
                  <a:pt x="780" y="89"/>
                  <a:pt x="780" y="89"/>
                </a:cubicBezTo>
                <a:cubicBezTo>
                  <a:pt x="784" y="92"/>
                  <a:pt x="784" y="92"/>
                  <a:pt x="784" y="92"/>
                </a:cubicBezTo>
                <a:cubicBezTo>
                  <a:pt x="795" y="87"/>
                  <a:pt x="795" y="87"/>
                  <a:pt x="795" y="87"/>
                </a:cubicBezTo>
                <a:cubicBezTo>
                  <a:pt x="795" y="87"/>
                  <a:pt x="791" y="86"/>
                  <a:pt x="796" y="84"/>
                </a:cubicBezTo>
                <a:close/>
                <a:moveTo>
                  <a:pt x="869" y="120"/>
                </a:moveTo>
                <a:cubicBezTo>
                  <a:pt x="866" y="121"/>
                  <a:pt x="861" y="123"/>
                  <a:pt x="866" y="122"/>
                </a:cubicBezTo>
                <a:cubicBezTo>
                  <a:pt x="871" y="121"/>
                  <a:pt x="875" y="120"/>
                  <a:pt x="875" y="120"/>
                </a:cubicBezTo>
                <a:cubicBezTo>
                  <a:pt x="880" y="116"/>
                  <a:pt x="873" y="119"/>
                  <a:pt x="869" y="120"/>
                </a:cubicBezTo>
                <a:close/>
                <a:moveTo>
                  <a:pt x="813" y="71"/>
                </a:moveTo>
                <a:cubicBezTo>
                  <a:pt x="816" y="69"/>
                  <a:pt x="821" y="65"/>
                  <a:pt x="820" y="63"/>
                </a:cubicBezTo>
                <a:cubicBezTo>
                  <a:pt x="819" y="62"/>
                  <a:pt x="812" y="62"/>
                  <a:pt x="810" y="62"/>
                </a:cubicBezTo>
                <a:cubicBezTo>
                  <a:pt x="805" y="63"/>
                  <a:pt x="796" y="66"/>
                  <a:pt x="798" y="67"/>
                </a:cubicBezTo>
                <a:cubicBezTo>
                  <a:pt x="801" y="69"/>
                  <a:pt x="813" y="71"/>
                  <a:pt x="813" y="71"/>
                </a:cubicBezTo>
                <a:close/>
                <a:moveTo>
                  <a:pt x="885" y="118"/>
                </a:moveTo>
                <a:cubicBezTo>
                  <a:pt x="882" y="116"/>
                  <a:pt x="880" y="120"/>
                  <a:pt x="882" y="121"/>
                </a:cubicBezTo>
                <a:cubicBezTo>
                  <a:pt x="882" y="121"/>
                  <a:pt x="888" y="119"/>
                  <a:pt x="885" y="118"/>
                </a:cubicBezTo>
                <a:close/>
                <a:moveTo>
                  <a:pt x="845" y="177"/>
                </a:moveTo>
                <a:cubicBezTo>
                  <a:pt x="847" y="175"/>
                  <a:pt x="841" y="174"/>
                  <a:pt x="841" y="174"/>
                </a:cubicBezTo>
                <a:cubicBezTo>
                  <a:pt x="841" y="174"/>
                  <a:pt x="841" y="180"/>
                  <a:pt x="845" y="177"/>
                </a:cubicBezTo>
                <a:close/>
                <a:moveTo>
                  <a:pt x="872" y="138"/>
                </a:moveTo>
                <a:cubicBezTo>
                  <a:pt x="880" y="139"/>
                  <a:pt x="882" y="137"/>
                  <a:pt x="885" y="135"/>
                </a:cubicBezTo>
                <a:cubicBezTo>
                  <a:pt x="888" y="133"/>
                  <a:pt x="887" y="130"/>
                  <a:pt x="884" y="129"/>
                </a:cubicBezTo>
                <a:cubicBezTo>
                  <a:pt x="881" y="129"/>
                  <a:pt x="875" y="130"/>
                  <a:pt x="875" y="130"/>
                </a:cubicBezTo>
                <a:cubicBezTo>
                  <a:pt x="867" y="135"/>
                  <a:pt x="865" y="136"/>
                  <a:pt x="872" y="138"/>
                </a:cubicBezTo>
                <a:close/>
                <a:moveTo>
                  <a:pt x="46" y="274"/>
                </a:moveTo>
                <a:cubicBezTo>
                  <a:pt x="46" y="271"/>
                  <a:pt x="46" y="271"/>
                  <a:pt x="46" y="271"/>
                </a:cubicBezTo>
                <a:cubicBezTo>
                  <a:pt x="39" y="274"/>
                  <a:pt x="39" y="274"/>
                  <a:pt x="39" y="274"/>
                </a:cubicBezTo>
                <a:cubicBezTo>
                  <a:pt x="46" y="274"/>
                  <a:pt x="46" y="274"/>
                  <a:pt x="46" y="274"/>
                </a:cubicBezTo>
                <a:cubicBezTo>
                  <a:pt x="46" y="274"/>
                  <a:pt x="46" y="274"/>
                  <a:pt x="46" y="274"/>
                </a:cubicBezTo>
                <a:close/>
                <a:moveTo>
                  <a:pt x="0" y="286"/>
                </a:moveTo>
                <a:cubicBezTo>
                  <a:pt x="9" y="284"/>
                  <a:pt x="9" y="284"/>
                  <a:pt x="9" y="284"/>
                </a:cubicBezTo>
                <a:cubicBezTo>
                  <a:pt x="10" y="282"/>
                  <a:pt x="10" y="282"/>
                  <a:pt x="10" y="282"/>
                </a:cubicBezTo>
                <a:cubicBezTo>
                  <a:pt x="19" y="281"/>
                  <a:pt x="19" y="281"/>
                  <a:pt x="19" y="281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0" y="286"/>
                  <a:pt x="0" y="286"/>
                  <a:pt x="0" y="286"/>
                </a:cubicBezTo>
                <a:cubicBezTo>
                  <a:pt x="0" y="286"/>
                  <a:pt x="0" y="286"/>
                  <a:pt x="0" y="286"/>
                </a:cubicBezTo>
                <a:close/>
                <a:moveTo>
                  <a:pt x="110" y="214"/>
                </a:moveTo>
                <a:cubicBezTo>
                  <a:pt x="114" y="213"/>
                  <a:pt x="124" y="209"/>
                  <a:pt x="121" y="208"/>
                </a:cubicBezTo>
                <a:cubicBezTo>
                  <a:pt x="117" y="207"/>
                  <a:pt x="113" y="206"/>
                  <a:pt x="112" y="208"/>
                </a:cubicBezTo>
                <a:cubicBezTo>
                  <a:pt x="110" y="209"/>
                  <a:pt x="108" y="206"/>
                  <a:pt x="107" y="208"/>
                </a:cubicBezTo>
                <a:cubicBezTo>
                  <a:pt x="106" y="211"/>
                  <a:pt x="107" y="214"/>
                  <a:pt x="110" y="214"/>
                </a:cubicBezTo>
                <a:close/>
                <a:moveTo>
                  <a:pt x="22" y="280"/>
                </a:moveTo>
                <a:cubicBezTo>
                  <a:pt x="28" y="280"/>
                  <a:pt x="28" y="280"/>
                  <a:pt x="28" y="280"/>
                </a:cubicBezTo>
                <a:cubicBezTo>
                  <a:pt x="34" y="276"/>
                  <a:pt x="34" y="276"/>
                  <a:pt x="34" y="276"/>
                </a:cubicBezTo>
                <a:cubicBezTo>
                  <a:pt x="32" y="274"/>
                  <a:pt x="32" y="274"/>
                  <a:pt x="32" y="274"/>
                </a:cubicBezTo>
                <a:cubicBezTo>
                  <a:pt x="22" y="280"/>
                  <a:pt x="22" y="280"/>
                  <a:pt x="22" y="280"/>
                </a:cubicBezTo>
                <a:cubicBezTo>
                  <a:pt x="22" y="280"/>
                  <a:pt x="22" y="280"/>
                  <a:pt x="22" y="280"/>
                </a:cubicBezTo>
                <a:close/>
                <a:moveTo>
                  <a:pt x="69" y="263"/>
                </a:moveTo>
                <a:cubicBezTo>
                  <a:pt x="67" y="263"/>
                  <a:pt x="61" y="265"/>
                  <a:pt x="61" y="265"/>
                </a:cubicBezTo>
                <a:cubicBezTo>
                  <a:pt x="61" y="265"/>
                  <a:pt x="53" y="268"/>
                  <a:pt x="53" y="270"/>
                </a:cubicBezTo>
                <a:cubicBezTo>
                  <a:pt x="54" y="271"/>
                  <a:pt x="56" y="270"/>
                  <a:pt x="60" y="269"/>
                </a:cubicBezTo>
                <a:cubicBezTo>
                  <a:pt x="64" y="267"/>
                  <a:pt x="69" y="270"/>
                  <a:pt x="70" y="268"/>
                </a:cubicBezTo>
                <a:cubicBezTo>
                  <a:pt x="72" y="267"/>
                  <a:pt x="72" y="263"/>
                  <a:pt x="69" y="263"/>
                </a:cubicBezTo>
                <a:close/>
                <a:moveTo>
                  <a:pt x="190" y="233"/>
                </a:moveTo>
                <a:cubicBezTo>
                  <a:pt x="189" y="233"/>
                  <a:pt x="187" y="234"/>
                  <a:pt x="187" y="234"/>
                </a:cubicBezTo>
                <a:cubicBezTo>
                  <a:pt x="187" y="234"/>
                  <a:pt x="185" y="233"/>
                  <a:pt x="184" y="233"/>
                </a:cubicBezTo>
                <a:cubicBezTo>
                  <a:pt x="183" y="233"/>
                  <a:pt x="183" y="237"/>
                  <a:pt x="183" y="237"/>
                </a:cubicBezTo>
                <a:cubicBezTo>
                  <a:pt x="180" y="239"/>
                  <a:pt x="180" y="239"/>
                  <a:pt x="180" y="239"/>
                </a:cubicBezTo>
                <a:cubicBezTo>
                  <a:pt x="180" y="235"/>
                  <a:pt x="180" y="235"/>
                  <a:pt x="180" y="235"/>
                </a:cubicBezTo>
                <a:cubicBezTo>
                  <a:pt x="180" y="235"/>
                  <a:pt x="177" y="234"/>
                  <a:pt x="174" y="237"/>
                </a:cubicBezTo>
                <a:cubicBezTo>
                  <a:pt x="174" y="237"/>
                  <a:pt x="170" y="239"/>
                  <a:pt x="170" y="241"/>
                </a:cubicBezTo>
                <a:cubicBezTo>
                  <a:pt x="169" y="243"/>
                  <a:pt x="174" y="243"/>
                  <a:pt x="174" y="243"/>
                </a:cubicBezTo>
                <a:cubicBezTo>
                  <a:pt x="174" y="243"/>
                  <a:pt x="180" y="243"/>
                  <a:pt x="182" y="242"/>
                </a:cubicBezTo>
                <a:cubicBezTo>
                  <a:pt x="185" y="241"/>
                  <a:pt x="184" y="239"/>
                  <a:pt x="184" y="239"/>
                </a:cubicBezTo>
                <a:cubicBezTo>
                  <a:pt x="188" y="239"/>
                  <a:pt x="188" y="239"/>
                  <a:pt x="188" y="239"/>
                </a:cubicBezTo>
                <a:cubicBezTo>
                  <a:pt x="188" y="237"/>
                  <a:pt x="188" y="237"/>
                  <a:pt x="188" y="237"/>
                </a:cubicBezTo>
                <a:cubicBezTo>
                  <a:pt x="194" y="237"/>
                  <a:pt x="194" y="237"/>
                  <a:pt x="194" y="237"/>
                </a:cubicBezTo>
                <a:cubicBezTo>
                  <a:pt x="195" y="234"/>
                  <a:pt x="195" y="234"/>
                  <a:pt x="195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92" y="234"/>
                  <a:pt x="191" y="233"/>
                  <a:pt x="190" y="233"/>
                </a:cubicBezTo>
                <a:close/>
                <a:moveTo>
                  <a:pt x="631" y="55"/>
                </a:moveTo>
                <a:cubicBezTo>
                  <a:pt x="631" y="55"/>
                  <a:pt x="639" y="53"/>
                  <a:pt x="641" y="55"/>
                </a:cubicBezTo>
                <a:cubicBezTo>
                  <a:pt x="643" y="56"/>
                  <a:pt x="642" y="58"/>
                  <a:pt x="645" y="58"/>
                </a:cubicBezTo>
                <a:cubicBezTo>
                  <a:pt x="647" y="58"/>
                  <a:pt x="652" y="57"/>
                  <a:pt x="652" y="57"/>
                </a:cubicBezTo>
                <a:cubicBezTo>
                  <a:pt x="652" y="57"/>
                  <a:pt x="655" y="59"/>
                  <a:pt x="658" y="57"/>
                </a:cubicBezTo>
                <a:cubicBezTo>
                  <a:pt x="662" y="56"/>
                  <a:pt x="661" y="53"/>
                  <a:pt x="661" y="53"/>
                </a:cubicBezTo>
                <a:cubicBezTo>
                  <a:pt x="666" y="53"/>
                  <a:pt x="666" y="53"/>
                  <a:pt x="666" y="53"/>
                </a:cubicBezTo>
                <a:cubicBezTo>
                  <a:pt x="675" y="50"/>
                  <a:pt x="675" y="50"/>
                  <a:pt x="675" y="50"/>
                </a:cubicBezTo>
                <a:cubicBezTo>
                  <a:pt x="670" y="54"/>
                  <a:pt x="670" y="54"/>
                  <a:pt x="670" y="54"/>
                </a:cubicBezTo>
                <a:cubicBezTo>
                  <a:pt x="677" y="56"/>
                  <a:pt x="677" y="56"/>
                  <a:pt x="677" y="56"/>
                </a:cubicBezTo>
                <a:cubicBezTo>
                  <a:pt x="685" y="53"/>
                  <a:pt x="685" y="53"/>
                  <a:pt x="685" y="53"/>
                </a:cubicBezTo>
                <a:cubicBezTo>
                  <a:pt x="698" y="47"/>
                  <a:pt x="698" y="47"/>
                  <a:pt x="698" y="47"/>
                </a:cubicBezTo>
                <a:cubicBezTo>
                  <a:pt x="698" y="47"/>
                  <a:pt x="688" y="43"/>
                  <a:pt x="686" y="43"/>
                </a:cubicBezTo>
                <a:cubicBezTo>
                  <a:pt x="684" y="43"/>
                  <a:pt x="673" y="43"/>
                  <a:pt x="673" y="43"/>
                </a:cubicBezTo>
                <a:cubicBezTo>
                  <a:pt x="662" y="44"/>
                  <a:pt x="662" y="44"/>
                  <a:pt x="662" y="44"/>
                </a:cubicBezTo>
                <a:cubicBezTo>
                  <a:pt x="662" y="47"/>
                  <a:pt x="662" y="47"/>
                  <a:pt x="662" y="47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0" y="47"/>
                  <a:pt x="635" y="47"/>
                </a:cubicBezTo>
                <a:cubicBezTo>
                  <a:pt x="631" y="48"/>
                  <a:pt x="631" y="50"/>
                  <a:pt x="631" y="50"/>
                </a:cubicBezTo>
                <a:cubicBezTo>
                  <a:pt x="631" y="51"/>
                  <a:pt x="631" y="55"/>
                  <a:pt x="631" y="55"/>
                </a:cubicBezTo>
                <a:close/>
                <a:moveTo>
                  <a:pt x="726" y="48"/>
                </a:moveTo>
                <a:cubicBezTo>
                  <a:pt x="739" y="48"/>
                  <a:pt x="738" y="44"/>
                  <a:pt x="738" y="44"/>
                </a:cubicBezTo>
                <a:cubicBezTo>
                  <a:pt x="737" y="42"/>
                  <a:pt x="737" y="42"/>
                  <a:pt x="737" y="42"/>
                </a:cubicBezTo>
                <a:cubicBezTo>
                  <a:pt x="747" y="41"/>
                  <a:pt x="747" y="41"/>
                  <a:pt x="747" y="41"/>
                </a:cubicBezTo>
                <a:cubicBezTo>
                  <a:pt x="745" y="40"/>
                  <a:pt x="745" y="40"/>
                  <a:pt x="745" y="40"/>
                </a:cubicBezTo>
                <a:cubicBezTo>
                  <a:pt x="735" y="40"/>
                  <a:pt x="735" y="40"/>
                  <a:pt x="735" y="40"/>
                </a:cubicBezTo>
                <a:cubicBezTo>
                  <a:pt x="734" y="42"/>
                  <a:pt x="734" y="42"/>
                  <a:pt x="734" y="42"/>
                </a:cubicBezTo>
                <a:cubicBezTo>
                  <a:pt x="734" y="42"/>
                  <a:pt x="721" y="39"/>
                  <a:pt x="720" y="42"/>
                </a:cubicBezTo>
                <a:cubicBezTo>
                  <a:pt x="719" y="46"/>
                  <a:pt x="726" y="48"/>
                  <a:pt x="726" y="48"/>
                </a:cubicBezTo>
                <a:close/>
                <a:moveTo>
                  <a:pt x="684" y="57"/>
                </a:moveTo>
                <a:cubicBezTo>
                  <a:pt x="676" y="60"/>
                  <a:pt x="676" y="60"/>
                  <a:pt x="676" y="60"/>
                </a:cubicBezTo>
                <a:cubicBezTo>
                  <a:pt x="676" y="60"/>
                  <a:pt x="683" y="62"/>
                  <a:pt x="680" y="62"/>
                </a:cubicBezTo>
                <a:cubicBezTo>
                  <a:pt x="677" y="63"/>
                  <a:pt x="664" y="64"/>
                  <a:pt x="664" y="64"/>
                </a:cubicBezTo>
                <a:cubicBezTo>
                  <a:pt x="662" y="67"/>
                  <a:pt x="662" y="67"/>
                  <a:pt x="662" y="67"/>
                </a:cubicBezTo>
                <a:cubicBezTo>
                  <a:pt x="669" y="66"/>
                  <a:pt x="669" y="66"/>
                  <a:pt x="669" y="66"/>
                </a:cubicBezTo>
                <a:cubicBezTo>
                  <a:pt x="669" y="66"/>
                  <a:pt x="672" y="67"/>
                  <a:pt x="676" y="68"/>
                </a:cubicBezTo>
                <a:cubicBezTo>
                  <a:pt x="680" y="68"/>
                  <a:pt x="692" y="65"/>
                  <a:pt x="692" y="65"/>
                </a:cubicBezTo>
                <a:cubicBezTo>
                  <a:pt x="692" y="66"/>
                  <a:pt x="692" y="66"/>
                  <a:pt x="692" y="66"/>
                </a:cubicBezTo>
                <a:cubicBezTo>
                  <a:pt x="692" y="66"/>
                  <a:pt x="700" y="65"/>
                  <a:pt x="706" y="65"/>
                </a:cubicBezTo>
                <a:cubicBezTo>
                  <a:pt x="712" y="65"/>
                  <a:pt x="707" y="66"/>
                  <a:pt x="704" y="66"/>
                </a:cubicBezTo>
                <a:cubicBezTo>
                  <a:pt x="702" y="67"/>
                  <a:pt x="695" y="67"/>
                  <a:pt x="690" y="68"/>
                </a:cubicBezTo>
                <a:cubicBezTo>
                  <a:pt x="685" y="69"/>
                  <a:pt x="678" y="71"/>
                  <a:pt x="678" y="71"/>
                </a:cubicBezTo>
                <a:cubicBezTo>
                  <a:pt x="678" y="71"/>
                  <a:pt x="684" y="72"/>
                  <a:pt x="695" y="72"/>
                </a:cubicBezTo>
                <a:cubicBezTo>
                  <a:pt x="705" y="73"/>
                  <a:pt x="712" y="68"/>
                  <a:pt x="712" y="68"/>
                </a:cubicBezTo>
                <a:cubicBezTo>
                  <a:pt x="722" y="66"/>
                  <a:pt x="722" y="66"/>
                  <a:pt x="722" y="66"/>
                </a:cubicBezTo>
                <a:cubicBezTo>
                  <a:pt x="722" y="66"/>
                  <a:pt x="726" y="67"/>
                  <a:pt x="736" y="66"/>
                </a:cubicBezTo>
                <a:cubicBezTo>
                  <a:pt x="745" y="64"/>
                  <a:pt x="746" y="62"/>
                  <a:pt x="750" y="61"/>
                </a:cubicBezTo>
                <a:cubicBezTo>
                  <a:pt x="754" y="60"/>
                  <a:pt x="751" y="56"/>
                  <a:pt x="746" y="56"/>
                </a:cubicBezTo>
                <a:cubicBezTo>
                  <a:pt x="742" y="56"/>
                  <a:pt x="744" y="59"/>
                  <a:pt x="744" y="59"/>
                </a:cubicBezTo>
                <a:cubicBezTo>
                  <a:pt x="738" y="59"/>
                  <a:pt x="738" y="59"/>
                  <a:pt x="738" y="59"/>
                </a:cubicBezTo>
                <a:cubicBezTo>
                  <a:pt x="738" y="59"/>
                  <a:pt x="739" y="57"/>
                  <a:pt x="740" y="56"/>
                </a:cubicBezTo>
                <a:cubicBezTo>
                  <a:pt x="741" y="54"/>
                  <a:pt x="744" y="51"/>
                  <a:pt x="741" y="51"/>
                </a:cubicBezTo>
                <a:cubicBezTo>
                  <a:pt x="739" y="50"/>
                  <a:pt x="734" y="53"/>
                  <a:pt x="727" y="55"/>
                </a:cubicBezTo>
                <a:cubicBezTo>
                  <a:pt x="719" y="57"/>
                  <a:pt x="731" y="56"/>
                  <a:pt x="731" y="56"/>
                </a:cubicBezTo>
                <a:cubicBezTo>
                  <a:pt x="730" y="60"/>
                  <a:pt x="730" y="60"/>
                  <a:pt x="730" y="60"/>
                </a:cubicBezTo>
                <a:cubicBezTo>
                  <a:pt x="714" y="62"/>
                  <a:pt x="714" y="62"/>
                  <a:pt x="714" y="62"/>
                </a:cubicBezTo>
                <a:cubicBezTo>
                  <a:pt x="714" y="62"/>
                  <a:pt x="712" y="58"/>
                  <a:pt x="713" y="56"/>
                </a:cubicBezTo>
                <a:cubicBezTo>
                  <a:pt x="714" y="54"/>
                  <a:pt x="702" y="53"/>
                  <a:pt x="702" y="53"/>
                </a:cubicBezTo>
                <a:cubicBezTo>
                  <a:pt x="684" y="57"/>
                  <a:pt x="684" y="57"/>
                  <a:pt x="684" y="57"/>
                </a:cubicBezTo>
                <a:cubicBezTo>
                  <a:pt x="684" y="57"/>
                  <a:pt x="684" y="57"/>
                  <a:pt x="684" y="57"/>
                </a:cubicBezTo>
                <a:close/>
                <a:moveTo>
                  <a:pt x="574" y="98"/>
                </a:moveTo>
                <a:cubicBezTo>
                  <a:pt x="575" y="100"/>
                  <a:pt x="569" y="104"/>
                  <a:pt x="575" y="103"/>
                </a:cubicBezTo>
                <a:cubicBezTo>
                  <a:pt x="581" y="102"/>
                  <a:pt x="588" y="99"/>
                  <a:pt x="588" y="99"/>
                </a:cubicBezTo>
                <a:cubicBezTo>
                  <a:pt x="593" y="101"/>
                  <a:pt x="593" y="101"/>
                  <a:pt x="593" y="101"/>
                </a:cubicBezTo>
                <a:cubicBezTo>
                  <a:pt x="604" y="93"/>
                  <a:pt x="604" y="93"/>
                  <a:pt x="604" y="93"/>
                </a:cubicBezTo>
                <a:cubicBezTo>
                  <a:pt x="622" y="87"/>
                  <a:pt x="622" y="87"/>
                  <a:pt x="622" y="87"/>
                </a:cubicBezTo>
                <a:cubicBezTo>
                  <a:pt x="640" y="82"/>
                  <a:pt x="640" y="82"/>
                  <a:pt x="640" y="82"/>
                </a:cubicBezTo>
                <a:cubicBezTo>
                  <a:pt x="654" y="79"/>
                  <a:pt x="654" y="79"/>
                  <a:pt x="654" y="79"/>
                </a:cubicBezTo>
                <a:cubicBezTo>
                  <a:pt x="654" y="79"/>
                  <a:pt x="645" y="73"/>
                  <a:pt x="645" y="72"/>
                </a:cubicBezTo>
                <a:cubicBezTo>
                  <a:pt x="644" y="71"/>
                  <a:pt x="634" y="72"/>
                  <a:pt x="634" y="72"/>
                </a:cubicBezTo>
                <a:cubicBezTo>
                  <a:pt x="625" y="74"/>
                  <a:pt x="625" y="74"/>
                  <a:pt x="625" y="74"/>
                </a:cubicBezTo>
                <a:cubicBezTo>
                  <a:pt x="620" y="70"/>
                  <a:pt x="620" y="70"/>
                  <a:pt x="620" y="70"/>
                </a:cubicBezTo>
                <a:cubicBezTo>
                  <a:pt x="609" y="71"/>
                  <a:pt x="609" y="71"/>
                  <a:pt x="609" y="71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599" y="76"/>
                  <a:pt x="599" y="76"/>
                  <a:pt x="599" y="76"/>
                </a:cubicBezTo>
                <a:cubicBezTo>
                  <a:pt x="597" y="80"/>
                  <a:pt x="597" y="80"/>
                  <a:pt x="597" y="80"/>
                </a:cubicBezTo>
                <a:cubicBezTo>
                  <a:pt x="590" y="82"/>
                  <a:pt x="590" y="82"/>
                  <a:pt x="590" y="82"/>
                </a:cubicBezTo>
                <a:cubicBezTo>
                  <a:pt x="581" y="85"/>
                  <a:pt x="581" y="85"/>
                  <a:pt x="581" y="85"/>
                </a:cubicBezTo>
                <a:cubicBezTo>
                  <a:pt x="584" y="87"/>
                  <a:pt x="584" y="87"/>
                  <a:pt x="584" y="87"/>
                </a:cubicBezTo>
                <a:cubicBezTo>
                  <a:pt x="567" y="94"/>
                  <a:pt x="567" y="94"/>
                  <a:pt x="567" y="94"/>
                </a:cubicBezTo>
                <a:cubicBezTo>
                  <a:pt x="567" y="94"/>
                  <a:pt x="573" y="95"/>
                  <a:pt x="574" y="98"/>
                </a:cubicBezTo>
                <a:close/>
                <a:moveTo>
                  <a:pt x="705" y="51"/>
                </a:moveTo>
                <a:cubicBezTo>
                  <a:pt x="709" y="48"/>
                  <a:pt x="705" y="46"/>
                  <a:pt x="701" y="48"/>
                </a:cubicBezTo>
                <a:cubicBezTo>
                  <a:pt x="697" y="50"/>
                  <a:pt x="705" y="51"/>
                  <a:pt x="705" y="51"/>
                </a:cubicBezTo>
                <a:close/>
                <a:moveTo>
                  <a:pt x="744" y="38"/>
                </a:moveTo>
                <a:cubicBezTo>
                  <a:pt x="746" y="38"/>
                  <a:pt x="752" y="40"/>
                  <a:pt x="753" y="38"/>
                </a:cubicBezTo>
                <a:cubicBezTo>
                  <a:pt x="753" y="36"/>
                  <a:pt x="751" y="35"/>
                  <a:pt x="748" y="35"/>
                </a:cubicBezTo>
                <a:cubicBezTo>
                  <a:pt x="744" y="35"/>
                  <a:pt x="730" y="37"/>
                  <a:pt x="730" y="37"/>
                </a:cubicBezTo>
                <a:cubicBezTo>
                  <a:pt x="730" y="37"/>
                  <a:pt x="742" y="39"/>
                  <a:pt x="744" y="38"/>
                </a:cubicBezTo>
                <a:close/>
                <a:moveTo>
                  <a:pt x="893" y="87"/>
                </a:moveTo>
                <a:cubicBezTo>
                  <a:pt x="896" y="88"/>
                  <a:pt x="901" y="85"/>
                  <a:pt x="901" y="85"/>
                </a:cubicBezTo>
                <a:cubicBezTo>
                  <a:pt x="909" y="85"/>
                  <a:pt x="909" y="85"/>
                  <a:pt x="909" y="85"/>
                </a:cubicBezTo>
                <a:cubicBezTo>
                  <a:pt x="909" y="85"/>
                  <a:pt x="915" y="87"/>
                  <a:pt x="917" y="86"/>
                </a:cubicBezTo>
                <a:cubicBezTo>
                  <a:pt x="918" y="85"/>
                  <a:pt x="917" y="80"/>
                  <a:pt x="913" y="79"/>
                </a:cubicBezTo>
                <a:cubicBezTo>
                  <a:pt x="909" y="79"/>
                  <a:pt x="906" y="80"/>
                  <a:pt x="906" y="80"/>
                </a:cubicBezTo>
                <a:cubicBezTo>
                  <a:pt x="901" y="80"/>
                  <a:pt x="901" y="80"/>
                  <a:pt x="901" y="80"/>
                </a:cubicBezTo>
                <a:cubicBezTo>
                  <a:pt x="901" y="80"/>
                  <a:pt x="894" y="77"/>
                  <a:pt x="892" y="79"/>
                </a:cubicBezTo>
                <a:cubicBezTo>
                  <a:pt x="890" y="81"/>
                  <a:pt x="889" y="82"/>
                  <a:pt x="889" y="82"/>
                </a:cubicBezTo>
                <a:cubicBezTo>
                  <a:pt x="892" y="83"/>
                  <a:pt x="892" y="83"/>
                  <a:pt x="892" y="83"/>
                </a:cubicBezTo>
                <a:cubicBezTo>
                  <a:pt x="892" y="83"/>
                  <a:pt x="890" y="86"/>
                  <a:pt x="893" y="87"/>
                </a:cubicBezTo>
                <a:close/>
                <a:moveTo>
                  <a:pt x="839" y="24"/>
                </a:moveTo>
                <a:cubicBezTo>
                  <a:pt x="831" y="25"/>
                  <a:pt x="831" y="25"/>
                  <a:pt x="831" y="25"/>
                </a:cubicBezTo>
                <a:cubicBezTo>
                  <a:pt x="834" y="29"/>
                  <a:pt x="834" y="29"/>
                  <a:pt x="834" y="29"/>
                </a:cubicBezTo>
                <a:cubicBezTo>
                  <a:pt x="839" y="24"/>
                  <a:pt x="839" y="24"/>
                  <a:pt x="839" y="24"/>
                </a:cubicBezTo>
                <a:cubicBezTo>
                  <a:pt x="839" y="24"/>
                  <a:pt x="839" y="24"/>
                  <a:pt x="839" y="24"/>
                </a:cubicBezTo>
                <a:close/>
                <a:moveTo>
                  <a:pt x="714" y="107"/>
                </a:moveTo>
                <a:cubicBezTo>
                  <a:pt x="713" y="106"/>
                  <a:pt x="700" y="106"/>
                  <a:pt x="700" y="106"/>
                </a:cubicBezTo>
                <a:cubicBezTo>
                  <a:pt x="711" y="100"/>
                  <a:pt x="711" y="100"/>
                  <a:pt x="711" y="100"/>
                </a:cubicBezTo>
                <a:cubicBezTo>
                  <a:pt x="711" y="100"/>
                  <a:pt x="717" y="85"/>
                  <a:pt x="711" y="83"/>
                </a:cubicBezTo>
                <a:cubicBezTo>
                  <a:pt x="706" y="81"/>
                  <a:pt x="698" y="85"/>
                  <a:pt x="698" y="85"/>
                </a:cubicBezTo>
                <a:cubicBezTo>
                  <a:pt x="698" y="85"/>
                  <a:pt x="692" y="96"/>
                  <a:pt x="687" y="97"/>
                </a:cubicBezTo>
                <a:cubicBezTo>
                  <a:pt x="682" y="98"/>
                  <a:pt x="690" y="89"/>
                  <a:pt x="690" y="87"/>
                </a:cubicBezTo>
                <a:cubicBezTo>
                  <a:pt x="690" y="85"/>
                  <a:pt x="676" y="85"/>
                  <a:pt x="676" y="85"/>
                </a:cubicBezTo>
                <a:cubicBezTo>
                  <a:pt x="675" y="88"/>
                  <a:pt x="675" y="88"/>
                  <a:pt x="675" y="88"/>
                </a:cubicBezTo>
                <a:cubicBezTo>
                  <a:pt x="675" y="88"/>
                  <a:pt x="667" y="91"/>
                  <a:pt x="660" y="91"/>
                </a:cubicBezTo>
                <a:cubicBezTo>
                  <a:pt x="652" y="92"/>
                  <a:pt x="663" y="89"/>
                  <a:pt x="671" y="86"/>
                </a:cubicBezTo>
                <a:cubicBezTo>
                  <a:pt x="678" y="84"/>
                  <a:pt x="667" y="84"/>
                  <a:pt x="667" y="84"/>
                </a:cubicBezTo>
                <a:cubicBezTo>
                  <a:pt x="658" y="86"/>
                  <a:pt x="658" y="86"/>
                  <a:pt x="658" y="86"/>
                </a:cubicBezTo>
                <a:cubicBezTo>
                  <a:pt x="652" y="87"/>
                  <a:pt x="652" y="87"/>
                  <a:pt x="652" y="87"/>
                </a:cubicBezTo>
                <a:cubicBezTo>
                  <a:pt x="652" y="87"/>
                  <a:pt x="655" y="85"/>
                  <a:pt x="659" y="82"/>
                </a:cubicBezTo>
                <a:cubicBezTo>
                  <a:pt x="662" y="80"/>
                  <a:pt x="658" y="80"/>
                  <a:pt x="658" y="80"/>
                </a:cubicBezTo>
                <a:cubicBezTo>
                  <a:pt x="637" y="87"/>
                  <a:pt x="637" y="87"/>
                  <a:pt x="637" y="87"/>
                </a:cubicBezTo>
                <a:cubicBezTo>
                  <a:pt x="634" y="87"/>
                  <a:pt x="634" y="87"/>
                  <a:pt x="634" y="87"/>
                </a:cubicBezTo>
                <a:cubicBezTo>
                  <a:pt x="623" y="91"/>
                  <a:pt x="623" y="91"/>
                  <a:pt x="623" y="91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15" y="95"/>
                  <a:pt x="615" y="95"/>
                  <a:pt x="615" y="95"/>
                </a:cubicBezTo>
                <a:cubicBezTo>
                  <a:pt x="613" y="98"/>
                  <a:pt x="613" y="98"/>
                  <a:pt x="613" y="98"/>
                </a:cubicBezTo>
                <a:cubicBezTo>
                  <a:pt x="617" y="99"/>
                  <a:pt x="617" y="99"/>
                  <a:pt x="617" y="99"/>
                </a:cubicBezTo>
                <a:cubicBezTo>
                  <a:pt x="617" y="99"/>
                  <a:pt x="621" y="96"/>
                  <a:pt x="622" y="99"/>
                </a:cubicBezTo>
                <a:cubicBezTo>
                  <a:pt x="623" y="101"/>
                  <a:pt x="614" y="100"/>
                  <a:pt x="611" y="104"/>
                </a:cubicBezTo>
                <a:cubicBezTo>
                  <a:pt x="609" y="108"/>
                  <a:pt x="642" y="104"/>
                  <a:pt x="637" y="108"/>
                </a:cubicBezTo>
                <a:cubicBezTo>
                  <a:pt x="633" y="111"/>
                  <a:pt x="607" y="109"/>
                  <a:pt x="604" y="113"/>
                </a:cubicBezTo>
                <a:cubicBezTo>
                  <a:pt x="602" y="116"/>
                  <a:pt x="609" y="116"/>
                  <a:pt x="613" y="118"/>
                </a:cubicBezTo>
                <a:cubicBezTo>
                  <a:pt x="618" y="121"/>
                  <a:pt x="611" y="119"/>
                  <a:pt x="610" y="123"/>
                </a:cubicBezTo>
                <a:cubicBezTo>
                  <a:pt x="609" y="126"/>
                  <a:pt x="631" y="125"/>
                  <a:pt x="631" y="125"/>
                </a:cubicBezTo>
                <a:cubicBezTo>
                  <a:pt x="631" y="125"/>
                  <a:pt x="666" y="121"/>
                  <a:pt x="674" y="119"/>
                </a:cubicBezTo>
                <a:cubicBezTo>
                  <a:pt x="680" y="117"/>
                  <a:pt x="691" y="125"/>
                  <a:pt x="697" y="125"/>
                </a:cubicBezTo>
                <a:cubicBezTo>
                  <a:pt x="704" y="126"/>
                  <a:pt x="707" y="118"/>
                  <a:pt x="707" y="118"/>
                </a:cubicBezTo>
                <a:cubicBezTo>
                  <a:pt x="696" y="118"/>
                  <a:pt x="696" y="118"/>
                  <a:pt x="696" y="118"/>
                </a:cubicBezTo>
                <a:cubicBezTo>
                  <a:pt x="700" y="114"/>
                  <a:pt x="700" y="114"/>
                  <a:pt x="700" y="114"/>
                </a:cubicBezTo>
                <a:cubicBezTo>
                  <a:pt x="700" y="114"/>
                  <a:pt x="707" y="116"/>
                  <a:pt x="714" y="114"/>
                </a:cubicBezTo>
                <a:cubicBezTo>
                  <a:pt x="721" y="113"/>
                  <a:pt x="714" y="109"/>
                  <a:pt x="714" y="107"/>
                </a:cubicBezTo>
                <a:close/>
                <a:moveTo>
                  <a:pt x="831" y="50"/>
                </a:moveTo>
                <a:cubicBezTo>
                  <a:pt x="830" y="50"/>
                  <a:pt x="828" y="49"/>
                  <a:pt x="828" y="49"/>
                </a:cubicBezTo>
                <a:cubicBezTo>
                  <a:pt x="828" y="49"/>
                  <a:pt x="816" y="49"/>
                  <a:pt x="816" y="51"/>
                </a:cubicBezTo>
                <a:cubicBezTo>
                  <a:pt x="816" y="53"/>
                  <a:pt x="819" y="53"/>
                  <a:pt x="819" y="53"/>
                </a:cubicBezTo>
                <a:cubicBezTo>
                  <a:pt x="820" y="56"/>
                  <a:pt x="820" y="56"/>
                  <a:pt x="820" y="56"/>
                </a:cubicBezTo>
                <a:cubicBezTo>
                  <a:pt x="820" y="56"/>
                  <a:pt x="830" y="57"/>
                  <a:pt x="831" y="56"/>
                </a:cubicBezTo>
                <a:cubicBezTo>
                  <a:pt x="832" y="56"/>
                  <a:pt x="834" y="56"/>
                  <a:pt x="836" y="56"/>
                </a:cubicBezTo>
                <a:cubicBezTo>
                  <a:pt x="835" y="58"/>
                  <a:pt x="835" y="60"/>
                  <a:pt x="835" y="60"/>
                </a:cubicBezTo>
                <a:cubicBezTo>
                  <a:pt x="827" y="66"/>
                  <a:pt x="827" y="66"/>
                  <a:pt x="827" y="66"/>
                </a:cubicBezTo>
                <a:cubicBezTo>
                  <a:pt x="830" y="67"/>
                  <a:pt x="830" y="67"/>
                  <a:pt x="830" y="67"/>
                </a:cubicBezTo>
                <a:cubicBezTo>
                  <a:pt x="830" y="67"/>
                  <a:pt x="825" y="70"/>
                  <a:pt x="827" y="70"/>
                </a:cubicBezTo>
                <a:cubicBezTo>
                  <a:pt x="830" y="70"/>
                  <a:pt x="834" y="68"/>
                  <a:pt x="834" y="68"/>
                </a:cubicBezTo>
                <a:cubicBezTo>
                  <a:pt x="834" y="68"/>
                  <a:pt x="832" y="71"/>
                  <a:pt x="836" y="71"/>
                </a:cubicBezTo>
                <a:cubicBezTo>
                  <a:pt x="840" y="70"/>
                  <a:pt x="847" y="68"/>
                  <a:pt x="847" y="68"/>
                </a:cubicBezTo>
                <a:cubicBezTo>
                  <a:pt x="848" y="71"/>
                  <a:pt x="848" y="71"/>
                  <a:pt x="848" y="71"/>
                </a:cubicBezTo>
                <a:cubicBezTo>
                  <a:pt x="857" y="70"/>
                  <a:pt x="857" y="70"/>
                  <a:pt x="857" y="70"/>
                </a:cubicBezTo>
                <a:cubicBezTo>
                  <a:pt x="868" y="72"/>
                  <a:pt x="868" y="72"/>
                  <a:pt x="868" y="72"/>
                </a:cubicBezTo>
                <a:cubicBezTo>
                  <a:pt x="881" y="71"/>
                  <a:pt x="881" y="71"/>
                  <a:pt x="881" y="71"/>
                </a:cubicBezTo>
                <a:cubicBezTo>
                  <a:pt x="885" y="68"/>
                  <a:pt x="885" y="68"/>
                  <a:pt x="885" y="68"/>
                </a:cubicBezTo>
                <a:cubicBezTo>
                  <a:pt x="885" y="68"/>
                  <a:pt x="883" y="71"/>
                  <a:pt x="886" y="71"/>
                </a:cubicBezTo>
                <a:cubicBezTo>
                  <a:pt x="888" y="71"/>
                  <a:pt x="904" y="71"/>
                  <a:pt x="904" y="71"/>
                </a:cubicBezTo>
                <a:cubicBezTo>
                  <a:pt x="905" y="68"/>
                  <a:pt x="905" y="68"/>
                  <a:pt x="905" y="68"/>
                </a:cubicBezTo>
                <a:cubicBezTo>
                  <a:pt x="915" y="64"/>
                  <a:pt x="915" y="64"/>
                  <a:pt x="915" y="64"/>
                </a:cubicBezTo>
                <a:cubicBezTo>
                  <a:pt x="912" y="63"/>
                  <a:pt x="912" y="63"/>
                  <a:pt x="912" y="63"/>
                </a:cubicBezTo>
                <a:cubicBezTo>
                  <a:pt x="912" y="62"/>
                  <a:pt x="912" y="62"/>
                  <a:pt x="912" y="62"/>
                </a:cubicBezTo>
                <a:cubicBezTo>
                  <a:pt x="912" y="62"/>
                  <a:pt x="903" y="59"/>
                  <a:pt x="900" y="59"/>
                </a:cubicBezTo>
                <a:cubicBezTo>
                  <a:pt x="896" y="59"/>
                  <a:pt x="871" y="64"/>
                  <a:pt x="871" y="64"/>
                </a:cubicBezTo>
                <a:cubicBezTo>
                  <a:pt x="871" y="64"/>
                  <a:pt x="868" y="62"/>
                  <a:pt x="866" y="62"/>
                </a:cubicBezTo>
                <a:cubicBezTo>
                  <a:pt x="865" y="62"/>
                  <a:pt x="858" y="64"/>
                  <a:pt x="858" y="64"/>
                </a:cubicBezTo>
                <a:cubicBezTo>
                  <a:pt x="856" y="61"/>
                  <a:pt x="856" y="61"/>
                  <a:pt x="856" y="61"/>
                </a:cubicBezTo>
                <a:cubicBezTo>
                  <a:pt x="853" y="63"/>
                  <a:pt x="853" y="63"/>
                  <a:pt x="853" y="63"/>
                </a:cubicBezTo>
                <a:cubicBezTo>
                  <a:pt x="849" y="62"/>
                  <a:pt x="849" y="62"/>
                  <a:pt x="849" y="62"/>
                </a:cubicBezTo>
                <a:cubicBezTo>
                  <a:pt x="853" y="60"/>
                  <a:pt x="853" y="60"/>
                  <a:pt x="853" y="60"/>
                </a:cubicBezTo>
                <a:cubicBezTo>
                  <a:pt x="850" y="59"/>
                  <a:pt x="850" y="59"/>
                  <a:pt x="850" y="59"/>
                </a:cubicBezTo>
                <a:cubicBezTo>
                  <a:pt x="843" y="60"/>
                  <a:pt x="843" y="60"/>
                  <a:pt x="843" y="60"/>
                </a:cubicBezTo>
                <a:cubicBezTo>
                  <a:pt x="848" y="58"/>
                  <a:pt x="848" y="58"/>
                  <a:pt x="848" y="58"/>
                </a:cubicBezTo>
                <a:cubicBezTo>
                  <a:pt x="848" y="57"/>
                  <a:pt x="848" y="57"/>
                  <a:pt x="848" y="57"/>
                </a:cubicBezTo>
                <a:cubicBezTo>
                  <a:pt x="857" y="57"/>
                  <a:pt x="857" y="57"/>
                  <a:pt x="857" y="57"/>
                </a:cubicBezTo>
                <a:cubicBezTo>
                  <a:pt x="852" y="55"/>
                  <a:pt x="852" y="55"/>
                  <a:pt x="852" y="55"/>
                </a:cubicBezTo>
                <a:cubicBezTo>
                  <a:pt x="849" y="55"/>
                  <a:pt x="849" y="55"/>
                  <a:pt x="849" y="55"/>
                </a:cubicBezTo>
                <a:cubicBezTo>
                  <a:pt x="849" y="55"/>
                  <a:pt x="852" y="53"/>
                  <a:pt x="849" y="53"/>
                </a:cubicBezTo>
                <a:cubicBezTo>
                  <a:pt x="848" y="53"/>
                  <a:pt x="841" y="53"/>
                  <a:pt x="838" y="54"/>
                </a:cubicBezTo>
                <a:cubicBezTo>
                  <a:pt x="837" y="52"/>
                  <a:pt x="831" y="50"/>
                  <a:pt x="831" y="50"/>
                </a:cubicBezTo>
                <a:close/>
                <a:moveTo>
                  <a:pt x="861" y="29"/>
                </a:moveTo>
                <a:cubicBezTo>
                  <a:pt x="854" y="30"/>
                  <a:pt x="854" y="30"/>
                  <a:pt x="854" y="30"/>
                </a:cubicBezTo>
                <a:cubicBezTo>
                  <a:pt x="859" y="32"/>
                  <a:pt x="859" y="32"/>
                  <a:pt x="859" y="32"/>
                </a:cubicBezTo>
                <a:cubicBezTo>
                  <a:pt x="859" y="32"/>
                  <a:pt x="856" y="33"/>
                  <a:pt x="856" y="35"/>
                </a:cubicBezTo>
                <a:cubicBezTo>
                  <a:pt x="857" y="37"/>
                  <a:pt x="862" y="37"/>
                  <a:pt x="862" y="37"/>
                </a:cubicBezTo>
                <a:cubicBezTo>
                  <a:pt x="860" y="39"/>
                  <a:pt x="860" y="39"/>
                  <a:pt x="860" y="39"/>
                </a:cubicBezTo>
                <a:cubicBezTo>
                  <a:pt x="860" y="39"/>
                  <a:pt x="863" y="39"/>
                  <a:pt x="866" y="41"/>
                </a:cubicBezTo>
                <a:cubicBezTo>
                  <a:pt x="869" y="43"/>
                  <a:pt x="875" y="39"/>
                  <a:pt x="875" y="39"/>
                </a:cubicBezTo>
                <a:cubicBezTo>
                  <a:pt x="878" y="37"/>
                  <a:pt x="878" y="37"/>
                  <a:pt x="878" y="37"/>
                </a:cubicBezTo>
                <a:cubicBezTo>
                  <a:pt x="878" y="37"/>
                  <a:pt x="879" y="38"/>
                  <a:pt x="880" y="41"/>
                </a:cubicBezTo>
                <a:cubicBezTo>
                  <a:pt x="882" y="43"/>
                  <a:pt x="887" y="39"/>
                  <a:pt x="889" y="39"/>
                </a:cubicBezTo>
                <a:cubicBezTo>
                  <a:pt x="890" y="38"/>
                  <a:pt x="893" y="35"/>
                  <a:pt x="893" y="35"/>
                </a:cubicBezTo>
                <a:cubicBezTo>
                  <a:pt x="895" y="37"/>
                  <a:pt x="895" y="37"/>
                  <a:pt x="895" y="37"/>
                </a:cubicBezTo>
                <a:cubicBezTo>
                  <a:pt x="895" y="37"/>
                  <a:pt x="898" y="34"/>
                  <a:pt x="898" y="33"/>
                </a:cubicBezTo>
                <a:cubicBezTo>
                  <a:pt x="898" y="32"/>
                  <a:pt x="909" y="33"/>
                  <a:pt x="912" y="33"/>
                </a:cubicBezTo>
                <a:cubicBezTo>
                  <a:pt x="914" y="33"/>
                  <a:pt x="914" y="30"/>
                  <a:pt x="914" y="30"/>
                </a:cubicBezTo>
                <a:cubicBezTo>
                  <a:pt x="905" y="30"/>
                  <a:pt x="905" y="30"/>
                  <a:pt x="905" y="30"/>
                </a:cubicBezTo>
                <a:cubicBezTo>
                  <a:pt x="909" y="27"/>
                  <a:pt x="909" y="27"/>
                  <a:pt x="909" y="27"/>
                </a:cubicBezTo>
                <a:cubicBezTo>
                  <a:pt x="909" y="27"/>
                  <a:pt x="911" y="23"/>
                  <a:pt x="910" y="22"/>
                </a:cubicBezTo>
                <a:cubicBezTo>
                  <a:pt x="909" y="20"/>
                  <a:pt x="902" y="24"/>
                  <a:pt x="902" y="24"/>
                </a:cubicBezTo>
                <a:cubicBezTo>
                  <a:pt x="901" y="21"/>
                  <a:pt x="901" y="21"/>
                  <a:pt x="901" y="21"/>
                </a:cubicBezTo>
                <a:cubicBezTo>
                  <a:pt x="895" y="22"/>
                  <a:pt x="895" y="22"/>
                  <a:pt x="895" y="22"/>
                </a:cubicBezTo>
                <a:cubicBezTo>
                  <a:pt x="895" y="22"/>
                  <a:pt x="894" y="18"/>
                  <a:pt x="892" y="15"/>
                </a:cubicBezTo>
                <a:cubicBezTo>
                  <a:pt x="890" y="13"/>
                  <a:pt x="881" y="18"/>
                  <a:pt x="881" y="18"/>
                </a:cubicBezTo>
                <a:cubicBezTo>
                  <a:pt x="870" y="18"/>
                  <a:pt x="870" y="18"/>
                  <a:pt x="870" y="18"/>
                </a:cubicBezTo>
                <a:cubicBezTo>
                  <a:pt x="874" y="21"/>
                  <a:pt x="874" y="21"/>
                  <a:pt x="874" y="21"/>
                </a:cubicBezTo>
                <a:cubicBezTo>
                  <a:pt x="874" y="21"/>
                  <a:pt x="866" y="21"/>
                  <a:pt x="863" y="21"/>
                </a:cubicBezTo>
                <a:cubicBezTo>
                  <a:pt x="861" y="22"/>
                  <a:pt x="865" y="25"/>
                  <a:pt x="865" y="25"/>
                </a:cubicBezTo>
                <a:cubicBezTo>
                  <a:pt x="865" y="25"/>
                  <a:pt x="853" y="24"/>
                  <a:pt x="852" y="27"/>
                </a:cubicBezTo>
                <a:cubicBezTo>
                  <a:pt x="851" y="30"/>
                  <a:pt x="861" y="29"/>
                  <a:pt x="861" y="29"/>
                </a:cubicBezTo>
                <a:close/>
                <a:moveTo>
                  <a:pt x="863" y="44"/>
                </a:moveTo>
                <a:cubicBezTo>
                  <a:pt x="859" y="45"/>
                  <a:pt x="859" y="47"/>
                  <a:pt x="859" y="47"/>
                </a:cubicBezTo>
                <a:cubicBezTo>
                  <a:pt x="862" y="48"/>
                  <a:pt x="862" y="48"/>
                  <a:pt x="862" y="48"/>
                </a:cubicBezTo>
                <a:cubicBezTo>
                  <a:pt x="866" y="48"/>
                  <a:pt x="868" y="44"/>
                  <a:pt x="863" y="44"/>
                </a:cubicBezTo>
                <a:close/>
                <a:moveTo>
                  <a:pt x="828" y="43"/>
                </a:moveTo>
                <a:cubicBezTo>
                  <a:pt x="830" y="44"/>
                  <a:pt x="831" y="46"/>
                  <a:pt x="831" y="46"/>
                </a:cubicBezTo>
                <a:cubicBezTo>
                  <a:pt x="831" y="46"/>
                  <a:pt x="840" y="45"/>
                  <a:pt x="844" y="45"/>
                </a:cubicBezTo>
                <a:cubicBezTo>
                  <a:pt x="848" y="45"/>
                  <a:pt x="839" y="42"/>
                  <a:pt x="839" y="42"/>
                </a:cubicBezTo>
                <a:cubicBezTo>
                  <a:pt x="839" y="42"/>
                  <a:pt x="841" y="40"/>
                  <a:pt x="843" y="40"/>
                </a:cubicBezTo>
                <a:cubicBezTo>
                  <a:pt x="845" y="39"/>
                  <a:pt x="837" y="37"/>
                  <a:pt x="831" y="35"/>
                </a:cubicBezTo>
                <a:cubicBezTo>
                  <a:pt x="831" y="35"/>
                  <a:pt x="826" y="36"/>
                  <a:pt x="825" y="37"/>
                </a:cubicBezTo>
                <a:cubicBezTo>
                  <a:pt x="824" y="38"/>
                  <a:pt x="826" y="43"/>
                  <a:pt x="828" y="43"/>
                </a:cubicBezTo>
                <a:close/>
                <a:moveTo>
                  <a:pt x="765" y="62"/>
                </a:moveTo>
                <a:cubicBezTo>
                  <a:pt x="767" y="62"/>
                  <a:pt x="776" y="63"/>
                  <a:pt x="776" y="63"/>
                </a:cubicBezTo>
                <a:cubicBezTo>
                  <a:pt x="776" y="63"/>
                  <a:pt x="771" y="67"/>
                  <a:pt x="774" y="67"/>
                </a:cubicBezTo>
                <a:cubicBezTo>
                  <a:pt x="777" y="67"/>
                  <a:pt x="785" y="67"/>
                  <a:pt x="785" y="67"/>
                </a:cubicBezTo>
                <a:cubicBezTo>
                  <a:pt x="788" y="67"/>
                  <a:pt x="793" y="66"/>
                  <a:pt x="792" y="64"/>
                </a:cubicBezTo>
                <a:cubicBezTo>
                  <a:pt x="791" y="62"/>
                  <a:pt x="800" y="62"/>
                  <a:pt x="799" y="60"/>
                </a:cubicBezTo>
                <a:cubicBezTo>
                  <a:pt x="799" y="58"/>
                  <a:pt x="807" y="57"/>
                  <a:pt x="804" y="54"/>
                </a:cubicBezTo>
                <a:cubicBezTo>
                  <a:pt x="801" y="52"/>
                  <a:pt x="797" y="54"/>
                  <a:pt x="797" y="54"/>
                </a:cubicBezTo>
                <a:cubicBezTo>
                  <a:pt x="797" y="54"/>
                  <a:pt x="787" y="51"/>
                  <a:pt x="787" y="53"/>
                </a:cubicBezTo>
                <a:cubicBezTo>
                  <a:pt x="786" y="54"/>
                  <a:pt x="786" y="59"/>
                  <a:pt x="786" y="59"/>
                </a:cubicBezTo>
                <a:cubicBezTo>
                  <a:pt x="786" y="59"/>
                  <a:pt x="782" y="53"/>
                  <a:pt x="780" y="55"/>
                </a:cubicBezTo>
                <a:cubicBezTo>
                  <a:pt x="777" y="57"/>
                  <a:pt x="775" y="62"/>
                  <a:pt x="773" y="61"/>
                </a:cubicBezTo>
                <a:cubicBezTo>
                  <a:pt x="771" y="59"/>
                  <a:pt x="770" y="54"/>
                  <a:pt x="768" y="54"/>
                </a:cubicBezTo>
                <a:cubicBezTo>
                  <a:pt x="766" y="53"/>
                  <a:pt x="761" y="54"/>
                  <a:pt x="761" y="56"/>
                </a:cubicBezTo>
                <a:cubicBezTo>
                  <a:pt x="761" y="59"/>
                  <a:pt x="763" y="62"/>
                  <a:pt x="765" y="62"/>
                </a:cubicBezTo>
                <a:close/>
                <a:moveTo>
                  <a:pt x="793" y="35"/>
                </a:moveTo>
                <a:cubicBezTo>
                  <a:pt x="793" y="35"/>
                  <a:pt x="789" y="39"/>
                  <a:pt x="792" y="39"/>
                </a:cubicBezTo>
                <a:cubicBezTo>
                  <a:pt x="795" y="39"/>
                  <a:pt x="802" y="39"/>
                  <a:pt x="802" y="39"/>
                </a:cubicBezTo>
                <a:cubicBezTo>
                  <a:pt x="802" y="39"/>
                  <a:pt x="804" y="43"/>
                  <a:pt x="808" y="43"/>
                </a:cubicBezTo>
                <a:cubicBezTo>
                  <a:pt x="812" y="43"/>
                  <a:pt x="814" y="40"/>
                  <a:pt x="814" y="40"/>
                </a:cubicBezTo>
                <a:cubicBezTo>
                  <a:pt x="813" y="38"/>
                  <a:pt x="813" y="38"/>
                  <a:pt x="813" y="38"/>
                </a:cubicBezTo>
                <a:cubicBezTo>
                  <a:pt x="817" y="37"/>
                  <a:pt x="817" y="37"/>
                  <a:pt x="817" y="37"/>
                </a:cubicBezTo>
                <a:cubicBezTo>
                  <a:pt x="811" y="33"/>
                  <a:pt x="811" y="33"/>
                  <a:pt x="811" y="33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3" y="30"/>
                  <a:pt x="803" y="30"/>
                  <a:pt x="803" y="30"/>
                </a:cubicBezTo>
                <a:cubicBezTo>
                  <a:pt x="799" y="30"/>
                  <a:pt x="799" y="30"/>
                  <a:pt x="799" y="30"/>
                </a:cubicBezTo>
                <a:cubicBezTo>
                  <a:pt x="794" y="30"/>
                  <a:pt x="787" y="30"/>
                  <a:pt x="787" y="33"/>
                </a:cubicBezTo>
                <a:cubicBezTo>
                  <a:pt x="786" y="35"/>
                  <a:pt x="793" y="35"/>
                  <a:pt x="793" y="35"/>
                </a:cubicBezTo>
                <a:close/>
                <a:moveTo>
                  <a:pt x="768" y="74"/>
                </a:moveTo>
                <a:cubicBezTo>
                  <a:pt x="768" y="74"/>
                  <a:pt x="755" y="74"/>
                  <a:pt x="748" y="76"/>
                </a:cubicBezTo>
                <a:cubicBezTo>
                  <a:pt x="741" y="79"/>
                  <a:pt x="752" y="81"/>
                  <a:pt x="750" y="83"/>
                </a:cubicBezTo>
                <a:cubicBezTo>
                  <a:pt x="747" y="86"/>
                  <a:pt x="743" y="79"/>
                  <a:pt x="735" y="82"/>
                </a:cubicBezTo>
                <a:cubicBezTo>
                  <a:pt x="737" y="88"/>
                  <a:pt x="737" y="88"/>
                  <a:pt x="737" y="88"/>
                </a:cubicBezTo>
                <a:cubicBezTo>
                  <a:pt x="737" y="88"/>
                  <a:pt x="739" y="90"/>
                  <a:pt x="742" y="90"/>
                </a:cubicBezTo>
                <a:cubicBezTo>
                  <a:pt x="746" y="91"/>
                  <a:pt x="746" y="98"/>
                  <a:pt x="746" y="98"/>
                </a:cubicBezTo>
                <a:cubicBezTo>
                  <a:pt x="746" y="98"/>
                  <a:pt x="760" y="96"/>
                  <a:pt x="765" y="95"/>
                </a:cubicBezTo>
                <a:cubicBezTo>
                  <a:pt x="769" y="94"/>
                  <a:pt x="769" y="85"/>
                  <a:pt x="769" y="85"/>
                </a:cubicBezTo>
                <a:cubicBezTo>
                  <a:pt x="760" y="83"/>
                  <a:pt x="760" y="83"/>
                  <a:pt x="760" y="83"/>
                </a:cubicBezTo>
                <a:cubicBezTo>
                  <a:pt x="760" y="83"/>
                  <a:pt x="771" y="80"/>
                  <a:pt x="777" y="78"/>
                </a:cubicBezTo>
                <a:cubicBezTo>
                  <a:pt x="782" y="76"/>
                  <a:pt x="768" y="74"/>
                  <a:pt x="768" y="74"/>
                </a:cubicBezTo>
                <a:close/>
                <a:moveTo>
                  <a:pt x="767" y="50"/>
                </a:moveTo>
                <a:cubicBezTo>
                  <a:pt x="771" y="49"/>
                  <a:pt x="771" y="43"/>
                  <a:pt x="768" y="43"/>
                </a:cubicBezTo>
                <a:cubicBezTo>
                  <a:pt x="765" y="43"/>
                  <a:pt x="763" y="50"/>
                  <a:pt x="767" y="50"/>
                </a:cubicBezTo>
                <a:close/>
                <a:moveTo>
                  <a:pt x="199" y="228"/>
                </a:moveTo>
                <a:cubicBezTo>
                  <a:pt x="197" y="230"/>
                  <a:pt x="192" y="231"/>
                  <a:pt x="193" y="232"/>
                </a:cubicBezTo>
                <a:cubicBezTo>
                  <a:pt x="195" y="234"/>
                  <a:pt x="201" y="232"/>
                  <a:pt x="201" y="232"/>
                </a:cubicBezTo>
                <a:cubicBezTo>
                  <a:pt x="202" y="230"/>
                  <a:pt x="202" y="230"/>
                  <a:pt x="202" y="230"/>
                </a:cubicBezTo>
                <a:cubicBezTo>
                  <a:pt x="202" y="230"/>
                  <a:pt x="205" y="231"/>
                  <a:pt x="205" y="230"/>
                </a:cubicBezTo>
                <a:cubicBezTo>
                  <a:pt x="204" y="228"/>
                  <a:pt x="202" y="226"/>
                  <a:pt x="199" y="228"/>
                </a:cubicBezTo>
                <a:close/>
                <a:moveTo>
                  <a:pt x="768" y="672"/>
                </a:moveTo>
                <a:cubicBezTo>
                  <a:pt x="766" y="672"/>
                  <a:pt x="761" y="670"/>
                  <a:pt x="758" y="670"/>
                </a:cubicBezTo>
                <a:cubicBezTo>
                  <a:pt x="755" y="670"/>
                  <a:pt x="755" y="677"/>
                  <a:pt x="755" y="677"/>
                </a:cubicBezTo>
                <a:cubicBezTo>
                  <a:pt x="761" y="678"/>
                  <a:pt x="761" y="678"/>
                  <a:pt x="761" y="678"/>
                </a:cubicBezTo>
                <a:cubicBezTo>
                  <a:pt x="762" y="677"/>
                  <a:pt x="762" y="677"/>
                  <a:pt x="762" y="677"/>
                </a:cubicBezTo>
                <a:cubicBezTo>
                  <a:pt x="762" y="677"/>
                  <a:pt x="765" y="678"/>
                  <a:pt x="768" y="677"/>
                </a:cubicBezTo>
                <a:cubicBezTo>
                  <a:pt x="772" y="677"/>
                  <a:pt x="775" y="674"/>
                  <a:pt x="775" y="672"/>
                </a:cubicBezTo>
                <a:cubicBezTo>
                  <a:pt x="775" y="671"/>
                  <a:pt x="769" y="672"/>
                  <a:pt x="768" y="672"/>
                </a:cubicBezTo>
                <a:close/>
                <a:moveTo>
                  <a:pt x="742" y="672"/>
                </a:moveTo>
                <a:cubicBezTo>
                  <a:pt x="744" y="671"/>
                  <a:pt x="743" y="668"/>
                  <a:pt x="743" y="668"/>
                </a:cubicBezTo>
                <a:cubicBezTo>
                  <a:pt x="743" y="668"/>
                  <a:pt x="738" y="664"/>
                  <a:pt x="735" y="663"/>
                </a:cubicBezTo>
                <a:cubicBezTo>
                  <a:pt x="732" y="662"/>
                  <a:pt x="731" y="661"/>
                  <a:pt x="729" y="660"/>
                </a:cubicBezTo>
                <a:cubicBezTo>
                  <a:pt x="727" y="660"/>
                  <a:pt x="725" y="656"/>
                  <a:pt x="724" y="655"/>
                </a:cubicBezTo>
                <a:cubicBezTo>
                  <a:pt x="723" y="654"/>
                  <a:pt x="718" y="654"/>
                  <a:pt x="714" y="654"/>
                </a:cubicBezTo>
                <a:cubicBezTo>
                  <a:pt x="713" y="654"/>
                  <a:pt x="712" y="654"/>
                  <a:pt x="712" y="655"/>
                </a:cubicBezTo>
                <a:cubicBezTo>
                  <a:pt x="710" y="655"/>
                  <a:pt x="710" y="656"/>
                  <a:pt x="710" y="656"/>
                </a:cubicBezTo>
                <a:cubicBezTo>
                  <a:pt x="710" y="656"/>
                  <a:pt x="703" y="654"/>
                  <a:pt x="700" y="654"/>
                </a:cubicBezTo>
                <a:cubicBezTo>
                  <a:pt x="697" y="654"/>
                  <a:pt x="695" y="654"/>
                  <a:pt x="694" y="656"/>
                </a:cubicBezTo>
                <a:cubicBezTo>
                  <a:pt x="693" y="657"/>
                  <a:pt x="698" y="657"/>
                  <a:pt x="699" y="657"/>
                </a:cubicBezTo>
                <a:cubicBezTo>
                  <a:pt x="701" y="657"/>
                  <a:pt x="703" y="660"/>
                  <a:pt x="703" y="660"/>
                </a:cubicBezTo>
                <a:cubicBezTo>
                  <a:pt x="703" y="660"/>
                  <a:pt x="700" y="661"/>
                  <a:pt x="701" y="664"/>
                </a:cubicBezTo>
                <a:cubicBezTo>
                  <a:pt x="701" y="667"/>
                  <a:pt x="703" y="668"/>
                  <a:pt x="700" y="668"/>
                </a:cubicBezTo>
                <a:cubicBezTo>
                  <a:pt x="698" y="668"/>
                  <a:pt x="693" y="667"/>
                  <a:pt x="692" y="667"/>
                </a:cubicBezTo>
                <a:cubicBezTo>
                  <a:pt x="690" y="667"/>
                  <a:pt x="686" y="667"/>
                  <a:pt x="685" y="669"/>
                </a:cubicBezTo>
                <a:cubicBezTo>
                  <a:pt x="685" y="669"/>
                  <a:pt x="689" y="674"/>
                  <a:pt x="691" y="675"/>
                </a:cubicBezTo>
                <a:cubicBezTo>
                  <a:pt x="693" y="676"/>
                  <a:pt x="694" y="672"/>
                  <a:pt x="694" y="672"/>
                </a:cubicBezTo>
                <a:cubicBezTo>
                  <a:pt x="694" y="672"/>
                  <a:pt x="697" y="672"/>
                  <a:pt x="701" y="672"/>
                </a:cubicBezTo>
                <a:cubicBezTo>
                  <a:pt x="704" y="672"/>
                  <a:pt x="708" y="671"/>
                  <a:pt x="708" y="671"/>
                </a:cubicBezTo>
                <a:cubicBezTo>
                  <a:pt x="713" y="677"/>
                  <a:pt x="713" y="677"/>
                  <a:pt x="713" y="677"/>
                </a:cubicBezTo>
                <a:cubicBezTo>
                  <a:pt x="720" y="672"/>
                  <a:pt x="720" y="672"/>
                  <a:pt x="720" y="672"/>
                </a:cubicBezTo>
                <a:cubicBezTo>
                  <a:pt x="720" y="672"/>
                  <a:pt x="726" y="672"/>
                  <a:pt x="733" y="672"/>
                </a:cubicBezTo>
                <a:cubicBezTo>
                  <a:pt x="736" y="673"/>
                  <a:pt x="740" y="673"/>
                  <a:pt x="742" y="672"/>
                </a:cubicBezTo>
                <a:close/>
                <a:moveTo>
                  <a:pt x="676" y="653"/>
                </a:moveTo>
                <a:cubicBezTo>
                  <a:pt x="683" y="651"/>
                  <a:pt x="690" y="650"/>
                  <a:pt x="690" y="650"/>
                </a:cubicBezTo>
                <a:cubicBezTo>
                  <a:pt x="690" y="650"/>
                  <a:pt x="690" y="648"/>
                  <a:pt x="687" y="648"/>
                </a:cubicBezTo>
                <a:cubicBezTo>
                  <a:pt x="683" y="647"/>
                  <a:pt x="680" y="647"/>
                  <a:pt x="680" y="647"/>
                </a:cubicBezTo>
                <a:cubicBezTo>
                  <a:pt x="680" y="647"/>
                  <a:pt x="682" y="643"/>
                  <a:pt x="678" y="643"/>
                </a:cubicBezTo>
                <a:cubicBezTo>
                  <a:pt x="674" y="642"/>
                  <a:pt x="671" y="643"/>
                  <a:pt x="671" y="643"/>
                </a:cubicBezTo>
                <a:cubicBezTo>
                  <a:pt x="674" y="640"/>
                  <a:pt x="674" y="640"/>
                  <a:pt x="674" y="640"/>
                </a:cubicBezTo>
                <a:cubicBezTo>
                  <a:pt x="674" y="640"/>
                  <a:pt x="668" y="638"/>
                  <a:pt x="666" y="638"/>
                </a:cubicBezTo>
                <a:cubicBezTo>
                  <a:pt x="665" y="638"/>
                  <a:pt x="660" y="636"/>
                  <a:pt x="660" y="636"/>
                </a:cubicBezTo>
                <a:cubicBezTo>
                  <a:pt x="660" y="636"/>
                  <a:pt x="662" y="632"/>
                  <a:pt x="661" y="632"/>
                </a:cubicBezTo>
                <a:cubicBezTo>
                  <a:pt x="659" y="632"/>
                  <a:pt x="658" y="632"/>
                  <a:pt x="658" y="632"/>
                </a:cubicBezTo>
                <a:cubicBezTo>
                  <a:pt x="658" y="632"/>
                  <a:pt x="650" y="624"/>
                  <a:pt x="648" y="625"/>
                </a:cubicBezTo>
                <a:cubicBezTo>
                  <a:pt x="646" y="627"/>
                  <a:pt x="650" y="629"/>
                  <a:pt x="650" y="629"/>
                </a:cubicBezTo>
                <a:cubicBezTo>
                  <a:pt x="641" y="625"/>
                  <a:pt x="641" y="625"/>
                  <a:pt x="641" y="625"/>
                </a:cubicBezTo>
                <a:cubicBezTo>
                  <a:pt x="641" y="625"/>
                  <a:pt x="636" y="619"/>
                  <a:pt x="633" y="618"/>
                </a:cubicBezTo>
                <a:cubicBezTo>
                  <a:pt x="631" y="617"/>
                  <a:pt x="625" y="618"/>
                  <a:pt x="625" y="618"/>
                </a:cubicBezTo>
                <a:cubicBezTo>
                  <a:pt x="625" y="618"/>
                  <a:pt x="620" y="616"/>
                  <a:pt x="612" y="616"/>
                </a:cubicBezTo>
                <a:cubicBezTo>
                  <a:pt x="604" y="616"/>
                  <a:pt x="601" y="618"/>
                  <a:pt x="597" y="621"/>
                </a:cubicBezTo>
                <a:cubicBezTo>
                  <a:pt x="594" y="624"/>
                  <a:pt x="587" y="627"/>
                  <a:pt x="587" y="627"/>
                </a:cubicBezTo>
                <a:cubicBezTo>
                  <a:pt x="598" y="626"/>
                  <a:pt x="598" y="626"/>
                  <a:pt x="598" y="626"/>
                </a:cubicBezTo>
                <a:cubicBezTo>
                  <a:pt x="598" y="624"/>
                  <a:pt x="598" y="624"/>
                  <a:pt x="598" y="624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11" y="622"/>
                  <a:pt x="611" y="622"/>
                  <a:pt x="611" y="622"/>
                </a:cubicBezTo>
                <a:cubicBezTo>
                  <a:pt x="611" y="622"/>
                  <a:pt x="617" y="622"/>
                  <a:pt x="619" y="623"/>
                </a:cubicBezTo>
                <a:cubicBezTo>
                  <a:pt x="620" y="625"/>
                  <a:pt x="614" y="626"/>
                  <a:pt x="614" y="626"/>
                </a:cubicBezTo>
                <a:cubicBezTo>
                  <a:pt x="616" y="627"/>
                  <a:pt x="616" y="627"/>
                  <a:pt x="616" y="627"/>
                </a:cubicBezTo>
                <a:cubicBezTo>
                  <a:pt x="616" y="627"/>
                  <a:pt x="620" y="629"/>
                  <a:pt x="623" y="630"/>
                </a:cubicBezTo>
                <a:cubicBezTo>
                  <a:pt x="627" y="631"/>
                  <a:pt x="627" y="629"/>
                  <a:pt x="627" y="629"/>
                </a:cubicBezTo>
                <a:cubicBezTo>
                  <a:pt x="627" y="629"/>
                  <a:pt x="630" y="631"/>
                  <a:pt x="633" y="633"/>
                </a:cubicBezTo>
                <a:cubicBezTo>
                  <a:pt x="637" y="635"/>
                  <a:pt x="643" y="632"/>
                  <a:pt x="643" y="632"/>
                </a:cubicBezTo>
                <a:cubicBezTo>
                  <a:pt x="642" y="636"/>
                  <a:pt x="642" y="636"/>
                  <a:pt x="642" y="636"/>
                </a:cubicBezTo>
                <a:cubicBezTo>
                  <a:pt x="651" y="640"/>
                  <a:pt x="651" y="640"/>
                  <a:pt x="651" y="640"/>
                </a:cubicBezTo>
                <a:cubicBezTo>
                  <a:pt x="654" y="644"/>
                  <a:pt x="654" y="644"/>
                  <a:pt x="654" y="644"/>
                </a:cubicBezTo>
                <a:cubicBezTo>
                  <a:pt x="654" y="644"/>
                  <a:pt x="657" y="646"/>
                  <a:pt x="657" y="647"/>
                </a:cubicBezTo>
                <a:cubicBezTo>
                  <a:pt x="657" y="649"/>
                  <a:pt x="652" y="650"/>
                  <a:pt x="653" y="652"/>
                </a:cubicBezTo>
                <a:cubicBezTo>
                  <a:pt x="655" y="654"/>
                  <a:pt x="660" y="650"/>
                  <a:pt x="662" y="650"/>
                </a:cubicBezTo>
                <a:cubicBezTo>
                  <a:pt x="663" y="650"/>
                  <a:pt x="667" y="650"/>
                  <a:pt x="664" y="651"/>
                </a:cubicBezTo>
                <a:cubicBezTo>
                  <a:pt x="661" y="651"/>
                  <a:pt x="666" y="654"/>
                  <a:pt x="666" y="654"/>
                </a:cubicBezTo>
                <a:cubicBezTo>
                  <a:pt x="666" y="654"/>
                  <a:pt x="670" y="655"/>
                  <a:pt x="676" y="653"/>
                </a:cubicBezTo>
                <a:close/>
                <a:moveTo>
                  <a:pt x="929" y="188"/>
                </a:moveTo>
                <a:cubicBezTo>
                  <a:pt x="934" y="187"/>
                  <a:pt x="934" y="187"/>
                  <a:pt x="934" y="187"/>
                </a:cubicBezTo>
                <a:cubicBezTo>
                  <a:pt x="934" y="185"/>
                  <a:pt x="934" y="185"/>
                  <a:pt x="934" y="185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8"/>
                  <a:pt x="929" y="188"/>
                  <a:pt x="929" y="188"/>
                </a:cubicBezTo>
                <a:cubicBezTo>
                  <a:pt x="929" y="188"/>
                  <a:pt x="929" y="188"/>
                  <a:pt x="929" y="188"/>
                </a:cubicBezTo>
                <a:close/>
                <a:moveTo>
                  <a:pt x="662" y="671"/>
                </a:moveTo>
                <a:cubicBezTo>
                  <a:pt x="660" y="671"/>
                  <a:pt x="656" y="671"/>
                  <a:pt x="654" y="671"/>
                </a:cubicBezTo>
                <a:cubicBezTo>
                  <a:pt x="652" y="670"/>
                  <a:pt x="650" y="669"/>
                  <a:pt x="648" y="670"/>
                </a:cubicBezTo>
                <a:cubicBezTo>
                  <a:pt x="646" y="671"/>
                  <a:pt x="644" y="671"/>
                  <a:pt x="644" y="671"/>
                </a:cubicBezTo>
                <a:cubicBezTo>
                  <a:pt x="644" y="671"/>
                  <a:pt x="646" y="674"/>
                  <a:pt x="648" y="675"/>
                </a:cubicBezTo>
                <a:cubicBezTo>
                  <a:pt x="649" y="676"/>
                  <a:pt x="653" y="676"/>
                  <a:pt x="653" y="676"/>
                </a:cubicBezTo>
                <a:cubicBezTo>
                  <a:pt x="655" y="677"/>
                  <a:pt x="655" y="677"/>
                  <a:pt x="655" y="677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60" y="675"/>
                  <a:pt x="660" y="675"/>
                  <a:pt x="660" y="675"/>
                </a:cubicBezTo>
                <a:cubicBezTo>
                  <a:pt x="667" y="677"/>
                  <a:pt x="667" y="677"/>
                  <a:pt x="667" y="677"/>
                </a:cubicBezTo>
                <a:cubicBezTo>
                  <a:pt x="667" y="677"/>
                  <a:pt x="664" y="671"/>
                  <a:pt x="662" y="671"/>
                </a:cubicBezTo>
                <a:close/>
                <a:moveTo>
                  <a:pt x="894" y="359"/>
                </a:moveTo>
                <a:cubicBezTo>
                  <a:pt x="892" y="358"/>
                  <a:pt x="889" y="360"/>
                  <a:pt x="888" y="360"/>
                </a:cubicBezTo>
                <a:cubicBezTo>
                  <a:pt x="889" y="360"/>
                  <a:pt x="890" y="359"/>
                  <a:pt x="892" y="356"/>
                </a:cubicBezTo>
                <a:cubicBezTo>
                  <a:pt x="895" y="354"/>
                  <a:pt x="888" y="353"/>
                  <a:pt x="885" y="357"/>
                </a:cubicBezTo>
                <a:cubicBezTo>
                  <a:pt x="884" y="360"/>
                  <a:pt x="884" y="360"/>
                  <a:pt x="884" y="360"/>
                </a:cubicBezTo>
                <a:cubicBezTo>
                  <a:pt x="882" y="363"/>
                  <a:pt x="882" y="363"/>
                  <a:pt x="882" y="363"/>
                </a:cubicBezTo>
                <a:cubicBezTo>
                  <a:pt x="890" y="362"/>
                  <a:pt x="890" y="362"/>
                  <a:pt x="890" y="362"/>
                </a:cubicBezTo>
                <a:cubicBezTo>
                  <a:pt x="890" y="362"/>
                  <a:pt x="898" y="360"/>
                  <a:pt x="894" y="359"/>
                </a:cubicBezTo>
                <a:close/>
                <a:moveTo>
                  <a:pt x="865" y="357"/>
                </a:moveTo>
                <a:cubicBezTo>
                  <a:pt x="861" y="356"/>
                  <a:pt x="859" y="354"/>
                  <a:pt x="859" y="354"/>
                </a:cubicBezTo>
                <a:cubicBezTo>
                  <a:pt x="857" y="356"/>
                  <a:pt x="857" y="356"/>
                  <a:pt x="857" y="356"/>
                </a:cubicBezTo>
                <a:cubicBezTo>
                  <a:pt x="857" y="356"/>
                  <a:pt x="860" y="358"/>
                  <a:pt x="861" y="358"/>
                </a:cubicBezTo>
                <a:cubicBezTo>
                  <a:pt x="862" y="359"/>
                  <a:pt x="866" y="359"/>
                  <a:pt x="866" y="359"/>
                </a:cubicBezTo>
                <a:cubicBezTo>
                  <a:pt x="866" y="359"/>
                  <a:pt x="868" y="360"/>
                  <a:pt x="870" y="360"/>
                </a:cubicBezTo>
                <a:cubicBezTo>
                  <a:pt x="872" y="359"/>
                  <a:pt x="873" y="357"/>
                  <a:pt x="873" y="357"/>
                </a:cubicBezTo>
                <a:cubicBezTo>
                  <a:pt x="873" y="357"/>
                  <a:pt x="869" y="357"/>
                  <a:pt x="865" y="357"/>
                </a:cubicBezTo>
                <a:close/>
                <a:moveTo>
                  <a:pt x="810" y="152"/>
                </a:moveTo>
                <a:cubicBezTo>
                  <a:pt x="807" y="151"/>
                  <a:pt x="809" y="155"/>
                  <a:pt x="809" y="155"/>
                </a:cubicBezTo>
                <a:cubicBezTo>
                  <a:pt x="811" y="155"/>
                  <a:pt x="813" y="152"/>
                  <a:pt x="810" y="152"/>
                </a:cubicBezTo>
                <a:close/>
                <a:moveTo>
                  <a:pt x="745" y="287"/>
                </a:moveTo>
                <a:cubicBezTo>
                  <a:pt x="750" y="287"/>
                  <a:pt x="743" y="284"/>
                  <a:pt x="743" y="284"/>
                </a:cubicBezTo>
                <a:cubicBezTo>
                  <a:pt x="734" y="285"/>
                  <a:pt x="739" y="288"/>
                  <a:pt x="745" y="287"/>
                </a:cubicBezTo>
                <a:close/>
                <a:moveTo>
                  <a:pt x="881" y="322"/>
                </a:moveTo>
                <a:cubicBezTo>
                  <a:pt x="881" y="322"/>
                  <a:pt x="875" y="320"/>
                  <a:pt x="869" y="320"/>
                </a:cubicBezTo>
                <a:cubicBezTo>
                  <a:pt x="863" y="320"/>
                  <a:pt x="872" y="322"/>
                  <a:pt x="872" y="322"/>
                </a:cubicBezTo>
                <a:cubicBezTo>
                  <a:pt x="872" y="324"/>
                  <a:pt x="872" y="324"/>
                  <a:pt x="872" y="324"/>
                </a:cubicBezTo>
                <a:cubicBezTo>
                  <a:pt x="872" y="324"/>
                  <a:pt x="879" y="325"/>
                  <a:pt x="885" y="326"/>
                </a:cubicBezTo>
                <a:cubicBezTo>
                  <a:pt x="891" y="327"/>
                  <a:pt x="897" y="325"/>
                  <a:pt x="881" y="322"/>
                </a:cubicBezTo>
                <a:close/>
                <a:moveTo>
                  <a:pt x="730" y="82"/>
                </a:moveTo>
                <a:cubicBezTo>
                  <a:pt x="726" y="78"/>
                  <a:pt x="726" y="78"/>
                  <a:pt x="726" y="78"/>
                </a:cubicBezTo>
                <a:cubicBezTo>
                  <a:pt x="722" y="79"/>
                  <a:pt x="722" y="79"/>
                  <a:pt x="722" y="79"/>
                </a:cubicBezTo>
                <a:cubicBezTo>
                  <a:pt x="722" y="79"/>
                  <a:pt x="719" y="76"/>
                  <a:pt x="714" y="77"/>
                </a:cubicBezTo>
                <a:cubicBezTo>
                  <a:pt x="709" y="79"/>
                  <a:pt x="721" y="84"/>
                  <a:pt x="721" y="84"/>
                </a:cubicBezTo>
                <a:cubicBezTo>
                  <a:pt x="730" y="82"/>
                  <a:pt x="730" y="82"/>
                  <a:pt x="730" y="82"/>
                </a:cubicBezTo>
                <a:cubicBezTo>
                  <a:pt x="730" y="82"/>
                  <a:pt x="730" y="82"/>
                  <a:pt x="730" y="82"/>
                </a:cubicBezTo>
                <a:close/>
                <a:moveTo>
                  <a:pt x="653" y="61"/>
                </a:moveTo>
                <a:cubicBezTo>
                  <a:pt x="644" y="63"/>
                  <a:pt x="650" y="65"/>
                  <a:pt x="650" y="65"/>
                </a:cubicBezTo>
                <a:cubicBezTo>
                  <a:pt x="662" y="62"/>
                  <a:pt x="661" y="59"/>
                  <a:pt x="653" y="61"/>
                </a:cubicBezTo>
                <a:close/>
                <a:moveTo>
                  <a:pt x="709" y="126"/>
                </a:moveTo>
                <a:cubicBezTo>
                  <a:pt x="716" y="126"/>
                  <a:pt x="717" y="123"/>
                  <a:pt x="713" y="123"/>
                </a:cubicBezTo>
                <a:cubicBezTo>
                  <a:pt x="708" y="123"/>
                  <a:pt x="709" y="126"/>
                  <a:pt x="709" y="126"/>
                </a:cubicBezTo>
                <a:close/>
                <a:moveTo>
                  <a:pt x="604" y="633"/>
                </a:moveTo>
                <a:cubicBezTo>
                  <a:pt x="603" y="636"/>
                  <a:pt x="609" y="637"/>
                  <a:pt x="609" y="633"/>
                </a:cubicBezTo>
                <a:cubicBezTo>
                  <a:pt x="610" y="631"/>
                  <a:pt x="604" y="633"/>
                  <a:pt x="604" y="633"/>
                </a:cubicBezTo>
                <a:close/>
                <a:moveTo>
                  <a:pt x="980" y="147"/>
                </a:moveTo>
                <a:cubicBezTo>
                  <a:pt x="983" y="143"/>
                  <a:pt x="975" y="141"/>
                  <a:pt x="974" y="142"/>
                </a:cubicBezTo>
                <a:cubicBezTo>
                  <a:pt x="973" y="143"/>
                  <a:pt x="970" y="141"/>
                  <a:pt x="970" y="141"/>
                </a:cubicBezTo>
                <a:cubicBezTo>
                  <a:pt x="966" y="144"/>
                  <a:pt x="966" y="144"/>
                  <a:pt x="966" y="144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0" y="140"/>
                  <a:pt x="960" y="140"/>
                  <a:pt x="960" y="140"/>
                </a:cubicBezTo>
                <a:cubicBezTo>
                  <a:pt x="960" y="140"/>
                  <a:pt x="967" y="138"/>
                  <a:pt x="966" y="136"/>
                </a:cubicBezTo>
                <a:cubicBezTo>
                  <a:pt x="964" y="134"/>
                  <a:pt x="954" y="133"/>
                  <a:pt x="954" y="133"/>
                </a:cubicBezTo>
                <a:cubicBezTo>
                  <a:pt x="953" y="131"/>
                  <a:pt x="953" y="131"/>
                  <a:pt x="953" y="131"/>
                </a:cubicBezTo>
                <a:cubicBezTo>
                  <a:pt x="946" y="131"/>
                  <a:pt x="946" y="131"/>
                  <a:pt x="946" y="131"/>
                </a:cubicBezTo>
                <a:cubicBezTo>
                  <a:pt x="937" y="124"/>
                  <a:pt x="937" y="124"/>
                  <a:pt x="937" y="124"/>
                </a:cubicBezTo>
                <a:cubicBezTo>
                  <a:pt x="947" y="124"/>
                  <a:pt x="947" y="124"/>
                  <a:pt x="947" y="124"/>
                </a:cubicBezTo>
                <a:cubicBezTo>
                  <a:pt x="943" y="121"/>
                  <a:pt x="943" y="121"/>
                  <a:pt x="943" y="121"/>
                </a:cubicBezTo>
                <a:cubicBezTo>
                  <a:pt x="943" y="121"/>
                  <a:pt x="945" y="120"/>
                  <a:pt x="946" y="120"/>
                </a:cubicBezTo>
                <a:cubicBezTo>
                  <a:pt x="947" y="120"/>
                  <a:pt x="958" y="122"/>
                  <a:pt x="957" y="120"/>
                </a:cubicBezTo>
                <a:cubicBezTo>
                  <a:pt x="955" y="117"/>
                  <a:pt x="944" y="117"/>
                  <a:pt x="944" y="117"/>
                </a:cubicBezTo>
                <a:cubicBezTo>
                  <a:pt x="940" y="117"/>
                  <a:pt x="940" y="117"/>
                  <a:pt x="940" y="117"/>
                </a:cubicBezTo>
                <a:cubicBezTo>
                  <a:pt x="940" y="117"/>
                  <a:pt x="956" y="117"/>
                  <a:pt x="957" y="115"/>
                </a:cubicBezTo>
                <a:cubicBezTo>
                  <a:pt x="957" y="113"/>
                  <a:pt x="952" y="113"/>
                  <a:pt x="952" y="113"/>
                </a:cubicBezTo>
                <a:cubicBezTo>
                  <a:pt x="938" y="115"/>
                  <a:pt x="938" y="115"/>
                  <a:pt x="938" y="115"/>
                </a:cubicBezTo>
                <a:cubicBezTo>
                  <a:pt x="946" y="110"/>
                  <a:pt x="946" y="110"/>
                  <a:pt x="946" y="110"/>
                </a:cubicBezTo>
                <a:cubicBezTo>
                  <a:pt x="946" y="110"/>
                  <a:pt x="957" y="111"/>
                  <a:pt x="954" y="108"/>
                </a:cubicBezTo>
                <a:cubicBezTo>
                  <a:pt x="950" y="105"/>
                  <a:pt x="945" y="105"/>
                  <a:pt x="945" y="105"/>
                </a:cubicBezTo>
                <a:cubicBezTo>
                  <a:pt x="940" y="108"/>
                  <a:pt x="940" y="108"/>
                  <a:pt x="940" y="108"/>
                </a:cubicBezTo>
                <a:cubicBezTo>
                  <a:pt x="937" y="107"/>
                  <a:pt x="937" y="107"/>
                  <a:pt x="937" y="107"/>
                </a:cubicBezTo>
                <a:cubicBezTo>
                  <a:pt x="932" y="112"/>
                  <a:pt x="932" y="112"/>
                  <a:pt x="932" y="112"/>
                </a:cubicBezTo>
                <a:cubicBezTo>
                  <a:pt x="932" y="108"/>
                  <a:pt x="932" y="108"/>
                  <a:pt x="932" y="108"/>
                </a:cubicBezTo>
                <a:cubicBezTo>
                  <a:pt x="929" y="111"/>
                  <a:pt x="929" y="111"/>
                  <a:pt x="929" y="111"/>
                </a:cubicBezTo>
                <a:cubicBezTo>
                  <a:pt x="932" y="107"/>
                  <a:pt x="932" y="107"/>
                  <a:pt x="932" y="107"/>
                </a:cubicBezTo>
                <a:cubicBezTo>
                  <a:pt x="932" y="107"/>
                  <a:pt x="936" y="108"/>
                  <a:pt x="938" y="106"/>
                </a:cubicBezTo>
                <a:cubicBezTo>
                  <a:pt x="940" y="104"/>
                  <a:pt x="940" y="101"/>
                  <a:pt x="939" y="102"/>
                </a:cubicBezTo>
                <a:cubicBezTo>
                  <a:pt x="937" y="102"/>
                  <a:pt x="936" y="104"/>
                  <a:pt x="936" y="104"/>
                </a:cubicBezTo>
                <a:cubicBezTo>
                  <a:pt x="931" y="104"/>
                  <a:pt x="931" y="104"/>
                  <a:pt x="931" y="104"/>
                </a:cubicBezTo>
                <a:cubicBezTo>
                  <a:pt x="928" y="106"/>
                  <a:pt x="928" y="106"/>
                  <a:pt x="928" y="106"/>
                </a:cubicBezTo>
                <a:cubicBezTo>
                  <a:pt x="931" y="102"/>
                  <a:pt x="931" y="102"/>
                  <a:pt x="931" y="102"/>
                </a:cubicBezTo>
                <a:cubicBezTo>
                  <a:pt x="935" y="102"/>
                  <a:pt x="935" y="102"/>
                  <a:pt x="935" y="102"/>
                </a:cubicBezTo>
                <a:cubicBezTo>
                  <a:pt x="935" y="102"/>
                  <a:pt x="940" y="100"/>
                  <a:pt x="937" y="98"/>
                </a:cubicBezTo>
                <a:cubicBezTo>
                  <a:pt x="935" y="97"/>
                  <a:pt x="925" y="101"/>
                  <a:pt x="925" y="101"/>
                </a:cubicBezTo>
                <a:cubicBezTo>
                  <a:pt x="924" y="99"/>
                  <a:pt x="924" y="99"/>
                  <a:pt x="924" y="99"/>
                </a:cubicBezTo>
                <a:cubicBezTo>
                  <a:pt x="920" y="102"/>
                  <a:pt x="920" y="102"/>
                  <a:pt x="920" y="102"/>
                </a:cubicBezTo>
                <a:cubicBezTo>
                  <a:pt x="923" y="97"/>
                  <a:pt x="923" y="97"/>
                  <a:pt x="923" y="97"/>
                </a:cubicBezTo>
                <a:cubicBezTo>
                  <a:pt x="916" y="100"/>
                  <a:pt x="916" y="100"/>
                  <a:pt x="916" y="100"/>
                </a:cubicBezTo>
                <a:cubicBezTo>
                  <a:pt x="916" y="97"/>
                  <a:pt x="916" y="97"/>
                  <a:pt x="916" y="97"/>
                </a:cubicBezTo>
                <a:cubicBezTo>
                  <a:pt x="916" y="97"/>
                  <a:pt x="923" y="95"/>
                  <a:pt x="923" y="94"/>
                </a:cubicBezTo>
                <a:cubicBezTo>
                  <a:pt x="923" y="93"/>
                  <a:pt x="913" y="95"/>
                  <a:pt x="913" y="95"/>
                </a:cubicBezTo>
                <a:cubicBezTo>
                  <a:pt x="913" y="94"/>
                  <a:pt x="913" y="94"/>
                  <a:pt x="913" y="94"/>
                </a:cubicBezTo>
                <a:cubicBezTo>
                  <a:pt x="913" y="94"/>
                  <a:pt x="923" y="92"/>
                  <a:pt x="922" y="90"/>
                </a:cubicBezTo>
                <a:cubicBezTo>
                  <a:pt x="920" y="89"/>
                  <a:pt x="907" y="88"/>
                  <a:pt x="905" y="88"/>
                </a:cubicBezTo>
                <a:cubicBezTo>
                  <a:pt x="903" y="87"/>
                  <a:pt x="900" y="88"/>
                  <a:pt x="900" y="89"/>
                </a:cubicBezTo>
                <a:cubicBezTo>
                  <a:pt x="899" y="89"/>
                  <a:pt x="902" y="92"/>
                  <a:pt x="902" y="92"/>
                </a:cubicBezTo>
                <a:cubicBezTo>
                  <a:pt x="897" y="92"/>
                  <a:pt x="897" y="92"/>
                  <a:pt x="897" y="92"/>
                </a:cubicBezTo>
                <a:cubicBezTo>
                  <a:pt x="897" y="95"/>
                  <a:pt x="897" y="95"/>
                  <a:pt x="897" y="95"/>
                </a:cubicBezTo>
                <a:cubicBezTo>
                  <a:pt x="894" y="92"/>
                  <a:pt x="894" y="92"/>
                  <a:pt x="894" y="92"/>
                </a:cubicBezTo>
                <a:cubicBezTo>
                  <a:pt x="889" y="95"/>
                  <a:pt x="889" y="95"/>
                  <a:pt x="889" y="95"/>
                </a:cubicBezTo>
                <a:cubicBezTo>
                  <a:pt x="889" y="95"/>
                  <a:pt x="890" y="92"/>
                  <a:pt x="889" y="91"/>
                </a:cubicBezTo>
                <a:cubicBezTo>
                  <a:pt x="888" y="90"/>
                  <a:pt x="878" y="94"/>
                  <a:pt x="878" y="94"/>
                </a:cubicBezTo>
                <a:cubicBezTo>
                  <a:pt x="881" y="89"/>
                  <a:pt x="881" y="89"/>
                  <a:pt x="881" y="89"/>
                </a:cubicBezTo>
                <a:cubicBezTo>
                  <a:pt x="881" y="89"/>
                  <a:pt x="889" y="89"/>
                  <a:pt x="889" y="87"/>
                </a:cubicBezTo>
                <a:cubicBezTo>
                  <a:pt x="889" y="85"/>
                  <a:pt x="886" y="83"/>
                  <a:pt x="886" y="83"/>
                </a:cubicBezTo>
                <a:cubicBezTo>
                  <a:pt x="886" y="83"/>
                  <a:pt x="891" y="79"/>
                  <a:pt x="888" y="78"/>
                </a:cubicBezTo>
                <a:cubicBezTo>
                  <a:pt x="884" y="78"/>
                  <a:pt x="875" y="79"/>
                  <a:pt x="875" y="79"/>
                </a:cubicBezTo>
                <a:cubicBezTo>
                  <a:pt x="872" y="81"/>
                  <a:pt x="872" y="81"/>
                  <a:pt x="872" y="81"/>
                </a:cubicBezTo>
                <a:cubicBezTo>
                  <a:pt x="859" y="81"/>
                  <a:pt x="859" y="81"/>
                  <a:pt x="859" y="81"/>
                </a:cubicBezTo>
                <a:cubicBezTo>
                  <a:pt x="861" y="83"/>
                  <a:pt x="861" y="83"/>
                  <a:pt x="861" y="83"/>
                </a:cubicBezTo>
                <a:cubicBezTo>
                  <a:pt x="865" y="85"/>
                  <a:pt x="865" y="85"/>
                  <a:pt x="865" y="85"/>
                </a:cubicBezTo>
                <a:cubicBezTo>
                  <a:pt x="859" y="83"/>
                  <a:pt x="859" y="83"/>
                  <a:pt x="859" y="83"/>
                </a:cubicBezTo>
                <a:cubicBezTo>
                  <a:pt x="860" y="87"/>
                  <a:pt x="860" y="87"/>
                  <a:pt x="860" y="87"/>
                </a:cubicBezTo>
                <a:cubicBezTo>
                  <a:pt x="860" y="87"/>
                  <a:pt x="853" y="84"/>
                  <a:pt x="852" y="86"/>
                </a:cubicBezTo>
                <a:cubicBezTo>
                  <a:pt x="850" y="89"/>
                  <a:pt x="853" y="92"/>
                  <a:pt x="853" y="92"/>
                </a:cubicBezTo>
                <a:cubicBezTo>
                  <a:pt x="854" y="95"/>
                  <a:pt x="854" y="95"/>
                  <a:pt x="854" y="95"/>
                </a:cubicBezTo>
                <a:cubicBezTo>
                  <a:pt x="854" y="95"/>
                  <a:pt x="850" y="93"/>
                  <a:pt x="847" y="93"/>
                </a:cubicBezTo>
                <a:cubicBezTo>
                  <a:pt x="845" y="94"/>
                  <a:pt x="842" y="98"/>
                  <a:pt x="845" y="98"/>
                </a:cubicBezTo>
                <a:cubicBezTo>
                  <a:pt x="847" y="98"/>
                  <a:pt x="848" y="99"/>
                  <a:pt x="848" y="99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33" y="103"/>
                  <a:pt x="833" y="103"/>
                  <a:pt x="833" y="103"/>
                </a:cubicBezTo>
                <a:cubicBezTo>
                  <a:pt x="833" y="103"/>
                  <a:pt x="841" y="102"/>
                  <a:pt x="841" y="100"/>
                </a:cubicBezTo>
                <a:cubicBezTo>
                  <a:pt x="841" y="98"/>
                  <a:pt x="836" y="98"/>
                  <a:pt x="838" y="95"/>
                </a:cubicBezTo>
                <a:cubicBezTo>
                  <a:pt x="841" y="92"/>
                  <a:pt x="843" y="92"/>
                  <a:pt x="843" y="92"/>
                </a:cubicBezTo>
                <a:cubicBezTo>
                  <a:pt x="843" y="88"/>
                  <a:pt x="843" y="88"/>
                  <a:pt x="843" y="88"/>
                </a:cubicBezTo>
                <a:cubicBezTo>
                  <a:pt x="843" y="88"/>
                  <a:pt x="851" y="83"/>
                  <a:pt x="853" y="82"/>
                </a:cubicBezTo>
                <a:cubicBezTo>
                  <a:pt x="856" y="81"/>
                  <a:pt x="865" y="79"/>
                  <a:pt x="863" y="79"/>
                </a:cubicBezTo>
                <a:cubicBezTo>
                  <a:pt x="862" y="78"/>
                  <a:pt x="852" y="77"/>
                  <a:pt x="847" y="78"/>
                </a:cubicBezTo>
                <a:cubicBezTo>
                  <a:pt x="841" y="78"/>
                  <a:pt x="827" y="87"/>
                  <a:pt x="827" y="87"/>
                </a:cubicBezTo>
                <a:cubicBezTo>
                  <a:pt x="827" y="87"/>
                  <a:pt x="821" y="89"/>
                  <a:pt x="819" y="90"/>
                </a:cubicBezTo>
                <a:cubicBezTo>
                  <a:pt x="817" y="90"/>
                  <a:pt x="816" y="92"/>
                  <a:pt x="816" y="92"/>
                </a:cubicBezTo>
                <a:cubicBezTo>
                  <a:pt x="816" y="92"/>
                  <a:pt x="807" y="98"/>
                  <a:pt x="810" y="99"/>
                </a:cubicBezTo>
                <a:cubicBezTo>
                  <a:pt x="814" y="101"/>
                  <a:pt x="825" y="100"/>
                  <a:pt x="823" y="102"/>
                </a:cubicBezTo>
                <a:cubicBezTo>
                  <a:pt x="822" y="104"/>
                  <a:pt x="804" y="103"/>
                  <a:pt x="808" y="107"/>
                </a:cubicBezTo>
                <a:cubicBezTo>
                  <a:pt x="813" y="110"/>
                  <a:pt x="818" y="110"/>
                  <a:pt x="818" y="110"/>
                </a:cubicBezTo>
                <a:cubicBezTo>
                  <a:pt x="825" y="108"/>
                  <a:pt x="825" y="108"/>
                  <a:pt x="825" y="108"/>
                </a:cubicBezTo>
                <a:cubicBezTo>
                  <a:pt x="825" y="108"/>
                  <a:pt x="823" y="111"/>
                  <a:pt x="827" y="111"/>
                </a:cubicBezTo>
                <a:cubicBezTo>
                  <a:pt x="832" y="111"/>
                  <a:pt x="851" y="115"/>
                  <a:pt x="853" y="114"/>
                </a:cubicBezTo>
                <a:cubicBezTo>
                  <a:pt x="855" y="113"/>
                  <a:pt x="850" y="110"/>
                  <a:pt x="850" y="110"/>
                </a:cubicBezTo>
                <a:cubicBezTo>
                  <a:pt x="850" y="110"/>
                  <a:pt x="864" y="112"/>
                  <a:pt x="866" y="112"/>
                </a:cubicBezTo>
                <a:cubicBezTo>
                  <a:pt x="868" y="112"/>
                  <a:pt x="874" y="114"/>
                  <a:pt x="876" y="113"/>
                </a:cubicBezTo>
                <a:cubicBezTo>
                  <a:pt x="878" y="112"/>
                  <a:pt x="874" y="108"/>
                  <a:pt x="874" y="108"/>
                </a:cubicBezTo>
                <a:cubicBezTo>
                  <a:pt x="881" y="107"/>
                  <a:pt x="881" y="107"/>
                  <a:pt x="881" y="107"/>
                </a:cubicBezTo>
                <a:cubicBezTo>
                  <a:pt x="881" y="107"/>
                  <a:pt x="882" y="111"/>
                  <a:pt x="883" y="111"/>
                </a:cubicBezTo>
                <a:cubicBezTo>
                  <a:pt x="884" y="111"/>
                  <a:pt x="887" y="114"/>
                  <a:pt x="887" y="114"/>
                </a:cubicBezTo>
                <a:cubicBezTo>
                  <a:pt x="891" y="113"/>
                  <a:pt x="891" y="113"/>
                  <a:pt x="891" y="113"/>
                </a:cubicBezTo>
                <a:cubicBezTo>
                  <a:pt x="891" y="113"/>
                  <a:pt x="889" y="117"/>
                  <a:pt x="890" y="117"/>
                </a:cubicBezTo>
                <a:cubicBezTo>
                  <a:pt x="891" y="117"/>
                  <a:pt x="897" y="119"/>
                  <a:pt x="897" y="119"/>
                </a:cubicBezTo>
                <a:cubicBezTo>
                  <a:pt x="897" y="119"/>
                  <a:pt x="893" y="123"/>
                  <a:pt x="894" y="123"/>
                </a:cubicBezTo>
                <a:cubicBezTo>
                  <a:pt x="896" y="123"/>
                  <a:pt x="900" y="123"/>
                  <a:pt x="900" y="123"/>
                </a:cubicBezTo>
                <a:cubicBezTo>
                  <a:pt x="899" y="126"/>
                  <a:pt x="899" y="126"/>
                  <a:pt x="899" y="126"/>
                </a:cubicBezTo>
                <a:cubicBezTo>
                  <a:pt x="899" y="126"/>
                  <a:pt x="906" y="127"/>
                  <a:pt x="906" y="130"/>
                </a:cubicBezTo>
                <a:cubicBezTo>
                  <a:pt x="906" y="134"/>
                  <a:pt x="902" y="141"/>
                  <a:pt x="900" y="141"/>
                </a:cubicBezTo>
                <a:cubicBezTo>
                  <a:pt x="899" y="141"/>
                  <a:pt x="881" y="149"/>
                  <a:pt x="881" y="149"/>
                </a:cubicBezTo>
                <a:cubicBezTo>
                  <a:pt x="881" y="149"/>
                  <a:pt x="887" y="153"/>
                  <a:pt x="884" y="155"/>
                </a:cubicBezTo>
                <a:cubicBezTo>
                  <a:pt x="881" y="156"/>
                  <a:pt x="876" y="156"/>
                  <a:pt x="876" y="156"/>
                </a:cubicBezTo>
                <a:cubicBezTo>
                  <a:pt x="866" y="158"/>
                  <a:pt x="866" y="158"/>
                  <a:pt x="866" y="158"/>
                </a:cubicBezTo>
                <a:cubicBezTo>
                  <a:pt x="864" y="161"/>
                  <a:pt x="864" y="161"/>
                  <a:pt x="864" y="161"/>
                </a:cubicBezTo>
                <a:cubicBezTo>
                  <a:pt x="862" y="158"/>
                  <a:pt x="862" y="158"/>
                  <a:pt x="862" y="158"/>
                </a:cubicBezTo>
                <a:cubicBezTo>
                  <a:pt x="862" y="158"/>
                  <a:pt x="857" y="156"/>
                  <a:pt x="854" y="157"/>
                </a:cubicBezTo>
                <a:cubicBezTo>
                  <a:pt x="851" y="157"/>
                  <a:pt x="852" y="160"/>
                  <a:pt x="852" y="160"/>
                </a:cubicBezTo>
                <a:cubicBezTo>
                  <a:pt x="852" y="160"/>
                  <a:pt x="842" y="162"/>
                  <a:pt x="842" y="165"/>
                </a:cubicBezTo>
                <a:cubicBezTo>
                  <a:pt x="842" y="170"/>
                  <a:pt x="849" y="169"/>
                  <a:pt x="855" y="167"/>
                </a:cubicBezTo>
                <a:cubicBezTo>
                  <a:pt x="861" y="165"/>
                  <a:pt x="862" y="165"/>
                  <a:pt x="862" y="165"/>
                </a:cubicBezTo>
                <a:cubicBezTo>
                  <a:pt x="862" y="165"/>
                  <a:pt x="866" y="168"/>
                  <a:pt x="867" y="167"/>
                </a:cubicBezTo>
                <a:cubicBezTo>
                  <a:pt x="868" y="166"/>
                  <a:pt x="868" y="164"/>
                  <a:pt x="868" y="164"/>
                </a:cubicBezTo>
                <a:cubicBezTo>
                  <a:pt x="871" y="161"/>
                  <a:pt x="871" y="161"/>
                  <a:pt x="871" y="161"/>
                </a:cubicBezTo>
                <a:cubicBezTo>
                  <a:pt x="871" y="161"/>
                  <a:pt x="868" y="163"/>
                  <a:pt x="870" y="164"/>
                </a:cubicBezTo>
                <a:cubicBezTo>
                  <a:pt x="872" y="164"/>
                  <a:pt x="879" y="164"/>
                  <a:pt x="879" y="164"/>
                </a:cubicBezTo>
                <a:cubicBezTo>
                  <a:pt x="879" y="164"/>
                  <a:pt x="876" y="166"/>
                  <a:pt x="877" y="167"/>
                </a:cubicBezTo>
                <a:cubicBezTo>
                  <a:pt x="877" y="169"/>
                  <a:pt x="881" y="169"/>
                  <a:pt x="881" y="169"/>
                </a:cubicBezTo>
                <a:cubicBezTo>
                  <a:pt x="881" y="169"/>
                  <a:pt x="878" y="171"/>
                  <a:pt x="881" y="173"/>
                </a:cubicBezTo>
                <a:cubicBezTo>
                  <a:pt x="883" y="174"/>
                  <a:pt x="888" y="174"/>
                  <a:pt x="888" y="174"/>
                </a:cubicBezTo>
                <a:cubicBezTo>
                  <a:pt x="882" y="176"/>
                  <a:pt x="882" y="176"/>
                  <a:pt x="882" y="176"/>
                </a:cubicBezTo>
                <a:cubicBezTo>
                  <a:pt x="882" y="176"/>
                  <a:pt x="883" y="181"/>
                  <a:pt x="884" y="180"/>
                </a:cubicBezTo>
                <a:cubicBezTo>
                  <a:pt x="885" y="180"/>
                  <a:pt x="887" y="179"/>
                  <a:pt x="887" y="179"/>
                </a:cubicBezTo>
                <a:cubicBezTo>
                  <a:pt x="887" y="179"/>
                  <a:pt x="888" y="182"/>
                  <a:pt x="890" y="182"/>
                </a:cubicBezTo>
                <a:cubicBezTo>
                  <a:pt x="892" y="182"/>
                  <a:pt x="896" y="183"/>
                  <a:pt x="896" y="183"/>
                </a:cubicBezTo>
                <a:cubicBezTo>
                  <a:pt x="896" y="183"/>
                  <a:pt x="896" y="187"/>
                  <a:pt x="899" y="187"/>
                </a:cubicBezTo>
                <a:cubicBezTo>
                  <a:pt x="903" y="188"/>
                  <a:pt x="905" y="187"/>
                  <a:pt x="908" y="188"/>
                </a:cubicBezTo>
                <a:cubicBezTo>
                  <a:pt x="911" y="190"/>
                  <a:pt x="918" y="193"/>
                  <a:pt x="918" y="193"/>
                </a:cubicBezTo>
                <a:cubicBezTo>
                  <a:pt x="918" y="193"/>
                  <a:pt x="921" y="189"/>
                  <a:pt x="918" y="186"/>
                </a:cubicBezTo>
                <a:cubicBezTo>
                  <a:pt x="916" y="183"/>
                  <a:pt x="912" y="181"/>
                  <a:pt x="912" y="181"/>
                </a:cubicBezTo>
                <a:cubicBezTo>
                  <a:pt x="912" y="181"/>
                  <a:pt x="907" y="175"/>
                  <a:pt x="908" y="174"/>
                </a:cubicBezTo>
                <a:cubicBezTo>
                  <a:pt x="909" y="172"/>
                  <a:pt x="914" y="177"/>
                  <a:pt x="914" y="177"/>
                </a:cubicBezTo>
                <a:cubicBezTo>
                  <a:pt x="914" y="173"/>
                  <a:pt x="914" y="173"/>
                  <a:pt x="914" y="173"/>
                </a:cubicBezTo>
                <a:cubicBezTo>
                  <a:pt x="914" y="173"/>
                  <a:pt x="916" y="178"/>
                  <a:pt x="918" y="178"/>
                </a:cubicBezTo>
                <a:cubicBezTo>
                  <a:pt x="920" y="178"/>
                  <a:pt x="923" y="177"/>
                  <a:pt x="923" y="177"/>
                </a:cubicBezTo>
                <a:cubicBezTo>
                  <a:pt x="923" y="177"/>
                  <a:pt x="922" y="181"/>
                  <a:pt x="925" y="181"/>
                </a:cubicBezTo>
                <a:cubicBezTo>
                  <a:pt x="927" y="181"/>
                  <a:pt x="928" y="184"/>
                  <a:pt x="928" y="184"/>
                </a:cubicBezTo>
                <a:cubicBezTo>
                  <a:pt x="930" y="180"/>
                  <a:pt x="930" y="180"/>
                  <a:pt x="930" y="180"/>
                </a:cubicBezTo>
                <a:cubicBezTo>
                  <a:pt x="930" y="180"/>
                  <a:pt x="932" y="183"/>
                  <a:pt x="934" y="182"/>
                </a:cubicBezTo>
                <a:cubicBezTo>
                  <a:pt x="935" y="182"/>
                  <a:pt x="933" y="179"/>
                  <a:pt x="933" y="179"/>
                </a:cubicBezTo>
                <a:cubicBezTo>
                  <a:pt x="935" y="172"/>
                  <a:pt x="935" y="172"/>
                  <a:pt x="935" y="172"/>
                </a:cubicBezTo>
                <a:cubicBezTo>
                  <a:pt x="935" y="172"/>
                  <a:pt x="935" y="178"/>
                  <a:pt x="937" y="178"/>
                </a:cubicBezTo>
                <a:cubicBezTo>
                  <a:pt x="939" y="178"/>
                  <a:pt x="940" y="172"/>
                  <a:pt x="940" y="172"/>
                </a:cubicBezTo>
                <a:cubicBezTo>
                  <a:pt x="937" y="169"/>
                  <a:pt x="937" y="169"/>
                  <a:pt x="937" y="169"/>
                </a:cubicBezTo>
                <a:cubicBezTo>
                  <a:pt x="940" y="168"/>
                  <a:pt x="940" y="168"/>
                  <a:pt x="940" y="168"/>
                </a:cubicBezTo>
                <a:cubicBezTo>
                  <a:pt x="937" y="166"/>
                  <a:pt x="937" y="166"/>
                  <a:pt x="937" y="166"/>
                </a:cubicBezTo>
                <a:cubicBezTo>
                  <a:pt x="937" y="163"/>
                  <a:pt x="937" y="163"/>
                  <a:pt x="937" y="163"/>
                </a:cubicBezTo>
                <a:cubicBezTo>
                  <a:pt x="933" y="163"/>
                  <a:pt x="933" y="163"/>
                  <a:pt x="933" y="163"/>
                </a:cubicBezTo>
                <a:cubicBezTo>
                  <a:pt x="933" y="161"/>
                  <a:pt x="933" y="161"/>
                  <a:pt x="933" y="161"/>
                </a:cubicBezTo>
                <a:cubicBezTo>
                  <a:pt x="930" y="161"/>
                  <a:pt x="930" y="161"/>
                  <a:pt x="930" y="161"/>
                </a:cubicBezTo>
                <a:cubicBezTo>
                  <a:pt x="930" y="154"/>
                  <a:pt x="930" y="154"/>
                  <a:pt x="930" y="154"/>
                </a:cubicBezTo>
                <a:cubicBezTo>
                  <a:pt x="925" y="154"/>
                  <a:pt x="925" y="154"/>
                  <a:pt x="925" y="154"/>
                </a:cubicBezTo>
                <a:cubicBezTo>
                  <a:pt x="925" y="154"/>
                  <a:pt x="923" y="150"/>
                  <a:pt x="925" y="150"/>
                </a:cubicBezTo>
                <a:cubicBezTo>
                  <a:pt x="928" y="149"/>
                  <a:pt x="930" y="153"/>
                  <a:pt x="931" y="152"/>
                </a:cubicBezTo>
                <a:cubicBezTo>
                  <a:pt x="933" y="152"/>
                  <a:pt x="933" y="146"/>
                  <a:pt x="933" y="146"/>
                </a:cubicBezTo>
                <a:cubicBezTo>
                  <a:pt x="936" y="147"/>
                  <a:pt x="936" y="147"/>
                  <a:pt x="936" y="147"/>
                </a:cubicBezTo>
                <a:cubicBezTo>
                  <a:pt x="941" y="145"/>
                  <a:pt x="941" y="145"/>
                  <a:pt x="941" y="145"/>
                </a:cubicBezTo>
                <a:cubicBezTo>
                  <a:pt x="941" y="145"/>
                  <a:pt x="941" y="151"/>
                  <a:pt x="943" y="150"/>
                </a:cubicBezTo>
                <a:cubicBezTo>
                  <a:pt x="944" y="149"/>
                  <a:pt x="947" y="149"/>
                  <a:pt x="947" y="149"/>
                </a:cubicBezTo>
                <a:cubicBezTo>
                  <a:pt x="945" y="151"/>
                  <a:pt x="945" y="151"/>
                  <a:pt x="945" y="151"/>
                </a:cubicBezTo>
                <a:cubicBezTo>
                  <a:pt x="948" y="151"/>
                  <a:pt x="948" y="151"/>
                  <a:pt x="948" y="151"/>
                </a:cubicBezTo>
                <a:cubicBezTo>
                  <a:pt x="947" y="155"/>
                  <a:pt x="947" y="155"/>
                  <a:pt x="947" y="155"/>
                </a:cubicBezTo>
                <a:cubicBezTo>
                  <a:pt x="947" y="155"/>
                  <a:pt x="952" y="164"/>
                  <a:pt x="955" y="162"/>
                </a:cubicBezTo>
                <a:cubicBezTo>
                  <a:pt x="958" y="160"/>
                  <a:pt x="959" y="154"/>
                  <a:pt x="959" y="154"/>
                </a:cubicBezTo>
                <a:cubicBezTo>
                  <a:pt x="960" y="152"/>
                  <a:pt x="960" y="152"/>
                  <a:pt x="960" y="152"/>
                </a:cubicBezTo>
                <a:cubicBezTo>
                  <a:pt x="960" y="152"/>
                  <a:pt x="964" y="156"/>
                  <a:pt x="967" y="154"/>
                </a:cubicBezTo>
                <a:cubicBezTo>
                  <a:pt x="970" y="152"/>
                  <a:pt x="970" y="148"/>
                  <a:pt x="970" y="148"/>
                </a:cubicBezTo>
                <a:cubicBezTo>
                  <a:pt x="970" y="148"/>
                  <a:pt x="977" y="150"/>
                  <a:pt x="980" y="147"/>
                </a:cubicBezTo>
                <a:close/>
                <a:moveTo>
                  <a:pt x="906" y="15"/>
                </a:moveTo>
                <a:cubicBezTo>
                  <a:pt x="918" y="15"/>
                  <a:pt x="918" y="15"/>
                  <a:pt x="918" y="15"/>
                </a:cubicBezTo>
                <a:cubicBezTo>
                  <a:pt x="906" y="17"/>
                  <a:pt x="906" y="17"/>
                  <a:pt x="906" y="17"/>
                </a:cubicBezTo>
                <a:cubicBezTo>
                  <a:pt x="906" y="17"/>
                  <a:pt x="911" y="19"/>
                  <a:pt x="913" y="19"/>
                </a:cubicBezTo>
                <a:cubicBezTo>
                  <a:pt x="916" y="19"/>
                  <a:pt x="924" y="17"/>
                  <a:pt x="924" y="17"/>
                </a:cubicBezTo>
                <a:cubicBezTo>
                  <a:pt x="924" y="17"/>
                  <a:pt x="929" y="16"/>
                  <a:pt x="933" y="16"/>
                </a:cubicBezTo>
                <a:cubicBezTo>
                  <a:pt x="937" y="16"/>
                  <a:pt x="946" y="18"/>
                  <a:pt x="946" y="18"/>
                </a:cubicBezTo>
                <a:cubicBezTo>
                  <a:pt x="946" y="18"/>
                  <a:pt x="935" y="18"/>
                  <a:pt x="933" y="18"/>
                </a:cubicBezTo>
                <a:cubicBezTo>
                  <a:pt x="930" y="18"/>
                  <a:pt x="923" y="21"/>
                  <a:pt x="923" y="21"/>
                </a:cubicBezTo>
                <a:cubicBezTo>
                  <a:pt x="923" y="21"/>
                  <a:pt x="929" y="21"/>
                  <a:pt x="933" y="21"/>
                </a:cubicBezTo>
                <a:cubicBezTo>
                  <a:pt x="938" y="22"/>
                  <a:pt x="939" y="20"/>
                  <a:pt x="939" y="20"/>
                </a:cubicBezTo>
                <a:cubicBezTo>
                  <a:pt x="948" y="20"/>
                  <a:pt x="948" y="20"/>
                  <a:pt x="948" y="20"/>
                </a:cubicBezTo>
                <a:cubicBezTo>
                  <a:pt x="948" y="20"/>
                  <a:pt x="951" y="20"/>
                  <a:pt x="955" y="20"/>
                </a:cubicBezTo>
                <a:cubicBezTo>
                  <a:pt x="958" y="20"/>
                  <a:pt x="967" y="18"/>
                  <a:pt x="967" y="17"/>
                </a:cubicBezTo>
                <a:cubicBezTo>
                  <a:pt x="968" y="17"/>
                  <a:pt x="974" y="16"/>
                  <a:pt x="977" y="15"/>
                </a:cubicBezTo>
                <a:cubicBezTo>
                  <a:pt x="979" y="14"/>
                  <a:pt x="984" y="15"/>
                  <a:pt x="984" y="15"/>
                </a:cubicBezTo>
                <a:cubicBezTo>
                  <a:pt x="972" y="19"/>
                  <a:pt x="972" y="19"/>
                  <a:pt x="972" y="19"/>
                </a:cubicBezTo>
                <a:cubicBezTo>
                  <a:pt x="976" y="19"/>
                  <a:pt x="976" y="19"/>
                  <a:pt x="976" y="19"/>
                </a:cubicBezTo>
                <a:cubicBezTo>
                  <a:pt x="970" y="21"/>
                  <a:pt x="970" y="21"/>
                  <a:pt x="970" y="21"/>
                </a:cubicBezTo>
                <a:cubicBezTo>
                  <a:pt x="970" y="21"/>
                  <a:pt x="946" y="22"/>
                  <a:pt x="943" y="22"/>
                </a:cubicBezTo>
                <a:cubicBezTo>
                  <a:pt x="941" y="22"/>
                  <a:pt x="941" y="25"/>
                  <a:pt x="941" y="25"/>
                </a:cubicBezTo>
                <a:cubicBezTo>
                  <a:pt x="951" y="28"/>
                  <a:pt x="951" y="28"/>
                  <a:pt x="951" y="28"/>
                </a:cubicBezTo>
                <a:cubicBezTo>
                  <a:pt x="951" y="28"/>
                  <a:pt x="947" y="29"/>
                  <a:pt x="945" y="29"/>
                </a:cubicBezTo>
                <a:cubicBezTo>
                  <a:pt x="942" y="29"/>
                  <a:pt x="932" y="24"/>
                  <a:pt x="932" y="24"/>
                </a:cubicBezTo>
                <a:cubicBezTo>
                  <a:pt x="932" y="24"/>
                  <a:pt x="922" y="24"/>
                  <a:pt x="919" y="24"/>
                </a:cubicBezTo>
                <a:cubicBezTo>
                  <a:pt x="917" y="24"/>
                  <a:pt x="915" y="27"/>
                  <a:pt x="915" y="27"/>
                </a:cubicBezTo>
                <a:cubicBezTo>
                  <a:pt x="919" y="29"/>
                  <a:pt x="919" y="29"/>
                  <a:pt x="919" y="29"/>
                </a:cubicBezTo>
                <a:cubicBezTo>
                  <a:pt x="919" y="29"/>
                  <a:pt x="922" y="32"/>
                  <a:pt x="925" y="33"/>
                </a:cubicBezTo>
                <a:cubicBezTo>
                  <a:pt x="928" y="34"/>
                  <a:pt x="935" y="33"/>
                  <a:pt x="935" y="33"/>
                </a:cubicBezTo>
                <a:cubicBezTo>
                  <a:pt x="935" y="33"/>
                  <a:pt x="934" y="35"/>
                  <a:pt x="930" y="35"/>
                </a:cubicBezTo>
                <a:cubicBezTo>
                  <a:pt x="927" y="36"/>
                  <a:pt x="920" y="34"/>
                  <a:pt x="919" y="34"/>
                </a:cubicBezTo>
                <a:cubicBezTo>
                  <a:pt x="917" y="34"/>
                  <a:pt x="905" y="36"/>
                  <a:pt x="902" y="36"/>
                </a:cubicBezTo>
                <a:cubicBezTo>
                  <a:pt x="898" y="36"/>
                  <a:pt x="890" y="41"/>
                  <a:pt x="890" y="41"/>
                </a:cubicBezTo>
                <a:cubicBezTo>
                  <a:pt x="901" y="39"/>
                  <a:pt x="901" y="39"/>
                  <a:pt x="901" y="39"/>
                </a:cubicBezTo>
                <a:cubicBezTo>
                  <a:pt x="900" y="42"/>
                  <a:pt x="900" y="42"/>
                  <a:pt x="900" y="42"/>
                </a:cubicBezTo>
                <a:cubicBezTo>
                  <a:pt x="909" y="39"/>
                  <a:pt x="909" y="39"/>
                  <a:pt x="909" y="39"/>
                </a:cubicBezTo>
                <a:cubicBezTo>
                  <a:pt x="899" y="43"/>
                  <a:pt x="899" y="43"/>
                  <a:pt x="899" y="43"/>
                </a:cubicBezTo>
                <a:cubicBezTo>
                  <a:pt x="899" y="43"/>
                  <a:pt x="901" y="45"/>
                  <a:pt x="904" y="45"/>
                </a:cubicBezTo>
                <a:cubicBezTo>
                  <a:pt x="908" y="45"/>
                  <a:pt x="917" y="42"/>
                  <a:pt x="917" y="42"/>
                </a:cubicBezTo>
                <a:cubicBezTo>
                  <a:pt x="903" y="47"/>
                  <a:pt x="903" y="47"/>
                  <a:pt x="903" y="47"/>
                </a:cubicBezTo>
                <a:cubicBezTo>
                  <a:pt x="894" y="47"/>
                  <a:pt x="894" y="47"/>
                  <a:pt x="894" y="47"/>
                </a:cubicBezTo>
                <a:cubicBezTo>
                  <a:pt x="892" y="43"/>
                  <a:pt x="892" y="43"/>
                  <a:pt x="892" y="43"/>
                </a:cubicBezTo>
                <a:cubicBezTo>
                  <a:pt x="892" y="43"/>
                  <a:pt x="885" y="42"/>
                  <a:pt x="883" y="43"/>
                </a:cubicBezTo>
                <a:cubicBezTo>
                  <a:pt x="881" y="43"/>
                  <a:pt x="884" y="48"/>
                  <a:pt x="884" y="48"/>
                </a:cubicBezTo>
                <a:cubicBezTo>
                  <a:pt x="884" y="48"/>
                  <a:pt x="874" y="49"/>
                  <a:pt x="873" y="49"/>
                </a:cubicBezTo>
                <a:cubicBezTo>
                  <a:pt x="872" y="49"/>
                  <a:pt x="865" y="52"/>
                  <a:pt x="861" y="53"/>
                </a:cubicBezTo>
                <a:cubicBezTo>
                  <a:pt x="859" y="53"/>
                  <a:pt x="857" y="53"/>
                  <a:pt x="856" y="53"/>
                </a:cubicBezTo>
                <a:cubicBezTo>
                  <a:pt x="855" y="53"/>
                  <a:pt x="859" y="54"/>
                  <a:pt x="863" y="54"/>
                </a:cubicBezTo>
                <a:cubicBezTo>
                  <a:pt x="866" y="54"/>
                  <a:pt x="867" y="53"/>
                  <a:pt x="867" y="53"/>
                </a:cubicBezTo>
                <a:cubicBezTo>
                  <a:pt x="866" y="56"/>
                  <a:pt x="866" y="56"/>
                  <a:pt x="866" y="56"/>
                </a:cubicBezTo>
                <a:cubicBezTo>
                  <a:pt x="871" y="54"/>
                  <a:pt x="871" y="54"/>
                  <a:pt x="871" y="54"/>
                </a:cubicBezTo>
                <a:cubicBezTo>
                  <a:pt x="874" y="53"/>
                  <a:pt x="874" y="53"/>
                  <a:pt x="874" y="53"/>
                </a:cubicBezTo>
                <a:cubicBezTo>
                  <a:pt x="874" y="55"/>
                  <a:pt x="874" y="55"/>
                  <a:pt x="874" y="55"/>
                </a:cubicBezTo>
                <a:cubicBezTo>
                  <a:pt x="877" y="54"/>
                  <a:pt x="877" y="54"/>
                  <a:pt x="877" y="54"/>
                </a:cubicBezTo>
                <a:cubicBezTo>
                  <a:pt x="881" y="54"/>
                  <a:pt x="881" y="54"/>
                  <a:pt x="881" y="54"/>
                </a:cubicBezTo>
                <a:cubicBezTo>
                  <a:pt x="881" y="54"/>
                  <a:pt x="881" y="56"/>
                  <a:pt x="883" y="56"/>
                </a:cubicBezTo>
                <a:cubicBezTo>
                  <a:pt x="886" y="56"/>
                  <a:pt x="890" y="53"/>
                  <a:pt x="890" y="53"/>
                </a:cubicBezTo>
                <a:cubicBezTo>
                  <a:pt x="891" y="55"/>
                  <a:pt x="891" y="55"/>
                  <a:pt x="891" y="55"/>
                </a:cubicBezTo>
                <a:cubicBezTo>
                  <a:pt x="895" y="53"/>
                  <a:pt x="895" y="53"/>
                  <a:pt x="895" y="53"/>
                </a:cubicBezTo>
                <a:cubicBezTo>
                  <a:pt x="895" y="53"/>
                  <a:pt x="896" y="55"/>
                  <a:pt x="898" y="55"/>
                </a:cubicBezTo>
                <a:cubicBezTo>
                  <a:pt x="900" y="56"/>
                  <a:pt x="902" y="53"/>
                  <a:pt x="902" y="53"/>
                </a:cubicBezTo>
                <a:cubicBezTo>
                  <a:pt x="902" y="53"/>
                  <a:pt x="904" y="55"/>
                  <a:pt x="906" y="55"/>
                </a:cubicBezTo>
                <a:cubicBezTo>
                  <a:pt x="909" y="55"/>
                  <a:pt x="907" y="53"/>
                  <a:pt x="907" y="53"/>
                </a:cubicBezTo>
                <a:cubicBezTo>
                  <a:pt x="915" y="56"/>
                  <a:pt x="915" y="56"/>
                  <a:pt x="915" y="56"/>
                </a:cubicBezTo>
                <a:cubicBezTo>
                  <a:pt x="915" y="56"/>
                  <a:pt x="916" y="57"/>
                  <a:pt x="917" y="57"/>
                </a:cubicBezTo>
                <a:cubicBezTo>
                  <a:pt x="918" y="57"/>
                  <a:pt x="930" y="55"/>
                  <a:pt x="932" y="55"/>
                </a:cubicBezTo>
                <a:cubicBezTo>
                  <a:pt x="935" y="55"/>
                  <a:pt x="940" y="53"/>
                  <a:pt x="941" y="51"/>
                </a:cubicBezTo>
                <a:cubicBezTo>
                  <a:pt x="942" y="50"/>
                  <a:pt x="932" y="51"/>
                  <a:pt x="932" y="51"/>
                </a:cubicBezTo>
                <a:cubicBezTo>
                  <a:pt x="932" y="51"/>
                  <a:pt x="934" y="49"/>
                  <a:pt x="932" y="49"/>
                </a:cubicBezTo>
                <a:cubicBezTo>
                  <a:pt x="931" y="48"/>
                  <a:pt x="926" y="49"/>
                  <a:pt x="926" y="49"/>
                </a:cubicBezTo>
                <a:cubicBezTo>
                  <a:pt x="918" y="48"/>
                  <a:pt x="918" y="48"/>
                  <a:pt x="918" y="48"/>
                </a:cubicBezTo>
                <a:cubicBezTo>
                  <a:pt x="920" y="45"/>
                  <a:pt x="920" y="45"/>
                  <a:pt x="920" y="45"/>
                </a:cubicBezTo>
                <a:cubicBezTo>
                  <a:pt x="929" y="48"/>
                  <a:pt x="929" y="48"/>
                  <a:pt x="929" y="48"/>
                </a:cubicBezTo>
                <a:cubicBezTo>
                  <a:pt x="929" y="48"/>
                  <a:pt x="941" y="47"/>
                  <a:pt x="945" y="47"/>
                </a:cubicBezTo>
                <a:cubicBezTo>
                  <a:pt x="949" y="47"/>
                  <a:pt x="948" y="43"/>
                  <a:pt x="948" y="43"/>
                </a:cubicBezTo>
                <a:cubicBezTo>
                  <a:pt x="948" y="43"/>
                  <a:pt x="953" y="42"/>
                  <a:pt x="957" y="42"/>
                </a:cubicBezTo>
                <a:cubicBezTo>
                  <a:pt x="961" y="42"/>
                  <a:pt x="969" y="40"/>
                  <a:pt x="969" y="40"/>
                </a:cubicBezTo>
                <a:cubicBezTo>
                  <a:pt x="965" y="38"/>
                  <a:pt x="965" y="38"/>
                  <a:pt x="965" y="38"/>
                </a:cubicBezTo>
                <a:cubicBezTo>
                  <a:pt x="965" y="38"/>
                  <a:pt x="970" y="38"/>
                  <a:pt x="975" y="36"/>
                </a:cubicBezTo>
                <a:cubicBezTo>
                  <a:pt x="981" y="35"/>
                  <a:pt x="968" y="33"/>
                  <a:pt x="968" y="33"/>
                </a:cubicBezTo>
                <a:cubicBezTo>
                  <a:pt x="968" y="33"/>
                  <a:pt x="962" y="34"/>
                  <a:pt x="959" y="33"/>
                </a:cubicBezTo>
                <a:cubicBezTo>
                  <a:pt x="957" y="32"/>
                  <a:pt x="970" y="29"/>
                  <a:pt x="970" y="29"/>
                </a:cubicBezTo>
                <a:cubicBezTo>
                  <a:pt x="971" y="29"/>
                  <a:pt x="980" y="30"/>
                  <a:pt x="980" y="30"/>
                </a:cubicBezTo>
                <a:cubicBezTo>
                  <a:pt x="980" y="30"/>
                  <a:pt x="990" y="30"/>
                  <a:pt x="993" y="29"/>
                </a:cubicBezTo>
                <a:cubicBezTo>
                  <a:pt x="996" y="28"/>
                  <a:pt x="986" y="28"/>
                  <a:pt x="989" y="26"/>
                </a:cubicBezTo>
                <a:cubicBezTo>
                  <a:pt x="993" y="25"/>
                  <a:pt x="1000" y="28"/>
                  <a:pt x="1004" y="28"/>
                </a:cubicBezTo>
                <a:cubicBezTo>
                  <a:pt x="1008" y="28"/>
                  <a:pt x="1006" y="24"/>
                  <a:pt x="1006" y="24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7" y="22"/>
                  <a:pt x="1017" y="22"/>
                  <a:pt x="1017" y="22"/>
                </a:cubicBezTo>
                <a:cubicBezTo>
                  <a:pt x="1017" y="22"/>
                  <a:pt x="1020" y="23"/>
                  <a:pt x="1022" y="23"/>
                </a:cubicBezTo>
                <a:cubicBezTo>
                  <a:pt x="1023" y="23"/>
                  <a:pt x="1030" y="20"/>
                  <a:pt x="1030" y="20"/>
                </a:cubicBezTo>
                <a:cubicBezTo>
                  <a:pt x="1030" y="20"/>
                  <a:pt x="1042" y="18"/>
                  <a:pt x="1049" y="17"/>
                </a:cubicBezTo>
                <a:cubicBezTo>
                  <a:pt x="1056" y="16"/>
                  <a:pt x="1056" y="15"/>
                  <a:pt x="1055" y="15"/>
                </a:cubicBezTo>
                <a:cubicBezTo>
                  <a:pt x="1054" y="15"/>
                  <a:pt x="1040" y="15"/>
                  <a:pt x="1040" y="15"/>
                </a:cubicBezTo>
                <a:cubicBezTo>
                  <a:pt x="1037" y="17"/>
                  <a:pt x="1037" y="17"/>
                  <a:pt x="1037" y="17"/>
                </a:cubicBezTo>
                <a:cubicBezTo>
                  <a:pt x="1027" y="16"/>
                  <a:pt x="1027" y="16"/>
                  <a:pt x="1027" y="16"/>
                </a:cubicBezTo>
                <a:cubicBezTo>
                  <a:pt x="1038" y="16"/>
                  <a:pt x="1038" y="16"/>
                  <a:pt x="1038" y="16"/>
                </a:cubicBezTo>
                <a:cubicBezTo>
                  <a:pt x="1038" y="14"/>
                  <a:pt x="1038" y="14"/>
                  <a:pt x="1038" y="14"/>
                </a:cubicBezTo>
                <a:cubicBezTo>
                  <a:pt x="1045" y="15"/>
                  <a:pt x="1045" y="15"/>
                  <a:pt x="1045" y="15"/>
                </a:cubicBezTo>
                <a:cubicBezTo>
                  <a:pt x="1045" y="15"/>
                  <a:pt x="1046" y="13"/>
                  <a:pt x="1048" y="13"/>
                </a:cubicBezTo>
                <a:cubicBezTo>
                  <a:pt x="1049" y="13"/>
                  <a:pt x="1071" y="12"/>
                  <a:pt x="1074" y="12"/>
                </a:cubicBezTo>
                <a:cubicBezTo>
                  <a:pt x="1078" y="12"/>
                  <a:pt x="1088" y="9"/>
                  <a:pt x="1087" y="8"/>
                </a:cubicBezTo>
                <a:cubicBezTo>
                  <a:pt x="1087" y="8"/>
                  <a:pt x="1075" y="9"/>
                  <a:pt x="1075" y="9"/>
                </a:cubicBezTo>
                <a:cubicBezTo>
                  <a:pt x="1076" y="7"/>
                  <a:pt x="1076" y="7"/>
                  <a:pt x="1076" y="7"/>
                </a:cubicBezTo>
                <a:cubicBezTo>
                  <a:pt x="1076" y="7"/>
                  <a:pt x="1068" y="5"/>
                  <a:pt x="1066" y="5"/>
                </a:cubicBezTo>
                <a:cubicBezTo>
                  <a:pt x="1063" y="5"/>
                  <a:pt x="1048" y="8"/>
                  <a:pt x="1048" y="8"/>
                </a:cubicBezTo>
                <a:cubicBezTo>
                  <a:pt x="1055" y="5"/>
                  <a:pt x="1055" y="5"/>
                  <a:pt x="1055" y="5"/>
                </a:cubicBezTo>
                <a:cubicBezTo>
                  <a:pt x="1045" y="5"/>
                  <a:pt x="1045" y="5"/>
                  <a:pt x="1045" y="5"/>
                </a:cubicBezTo>
                <a:cubicBezTo>
                  <a:pt x="1045" y="5"/>
                  <a:pt x="1038" y="3"/>
                  <a:pt x="1036" y="3"/>
                </a:cubicBezTo>
                <a:cubicBezTo>
                  <a:pt x="1034" y="4"/>
                  <a:pt x="1032" y="6"/>
                  <a:pt x="1032" y="6"/>
                </a:cubicBezTo>
                <a:cubicBezTo>
                  <a:pt x="1032" y="6"/>
                  <a:pt x="1027" y="3"/>
                  <a:pt x="1025" y="3"/>
                </a:cubicBezTo>
                <a:cubicBezTo>
                  <a:pt x="1023" y="3"/>
                  <a:pt x="1019" y="7"/>
                  <a:pt x="1019" y="7"/>
                </a:cubicBezTo>
                <a:cubicBezTo>
                  <a:pt x="1014" y="5"/>
                  <a:pt x="1014" y="5"/>
                  <a:pt x="1014" y="5"/>
                </a:cubicBezTo>
                <a:cubicBezTo>
                  <a:pt x="998" y="4"/>
                  <a:pt x="998" y="4"/>
                  <a:pt x="998" y="4"/>
                </a:cubicBezTo>
                <a:cubicBezTo>
                  <a:pt x="1002" y="8"/>
                  <a:pt x="1002" y="8"/>
                  <a:pt x="1002" y="8"/>
                </a:cubicBezTo>
                <a:cubicBezTo>
                  <a:pt x="993" y="5"/>
                  <a:pt x="993" y="5"/>
                  <a:pt x="993" y="5"/>
                </a:cubicBezTo>
                <a:cubicBezTo>
                  <a:pt x="985" y="7"/>
                  <a:pt x="985" y="7"/>
                  <a:pt x="985" y="7"/>
                </a:cubicBezTo>
                <a:cubicBezTo>
                  <a:pt x="985" y="7"/>
                  <a:pt x="978" y="5"/>
                  <a:pt x="975" y="5"/>
                </a:cubicBezTo>
                <a:cubicBezTo>
                  <a:pt x="972" y="5"/>
                  <a:pt x="962" y="8"/>
                  <a:pt x="962" y="8"/>
                </a:cubicBezTo>
                <a:cubicBezTo>
                  <a:pt x="974" y="12"/>
                  <a:pt x="974" y="12"/>
                  <a:pt x="974" y="12"/>
                </a:cubicBezTo>
                <a:cubicBezTo>
                  <a:pt x="962" y="10"/>
                  <a:pt x="962" y="10"/>
                  <a:pt x="962" y="10"/>
                </a:cubicBezTo>
                <a:cubicBezTo>
                  <a:pt x="962" y="10"/>
                  <a:pt x="950" y="8"/>
                  <a:pt x="945" y="8"/>
                </a:cubicBezTo>
                <a:cubicBezTo>
                  <a:pt x="940" y="9"/>
                  <a:pt x="941" y="12"/>
                  <a:pt x="941" y="12"/>
                </a:cubicBezTo>
                <a:cubicBezTo>
                  <a:pt x="941" y="12"/>
                  <a:pt x="928" y="10"/>
                  <a:pt x="926" y="10"/>
                </a:cubicBezTo>
                <a:cubicBezTo>
                  <a:pt x="923" y="10"/>
                  <a:pt x="902" y="12"/>
                  <a:pt x="901" y="13"/>
                </a:cubicBezTo>
                <a:cubicBezTo>
                  <a:pt x="901" y="13"/>
                  <a:pt x="906" y="15"/>
                  <a:pt x="906" y="15"/>
                </a:cubicBezTo>
                <a:close/>
                <a:moveTo>
                  <a:pt x="954" y="355"/>
                </a:moveTo>
                <a:cubicBezTo>
                  <a:pt x="963" y="346"/>
                  <a:pt x="963" y="346"/>
                  <a:pt x="963" y="346"/>
                </a:cubicBezTo>
                <a:cubicBezTo>
                  <a:pt x="962" y="343"/>
                  <a:pt x="962" y="343"/>
                  <a:pt x="962" y="343"/>
                </a:cubicBezTo>
                <a:cubicBezTo>
                  <a:pt x="958" y="345"/>
                  <a:pt x="958" y="345"/>
                  <a:pt x="958" y="345"/>
                </a:cubicBezTo>
                <a:cubicBezTo>
                  <a:pt x="954" y="345"/>
                  <a:pt x="954" y="345"/>
                  <a:pt x="954" y="345"/>
                </a:cubicBezTo>
                <a:cubicBezTo>
                  <a:pt x="958" y="342"/>
                  <a:pt x="958" y="342"/>
                  <a:pt x="958" y="342"/>
                </a:cubicBezTo>
                <a:cubicBezTo>
                  <a:pt x="953" y="342"/>
                  <a:pt x="953" y="342"/>
                  <a:pt x="953" y="342"/>
                </a:cubicBezTo>
                <a:cubicBezTo>
                  <a:pt x="953" y="342"/>
                  <a:pt x="962" y="331"/>
                  <a:pt x="961" y="331"/>
                </a:cubicBezTo>
                <a:cubicBezTo>
                  <a:pt x="960" y="331"/>
                  <a:pt x="954" y="330"/>
                  <a:pt x="956" y="329"/>
                </a:cubicBezTo>
                <a:cubicBezTo>
                  <a:pt x="958" y="329"/>
                  <a:pt x="960" y="326"/>
                  <a:pt x="960" y="326"/>
                </a:cubicBezTo>
                <a:cubicBezTo>
                  <a:pt x="957" y="324"/>
                  <a:pt x="957" y="324"/>
                  <a:pt x="957" y="324"/>
                </a:cubicBezTo>
                <a:cubicBezTo>
                  <a:pt x="950" y="328"/>
                  <a:pt x="950" y="328"/>
                  <a:pt x="950" y="328"/>
                </a:cubicBezTo>
                <a:cubicBezTo>
                  <a:pt x="949" y="324"/>
                  <a:pt x="949" y="324"/>
                  <a:pt x="949" y="324"/>
                </a:cubicBezTo>
                <a:cubicBezTo>
                  <a:pt x="945" y="325"/>
                  <a:pt x="945" y="325"/>
                  <a:pt x="945" y="325"/>
                </a:cubicBezTo>
                <a:cubicBezTo>
                  <a:pt x="946" y="320"/>
                  <a:pt x="946" y="320"/>
                  <a:pt x="946" y="320"/>
                </a:cubicBezTo>
                <a:cubicBezTo>
                  <a:pt x="943" y="319"/>
                  <a:pt x="943" y="319"/>
                  <a:pt x="943" y="319"/>
                </a:cubicBezTo>
                <a:cubicBezTo>
                  <a:pt x="940" y="316"/>
                  <a:pt x="940" y="316"/>
                  <a:pt x="940" y="316"/>
                </a:cubicBezTo>
                <a:cubicBezTo>
                  <a:pt x="936" y="323"/>
                  <a:pt x="936" y="323"/>
                  <a:pt x="936" y="323"/>
                </a:cubicBezTo>
                <a:cubicBezTo>
                  <a:pt x="933" y="325"/>
                  <a:pt x="933" y="325"/>
                  <a:pt x="933" y="325"/>
                </a:cubicBezTo>
                <a:cubicBezTo>
                  <a:pt x="933" y="322"/>
                  <a:pt x="933" y="322"/>
                  <a:pt x="933" y="322"/>
                </a:cubicBezTo>
                <a:cubicBezTo>
                  <a:pt x="938" y="316"/>
                  <a:pt x="938" y="316"/>
                  <a:pt x="938" y="316"/>
                </a:cubicBezTo>
                <a:cubicBezTo>
                  <a:pt x="938" y="316"/>
                  <a:pt x="941" y="315"/>
                  <a:pt x="944" y="313"/>
                </a:cubicBezTo>
                <a:cubicBezTo>
                  <a:pt x="946" y="311"/>
                  <a:pt x="948" y="307"/>
                  <a:pt x="948" y="307"/>
                </a:cubicBezTo>
                <a:cubicBezTo>
                  <a:pt x="950" y="305"/>
                  <a:pt x="950" y="305"/>
                  <a:pt x="950" y="305"/>
                </a:cubicBezTo>
                <a:cubicBezTo>
                  <a:pt x="950" y="305"/>
                  <a:pt x="954" y="303"/>
                  <a:pt x="950" y="302"/>
                </a:cubicBezTo>
                <a:cubicBezTo>
                  <a:pt x="946" y="301"/>
                  <a:pt x="940" y="304"/>
                  <a:pt x="940" y="304"/>
                </a:cubicBezTo>
                <a:cubicBezTo>
                  <a:pt x="932" y="314"/>
                  <a:pt x="932" y="314"/>
                  <a:pt x="932" y="314"/>
                </a:cubicBezTo>
                <a:cubicBezTo>
                  <a:pt x="925" y="322"/>
                  <a:pt x="925" y="322"/>
                  <a:pt x="925" y="322"/>
                </a:cubicBezTo>
                <a:cubicBezTo>
                  <a:pt x="913" y="333"/>
                  <a:pt x="913" y="333"/>
                  <a:pt x="913" y="333"/>
                </a:cubicBezTo>
                <a:cubicBezTo>
                  <a:pt x="913" y="333"/>
                  <a:pt x="905" y="336"/>
                  <a:pt x="904" y="337"/>
                </a:cubicBezTo>
                <a:cubicBezTo>
                  <a:pt x="904" y="339"/>
                  <a:pt x="910" y="339"/>
                  <a:pt x="910" y="339"/>
                </a:cubicBezTo>
                <a:cubicBezTo>
                  <a:pt x="910" y="339"/>
                  <a:pt x="903" y="340"/>
                  <a:pt x="905" y="343"/>
                </a:cubicBezTo>
                <a:cubicBezTo>
                  <a:pt x="908" y="345"/>
                  <a:pt x="916" y="342"/>
                  <a:pt x="916" y="342"/>
                </a:cubicBezTo>
                <a:cubicBezTo>
                  <a:pt x="916" y="342"/>
                  <a:pt x="931" y="346"/>
                  <a:pt x="934" y="346"/>
                </a:cubicBezTo>
                <a:cubicBezTo>
                  <a:pt x="938" y="346"/>
                  <a:pt x="936" y="348"/>
                  <a:pt x="936" y="348"/>
                </a:cubicBezTo>
                <a:cubicBezTo>
                  <a:pt x="930" y="350"/>
                  <a:pt x="930" y="350"/>
                  <a:pt x="930" y="350"/>
                </a:cubicBezTo>
                <a:cubicBezTo>
                  <a:pt x="930" y="351"/>
                  <a:pt x="930" y="351"/>
                  <a:pt x="930" y="351"/>
                </a:cubicBezTo>
                <a:cubicBezTo>
                  <a:pt x="936" y="351"/>
                  <a:pt x="936" y="351"/>
                  <a:pt x="936" y="351"/>
                </a:cubicBezTo>
                <a:cubicBezTo>
                  <a:pt x="945" y="350"/>
                  <a:pt x="945" y="350"/>
                  <a:pt x="945" y="350"/>
                </a:cubicBezTo>
                <a:cubicBezTo>
                  <a:pt x="946" y="351"/>
                  <a:pt x="946" y="351"/>
                  <a:pt x="946" y="351"/>
                </a:cubicBezTo>
                <a:cubicBezTo>
                  <a:pt x="951" y="351"/>
                  <a:pt x="951" y="351"/>
                  <a:pt x="951" y="351"/>
                </a:cubicBezTo>
                <a:cubicBezTo>
                  <a:pt x="948" y="354"/>
                  <a:pt x="948" y="354"/>
                  <a:pt x="948" y="354"/>
                </a:cubicBezTo>
                <a:cubicBezTo>
                  <a:pt x="954" y="355"/>
                  <a:pt x="954" y="355"/>
                  <a:pt x="954" y="355"/>
                </a:cubicBezTo>
                <a:cubicBezTo>
                  <a:pt x="954" y="355"/>
                  <a:pt x="954" y="355"/>
                  <a:pt x="954" y="355"/>
                </a:cubicBezTo>
                <a:close/>
                <a:moveTo>
                  <a:pt x="1248" y="123"/>
                </a:moveTo>
                <a:cubicBezTo>
                  <a:pt x="1252" y="123"/>
                  <a:pt x="1252" y="123"/>
                  <a:pt x="1252" y="123"/>
                </a:cubicBezTo>
                <a:cubicBezTo>
                  <a:pt x="1254" y="121"/>
                  <a:pt x="1254" y="121"/>
                  <a:pt x="1254" y="121"/>
                </a:cubicBezTo>
                <a:cubicBezTo>
                  <a:pt x="1257" y="121"/>
                  <a:pt x="1257" y="121"/>
                  <a:pt x="1257" y="121"/>
                </a:cubicBezTo>
                <a:cubicBezTo>
                  <a:pt x="1257" y="121"/>
                  <a:pt x="1261" y="117"/>
                  <a:pt x="1262" y="117"/>
                </a:cubicBezTo>
                <a:cubicBezTo>
                  <a:pt x="1263" y="116"/>
                  <a:pt x="1268" y="116"/>
                  <a:pt x="1268" y="116"/>
                </a:cubicBezTo>
                <a:cubicBezTo>
                  <a:pt x="1275" y="113"/>
                  <a:pt x="1275" y="113"/>
                  <a:pt x="1275" y="113"/>
                </a:cubicBezTo>
                <a:cubicBezTo>
                  <a:pt x="1279" y="112"/>
                  <a:pt x="1279" y="112"/>
                  <a:pt x="1279" y="112"/>
                </a:cubicBezTo>
                <a:cubicBezTo>
                  <a:pt x="1280" y="111"/>
                  <a:pt x="1280" y="111"/>
                  <a:pt x="1280" y="111"/>
                </a:cubicBezTo>
                <a:cubicBezTo>
                  <a:pt x="1280" y="111"/>
                  <a:pt x="1276" y="111"/>
                  <a:pt x="1274" y="111"/>
                </a:cubicBezTo>
                <a:cubicBezTo>
                  <a:pt x="1271" y="111"/>
                  <a:pt x="1270" y="110"/>
                  <a:pt x="1266" y="109"/>
                </a:cubicBezTo>
                <a:cubicBezTo>
                  <a:pt x="1263" y="109"/>
                  <a:pt x="1257" y="109"/>
                  <a:pt x="1254" y="110"/>
                </a:cubicBezTo>
                <a:cubicBezTo>
                  <a:pt x="1252" y="111"/>
                  <a:pt x="1247" y="111"/>
                  <a:pt x="1247" y="111"/>
                </a:cubicBezTo>
                <a:cubicBezTo>
                  <a:pt x="1245" y="112"/>
                  <a:pt x="1245" y="112"/>
                  <a:pt x="1245" y="112"/>
                </a:cubicBezTo>
                <a:cubicBezTo>
                  <a:pt x="1245" y="112"/>
                  <a:pt x="1236" y="113"/>
                  <a:pt x="1237" y="112"/>
                </a:cubicBezTo>
                <a:cubicBezTo>
                  <a:pt x="1239" y="111"/>
                  <a:pt x="1251" y="109"/>
                  <a:pt x="1251" y="109"/>
                </a:cubicBezTo>
                <a:cubicBezTo>
                  <a:pt x="1251" y="109"/>
                  <a:pt x="1264" y="106"/>
                  <a:pt x="1261" y="104"/>
                </a:cubicBezTo>
                <a:cubicBezTo>
                  <a:pt x="1258" y="103"/>
                  <a:pt x="1256" y="103"/>
                  <a:pt x="1256" y="103"/>
                </a:cubicBezTo>
                <a:cubicBezTo>
                  <a:pt x="1256" y="103"/>
                  <a:pt x="1244" y="106"/>
                  <a:pt x="1243" y="107"/>
                </a:cubicBezTo>
                <a:cubicBezTo>
                  <a:pt x="1242" y="108"/>
                  <a:pt x="1236" y="107"/>
                  <a:pt x="1236" y="107"/>
                </a:cubicBezTo>
                <a:cubicBezTo>
                  <a:pt x="1241" y="105"/>
                  <a:pt x="1241" y="105"/>
                  <a:pt x="1241" y="105"/>
                </a:cubicBezTo>
                <a:cubicBezTo>
                  <a:pt x="1244" y="102"/>
                  <a:pt x="1244" y="102"/>
                  <a:pt x="1244" y="102"/>
                </a:cubicBezTo>
                <a:cubicBezTo>
                  <a:pt x="1244" y="102"/>
                  <a:pt x="1249" y="103"/>
                  <a:pt x="1251" y="103"/>
                </a:cubicBezTo>
                <a:cubicBezTo>
                  <a:pt x="1252" y="102"/>
                  <a:pt x="1256" y="102"/>
                  <a:pt x="1258" y="102"/>
                </a:cubicBezTo>
                <a:cubicBezTo>
                  <a:pt x="1259" y="102"/>
                  <a:pt x="1264" y="101"/>
                  <a:pt x="1262" y="100"/>
                </a:cubicBezTo>
                <a:cubicBezTo>
                  <a:pt x="1259" y="99"/>
                  <a:pt x="1251" y="98"/>
                  <a:pt x="1251" y="98"/>
                </a:cubicBezTo>
                <a:cubicBezTo>
                  <a:pt x="1244" y="99"/>
                  <a:pt x="1244" y="99"/>
                  <a:pt x="1244" y="99"/>
                </a:cubicBezTo>
                <a:cubicBezTo>
                  <a:pt x="1248" y="97"/>
                  <a:pt x="1248" y="97"/>
                  <a:pt x="1248" y="97"/>
                </a:cubicBezTo>
                <a:cubicBezTo>
                  <a:pt x="1244" y="95"/>
                  <a:pt x="1244" y="95"/>
                  <a:pt x="1244" y="95"/>
                </a:cubicBezTo>
                <a:cubicBezTo>
                  <a:pt x="1244" y="95"/>
                  <a:pt x="1244" y="93"/>
                  <a:pt x="1245" y="93"/>
                </a:cubicBezTo>
                <a:cubicBezTo>
                  <a:pt x="1246" y="93"/>
                  <a:pt x="1250" y="97"/>
                  <a:pt x="1253" y="97"/>
                </a:cubicBezTo>
                <a:cubicBezTo>
                  <a:pt x="1255" y="97"/>
                  <a:pt x="1264" y="100"/>
                  <a:pt x="1264" y="100"/>
                </a:cubicBezTo>
                <a:cubicBezTo>
                  <a:pt x="1264" y="100"/>
                  <a:pt x="1268" y="98"/>
                  <a:pt x="1268" y="100"/>
                </a:cubicBezTo>
                <a:cubicBezTo>
                  <a:pt x="1268" y="102"/>
                  <a:pt x="1266" y="105"/>
                  <a:pt x="1270" y="106"/>
                </a:cubicBezTo>
                <a:cubicBezTo>
                  <a:pt x="1274" y="107"/>
                  <a:pt x="1279" y="108"/>
                  <a:pt x="1279" y="108"/>
                </a:cubicBezTo>
                <a:cubicBezTo>
                  <a:pt x="1279" y="108"/>
                  <a:pt x="1280" y="104"/>
                  <a:pt x="1280" y="105"/>
                </a:cubicBezTo>
                <a:cubicBezTo>
                  <a:pt x="1281" y="106"/>
                  <a:pt x="1280" y="109"/>
                  <a:pt x="1282" y="109"/>
                </a:cubicBezTo>
                <a:cubicBezTo>
                  <a:pt x="1284" y="109"/>
                  <a:pt x="1287" y="107"/>
                  <a:pt x="1287" y="107"/>
                </a:cubicBezTo>
                <a:cubicBezTo>
                  <a:pt x="1287" y="103"/>
                  <a:pt x="1287" y="103"/>
                  <a:pt x="1287" y="103"/>
                </a:cubicBezTo>
                <a:cubicBezTo>
                  <a:pt x="1285" y="103"/>
                  <a:pt x="1285" y="103"/>
                  <a:pt x="1285" y="103"/>
                </a:cubicBezTo>
                <a:cubicBezTo>
                  <a:pt x="1285" y="103"/>
                  <a:pt x="1288" y="101"/>
                  <a:pt x="1287" y="100"/>
                </a:cubicBezTo>
                <a:cubicBezTo>
                  <a:pt x="1286" y="99"/>
                  <a:pt x="1284" y="100"/>
                  <a:pt x="1284" y="100"/>
                </a:cubicBezTo>
                <a:cubicBezTo>
                  <a:pt x="1282" y="97"/>
                  <a:pt x="1282" y="97"/>
                  <a:pt x="1282" y="97"/>
                </a:cubicBezTo>
                <a:cubicBezTo>
                  <a:pt x="1280" y="96"/>
                  <a:pt x="1280" y="96"/>
                  <a:pt x="1280" y="96"/>
                </a:cubicBezTo>
                <a:cubicBezTo>
                  <a:pt x="1281" y="94"/>
                  <a:pt x="1281" y="94"/>
                  <a:pt x="1281" y="94"/>
                </a:cubicBezTo>
                <a:cubicBezTo>
                  <a:pt x="1271" y="90"/>
                  <a:pt x="1271" y="90"/>
                  <a:pt x="1271" y="90"/>
                </a:cubicBezTo>
                <a:cubicBezTo>
                  <a:pt x="1265" y="92"/>
                  <a:pt x="1265" y="92"/>
                  <a:pt x="1265" y="92"/>
                </a:cubicBezTo>
                <a:cubicBezTo>
                  <a:pt x="1264" y="91"/>
                  <a:pt x="1264" y="91"/>
                  <a:pt x="1264" y="91"/>
                </a:cubicBezTo>
                <a:cubicBezTo>
                  <a:pt x="1268" y="89"/>
                  <a:pt x="1268" y="89"/>
                  <a:pt x="1268" y="89"/>
                </a:cubicBezTo>
                <a:cubicBezTo>
                  <a:pt x="1269" y="89"/>
                  <a:pt x="1269" y="89"/>
                  <a:pt x="1269" y="89"/>
                </a:cubicBezTo>
                <a:cubicBezTo>
                  <a:pt x="1269" y="89"/>
                  <a:pt x="1268" y="87"/>
                  <a:pt x="1265" y="87"/>
                </a:cubicBezTo>
                <a:cubicBezTo>
                  <a:pt x="1261" y="87"/>
                  <a:pt x="1254" y="86"/>
                  <a:pt x="1254" y="86"/>
                </a:cubicBezTo>
                <a:cubicBezTo>
                  <a:pt x="1257" y="83"/>
                  <a:pt x="1257" y="83"/>
                  <a:pt x="1257" y="83"/>
                </a:cubicBezTo>
                <a:cubicBezTo>
                  <a:pt x="1257" y="83"/>
                  <a:pt x="1259" y="83"/>
                  <a:pt x="1262" y="84"/>
                </a:cubicBezTo>
                <a:cubicBezTo>
                  <a:pt x="1264" y="85"/>
                  <a:pt x="1267" y="82"/>
                  <a:pt x="1267" y="82"/>
                </a:cubicBezTo>
                <a:cubicBezTo>
                  <a:pt x="1271" y="82"/>
                  <a:pt x="1271" y="82"/>
                  <a:pt x="1271" y="82"/>
                </a:cubicBezTo>
                <a:cubicBezTo>
                  <a:pt x="1277" y="84"/>
                  <a:pt x="1277" y="84"/>
                  <a:pt x="1277" y="84"/>
                </a:cubicBezTo>
                <a:cubicBezTo>
                  <a:pt x="1280" y="83"/>
                  <a:pt x="1280" y="83"/>
                  <a:pt x="1280" y="83"/>
                </a:cubicBezTo>
                <a:cubicBezTo>
                  <a:pt x="1280" y="83"/>
                  <a:pt x="1286" y="88"/>
                  <a:pt x="1288" y="88"/>
                </a:cubicBezTo>
                <a:cubicBezTo>
                  <a:pt x="1290" y="88"/>
                  <a:pt x="1290" y="85"/>
                  <a:pt x="1290" y="85"/>
                </a:cubicBezTo>
                <a:cubicBezTo>
                  <a:pt x="1284" y="84"/>
                  <a:pt x="1284" y="84"/>
                  <a:pt x="1284" y="84"/>
                </a:cubicBezTo>
                <a:cubicBezTo>
                  <a:pt x="1280" y="82"/>
                  <a:pt x="1280" y="82"/>
                  <a:pt x="1280" y="82"/>
                </a:cubicBezTo>
                <a:cubicBezTo>
                  <a:pt x="1273" y="81"/>
                  <a:pt x="1273" y="81"/>
                  <a:pt x="1273" y="81"/>
                </a:cubicBezTo>
                <a:cubicBezTo>
                  <a:pt x="1273" y="81"/>
                  <a:pt x="1275" y="79"/>
                  <a:pt x="1276" y="79"/>
                </a:cubicBezTo>
                <a:cubicBezTo>
                  <a:pt x="1278" y="78"/>
                  <a:pt x="1281" y="82"/>
                  <a:pt x="1285" y="82"/>
                </a:cubicBezTo>
                <a:cubicBezTo>
                  <a:pt x="1288" y="82"/>
                  <a:pt x="1294" y="82"/>
                  <a:pt x="1294" y="82"/>
                </a:cubicBezTo>
                <a:cubicBezTo>
                  <a:pt x="1303" y="81"/>
                  <a:pt x="1303" y="81"/>
                  <a:pt x="1303" y="81"/>
                </a:cubicBezTo>
                <a:cubicBezTo>
                  <a:pt x="1303" y="77"/>
                  <a:pt x="1303" y="77"/>
                  <a:pt x="1303" y="77"/>
                </a:cubicBezTo>
                <a:cubicBezTo>
                  <a:pt x="1297" y="76"/>
                  <a:pt x="1297" y="76"/>
                  <a:pt x="1297" y="76"/>
                </a:cubicBezTo>
                <a:cubicBezTo>
                  <a:pt x="1294" y="78"/>
                  <a:pt x="1294" y="78"/>
                  <a:pt x="1294" y="78"/>
                </a:cubicBezTo>
                <a:cubicBezTo>
                  <a:pt x="1294" y="78"/>
                  <a:pt x="1291" y="75"/>
                  <a:pt x="1292" y="74"/>
                </a:cubicBezTo>
                <a:cubicBezTo>
                  <a:pt x="1293" y="74"/>
                  <a:pt x="1299" y="74"/>
                  <a:pt x="1299" y="74"/>
                </a:cubicBezTo>
                <a:cubicBezTo>
                  <a:pt x="1305" y="72"/>
                  <a:pt x="1305" y="72"/>
                  <a:pt x="1305" y="72"/>
                </a:cubicBezTo>
                <a:cubicBezTo>
                  <a:pt x="1305" y="72"/>
                  <a:pt x="1309" y="75"/>
                  <a:pt x="1312" y="74"/>
                </a:cubicBezTo>
                <a:cubicBezTo>
                  <a:pt x="1314" y="73"/>
                  <a:pt x="1317" y="71"/>
                  <a:pt x="1316" y="71"/>
                </a:cubicBezTo>
                <a:cubicBezTo>
                  <a:pt x="1315" y="70"/>
                  <a:pt x="1306" y="70"/>
                  <a:pt x="1305" y="70"/>
                </a:cubicBezTo>
                <a:cubicBezTo>
                  <a:pt x="1304" y="70"/>
                  <a:pt x="1306" y="68"/>
                  <a:pt x="1304" y="68"/>
                </a:cubicBezTo>
                <a:cubicBezTo>
                  <a:pt x="1301" y="67"/>
                  <a:pt x="1295" y="67"/>
                  <a:pt x="1295" y="67"/>
                </a:cubicBezTo>
                <a:cubicBezTo>
                  <a:pt x="1295" y="67"/>
                  <a:pt x="1302" y="67"/>
                  <a:pt x="1303" y="66"/>
                </a:cubicBezTo>
                <a:cubicBezTo>
                  <a:pt x="1304" y="65"/>
                  <a:pt x="1295" y="63"/>
                  <a:pt x="1295" y="63"/>
                </a:cubicBezTo>
                <a:cubicBezTo>
                  <a:pt x="1295" y="63"/>
                  <a:pt x="1300" y="62"/>
                  <a:pt x="1302" y="63"/>
                </a:cubicBezTo>
                <a:cubicBezTo>
                  <a:pt x="1303" y="63"/>
                  <a:pt x="1308" y="65"/>
                  <a:pt x="1309" y="65"/>
                </a:cubicBezTo>
                <a:cubicBezTo>
                  <a:pt x="1311" y="64"/>
                  <a:pt x="1311" y="67"/>
                  <a:pt x="1313" y="66"/>
                </a:cubicBezTo>
                <a:cubicBezTo>
                  <a:pt x="1315" y="65"/>
                  <a:pt x="1317" y="62"/>
                  <a:pt x="1315" y="61"/>
                </a:cubicBezTo>
                <a:cubicBezTo>
                  <a:pt x="1314" y="59"/>
                  <a:pt x="1310" y="57"/>
                  <a:pt x="1310" y="57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5"/>
                  <a:pt x="1298" y="54"/>
                  <a:pt x="1300" y="52"/>
                </a:cubicBezTo>
                <a:cubicBezTo>
                  <a:pt x="1301" y="51"/>
                  <a:pt x="1306" y="52"/>
                  <a:pt x="1306" y="52"/>
                </a:cubicBezTo>
                <a:cubicBezTo>
                  <a:pt x="1312" y="51"/>
                  <a:pt x="1312" y="51"/>
                  <a:pt x="1312" y="51"/>
                </a:cubicBezTo>
                <a:cubicBezTo>
                  <a:pt x="1312" y="51"/>
                  <a:pt x="1315" y="51"/>
                  <a:pt x="1321" y="52"/>
                </a:cubicBezTo>
                <a:cubicBezTo>
                  <a:pt x="1328" y="52"/>
                  <a:pt x="1331" y="47"/>
                  <a:pt x="1326" y="47"/>
                </a:cubicBezTo>
                <a:cubicBezTo>
                  <a:pt x="1322" y="46"/>
                  <a:pt x="1314" y="46"/>
                  <a:pt x="1314" y="46"/>
                </a:cubicBezTo>
                <a:cubicBezTo>
                  <a:pt x="1314" y="44"/>
                  <a:pt x="1314" y="44"/>
                  <a:pt x="1314" y="44"/>
                </a:cubicBezTo>
                <a:cubicBezTo>
                  <a:pt x="1318" y="44"/>
                  <a:pt x="1318" y="44"/>
                  <a:pt x="1318" y="44"/>
                </a:cubicBezTo>
                <a:cubicBezTo>
                  <a:pt x="1318" y="44"/>
                  <a:pt x="1317" y="41"/>
                  <a:pt x="1314" y="41"/>
                </a:cubicBezTo>
                <a:cubicBezTo>
                  <a:pt x="1311" y="42"/>
                  <a:pt x="1313" y="45"/>
                  <a:pt x="1311" y="45"/>
                </a:cubicBezTo>
                <a:cubicBezTo>
                  <a:pt x="1309" y="45"/>
                  <a:pt x="1304" y="43"/>
                  <a:pt x="1306" y="42"/>
                </a:cubicBezTo>
                <a:cubicBezTo>
                  <a:pt x="1308" y="41"/>
                  <a:pt x="1313" y="40"/>
                  <a:pt x="1313" y="39"/>
                </a:cubicBezTo>
                <a:cubicBezTo>
                  <a:pt x="1314" y="37"/>
                  <a:pt x="1316" y="35"/>
                  <a:pt x="1317" y="34"/>
                </a:cubicBezTo>
                <a:cubicBezTo>
                  <a:pt x="1317" y="34"/>
                  <a:pt x="1320" y="36"/>
                  <a:pt x="1322" y="35"/>
                </a:cubicBezTo>
                <a:cubicBezTo>
                  <a:pt x="1324" y="34"/>
                  <a:pt x="1327" y="32"/>
                  <a:pt x="1327" y="32"/>
                </a:cubicBezTo>
                <a:cubicBezTo>
                  <a:pt x="1325" y="30"/>
                  <a:pt x="1325" y="30"/>
                  <a:pt x="1325" y="30"/>
                </a:cubicBezTo>
                <a:cubicBezTo>
                  <a:pt x="1325" y="30"/>
                  <a:pt x="1330" y="27"/>
                  <a:pt x="1331" y="27"/>
                </a:cubicBezTo>
                <a:cubicBezTo>
                  <a:pt x="1333" y="27"/>
                  <a:pt x="1335" y="29"/>
                  <a:pt x="1336" y="28"/>
                </a:cubicBezTo>
                <a:cubicBezTo>
                  <a:pt x="1338" y="26"/>
                  <a:pt x="1342" y="26"/>
                  <a:pt x="1340" y="25"/>
                </a:cubicBezTo>
                <a:cubicBezTo>
                  <a:pt x="1337" y="24"/>
                  <a:pt x="1331" y="25"/>
                  <a:pt x="1331" y="25"/>
                </a:cubicBezTo>
                <a:cubicBezTo>
                  <a:pt x="1331" y="25"/>
                  <a:pt x="1320" y="28"/>
                  <a:pt x="1322" y="26"/>
                </a:cubicBezTo>
                <a:cubicBezTo>
                  <a:pt x="1324" y="24"/>
                  <a:pt x="1329" y="23"/>
                  <a:pt x="1329" y="23"/>
                </a:cubicBezTo>
                <a:cubicBezTo>
                  <a:pt x="1329" y="23"/>
                  <a:pt x="1338" y="24"/>
                  <a:pt x="1342" y="24"/>
                </a:cubicBezTo>
                <a:cubicBezTo>
                  <a:pt x="1346" y="23"/>
                  <a:pt x="1350" y="22"/>
                  <a:pt x="1350" y="22"/>
                </a:cubicBezTo>
                <a:cubicBezTo>
                  <a:pt x="1350" y="22"/>
                  <a:pt x="1342" y="20"/>
                  <a:pt x="1341" y="21"/>
                </a:cubicBezTo>
                <a:cubicBezTo>
                  <a:pt x="1340" y="21"/>
                  <a:pt x="1332" y="21"/>
                  <a:pt x="1332" y="21"/>
                </a:cubicBezTo>
                <a:cubicBezTo>
                  <a:pt x="1332" y="21"/>
                  <a:pt x="1322" y="22"/>
                  <a:pt x="1325" y="21"/>
                </a:cubicBezTo>
                <a:cubicBezTo>
                  <a:pt x="1329" y="20"/>
                  <a:pt x="1340" y="20"/>
                  <a:pt x="1340" y="20"/>
                </a:cubicBezTo>
                <a:cubicBezTo>
                  <a:pt x="1340" y="20"/>
                  <a:pt x="1353" y="20"/>
                  <a:pt x="1356" y="19"/>
                </a:cubicBezTo>
                <a:cubicBezTo>
                  <a:pt x="1358" y="19"/>
                  <a:pt x="1360" y="17"/>
                  <a:pt x="1360" y="17"/>
                </a:cubicBezTo>
                <a:cubicBezTo>
                  <a:pt x="1360" y="17"/>
                  <a:pt x="1366" y="17"/>
                  <a:pt x="1369" y="16"/>
                </a:cubicBezTo>
                <a:cubicBezTo>
                  <a:pt x="1373" y="16"/>
                  <a:pt x="1377" y="14"/>
                  <a:pt x="1377" y="14"/>
                </a:cubicBezTo>
                <a:cubicBezTo>
                  <a:pt x="1377" y="14"/>
                  <a:pt x="1372" y="12"/>
                  <a:pt x="1368" y="12"/>
                </a:cubicBezTo>
                <a:cubicBezTo>
                  <a:pt x="1364" y="12"/>
                  <a:pt x="1349" y="11"/>
                  <a:pt x="1348" y="12"/>
                </a:cubicBezTo>
                <a:cubicBezTo>
                  <a:pt x="1347" y="13"/>
                  <a:pt x="1342" y="15"/>
                  <a:pt x="1340" y="15"/>
                </a:cubicBezTo>
                <a:cubicBezTo>
                  <a:pt x="1338" y="15"/>
                  <a:pt x="1328" y="13"/>
                  <a:pt x="1326" y="13"/>
                </a:cubicBezTo>
                <a:cubicBezTo>
                  <a:pt x="1325" y="14"/>
                  <a:pt x="1314" y="17"/>
                  <a:pt x="1313" y="18"/>
                </a:cubicBezTo>
                <a:cubicBezTo>
                  <a:pt x="1311" y="19"/>
                  <a:pt x="1300" y="21"/>
                  <a:pt x="1302" y="20"/>
                </a:cubicBezTo>
                <a:cubicBezTo>
                  <a:pt x="1304" y="18"/>
                  <a:pt x="1320" y="15"/>
                  <a:pt x="1319" y="13"/>
                </a:cubicBezTo>
                <a:cubicBezTo>
                  <a:pt x="1318" y="11"/>
                  <a:pt x="1312" y="10"/>
                  <a:pt x="1309" y="11"/>
                </a:cubicBezTo>
                <a:cubicBezTo>
                  <a:pt x="1307" y="12"/>
                  <a:pt x="1303" y="13"/>
                  <a:pt x="1303" y="13"/>
                </a:cubicBezTo>
                <a:cubicBezTo>
                  <a:pt x="1287" y="15"/>
                  <a:pt x="1287" y="15"/>
                  <a:pt x="1287" y="15"/>
                </a:cubicBezTo>
                <a:cubicBezTo>
                  <a:pt x="1287" y="15"/>
                  <a:pt x="1302" y="12"/>
                  <a:pt x="1298" y="11"/>
                </a:cubicBezTo>
                <a:cubicBezTo>
                  <a:pt x="1295" y="11"/>
                  <a:pt x="1280" y="11"/>
                  <a:pt x="1280" y="11"/>
                </a:cubicBezTo>
                <a:cubicBezTo>
                  <a:pt x="1275" y="12"/>
                  <a:pt x="1275" y="12"/>
                  <a:pt x="1275" y="12"/>
                </a:cubicBezTo>
                <a:cubicBezTo>
                  <a:pt x="1266" y="11"/>
                  <a:pt x="1266" y="11"/>
                  <a:pt x="1266" y="11"/>
                </a:cubicBezTo>
                <a:cubicBezTo>
                  <a:pt x="1266" y="11"/>
                  <a:pt x="1255" y="14"/>
                  <a:pt x="1256" y="13"/>
                </a:cubicBezTo>
                <a:cubicBezTo>
                  <a:pt x="1256" y="11"/>
                  <a:pt x="1269" y="10"/>
                  <a:pt x="1273" y="10"/>
                </a:cubicBezTo>
                <a:cubicBezTo>
                  <a:pt x="1277" y="10"/>
                  <a:pt x="1306" y="9"/>
                  <a:pt x="1308" y="9"/>
                </a:cubicBezTo>
                <a:cubicBezTo>
                  <a:pt x="1309" y="9"/>
                  <a:pt x="1326" y="9"/>
                  <a:pt x="1324" y="7"/>
                </a:cubicBezTo>
                <a:cubicBezTo>
                  <a:pt x="1322" y="6"/>
                  <a:pt x="1312" y="5"/>
                  <a:pt x="1308" y="6"/>
                </a:cubicBezTo>
                <a:cubicBezTo>
                  <a:pt x="1304" y="6"/>
                  <a:pt x="1301" y="6"/>
                  <a:pt x="1301" y="6"/>
                </a:cubicBezTo>
                <a:cubicBezTo>
                  <a:pt x="1301" y="6"/>
                  <a:pt x="1306" y="4"/>
                  <a:pt x="1303" y="4"/>
                </a:cubicBezTo>
                <a:cubicBezTo>
                  <a:pt x="1300" y="3"/>
                  <a:pt x="1294" y="4"/>
                  <a:pt x="1294" y="4"/>
                </a:cubicBezTo>
                <a:cubicBezTo>
                  <a:pt x="1294" y="4"/>
                  <a:pt x="1288" y="4"/>
                  <a:pt x="1286" y="3"/>
                </a:cubicBezTo>
                <a:cubicBezTo>
                  <a:pt x="1285" y="3"/>
                  <a:pt x="1292" y="4"/>
                  <a:pt x="1294" y="2"/>
                </a:cubicBezTo>
                <a:cubicBezTo>
                  <a:pt x="1295" y="1"/>
                  <a:pt x="1286" y="1"/>
                  <a:pt x="1281" y="1"/>
                </a:cubicBezTo>
                <a:cubicBezTo>
                  <a:pt x="1277" y="1"/>
                  <a:pt x="1265" y="2"/>
                  <a:pt x="1265" y="2"/>
                </a:cubicBezTo>
                <a:cubicBezTo>
                  <a:pt x="1265" y="2"/>
                  <a:pt x="1257" y="1"/>
                  <a:pt x="1252" y="0"/>
                </a:cubicBezTo>
                <a:cubicBezTo>
                  <a:pt x="1247" y="0"/>
                  <a:pt x="1243" y="1"/>
                  <a:pt x="1241" y="1"/>
                </a:cubicBezTo>
                <a:cubicBezTo>
                  <a:pt x="1239" y="2"/>
                  <a:pt x="1235" y="2"/>
                  <a:pt x="1230" y="1"/>
                </a:cubicBezTo>
                <a:cubicBezTo>
                  <a:pt x="1226" y="1"/>
                  <a:pt x="1221" y="1"/>
                  <a:pt x="1222" y="2"/>
                </a:cubicBezTo>
                <a:cubicBezTo>
                  <a:pt x="1222" y="3"/>
                  <a:pt x="1228" y="3"/>
                  <a:pt x="1228" y="3"/>
                </a:cubicBezTo>
                <a:cubicBezTo>
                  <a:pt x="1228" y="3"/>
                  <a:pt x="1221" y="4"/>
                  <a:pt x="1218" y="4"/>
                </a:cubicBezTo>
                <a:cubicBezTo>
                  <a:pt x="1215" y="4"/>
                  <a:pt x="1204" y="3"/>
                  <a:pt x="1201" y="2"/>
                </a:cubicBezTo>
                <a:cubicBezTo>
                  <a:pt x="1198" y="2"/>
                  <a:pt x="1190" y="3"/>
                  <a:pt x="1189" y="3"/>
                </a:cubicBezTo>
                <a:cubicBezTo>
                  <a:pt x="1188" y="3"/>
                  <a:pt x="1177" y="4"/>
                  <a:pt x="1182" y="5"/>
                </a:cubicBezTo>
                <a:cubicBezTo>
                  <a:pt x="1186" y="6"/>
                  <a:pt x="1201" y="7"/>
                  <a:pt x="1201" y="7"/>
                </a:cubicBezTo>
                <a:cubicBezTo>
                  <a:pt x="1213" y="8"/>
                  <a:pt x="1213" y="8"/>
                  <a:pt x="1213" y="8"/>
                </a:cubicBezTo>
                <a:cubicBezTo>
                  <a:pt x="1213" y="8"/>
                  <a:pt x="1201" y="8"/>
                  <a:pt x="1199" y="8"/>
                </a:cubicBezTo>
                <a:cubicBezTo>
                  <a:pt x="1198" y="8"/>
                  <a:pt x="1188" y="6"/>
                  <a:pt x="1188" y="7"/>
                </a:cubicBezTo>
                <a:cubicBezTo>
                  <a:pt x="1188" y="7"/>
                  <a:pt x="1192" y="8"/>
                  <a:pt x="1192" y="8"/>
                </a:cubicBezTo>
                <a:cubicBezTo>
                  <a:pt x="1186" y="9"/>
                  <a:pt x="1186" y="9"/>
                  <a:pt x="1186" y="9"/>
                </a:cubicBezTo>
                <a:cubicBezTo>
                  <a:pt x="1186" y="9"/>
                  <a:pt x="1182" y="12"/>
                  <a:pt x="1183" y="12"/>
                </a:cubicBezTo>
                <a:cubicBezTo>
                  <a:pt x="1184" y="13"/>
                  <a:pt x="1178" y="13"/>
                  <a:pt x="1175" y="12"/>
                </a:cubicBezTo>
                <a:cubicBezTo>
                  <a:pt x="1173" y="10"/>
                  <a:pt x="1167" y="9"/>
                  <a:pt x="1162" y="8"/>
                </a:cubicBezTo>
                <a:cubicBezTo>
                  <a:pt x="1156" y="8"/>
                  <a:pt x="1150" y="8"/>
                  <a:pt x="1150" y="8"/>
                </a:cubicBezTo>
                <a:cubicBezTo>
                  <a:pt x="1150" y="12"/>
                  <a:pt x="1150" y="12"/>
                  <a:pt x="1150" y="12"/>
                </a:cubicBezTo>
                <a:cubicBezTo>
                  <a:pt x="1150" y="12"/>
                  <a:pt x="1146" y="13"/>
                  <a:pt x="1144" y="12"/>
                </a:cubicBezTo>
                <a:cubicBezTo>
                  <a:pt x="1141" y="12"/>
                  <a:pt x="1136" y="10"/>
                  <a:pt x="1134" y="11"/>
                </a:cubicBezTo>
                <a:cubicBezTo>
                  <a:pt x="1132" y="11"/>
                  <a:pt x="1129" y="13"/>
                  <a:pt x="1129" y="13"/>
                </a:cubicBezTo>
                <a:cubicBezTo>
                  <a:pt x="1129" y="13"/>
                  <a:pt x="1131" y="9"/>
                  <a:pt x="1128" y="9"/>
                </a:cubicBezTo>
                <a:cubicBezTo>
                  <a:pt x="1126" y="9"/>
                  <a:pt x="1111" y="9"/>
                  <a:pt x="1107" y="10"/>
                </a:cubicBezTo>
                <a:cubicBezTo>
                  <a:pt x="1103" y="11"/>
                  <a:pt x="1096" y="9"/>
                  <a:pt x="1097" y="10"/>
                </a:cubicBezTo>
                <a:cubicBezTo>
                  <a:pt x="1098" y="11"/>
                  <a:pt x="1105" y="15"/>
                  <a:pt x="1105" y="15"/>
                </a:cubicBezTo>
                <a:cubicBezTo>
                  <a:pt x="1105" y="15"/>
                  <a:pt x="1094" y="11"/>
                  <a:pt x="1092" y="11"/>
                </a:cubicBezTo>
                <a:cubicBezTo>
                  <a:pt x="1090" y="11"/>
                  <a:pt x="1085" y="10"/>
                  <a:pt x="1084" y="12"/>
                </a:cubicBezTo>
                <a:cubicBezTo>
                  <a:pt x="1083" y="15"/>
                  <a:pt x="1079" y="17"/>
                  <a:pt x="1076" y="17"/>
                </a:cubicBezTo>
                <a:cubicBezTo>
                  <a:pt x="1074" y="17"/>
                  <a:pt x="1066" y="17"/>
                  <a:pt x="1066" y="17"/>
                </a:cubicBezTo>
                <a:cubicBezTo>
                  <a:pt x="1066" y="17"/>
                  <a:pt x="1050" y="20"/>
                  <a:pt x="1050" y="20"/>
                </a:cubicBezTo>
                <a:cubicBezTo>
                  <a:pt x="1049" y="20"/>
                  <a:pt x="1034" y="22"/>
                  <a:pt x="1036" y="24"/>
                </a:cubicBezTo>
                <a:cubicBezTo>
                  <a:pt x="1038" y="25"/>
                  <a:pt x="1047" y="26"/>
                  <a:pt x="1048" y="25"/>
                </a:cubicBezTo>
                <a:cubicBezTo>
                  <a:pt x="1049" y="25"/>
                  <a:pt x="1052" y="25"/>
                  <a:pt x="1052" y="25"/>
                </a:cubicBezTo>
                <a:cubicBezTo>
                  <a:pt x="1047" y="27"/>
                  <a:pt x="1047" y="27"/>
                  <a:pt x="1047" y="27"/>
                </a:cubicBezTo>
                <a:cubicBezTo>
                  <a:pt x="1045" y="29"/>
                  <a:pt x="1045" y="29"/>
                  <a:pt x="1045" y="29"/>
                </a:cubicBezTo>
                <a:cubicBezTo>
                  <a:pt x="1045" y="29"/>
                  <a:pt x="1035" y="33"/>
                  <a:pt x="1031" y="33"/>
                </a:cubicBezTo>
                <a:cubicBezTo>
                  <a:pt x="1028" y="33"/>
                  <a:pt x="1013" y="33"/>
                  <a:pt x="1011" y="35"/>
                </a:cubicBezTo>
                <a:cubicBezTo>
                  <a:pt x="1008" y="38"/>
                  <a:pt x="1005" y="35"/>
                  <a:pt x="1005" y="35"/>
                </a:cubicBezTo>
                <a:cubicBezTo>
                  <a:pt x="1001" y="37"/>
                  <a:pt x="1001" y="37"/>
                  <a:pt x="1001" y="37"/>
                </a:cubicBezTo>
                <a:cubicBezTo>
                  <a:pt x="994" y="37"/>
                  <a:pt x="994" y="37"/>
                  <a:pt x="994" y="37"/>
                </a:cubicBezTo>
                <a:cubicBezTo>
                  <a:pt x="994" y="37"/>
                  <a:pt x="982" y="38"/>
                  <a:pt x="985" y="40"/>
                </a:cubicBezTo>
                <a:cubicBezTo>
                  <a:pt x="988" y="42"/>
                  <a:pt x="993" y="44"/>
                  <a:pt x="993" y="44"/>
                </a:cubicBezTo>
                <a:cubicBezTo>
                  <a:pt x="997" y="43"/>
                  <a:pt x="997" y="43"/>
                  <a:pt x="997" y="43"/>
                </a:cubicBezTo>
                <a:cubicBezTo>
                  <a:pt x="997" y="43"/>
                  <a:pt x="997" y="45"/>
                  <a:pt x="999" y="46"/>
                </a:cubicBezTo>
                <a:cubicBezTo>
                  <a:pt x="1001" y="47"/>
                  <a:pt x="1006" y="44"/>
                  <a:pt x="1006" y="44"/>
                </a:cubicBezTo>
                <a:cubicBezTo>
                  <a:pt x="1006" y="44"/>
                  <a:pt x="1005" y="46"/>
                  <a:pt x="1007" y="46"/>
                </a:cubicBezTo>
                <a:cubicBezTo>
                  <a:pt x="1009" y="46"/>
                  <a:pt x="1017" y="43"/>
                  <a:pt x="1019" y="44"/>
                </a:cubicBezTo>
                <a:cubicBezTo>
                  <a:pt x="1020" y="45"/>
                  <a:pt x="1020" y="46"/>
                  <a:pt x="1020" y="46"/>
                </a:cubicBezTo>
                <a:cubicBezTo>
                  <a:pt x="1017" y="46"/>
                  <a:pt x="1017" y="46"/>
                  <a:pt x="1017" y="46"/>
                </a:cubicBezTo>
                <a:cubicBezTo>
                  <a:pt x="1017" y="46"/>
                  <a:pt x="1016" y="49"/>
                  <a:pt x="1014" y="49"/>
                </a:cubicBezTo>
                <a:cubicBezTo>
                  <a:pt x="1013" y="49"/>
                  <a:pt x="1014" y="47"/>
                  <a:pt x="1011" y="47"/>
                </a:cubicBezTo>
                <a:cubicBezTo>
                  <a:pt x="1009" y="47"/>
                  <a:pt x="1002" y="48"/>
                  <a:pt x="1002" y="48"/>
                </a:cubicBezTo>
                <a:cubicBezTo>
                  <a:pt x="996" y="48"/>
                  <a:pt x="996" y="48"/>
                  <a:pt x="996" y="48"/>
                </a:cubicBezTo>
                <a:cubicBezTo>
                  <a:pt x="996" y="48"/>
                  <a:pt x="988" y="44"/>
                  <a:pt x="986" y="48"/>
                </a:cubicBezTo>
                <a:cubicBezTo>
                  <a:pt x="984" y="52"/>
                  <a:pt x="989" y="53"/>
                  <a:pt x="991" y="53"/>
                </a:cubicBezTo>
                <a:cubicBezTo>
                  <a:pt x="993" y="52"/>
                  <a:pt x="998" y="53"/>
                  <a:pt x="998" y="53"/>
                </a:cubicBezTo>
                <a:cubicBezTo>
                  <a:pt x="998" y="53"/>
                  <a:pt x="989" y="53"/>
                  <a:pt x="990" y="55"/>
                </a:cubicBezTo>
                <a:cubicBezTo>
                  <a:pt x="991" y="56"/>
                  <a:pt x="997" y="57"/>
                  <a:pt x="997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6"/>
                  <a:pt x="1004" y="56"/>
                </a:cubicBezTo>
                <a:cubicBezTo>
                  <a:pt x="1005" y="56"/>
                  <a:pt x="1007" y="58"/>
                  <a:pt x="1007" y="58"/>
                </a:cubicBezTo>
                <a:cubicBezTo>
                  <a:pt x="1012" y="56"/>
                  <a:pt x="1012" y="56"/>
                  <a:pt x="1012" y="56"/>
                </a:cubicBezTo>
                <a:cubicBezTo>
                  <a:pt x="1012" y="56"/>
                  <a:pt x="1013" y="58"/>
                  <a:pt x="1013" y="58"/>
                </a:cubicBezTo>
                <a:cubicBezTo>
                  <a:pt x="1014" y="58"/>
                  <a:pt x="1020" y="55"/>
                  <a:pt x="1022" y="56"/>
                </a:cubicBezTo>
                <a:cubicBezTo>
                  <a:pt x="1024" y="56"/>
                  <a:pt x="1026" y="57"/>
                  <a:pt x="1027" y="57"/>
                </a:cubicBezTo>
                <a:cubicBezTo>
                  <a:pt x="1028" y="57"/>
                  <a:pt x="1030" y="55"/>
                  <a:pt x="1031" y="55"/>
                </a:cubicBezTo>
                <a:cubicBezTo>
                  <a:pt x="1032" y="55"/>
                  <a:pt x="1036" y="57"/>
                  <a:pt x="1036" y="57"/>
                </a:cubicBezTo>
                <a:cubicBezTo>
                  <a:pt x="1036" y="57"/>
                  <a:pt x="1043" y="56"/>
                  <a:pt x="1047" y="57"/>
                </a:cubicBezTo>
                <a:cubicBezTo>
                  <a:pt x="1052" y="59"/>
                  <a:pt x="1053" y="61"/>
                  <a:pt x="1053" y="61"/>
                </a:cubicBezTo>
                <a:cubicBezTo>
                  <a:pt x="1053" y="61"/>
                  <a:pt x="1057" y="60"/>
                  <a:pt x="1057" y="61"/>
                </a:cubicBezTo>
                <a:cubicBezTo>
                  <a:pt x="1057" y="62"/>
                  <a:pt x="1055" y="64"/>
                  <a:pt x="1055" y="64"/>
                </a:cubicBezTo>
                <a:cubicBezTo>
                  <a:pt x="1057" y="66"/>
                  <a:pt x="1057" y="66"/>
                  <a:pt x="1057" y="66"/>
                </a:cubicBezTo>
                <a:cubicBezTo>
                  <a:pt x="1057" y="66"/>
                  <a:pt x="1063" y="67"/>
                  <a:pt x="1063" y="69"/>
                </a:cubicBezTo>
                <a:cubicBezTo>
                  <a:pt x="1063" y="71"/>
                  <a:pt x="1060" y="72"/>
                  <a:pt x="1060" y="72"/>
                </a:cubicBezTo>
                <a:cubicBezTo>
                  <a:pt x="1062" y="75"/>
                  <a:pt x="1062" y="75"/>
                  <a:pt x="1062" y="75"/>
                </a:cubicBezTo>
                <a:cubicBezTo>
                  <a:pt x="1065" y="77"/>
                  <a:pt x="1065" y="77"/>
                  <a:pt x="1065" y="77"/>
                </a:cubicBezTo>
                <a:cubicBezTo>
                  <a:pt x="1062" y="78"/>
                  <a:pt x="1062" y="78"/>
                  <a:pt x="1062" y="78"/>
                </a:cubicBezTo>
                <a:cubicBezTo>
                  <a:pt x="1064" y="81"/>
                  <a:pt x="1064" y="81"/>
                  <a:pt x="1064" y="81"/>
                </a:cubicBezTo>
                <a:cubicBezTo>
                  <a:pt x="1064" y="81"/>
                  <a:pt x="1062" y="81"/>
                  <a:pt x="1062" y="83"/>
                </a:cubicBezTo>
                <a:cubicBezTo>
                  <a:pt x="1062" y="85"/>
                  <a:pt x="1067" y="85"/>
                  <a:pt x="1066" y="86"/>
                </a:cubicBezTo>
                <a:cubicBezTo>
                  <a:pt x="1065" y="87"/>
                  <a:pt x="1061" y="89"/>
                  <a:pt x="1061" y="89"/>
                </a:cubicBezTo>
                <a:cubicBezTo>
                  <a:pt x="1063" y="91"/>
                  <a:pt x="1063" y="91"/>
                  <a:pt x="1063" y="91"/>
                </a:cubicBezTo>
                <a:cubicBezTo>
                  <a:pt x="1063" y="91"/>
                  <a:pt x="1054" y="92"/>
                  <a:pt x="1055" y="92"/>
                </a:cubicBezTo>
                <a:cubicBezTo>
                  <a:pt x="1055" y="93"/>
                  <a:pt x="1057" y="93"/>
                  <a:pt x="1059" y="93"/>
                </a:cubicBezTo>
                <a:cubicBezTo>
                  <a:pt x="1062" y="93"/>
                  <a:pt x="1059" y="95"/>
                  <a:pt x="1059" y="95"/>
                </a:cubicBezTo>
                <a:cubicBezTo>
                  <a:pt x="1059" y="95"/>
                  <a:pt x="1048" y="95"/>
                  <a:pt x="1050" y="97"/>
                </a:cubicBezTo>
                <a:cubicBezTo>
                  <a:pt x="1053" y="99"/>
                  <a:pt x="1056" y="100"/>
                  <a:pt x="1059" y="100"/>
                </a:cubicBezTo>
                <a:cubicBezTo>
                  <a:pt x="1062" y="100"/>
                  <a:pt x="1063" y="98"/>
                  <a:pt x="1063" y="98"/>
                </a:cubicBezTo>
                <a:cubicBezTo>
                  <a:pt x="1063" y="98"/>
                  <a:pt x="1069" y="98"/>
                  <a:pt x="1068" y="96"/>
                </a:cubicBezTo>
                <a:cubicBezTo>
                  <a:pt x="1068" y="94"/>
                  <a:pt x="1070" y="92"/>
                  <a:pt x="1070" y="92"/>
                </a:cubicBezTo>
                <a:cubicBezTo>
                  <a:pt x="1070" y="96"/>
                  <a:pt x="1070" y="96"/>
                  <a:pt x="1070" y="96"/>
                </a:cubicBezTo>
                <a:cubicBezTo>
                  <a:pt x="1073" y="94"/>
                  <a:pt x="1073" y="94"/>
                  <a:pt x="1073" y="94"/>
                </a:cubicBezTo>
                <a:cubicBezTo>
                  <a:pt x="1073" y="94"/>
                  <a:pt x="1072" y="95"/>
                  <a:pt x="1073" y="96"/>
                </a:cubicBezTo>
                <a:cubicBezTo>
                  <a:pt x="1073" y="97"/>
                  <a:pt x="1079" y="97"/>
                  <a:pt x="1079" y="97"/>
                </a:cubicBezTo>
                <a:cubicBezTo>
                  <a:pt x="1077" y="99"/>
                  <a:pt x="1077" y="99"/>
                  <a:pt x="1077" y="99"/>
                </a:cubicBezTo>
                <a:cubicBezTo>
                  <a:pt x="1077" y="99"/>
                  <a:pt x="1076" y="101"/>
                  <a:pt x="1077" y="102"/>
                </a:cubicBezTo>
                <a:cubicBezTo>
                  <a:pt x="1079" y="103"/>
                  <a:pt x="1082" y="106"/>
                  <a:pt x="1081" y="107"/>
                </a:cubicBezTo>
                <a:cubicBezTo>
                  <a:pt x="1080" y="108"/>
                  <a:pt x="1077" y="107"/>
                  <a:pt x="1077" y="107"/>
                </a:cubicBezTo>
                <a:cubicBezTo>
                  <a:pt x="1077" y="109"/>
                  <a:pt x="1077" y="109"/>
                  <a:pt x="1077" y="109"/>
                </a:cubicBezTo>
                <a:cubicBezTo>
                  <a:pt x="1077" y="109"/>
                  <a:pt x="1074" y="108"/>
                  <a:pt x="1072" y="108"/>
                </a:cubicBezTo>
                <a:cubicBezTo>
                  <a:pt x="1070" y="108"/>
                  <a:pt x="1069" y="106"/>
                  <a:pt x="1069" y="106"/>
                </a:cubicBezTo>
                <a:cubicBezTo>
                  <a:pt x="1060" y="106"/>
                  <a:pt x="1060" y="106"/>
                  <a:pt x="1060" y="106"/>
                </a:cubicBezTo>
                <a:cubicBezTo>
                  <a:pt x="1060" y="106"/>
                  <a:pt x="1055" y="101"/>
                  <a:pt x="1054" y="106"/>
                </a:cubicBezTo>
                <a:cubicBezTo>
                  <a:pt x="1054" y="108"/>
                  <a:pt x="1056" y="109"/>
                  <a:pt x="1058" y="109"/>
                </a:cubicBezTo>
                <a:cubicBezTo>
                  <a:pt x="1059" y="109"/>
                  <a:pt x="1060" y="108"/>
                  <a:pt x="1062" y="109"/>
                </a:cubicBezTo>
                <a:cubicBezTo>
                  <a:pt x="1064" y="110"/>
                  <a:pt x="1066" y="113"/>
                  <a:pt x="1069" y="113"/>
                </a:cubicBezTo>
                <a:cubicBezTo>
                  <a:pt x="1072" y="113"/>
                  <a:pt x="1074" y="112"/>
                  <a:pt x="1074" y="112"/>
                </a:cubicBezTo>
                <a:cubicBezTo>
                  <a:pt x="1077" y="113"/>
                  <a:pt x="1077" y="113"/>
                  <a:pt x="1077" y="113"/>
                </a:cubicBezTo>
                <a:cubicBezTo>
                  <a:pt x="1080" y="112"/>
                  <a:pt x="1080" y="112"/>
                  <a:pt x="1080" y="112"/>
                </a:cubicBezTo>
                <a:cubicBezTo>
                  <a:pt x="1080" y="115"/>
                  <a:pt x="1080" y="115"/>
                  <a:pt x="1080" y="115"/>
                </a:cubicBezTo>
                <a:cubicBezTo>
                  <a:pt x="1080" y="115"/>
                  <a:pt x="1076" y="113"/>
                  <a:pt x="1076" y="115"/>
                </a:cubicBezTo>
                <a:cubicBezTo>
                  <a:pt x="1076" y="116"/>
                  <a:pt x="1078" y="117"/>
                  <a:pt x="1078" y="117"/>
                </a:cubicBezTo>
                <a:cubicBezTo>
                  <a:pt x="1078" y="117"/>
                  <a:pt x="1072" y="117"/>
                  <a:pt x="1072" y="119"/>
                </a:cubicBezTo>
                <a:cubicBezTo>
                  <a:pt x="1073" y="120"/>
                  <a:pt x="1077" y="120"/>
                  <a:pt x="1077" y="120"/>
                </a:cubicBezTo>
                <a:cubicBezTo>
                  <a:pt x="1077" y="120"/>
                  <a:pt x="1076" y="122"/>
                  <a:pt x="1075" y="122"/>
                </a:cubicBezTo>
                <a:cubicBezTo>
                  <a:pt x="1074" y="122"/>
                  <a:pt x="1071" y="120"/>
                  <a:pt x="1070" y="121"/>
                </a:cubicBezTo>
                <a:cubicBezTo>
                  <a:pt x="1069" y="122"/>
                  <a:pt x="1071" y="124"/>
                  <a:pt x="1071" y="124"/>
                </a:cubicBezTo>
                <a:cubicBezTo>
                  <a:pt x="1068" y="124"/>
                  <a:pt x="1068" y="124"/>
                  <a:pt x="1068" y="124"/>
                </a:cubicBezTo>
                <a:cubicBezTo>
                  <a:pt x="1069" y="127"/>
                  <a:pt x="1069" y="127"/>
                  <a:pt x="1069" y="127"/>
                </a:cubicBezTo>
                <a:cubicBezTo>
                  <a:pt x="1069" y="127"/>
                  <a:pt x="1064" y="127"/>
                  <a:pt x="1065" y="129"/>
                </a:cubicBezTo>
                <a:cubicBezTo>
                  <a:pt x="1066" y="131"/>
                  <a:pt x="1070" y="131"/>
                  <a:pt x="1070" y="131"/>
                </a:cubicBezTo>
                <a:cubicBezTo>
                  <a:pt x="1070" y="131"/>
                  <a:pt x="1070" y="134"/>
                  <a:pt x="1069" y="134"/>
                </a:cubicBezTo>
                <a:cubicBezTo>
                  <a:pt x="1067" y="134"/>
                  <a:pt x="1068" y="135"/>
                  <a:pt x="1068" y="135"/>
                </a:cubicBezTo>
                <a:cubicBezTo>
                  <a:pt x="1068" y="135"/>
                  <a:pt x="1068" y="136"/>
                  <a:pt x="1067" y="134"/>
                </a:cubicBezTo>
                <a:cubicBezTo>
                  <a:pt x="1067" y="132"/>
                  <a:pt x="1064" y="131"/>
                  <a:pt x="1064" y="131"/>
                </a:cubicBezTo>
                <a:cubicBezTo>
                  <a:pt x="1064" y="131"/>
                  <a:pt x="1061" y="124"/>
                  <a:pt x="1059" y="125"/>
                </a:cubicBezTo>
                <a:cubicBezTo>
                  <a:pt x="1057" y="125"/>
                  <a:pt x="1051" y="128"/>
                  <a:pt x="1054" y="129"/>
                </a:cubicBezTo>
                <a:cubicBezTo>
                  <a:pt x="1057" y="131"/>
                  <a:pt x="1062" y="131"/>
                  <a:pt x="1062" y="131"/>
                </a:cubicBezTo>
                <a:cubicBezTo>
                  <a:pt x="1062" y="131"/>
                  <a:pt x="1058" y="132"/>
                  <a:pt x="1056" y="132"/>
                </a:cubicBezTo>
                <a:cubicBezTo>
                  <a:pt x="1053" y="132"/>
                  <a:pt x="1050" y="131"/>
                  <a:pt x="1049" y="132"/>
                </a:cubicBezTo>
                <a:cubicBezTo>
                  <a:pt x="1047" y="133"/>
                  <a:pt x="1042" y="134"/>
                  <a:pt x="1044" y="135"/>
                </a:cubicBezTo>
                <a:cubicBezTo>
                  <a:pt x="1045" y="135"/>
                  <a:pt x="1054" y="134"/>
                  <a:pt x="1056" y="134"/>
                </a:cubicBezTo>
                <a:cubicBezTo>
                  <a:pt x="1058" y="134"/>
                  <a:pt x="1063" y="135"/>
                  <a:pt x="1063" y="135"/>
                </a:cubicBezTo>
                <a:cubicBezTo>
                  <a:pt x="1063" y="135"/>
                  <a:pt x="1059" y="135"/>
                  <a:pt x="1058" y="135"/>
                </a:cubicBezTo>
                <a:cubicBezTo>
                  <a:pt x="1056" y="135"/>
                  <a:pt x="1043" y="136"/>
                  <a:pt x="1041" y="137"/>
                </a:cubicBezTo>
                <a:cubicBezTo>
                  <a:pt x="1040" y="138"/>
                  <a:pt x="1040" y="139"/>
                  <a:pt x="1043" y="139"/>
                </a:cubicBezTo>
                <a:cubicBezTo>
                  <a:pt x="1047" y="138"/>
                  <a:pt x="1055" y="138"/>
                  <a:pt x="1055" y="138"/>
                </a:cubicBezTo>
                <a:cubicBezTo>
                  <a:pt x="1055" y="138"/>
                  <a:pt x="1060" y="137"/>
                  <a:pt x="1061" y="138"/>
                </a:cubicBezTo>
                <a:cubicBezTo>
                  <a:pt x="1061" y="139"/>
                  <a:pt x="1051" y="139"/>
                  <a:pt x="1051" y="139"/>
                </a:cubicBezTo>
                <a:cubicBezTo>
                  <a:pt x="1051" y="139"/>
                  <a:pt x="1039" y="139"/>
                  <a:pt x="1040" y="140"/>
                </a:cubicBezTo>
                <a:cubicBezTo>
                  <a:pt x="1040" y="140"/>
                  <a:pt x="1042" y="141"/>
                  <a:pt x="1044" y="141"/>
                </a:cubicBezTo>
                <a:cubicBezTo>
                  <a:pt x="1045" y="141"/>
                  <a:pt x="1048" y="143"/>
                  <a:pt x="1048" y="143"/>
                </a:cubicBezTo>
                <a:cubicBezTo>
                  <a:pt x="1048" y="143"/>
                  <a:pt x="1043" y="142"/>
                  <a:pt x="1042" y="143"/>
                </a:cubicBezTo>
                <a:cubicBezTo>
                  <a:pt x="1041" y="144"/>
                  <a:pt x="1042" y="144"/>
                  <a:pt x="1042" y="144"/>
                </a:cubicBezTo>
                <a:cubicBezTo>
                  <a:pt x="1042" y="144"/>
                  <a:pt x="1036" y="146"/>
                  <a:pt x="1037" y="148"/>
                </a:cubicBezTo>
                <a:cubicBezTo>
                  <a:pt x="1042" y="148"/>
                  <a:pt x="1042" y="148"/>
                  <a:pt x="1042" y="148"/>
                </a:cubicBezTo>
                <a:cubicBezTo>
                  <a:pt x="1037" y="150"/>
                  <a:pt x="1037" y="150"/>
                  <a:pt x="1037" y="150"/>
                </a:cubicBezTo>
                <a:cubicBezTo>
                  <a:pt x="1037" y="150"/>
                  <a:pt x="1037" y="153"/>
                  <a:pt x="1039" y="152"/>
                </a:cubicBezTo>
                <a:cubicBezTo>
                  <a:pt x="1041" y="152"/>
                  <a:pt x="1046" y="152"/>
                  <a:pt x="1046" y="152"/>
                </a:cubicBezTo>
                <a:cubicBezTo>
                  <a:pt x="1046" y="152"/>
                  <a:pt x="1038" y="154"/>
                  <a:pt x="1039" y="156"/>
                </a:cubicBezTo>
                <a:cubicBezTo>
                  <a:pt x="1041" y="157"/>
                  <a:pt x="1045" y="155"/>
                  <a:pt x="1045" y="155"/>
                </a:cubicBezTo>
                <a:cubicBezTo>
                  <a:pt x="1045" y="155"/>
                  <a:pt x="1042" y="158"/>
                  <a:pt x="1041" y="160"/>
                </a:cubicBezTo>
                <a:cubicBezTo>
                  <a:pt x="1041" y="161"/>
                  <a:pt x="1040" y="162"/>
                  <a:pt x="1042" y="162"/>
                </a:cubicBezTo>
                <a:cubicBezTo>
                  <a:pt x="1043" y="162"/>
                  <a:pt x="1045" y="161"/>
                  <a:pt x="1045" y="161"/>
                </a:cubicBezTo>
                <a:cubicBezTo>
                  <a:pt x="1045" y="161"/>
                  <a:pt x="1044" y="164"/>
                  <a:pt x="1043" y="164"/>
                </a:cubicBezTo>
                <a:cubicBezTo>
                  <a:pt x="1041" y="164"/>
                  <a:pt x="1038" y="166"/>
                  <a:pt x="1038" y="168"/>
                </a:cubicBezTo>
                <a:cubicBezTo>
                  <a:pt x="1039" y="170"/>
                  <a:pt x="1043" y="166"/>
                  <a:pt x="1043" y="166"/>
                </a:cubicBezTo>
                <a:cubicBezTo>
                  <a:pt x="1043" y="166"/>
                  <a:pt x="1046" y="162"/>
                  <a:pt x="1047" y="163"/>
                </a:cubicBezTo>
                <a:cubicBezTo>
                  <a:pt x="1048" y="164"/>
                  <a:pt x="1053" y="162"/>
                  <a:pt x="1053" y="162"/>
                </a:cubicBezTo>
                <a:cubicBezTo>
                  <a:pt x="1053" y="164"/>
                  <a:pt x="1053" y="164"/>
                  <a:pt x="1053" y="164"/>
                </a:cubicBezTo>
                <a:cubicBezTo>
                  <a:pt x="1055" y="162"/>
                  <a:pt x="1055" y="162"/>
                  <a:pt x="1055" y="162"/>
                </a:cubicBezTo>
                <a:cubicBezTo>
                  <a:pt x="1053" y="166"/>
                  <a:pt x="1053" y="166"/>
                  <a:pt x="1053" y="166"/>
                </a:cubicBezTo>
                <a:cubicBezTo>
                  <a:pt x="1057" y="166"/>
                  <a:pt x="1057" y="166"/>
                  <a:pt x="1057" y="166"/>
                </a:cubicBezTo>
                <a:cubicBezTo>
                  <a:pt x="1057" y="166"/>
                  <a:pt x="1051" y="166"/>
                  <a:pt x="1050" y="167"/>
                </a:cubicBezTo>
                <a:cubicBezTo>
                  <a:pt x="1050" y="168"/>
                  <a:pt x="1052" y="168"/>
                  <a:pt x="1052" y="168"/>
                </a:cubicBezTo>
                <a:cubicBezTo>
                  <a:pt x="1052" y="168"/>
                  <a:pt x="1047" y="169"/>
                  <a:pt x="1046" y="170"/>
                </a:cubicBezTo>
                <a:cubicBezTo>
                  <a:pt x="1045" y="170"/>
                  <a:pt x="1046" y="171"/>
                  <a:pt x="1046" y="171"/>
                </a:cubicBezTo>
                <a:cubicBezTo>
                  <a:pt x="1046" y="171"/>
                  <a:pt x="1041" y="172"/>
                  <a:pt x="1041" y="173"/>
                </a:cubicBezTo>
                <a:cubicBezTo>
                  <a:pt x="1040" y="174"/>
                  <a:pt x="1046" y="174"/>
                  <a:pt x="1046" y="174"/>
                </a:cubicBezTo>
                <a:cubicBezTo>
                  <a:pt x="1046" y="174"/>
                  <a:pt x="1041" y="174"/>
                  <a:pt x="1041" y="175"/>
                </a:cubicBezTo>
                <a:cubicBezTo>
                  <a:pt x="1041" y="176"/>
                  <a:pt x="1045" y="177"/>
                  <a:pt x="1045" y="177"/>
                </a:cubicBezTo>
                <a:cubicBezTo>
                  <a:pt x="1045" y="177"/>
                  <a:pt x="1042" y="177"/>
                  <a:pt x="1042" y="178"/>
                </a:cubicBezTo>
                <a:cubicBezTo>
                  <a:pt x="1041" y="180"/>
                  <a:pt x="1047" y="179"/>
                  <a:pt x="1047" y="179"/>
                </a:cubicBezTo>
                <a:cubicBezTo>
                  <a:pt x="1044" y="182"/>
                  <a:pt x="1044" y="182"/>
                  <a:pt x="1044" y="182"/>
                </a:cubicBezTo>
                <a:cubicBezTo>
                  <a:pt x="1048" y="181"/>
                  <a:pt x="1048" y="181"/>
                  <a:pt x="1048" y="181"/>
                </a:cubicBezTo>
                <a:cubicBezTo>
                  <a:pt x="1048" y="181"/>
                  <a:pt x="1044" y="184"/>
                  <a:pt x="1044" y="187"/>
                </a:cubicBezTo>
                <a:cubicBezTo>
                  <a:pt x="1045" y="189"/>
                  <a:pt x="1050" y="188"/>
                  <a:pt x="1050" y="188"/>
                </a:cubicBezTo>
                <a:cubicBezTo>
                  <a:pt x="1047" y="192"/>
                  <a:pt x="1047" y="192"/>
                  <a:pt x="1047" y="192"/>
                </a:cubicBezTo>
                <a:cubicBezTo>
                  <a:pt x="1052" y="190"/>
                  <a:pt x="1052" y="190"/>
                  <a:pt x="1052" y="190"/>
                </a:cubicBezTo>
                <a:cubicBezTo>
                  <a:pt x="1052" y="190"/>
                  <a:pt x="1049" y="193"/>
                  <a:pt x="1049" y="194"/>
                </a:cubicBezTo>
                <a:cubicBezTo>
                  <a:pt x="1050" y="195"/>
                  <a:pt x="1054" y="195"/>
                  <a:pt x="1054" y="195"/>
                </a:cubicBezTo>
                <a:cubicBezTo>
                  <a:pt x="1054" y="195"/>
                  <a:pt x="1052" y="196"/>
                  <a:pt x="1052" y="197"/>
                </a:cubicBezTo>
                <a:cubicBezTo>
                  <a:pt x="1053" y="198"/>
                  <a:pt x="1055" y="197"/>
                  <a:pt x="1055" y="197"/>
                </a:cubicBezTo>
                <a:cubicBezTo>
                  <a:pt x="1055" y="197"/>
                  <a:pt x="1052" y="200"/>
                  <a:pt x="1053" y="201"/>
                </a:cubicBezTo>
                <a:cubicBezTo>
                  <a:pt x="1053" y="202"/>
                  <a:pt x="1057" y="201"/>
                  <a:pt x="1057" y="201"/>
                </a:cubicBezTo>
                <a:cubicBezTo>
                  <a:pt x="1056" y="203"/>
                  <a:pt x="1056" y="203"/>
                  <a:pt x="1056" y="203"/>
                </a:cubicBezTo>
                <a:cubicBezTo>
                  <a:pt x="1062" y="202"/>
                  <a:pt x="1062" y="202"/>
                  <a:pt x="1062" y="202"/>
                </a:cubicBezTo>
                <a:cubicBezTo>
                  <a:pt x="1062" y="202"/>
                  <a:pt x="1063" y="204"/>
                  <a:pt x="1065" y="203"/>
                </a:cubicBezTo>
                <a:cubicBezTo>
                  <a:pt x="1067" y="201"/>
                  <a:pt x="1072" y="198"/>
                  <a:pt x="1073" y="198"/>
                </a:cubicBezTo>
                <a:cubicBezTo>
                  <a:pt x="1074" y="199"/>
                  <a:pt x="1071" y="201"/>
                  <a:pt x="1071" y="201"/>
                </a:cubicBezTo>
                <a:cubicBezTo>
                  <a:pt x="1075" y="201"/>
                  <a:pt x="1075" y="201"/>
                  <a:pt x="1075" y="201"/>
                </a:cubicBezTo>
                <a:cubicBezTo>
                  <a:pt x="1077" y="200"/>
                  <a:pt x="1077" y="200"/>
                  <a:pt x="1077" y="200"/>
                </a:cubicBezTo>
                <a:cubicBezTo>
                  <a:pt x="1077" y="200"/>
                  <a:pt x="1073" y="203"/>
                  <a:pt x="1072" y="204"/>
                </a:cubicBezTo>
                <a:cubicBezTo>
                  <a:pt x="1071" y="205"/>
                  <a:pt x="1070" y="206"/>
                  <a:pt x="1072" y="206"/>
                </a:cubicBezTo>
                <a:cubicBezTo>
                  <a:pt x="1073" y="206"/>
                  <a:pt x="1079" y="205"/>
                  <a:pt x="1079" y="205"/>
                </a:cubicBezTo>
                <a:cubicBezTo>
                  <a:pt x="1079" y="205"/>
                  <a:pt x="1073" y="208"/>
                  <a:pt x="1075" y="209"/>
                </a:cubicBezTo>
                <a:cubicBezTo>
                  <a:pt x="1076" y="211"/>
                  <a:pt x="1080" y="209"/>
                  <a:pt x="1080" y="209"/>
                </a:cubicBezTo>
                <a:cubicBezTo>
                  <a:pt x="1080" y="209"/>
                  <a:pt x="1082" y="213"/>
                  <a:pt x="1085" y="212"/>
                </a:cubicBezTo>
                <a:cubicBezTo>
                  <a:pt x="1087" y="210"/>
                  <a:pt x="1089" y="209"/>
                  <a:pt x="1089" y="209"/>
                </a:cubicBezTo>
                <a:cubicBezTo>
                  <a:pt x="1089" y="209"/>
                  <a:pt x="1088" y="208"/>
                  <a:pt x="1087" y="207"/>
                </a:cubicBezTo>
                <a:cubicBezTo>
                  <a:pt x="1086" y="206"/>
                  <a:pt x="1090" y="207"/>
                  <a:pt x="1091" y="206"/>
                </a:cubicBezTo>
                <a:cubicBezTo>
                  <a:pt x="1092" y="205"/>
                  <a:pt x="1091" y="202"/>
                  <a:pt x="1091" y="202"/>
                </a:cubicBezTo>
                <a:cubicBezTo>
                  <a:pt x="1091" y="202"/>
                  <a:pt x="1096" y="204"/>
                  <a:pt x="1096" y="202"/>
                </a:cubicBezTo>
                <a:cubicBezTo>
                  <a:pt x="1096" y="200"/>
                  <a:pt x="1095" y="198"/>
                  <a:pt x="1095" y="198"/>
                </a:cubicBezTo>
                <a:cubicBezTo>
                  <a:pt x="1095" y="198"/>
                  <a:pt x="1096" y="200"/>
                  <a:pt x="1097" y="201"/>
                </a:cubicBezTo>
                <a:cubicBezTo>
                  <a:pt x="1098" y="201"/>
                  <a:pt x="1099" y="199"/>
                  <a:pt x="1099" y="198"/>
                </a:cubicBezTo>
                <a:cubicBezTo>
                  <a:pt x="1098" y="196"/>
                  <a:pt x="1096" y="195"/>
                  <a:pt x="1096" y="195"/>
                </a:cubicBezTo>
                <a:cubicBezTo>
                  <a:pt x="1096" y="195"/>
                  <a:pt x="1101" y="196"/>
                  <a:pt x="1101" y="195"/>
                </a:cubicBezTo>
                <a:cubicBezTo>
                  <a:pt x="1101" y="194"/>
                  <a:pt x="1100" y="193"/>
                  <a:pt x="1100" y="193"/>
                </a:cubicBezTo>
                <a:cubicBezTo>
                  <a:pt x="1104" y="193"/>
                  <a:pt x="1104" y="193"/>
                  <a:pt x="1104" y="193"/>
                </a:cubicBezTo>
                <a:cubicBezTo>
                  <a:pt x="1102" y="190"/>
                  <a:pt x="1102" y="190"/>
                  <a:pt x="1102" y="190"/>
                </a:cubicBezTo>
                <a:cubicBezTo>
                  <a:pt x="1104" y="189"/>
                  <a:pt x="1104" y="189"/>
                  <a:pt x="1104" y="189"/>
                </a:cubicBezTo>
                <a:cubicBezTo>
                  <a:pt x="1104" y="189"/>
                  <a:pt x="1102" y="187"/>
                  <a:pt x="1101" y="187"/>
                </a:cubicBezTo>
                <a:cubicBezTo>
                  <a:pt x="1100" y="187"/>
                  <a:pt x="1103" y="186"/>
                  <a:pt x="1103" y="186"/>
                </a:cubicBezTo>
                <a:cubicBezTo>
                  <a:pt x="1100" y="183"/>
                  <a:pt x="1100" y="183"/>
                  <a:pt x="1100" y="183"/>
                </a:cubicBezTo>
                <a:cubicBezTo>
                  <a:pt x="1100" y="183"/>
                  <a:pt x="1103" y="185"/>
                  <a:pt x="1104" y="185"/>
                </a:cubicBezTo>
                <a:cubicBezTo>
                  <a:pt x="1105" y="184"/>
                  <a:pt x="1107" y="183"/>
                  <a:pt x="1107" y="183"/>
                </a:cubicBezTo>
                <a:cubicBezTo>
                  <a:pt x="1107" y="183"/>
                  <a:pt x="1110" y="183"/>
                  <a:pt x="1111" y="183"/>
                </a:cubicBezTo>
                <a:cubicBezTo>
                  <a:pt x="1111" y="182"/>
                  <a:pt x="1110" y="180"/>
                  <a:pt x="1110" y="180"/>
                </a:cubicBezTo>
                <a:cubicBezTo>
                  <a:pt x="1113" y="180"/>
                  <a:pt x="1113" y="180"/>
                  <a:pt x="1113" y="180"/>
                </a:cubicBezTo>
                <a:cubicBezTo>
                  <a:pt x="1114" y="176"/>
                  <a:pt x="1114" y="176"/>
                  <a:pt x="1114" y="176"/>
                </a:cubicBezTo>
                <a:cubicBezTo>
                  <a:pt x="1114" y="176"/>
                  <a:pt x="1118" y="178"/>
                  <a:pt x="1119" y="176"/>
                </a:cubicBezTo>
                <a:cubicBezTo>
                  <a:pt x="1120" y="175"/>
                  <a:pt x="1119" y="174"/>
                  <a:pt x="1119" y="174"/>
                </a:cubicBezTo>
                <a:cubicBezTo>
                  <a:pt x="1119" y="174"/>
                  <a:pt x="1121" y="176"/>
                  <a:pt x="1122" y="176"/>
                </a:cubicBezTo>
                <a:cubicBezTo>
                  <a:pt x="1123" y="176"/>
                  <a:pt x="1124" y="174"/>
                  <a:pt x="1124" y="173"/>
                </a:cubicBezTo>
                <a:cubicBezTo>
                  <a:pt x="1125" y="172"/>
                  <a:pt x="1124" y="170"/>
                  <a:pt x="1124" y="170"/>
                </a:cubicBezTo>
                <a:cubicBezTo>
                  <a:pt x="1119" y="169"/>
                  <a:pt x="1119" y="169"/>
                  <a:pt x="1119" y="169"/>
                </a:cubicBezTo>
                <a:cubicBezTo>
                  <a:pt x="1123" y="168"/>
                  <a:pt x="1123" y="168"/>
                  <a:pt x="1123" y="168"/>
                </a:cubicBezTo>
                <a:cubicBezTo>
                  <a:pt x="1127" y="166"/>
                  <a:pt x="1127" y="166"/>
                  <a:pt x="1127" y="166"/>
                </a:cubicBezTo>
                <a:cubicBezTo>
                  <a:pt x="1127" y="163"/>
                  <a:pt x="1127" y="163"/>
                  <a:pt x="1127" y="163"/>
                </a:cubicBezTo>
                <a:cubicBezTo>
                  <a:pt x="1124" y="163"/>
                  <a:pt x="1124" y="163"/>
                  <a:pt x="1124" y="163"/>
                </a:cubicBezTo>
                <a:cubicBezTo>
                  <a:pt x="1125" y="160"/>
                  <a:pt x="1125" y="160"/>
                  <a:pt x="1125" y="160"/>
                </a:cubicBezTo>
                <a:cubicBezTo>
                  <a:pt x="1130" y="160"/>
                  <a:pt x="1130" y="160"/>
                  <a:pt x="1130" y="160"/>
                </a:cubicBezTo>
                <a:cubicBezTo>
                  <a:pt x="1130" y="160"/>
                  <a:pt x="1133" y="161"/>
                  <a:pt x="1134" y="160"/>
                </a:cubicBezTo>
                <a:cubicBezTo>
                  <a:pt x="1136" y="158"/>
                  <a:pt x="1135" y="156"/>
                  <a:pt x="1135" y="156"/>
                </a:cubicBezTo>
                <a:cubicBezTo>
                  <a:pt x="1139" y="155"/>
                  <a:pt x="1139" y="155"/>
                  <a:pt x="1139" y="155"/>
                </a:cubicBezTo>
                <a:cubicBezTo>
                  <a:pt x="1139" y="155"/>
                  <a:pt x="1146" y="156"/>
                  <a:pt x="1147" y="155"/>
                </a:cubicBezTo>
                <a:cubicBezTo>
                  <a:pt x="1149" y="153"/>
                  <a:pt x="1150" y="152"/>
                  <a:pt x="1150" y="152"/>
                </a:cubicBezTo>
                <a:cubicBezTo>
                  <a:pt x="1152" y="151"/>
                  <a:pt x="1152" y="151"/>
                  <a:pt x="1152" y="151"/>
                </a:cubicBezTo>
                <a:cubicBezTo>
                  <a:pt x="1152" y="151"/>
                  <a:pt x="1152" y="149"/>
                  <a:pt x="1154" y="148"/>
                </a:cubicBezTo>
                <a:cubicBezTo>
                  <a:pt x="1157" y="148"/>
                  <a:pt x="1150" y="155"/>
                  <a:pt x="1152" y="155"/>
                </a:cubicBezTo>
                <a:cubicBezTo>
                  <a:pt x="1153" y="155"/>
                  <a:pt x="1155" y="154"/>
                  <a:pt x="1155" y="154"/>
                </a:cubicBezTo>
                <a:cubicBezTo>
                  <a:pt x="1156" y="152"/>
                  <a:pt x="1156" y="152"/>
                  <a:pt x="1156" y="152"/>
                </a:cubicBezTo>
                <a:cubicBezTo>
                  <a:pt x="1158" y="152"/>
                  <a:pt x="1158" y="152"/>
                  <a:pt x="1158" y="152"/>
                </a:cubicBezTo>
                <a:cubicBezTo>
                  <a:pt x="1159" y="150"/>
                  <a:pt x="1159" y="150"/>
                  <a:pt x="1159" y="150"/>
                </a:cubicBezTo>
                <a:cubicBezTo>
                  <a:pt x="1159" y="150"/>
                  <a:pt x="1163" y="153"/>
                  <a:pt x="1166" y="152"/>
                </a:cubicBezTo>
                <a:cubicBezTo>
                  <a:pt x="1168" y="150"/>
                  <a:pt x="1172" y="147"/>
                  <a:pt x="1172" y="147"/>
                </a:cubicBezTo>
                <a:cubicBezTo>
                  <a:pt x="1172" y="147"/>
                  <a:pt x="1175" y="148"/>
                  <a:pt x="1181" y="146"/>
                </a:cubicBezTo>
                <a:cubicBezTo>
                  <a:pt x="1186" y="144"/>
                  <a:pt x="1186" y="140"/>
                  <a:pt x="1189" y="138"/>
                </a:cubicBezTo>
                <a:cubicBezTo>
                  <a:pt x="1193" y="135"/>
                  <a:pt x="1202" y="133"/>
                  <a:pt x="1202" y="133"/>
                </a:cubicBezTo>
                <a:cubicBezTo>
                  <a:pt x="1202" y="133"/>
                  <a:pt x="1203" y="131"/>
                  <a:pt x="1202" y="130"/>
                </a:cubicBezTo>
                <a:cubicBezTo>
                  <a:pt x="1202" y="128"/>
                  <a:pt x="1201" y="126"/>
                  <a:pt x="1202" y="125"/>
                </a:cubicBezTo>
                <a:cubicBezTo>
                  <a:pt x="1204" y="125"/>
                  <a:pt x="1206" y="131"/>
                  <a:pt x="1208" y="131"/>
                </a:cubicBezTo>
                <a:cubicBezTo>
                  <a:pt x="1208" y="131"/>
                  <a:pt x="1217" y="131"/>
                  <a:pt x="1219" y="130"/>
                </a:cubicBezTo>
                <a:cubicBezTo>
                  <a:pt x="1222" y="130"/>
                  <a:pt x="1226" y="128"/>
                  <a:pt x="1231" y="127"/>
                </a:cubicBezTo>
                <a:cubicBezTo>
                  <a:pt x="1236" y="126"/>
                  <a:pt x="1244" y="126"/>
                  <a:pt x="1245" y="125"/>
                </a:cubicBezTo>
                <a:cubicBezTo>
                  <a:pt x="1247" y="125"/>
                  <a:pt x="1248" y="123"/>
                  <a:pt x="1248" y="123"/>
                </a:cubicBezTo>
                <a:close/>
                <a:moveTo>
                  <a:pt x="724" y="122"/>
                </a:moveTo>
                <a:cubicBezTo>
                  <a:pt x="728" y="123"/>
                  <a:pt x="730" y="124"/>
                  <a:pt x="733" y="126"/>
                </a:cubicBezTo>
                <a:cubicBezTo>
                  <a:pt x="736" y="128"/>
                  <a:pt x="748" y="126"/>
                  <a:pt x="748" y="126"/>
                </a:cubicBezTo>
                <a:cubicBezTo>
                  <a:pt x="745" y="116"/>
                  <a:pt x="745" y="116"/>
                  <a:pt x="745" y="116"/>
                </a:cubicBezTo>
                <a:cubicBezTo>
                  <a:pt x="731" y="113"/>
                  <a:pt x="731" y="113"/>
                  <a:pt x="731" y="113"/>
                </a:cubicBezTo>
                <a:cubicBezTo>
                  <a:pt x="726" y="119"/>
                  <a:pt x="726" y="119"/>
                  <a:pt x="726" y="119"/>
                </a:cubicBezTo>
                <a:cubicBezTo>
                  <a:pt x="722" y="119"/>
                  <a:pt x="722" y="119"/>
                  <a:pt x="722" y="119"/>
                </a:cubicBezTo>
                <a:cubicBezTo>
                  <a:pt x="722" y="119"/>
                  <a:pt x="720" y="122"/>
                  <a:pt x="724" y="122"/>
                </a:cubicBezTo>
                <a:close/>
                <a:moveTo>
                  <a:pt x="1054" y="119"/>
                </a:moveTo>
                <a:cubicBezTo>
                  <a:pt x="1056" y="119"/>
                  <a:pt x="1056" y="119"/>
                  <a:pt x="1056" y="119"/>
                </a:cubicBezTo>
                <a:cubicBezTo>
                  <a:pt x="1056" y="119"/>
                  <a:pt x="1059" y="118"/>
                  <a:pt x="1061" y="118"/>
                </a:cubicBezTo>
                <a:cubicBezTo>
                  <a:pt x="1062" y="118"/>
                  <a:pt x="1065" y="116"/>
                  <a:pt x="1064" y="114"/>
                </a:cubicBezTo>
                <a:cubicBezTo>
                  <a:pt x="1064" y="113"/>
                  <a:pt x="1059" y="112"/>
                  <a:pt x="1059" y="112"/>
                </a:cubicBezTo>
                <a:cubicBezTo>
                  <a:pt x="1059" y="112"/>
                  <a:pt x="1057" y="110"/>
                  <a:pt x="1055" y="110"/>
                </a:cubicBezTo>
                <a:cubicBezTo>
                  <a:pt x="1053" y="110"/>
                  <a:pt x="1052" y="111"/>
                  <a:pt x="1049" y="110"/>
                </a:cubicBezTo>
                <a:cubicBezTo>
                  <a:pt x="1048" y="113"/>
                  <a:pt x="1048" y="113"/>
                  <a:pt x="1048" y="113"/>
                </a:cubicBezTo>
                <a:cubicBezTo>
                  <a:pt x="1048" y="113"/>
                  <a:pt x="1046" y="114"/>
                  <a:pt x="1046" y="116"/>
                </a:cubicBezTo>
                <a:cubicBezTo>
                  <a:pt x="1046" y="117"/>
                  <a:pt x="1049" y="118"/>
                  <a:pt x="1049" y="118"/>
                </a:cubicBezTo>
                <a:cubicBezTo>
                  <a:pt x="1048" y="120"/>
                  <a:pt x="1048" y="120"/>
                  <a:pt x="1048" y="120"/>
                </a:cubicBezTo>
                <a:cubicBezTo>
                  <a:pt x="1054" y="119"/>
                  <a:pt x="1054" y="119"/>
                  <a:pt x="1054" y="119"/>
                </a:cubicBezTo>
                <a:cubicBezTo>
                  <a:pt x="1054" y="119"/>
                  <a:pt x="1054" y="119"/>
                  <a:pt x="1054" y="119"/>
                </a:cubicBezTo>
                <a:close/>
                <a:moveTo>
                  <a:pt x="802" y="151"/>
                </a:moveTo>
                <a:cubicBezTo>
                  <a:pt x="799" y="152"/>
                  <a:pt x="797" y="155"/>
                  <a:pt x="801" y="155"/>
                </a:cubicBezTo>
                <a:cubicBezTo>
                  <a:pt x="803" y="155"/>
                  <a:pt x="804" y="151"/>
                  <a:pt x="802" y="151"/>
                </a:cubicBezTo>
                <a:close/>
                <a:moveTo>
                  <a:pt x="335" y="230"/>
                </a:moveTo>
                <a:cubicBezTo>
                  <a:pt x="335" y="230"/>
                  <a:pt x="330" y="231"/>
                  <a:pt x="330" y="233"/>
                </a:cubicBezTo>
                <a:cubicBezTo>
                  <a:pt x="330" y="234"/>
                  <a:pt x="332" y="236"/>
                  <a:pt x="332" y="236"/>
                </a:cubicBezTo>
                <a:cubicBezTo>
                  <a:pt x="334" y="237"/>
                  <a:pt x="338" y="235"/>
                  <a:pt x="338" y="233"/>
                </a:cubicBezTo>
                <a:cubicBezTo>
                  <a:pt x="338" y="231"/>
                  <a:pt x="335" y="230"/>
                  <a:pt x="335" y="230"/>
                </a:cubicBezTo>
                <a:close/>
                <a:moveTo>
                  <a:pt x="329" y="307"/>
                </a:moveTo>
                <a:cubicBezTo>
                  <a:pt x="327" y="306"/>
                  <a:pt x="322" y="309"/>
                  <a:pt x="323" y="311"/>
                </a:cubicBezTo>
                <a:cubicBezTo>
                  <a:pt x="324" y="312"/>
                  <a:pt x="326" y="312"/>
                  <a:pt x="326" y="312"/>
                </a:cubicBezTo>
                <a:cubicBezTo>
                  <a:pt x="328" y="311"/>
                  <a:pt x="328" y="311"/>
                  <a:pt x="328" y="311"/>
                </a:cubicBezTo>
                <a:cubicBezTo>
                  <a:pt x="330" y="312"/>
                  <a:pt x="330" y="312"/>
                  <a:pt x="330" y="312"/>
                </a:cubicBezTo>
                <a:cubicBezTo>
                  <a:pt x="328" y="313"/>
                  <a:pt x="328" y="313"/>
                  <a:pt x="328" y="313"/>
                </a:cubicBezTo>
                <a:cubicBezTo>
                  <a:pt x="328" y="313"/>
                  <a:pt x="322" y="314"/>
                  <a:pt x="324" y="316"/>
                </a:cubicBezTo>
                <a:cubicBezTo>
                  <a:pt x="326" y="318"/>
                  <a:pt x="329" y="316"/>
                  <a:pt x="329" y="316"/>
                </a:cubicBezTo>
                <a:cubicBezTo>
                  <a:pt x="328" y="319"/>
                  <a:pt x="328" y="319"/>
                  <a:pt x="328" y="319"/>
                </a:cubicBezTo>
                <a:cubicBezTo>
                  <a:pt x="331" y="319"/>
                  <a:pt x="331" y="319"/>
                  <a:pt x="331" y="319"/>
                </a:cubicBezTo>
                <a:cubicBezTo>
                  <a:pt x="328" y="321"/>
                  <a:pt x="328" y="321"/>
                  <a:pt x="328" y="321"/>
                </a:cubicBezTo>
                <a:cubicBezTo>
                  <a:pt x="333" y="321"/>
                  <a:pt x="333" y="321"/>
                  <a:pt x="333" y="321"/>
                </a:cubicBezTo>
                <a:cubicBezTo>
                  <a:pt x="333" y="321"/>
                  <a:pt x="328" y="323"/>
                  <a:pt x="329" y="324"/>
                </a:cubicBezTo>
                <a:cubicBezTo>
                  <a:pt x="330" y="325"/>
                  <a:pt x="333" y="321"/>
                  <a:pt x="334" y="323"/>
                </a:cubicBezTo>
                <a:cubicBezTo>
                  <a:pt x="335" y="325"/>
                  <a:pt x="331" y="326"/>
                  <a:pt x="332" y="328"/>
                </a:cubicBezTo>
                <a:cubicBezTo>
                  <a:pt x="333" y="329"/>
                  <a:pt x="339" y="328"/>
                  <a:pt x="339" y="328"/>
                </a:cubicBezTo>
                <a:cubicBezTo>
                  <a:pt x="341" y="327"/>
                  <a:pt x="341" y="327"/>
                  <a:pt x="341" y="327"/>
                </a:cubicBezTo>
                <a:cubicBezTo>
                  <a:pt x="339" y="329"/>
                  <a:pt x="339" y="329"/>
                  <a:pt x="339" y="329"/>
                </a:cubicBezTo>
                <a:cubicBezTo>
                  <a:pt x="339" y="329"/>
                  <a:pt x="334" y="329"/>
                  <a:pt x="336" y="331"/>
                </a:cubicBezTo>
                <a:cubicBezTo>
                  <a:pt x="338" y="333"/>
                  <a:pt x="340" y="333"/>
                  <a:pt x="340" y="333"/>
                </a:cubicBezTo>
                <a:cubicBezTo>
                  <a:pt x="340" y="333"/>
                  <a:pt x="345" y="337"/>
                  <a:pt x="348" y="335"/>
                </a:cubicBezTo>
                <a:cubicBezTo>
                  <a:pt x="350" y="333"/>
                  <a:pt x="352" y="331"/>
                  <a:pt x="350" y="329"/>
                </a:cubicBezTo>
                <a:cubicBezTo>
                  <a:pt x="348" y="326"/>
                  <a:pt x="345" y="324"/>
                  <a:pt x="345" y="324"/>
                </a:cubicBezTo>
                <a:cubicBezTo>
                  <a:pt x="345" y="324"/>
                  <a:pt x="344" y="321"/>
                  <a:pt x="344" y="320"/>
                </a:cubicBezTo>
                <a:cubicBezTo>
                  <a:pt x="345" y="318"/>
                  <a:pt x="346" y="316"/>
                  <a:pt x="344" y="314"/>
                </a:cubicBezTo>
                <a:cubicBezTo>
                  <a:pt x="344" y="314"/>
                  <a:pt x="339" y="313"/>
                  <a:pt x="337" y="312"/>
                </a:cubicBezTo>
                <a:cubicBezTo>
                  <a:pt x="335" y="312"/>
                  <a:pt x="332" y="307"/>
                  <a:pt x="329" y="307"/>
                </a:cubicBezTo>
                <a:close/>
                <a:moveTo>
                  <a:pt x="343" y="308"/>
                </a:moveTo>
                <a:cubicBezTo>
                  <a:pt x="341" y="307"/>
                  <a:pt x="341" y="311"/>
                  <a:pt x="341" y="311"/>
                </a:cubicBezTo>
                <a:cubicBezTo>
                  <a:pt x="342" y="311"/>
                  <a:pt x="345" y="309"/>
                  <a:pt x="343" y="308"/>
                </a:cubicBezTo>
                <a:close/>
                <a:moveTo>
                  <a:pt x="340" y="290"/>
                </a:moveTo>
                <a:cubicBezTo>
                  <a:pt x="340" y="286"/>
                  <a:pt x="340" y="286"/>
                  <a:pt x="340" y="286"/>
                </a:cubicBezTo>
                <a:cubicBezTo>
                  <a:pt x="340" y="286"/>
                  <a:pt x="333" y="285"/>
                  <a:pt x="333" y="287"/>
                </a:cubicBezTo>
                <a:cubicBezTo>
                  <a:pt x="333" y="289"/>
                  <a:pt x="336" y="289"/>
                  <a:pt x="336" y="289"/>
                </a:cubicBezTo>
                <a:cubicBezTo>
                  <a:pt x="336" y="292"/>
                  <a:pt x="336" y="292"/>
                  <a:pt x="336" y="292"/>
                </a:cubicBezTo>
                <a:cubicBezTo>
                  <a:pt x="340" y="290"/>
                  <a:pt x="340" y="290"/>
                  <a:pt x="340" y="290"/>
                </a:cubicBezTo>
                <a:cubicBezTo>
                  <a:pt x="340" y="290"/>
                  <a:pt x="340" y="290"/>
                  <a:pt x="340" y="290"/>
                </a:cubicBezTo>
                <a:close/>
                <a:moveTo>
                  <a:pt x="331" y="280"/>
                </a:moveTo>
                <a:cubicBezTo>
                  <a:pt x="331" y="283"/>
                  <a:pt x="334" y="284"/>
                  <a:pt x="334" y="284"/>
                </a:cubicBezTo>
                <a:cubicBezTo>
                  <a:pt x="335" y="280"/>
                  <a:pt x="335" y="280"/>
                  <a:pt x="335" y="280"/>
                </a:cubicBezTo>
                <a:cubicBezTo>
                  <a:pt x="335" y="280"/>
                  <a:pt x="331" y="276"/>
                  <a:pt x="331" y="280"/>
                </a:cubicBezTo>
                <a:close/>
                <a:moveTo>
                  <a:pt x="329" y="256"/>
                </a:moveTo>
                <a:cubicBezTo>
                  <a:pt x="328" y="257"/>
                  <a:pt x="327" y="259"/>
                  <a:pt x="328" y="261"/>
                </a:cubicBezTo>
                <a:cubicBezTo>
                  <a:pt x="329" y="263"/>
                  <a:pt x="329" y="266"/>
                  <a:pt x="329" y="266"/>
                </a:cubicBezTo>
                <a:cubicBezTo>
                  <a:pt x="329" y="266"/>
                  <a:pt x="332" y="265"/>
                  <a:pt x="333" y="263"/>
                </a:cubicBezTo>
                <a:cubicBezTo>
                  <a:pt x="335" y="261"/>
                  <a:pt x="333" y="258"/>
                  <a:pt x="333" y="258"/>
                </a:cubicBezTo>
                <a:cubicBezTo>
                  <a:pt x="333" y="258"/>
                  <a:pt x="335" y="258"/>
                  <a:pt x="337" y="256"/>
                </a:cubicBezTo>
                <a:cubicBezTo>
                  <a:pt x="339" y="254"/>
                  <a:pt x="333" y="250"/>
                  <a:pt x="333" y="250"/>
                </a:cubicBezTo>
                <a:cubicBezTo>
                  <a:pt x="331" y="252"/>
                  <a:pt x="331" y="252"/>
                  <a:pt x="331" y="252"/>
                </a:cubicBezTo>
                <a:cubicBezTo>
                  <a:pt x="331" y="252"/>
                  <a:pt x="332" y="253"/>
                  <a:pt x="333" y="254"/>
                </a:cubicBezTo>
                <a:cubicBezTo>
                  <a:pt x="334" y="254"/>
                  <a:pt x="330" y="256"/>
                  <a:pt x="329" y="256"/>
                </a:cubicBezTo>
                <a:close/>
                <a:moveTo>
                  <a:pt x="342" y="230"/>
                </a:moveTo>
                <a:cubicBezTo>
                  <a:pt x="341" y="232"/>
                  <a:pt x="338" y="235"/>
                  <a:pt x="338" y="235"/>
                </a:cubicBezTo>
                <a:cubicBezTo>
                  <a:pt x="335" y="240"/>
                  <a:pt x="335" y="240"/>
                  <a:pt x="335" y="240"/>
                </a:cubicBezTo>
                <a:cubicBezTo>
                  <a:pt x="335" y="240"/>
                  <a:pt x="340" y="239"/>
                  <a:pt x="342" y="238"/>
                </a:cubicBezTo>
                <a:cubicBezTo>
                  <a:pt x="344" y="236"/>
                  <a:pt x="343" y="234"/>
                  <a:pt x="343" y="234"/>
                </a:cubicBezTo>
                <a:cubicBezTo>
                  <a:pt x="345" y="232"/>
                  <a:pt x="345" y="232"/>
                  <a:pt x="345" y="232"/>
                </a:cubicBezTo>
                <a:cubicBezTo>
                  <a:pt x="345" y="232"/>
                  <a:pt x="344" y="229"/>
                  <a:pt x="342" y="230"/>
                </a:cubicBezTo>
                <a:close/>
                <a:moveTo>
                  <a:pt x="338" y="278"/>
                </a:moveTo>
                <a:cubicBezTo>
                  <a:pt x="336" y="281"/>
                  <a:pt x="336" y="281"/>
                  <a:pt x="336" y="281"/>
                </a:cubicBezTo>
                <a:cubicBezTo>
                  <a:pt x="337" y="284"/>
                  <a:pt x="337" y="284"/>
                  <a:pt x="337" y="284"/>
                </a:cubicBezTo>
                <a:cubicBezTo>
                  <a:pt x="340" y="282"/>
                  <a:pt x="340" y="282"/>
                  <a:pt x="340" y="282"/>
                </a:cubicBezTo>
                <a:cubicBezTo>
                  <a:pt x="338" y="278"/>
                  <a:pt x="338" y="278"/>
                  <a:pt x="338" y="278"/>
                </a:cubicBezTo>
                <a:cubicBezTo>
                  <a:pt x="338" y="278"/>
                  <a:pt x="338" y="278"/>
                  <a:pt x="338" y="278"/>
                </a:cubicBezTo>
                <a:close/>
                <a:moveTo>
                  <a:pt x="896" y="206"/>
                </a:moveTo>
                <a:cubicBezTo>
                  <a:pt x="891" y="206"/>
                  <a:pt x="891" y="206"/>
                  <a:pt x="891" y="206"/>
                </a:cubicBezTo>
                <a:cubicBezTo>
                  <a:pt x="896" y="209"/>
                  <a:pt x="896" y="209"/>
                  <a:pt x="896" y="209"/>
                </a:cubicBezTo>
                <a:cubicBezTo>
                  <a:pt x="900" y="207"/>
                  <a:pt x="896" y="206"/>
                  <a:pt x="896" y="206"/>
                </a:cubicBezTo>
                <a:close/>
                <a:moveTo>
                  <a:pt x="926" y="195"/>
                </a:moveTo>
                <a:cubicBezTo>
                  <a:pt x="926" y="195"/>
                  <a:pt x="922" y="194"/>
                  <a:pt x="921" y="196"/>
                </a:cubicBezTo>
                <a:cubicBezTo>
                  <a:pt x="921" y="196"/>
                  <a:pt x="923" y="199"/>
                  <a:pt x="926" y="197"/>
                </a:cubicBezTo>
                <a:cubicBezTo>
                  <a:pt x="928" y="196"/>
                  <a:pt x="926" y="195"/>
                  <a:pt x="926" y="195"/>
                </a:cubicBezTo>
                <a:close/>
                <a:moveTo>
                  <a:pt x="311" y="293"/>
                </a:moveTo>
                <a:cubicBezTo>
                  <a:pt x="311" y="293"/>
                  <a:pt x="310" y="295"/>
                  <a:pt x="313" y="295"/>
                </a:cubicBezTo>
                <a:cubicBezTo>
                  <a:pt x="316" y="295"/>
                  <a:pt x="313" y="291"/>
                  <a:pt x="313" y="290"/>
                </a:cubicBezTo>
                <a:cubicBezTo>
                  <a:pt x="312" y="288"/>
                  <a:pt x="314" y="287"/>
                  <a:pt x="315" y="287"/>
                </a:cubicBezTo>
                <a:cubicBezTo>
                  <a:pt x="316" y="286"/>
                  <a:pt x="318" y="284"/>
                  <a:pt x="317" y="283"/>
                </a:cubicBezTo>
                <a:cubicBezTo>
                  <a:pt x="317" y="283"/>
                  <a:pt x="317" y="281"/>
                  <a:pt x="318" y="280"/>
                </a:cubicBezTo>
                <a:cubicBezTo>
                  <a:pt x="319" y="279"/>
                  <a:pt x="322" y="276"/>
                  <a:pt x="323" y="275"/>
                </a:cubicBezTo>
                <a:cubicBezTo>
                  <a:pt x="325" y="274"/>
                  <a:pt x="328" y="273"/>
                  <a:pt x="327" y="273"/>
                </a:cubicBezTo>
                <a:cubicBezTo>
                  <a:pt x="326" y="273"/>
                  <a:pt x="323" y="274"/>
                  <a:pt x="322" y="274"/>
                </a:cubicBezTo>
                <a:cubicBezTo>
                  <a:pt x="321" y="275"/>
                  <a:pt x="319" y="278"/>
                  <a:pt x="317" y="278"/>
                </a:cubicBezTo>
                <a:cubicBezTo>
                  <a:pt x="315" y="278"/>
                  <a:pt x="315" y="276"/>
                  <a:pt x="317" y="276"/>
                </a:cubicBezTo>
                <a:cubicBezTo>
                  <a:pt x="319" y="276"/>
                  <a:pt x="323" y="274"/>
                  <a:pt x="320" y="274"/>
                </a:cubicBezTo>
                <a:cubicBezTo>
                  <a:pt x="317" y="274"/>
                  <a:pt x="317" y="275"/>
                  <a:pt x="317" y="275"/>
                </a:cubicBezTo>
                <a:cubicBezTo>
                  <a:pt x="317" y="275"/>
                  <a:pt x="317" y="272"/>
                  <a:pt x="315" y="273"/>
                </a:cubicBezTo>
                <a:cubicBezTo>
                  <a:pt x="313" y="273"/>
                  <a:pt x="312" y="276"/>
                  <a:pt x="312" y="276"/>
                </a:cubicBezTo>
                <a:cubicBezTo>
                  <a:pt x="311" y="280"/>
                  <a:pt x="311" y="280"/>
                  <a:pt x="311" y="280"/>
                </a:cubicBezTo>
                <a:cubicBezTo>
                  <a:pt x="311" y="280"/>
                  <a:pt x="310" y="282"/>
                  <a:pt x="311" y="283"/>
                </a:cubicBezTo>
                <a:cubicBezTo>
                  <a:pt x="311" y="283"/>
                  <a:pt x="312" y="285"/>
                  <a:pt x="312" y="285"/>
                </a:cubicBezTo>
                <a:cubicBezTo>
                  <a:pt x="310" y="285"/>
                  <a:pt x="310" y="285"/>
                  <a:pt x="310" y="285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311" y="293"/>
                  <a:pt x="311" y="293"/>
                  <a:pt x="311" y="293"/>
                </a:cubicBezTo>
                <a:close/>
                <a:moveTo>
                  <a:pt x="833" y="176"/>
                </a:moveTo>
                <a:cubicBezTo>
                  <a:pt x="828" y="179"/>
                  <a:pt x="835" y="180"/>
                  <a:pt x="835" y="180"/>
                </a:cubicBezTo>
                <a:cubicBezTo>
                  <a:pt x="840" y="178"/>
                  <a:pt x="838" y="174"/>
                  <a:pt x="833" y="176"/>
                </a:cubicBezTo>
                <a:close/>
                <a:moveTo>
                  <a:pt x="774" y="253"/>
                </a:moveTo>
                <a:cubicBezTo>
                  <a:pt x="780" y="253"/>
                  <a:pt x="783" y="248"/>
                  <a:pt x="776" y="248"/>
                </a:cubicBezTo>
                <a:cubicBezTo>
                  <a:pt x="769" y="248"/>
                  <a:pt x="774" y="253"/>
                  <a:pt x="774" y="253"/>
                </a:cubicBezTo>
                <a:close/>
                <a:moveTo>
                  <a:pt x="811" y="188"/>
                </a:moveTo>
                <a:cubicBezTo>
                  <a:pt x="802" y="191"/>
                  <a:pt x="811" y="194"/>
                  <a:pt x="811" y="194"/>
                </a:cubicBezTo>
                <a:cubicBezTo>
                  <a:pt x="815" y="190"/>
                  <a:pt x="819" y="185"/>
                  <a:pt x="811" y="188"/>
                </a:cubicBezTo>
                <a:close/>
                <a:moveTo>
                  <a:pt x="824" y="175"/>
                </a:moveTo>
                <a:cubicBezTo>
                  <a:pt x="824" y="175"/>
                  <a:pt x="819" y="175"/>
                  <a:pt x="817" y="173"/>
                </a:cubicBezTo>
                <a:cubicBezTo>
                  <a:pt x="815" y="171"/>
                  <a:pt x="816" y="167"/>
                  <a:pt x="816" y="167"/>
                </a:cubicBezTo>
                <a:cubicBezTo>
                  <a:pt x="812" y="164"/>
                  <a:pt x="812" y="164"/>
                  <a:pt x="812" y="164"/>
                </a:cubicBezTo>
                <a:cubicBezTo>
                  <a:pt x="806" y="164"/>
                  <a:pt x="806" y="164"/>
                  <a:pt x="806" y="164"/>
                </a:cubicBezTo>
                <a:cubicBezTo>
                  <a:pt x="805" y="162"/>
                  <a:pt x="805" y="162"/>
                  <a:pt x="805" y="162"/>
                </a:cubicBezTo>
                <a:cubicBezTo>
                  <a:pt x="802" y="158"/>
                  <a:pt x="802" y="158"/>
                  <a:pt x="802" y="158"/>
                </a:cubicBezTo>
                <a:cubicBezTo>
                  <a:pt x="798" y="159"/>
                  <a:pt x="798" y="159"/>
                  <a:pt x="798" y="159"/>
                </a:cubicBezTo>
                <a:cubicBezTo>
                  <a:pt x="795" y="157"/>
                  <a:pt x="795" y="157"/>
                  <a:pt x="795" y="157"/>
                </a:cubicBezTo>
                <a:cubicBezTo>
                  <a:pt x="797" y="155"/>
                  <a:pt x="797" y="155"/>
                  <a:pt x="797" y="155"/>
                </a:cubicBezTo>
                <a:cubicBezTo>
                  <a:pt x="797" y="151"/>
                  <a:pt x="797" y="151"/>
                  <a:pt x="797" y="151"/>
                </a:cubicBezTo>
                <a:cubicBezTo>
                  <a:pt x="790" y="155"/>
                  <a:pt x="790" y="155"/>
                  <a:pt x="790" y="155"/>
                </a:cubicBezTo>
                <a:cubicBezTo>
                  <a:pt x="786" y="157"/>
                  <a:pt x="786" y="157"/>
                  <a:pt x="786" y="157"/>
                </a:cubicBezTo>
                <a:cubicBezTo>
                  <a:pt x="782" y="163"/>
                  <a:pt x="782" y="163"/>
                  <a:pt x="782" y="163"/>
                </a:cubicBezTo>
                <a:cubicBezTo>
                  <a:pt x="782" y="163"/>
                  <a:pt x="776" y="164"/>
                  <a:pt x="775" y="165"/>
                </a:cubicBezTo>
                <a:cubicBezTo>
                  <a:pt x="775" y="167"/>
                  <a:pt x="777" y="168"/>
                  <a:pt x="775" y="169"/>
                </a:cubicBezTo>
                <a:cubicBezTo>
                  <a:pt x="773" y="170"/>
                  <a:pt x="767" y="172"/>
                  <a:pt x="767" y="172"/>
                </a:cubicBezTo>
                <a:cubicBezTo>
                  <a:pt x="771" y="173"/>
                  <a:pt x="771" y="173"/>
                  <a:pt x="771" y="173"/>
                </a:cubicBezTo>
                <a:cubicBezTo>
                  <a:pt x="771" y="173"/>
                  <a:pt x="777" y="172"/>
                  <a:pt x="777" y="173"/>
                </a:cubicBezTo>
                <a:cubicBezTo>
                  <a:pt x="777" y="174"/>
                  <a:pt x="776" y="175"/>
                  <a:pt x="776" y="177"/>
                </a:cubicBezTo>
                <a:cubicBezTo>
                  <a:pt x="776" y="179"/>
                  <a:pt x="785" y="180"/>
                  <a:pt x="789" y="178"/>
                </a:cubicBezTo>
                <a:cubicBezTo>
                  <a:pt x="793" y="176"/>
                  <a:pt x="790" y="172"/>
                  <a:pt x="796" y="172"/>
                </a:cubicBezTo>
                <a:cubicBezTo>
                  <a:pt x="802" y="172"/>
                  <a:pt x="803" y="174"/>
                  <a:pt x="803" y="174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10" y="177"/>
                  <a:pt x="810" y="177"/>
                  <a:pt x="810" y="177"/>
                </a:cubicBezTo>
                <a:cubicBezTo>
                  <a:pt x="823" y="178"/>
                  <a:pt x="823" y="178"/>
                  <a:pt x="823" y="178"/>
                </a:cubicBezTo>
                <a:cubicBezTo>
                  <a:pt x="824" y="175"/>
                  <a:pt x="824" y="175"/>
                  <a:pt x="824" y="175"/>
                </a:cubicBezTo>
                <a:cubicBezTo>
                  <a:pt x="824" y="175"/>
                  <a:pt x="824" y="175"/>
                  <a:pt x="824" y="175"/>
                </a:cubicBezTo>
                <a:close/>
                <a:moveTo>
                  <a:pt x="788" y="185"/>
                </a:moveTo>
                <a:cubicBezTo>
                  <a:pt x="777" y="196"/>
                  <a:pt x="795" y="188"/>
                  <a:pt x="795" y="188"/>
                </a:cubicBezTo>
                <a:cubicBezTo>
                  <a:pt x="805" y="179"/>
                  <a:pt x="799" y="175"/>
                  <a:pt x="788" y="185"/>
                </a:cubicBezTo>
                <a:close/>
                <a:moveTo>
                  <a:pt x="887" y="183"/>
                </a:moveTo>
                <a:cubicBezTo>
                  <a:pt x="885" y="183"/>
                  <a:pt x="885" y="187"/>
                  <a:pt x="888" y="187"/>
                </a:cubicBezTo>
                <a:cubicBezTo>
                  <a:pt x="893" y="187"/>
                  <a:pt x="890" y="183"/>
                  <a:pt x="887" y="183"/>
                </a:cubicBezTo>
                <a:close/>
                <a:moveTo>
                  <a:pt x="344" y="260"/>
                </a:moveTo>
                <a:cubicBezTo>
                  <a:pt x="346" y="257"/>
                  <a:pt x="342" y="254"/>
                  <a:pt x="340" y="256"/>
                </a:cubicBezTo>
                <a:cubicBezTo>
                  <a:pt x="338" y="258"/>
                  <a:pt x="337" y="264"/>
                  <a:pt x="337" y="264"/>
                </a:cubicBezTo>
                <a:cubicBezTo>
                  <a:pt x="337" y="264"/>
                  <a:pt x="340" y="262"/>
                  <a:pt x="341" y="262"/>
                </a:cubicBezTo>
                <a:cubicBezTo>
                  <a:pt x="342" y="262"/>
                  <a:pt x="343" y="262"/>
                  <a:pt x="344" y="260"/>
                </a:cubicBezTo>
                <a:close/>
                <a:moveTo>
                  <a:pt x="343" y="243"/>
                </a:moveTo>
                <a:cubicBezTo>
                  <a:pt x="339" y="242"/>
                  <a:pt x="339" y="242"/>
                  <a:pt x="339" y="242"/>
                </a:cubicBezTo>
                <a:cubicBezTo>
                  <a:pt x="339" y="242"/>
                  <a:pt x="334" y="246"/>
                  <a:pt x="334" y="248"/>
                </a:cubicBezTo>
                <a:cubicBezTo>
                  <a:pt x="336" y="251"/>
                  <a:pt x="340" y="246"/>
                  <a:pt x="340" y="246"/>
                </a:cubicBezTo>
                <a:cubicBezTo>
                  <a:pt x="343" y="245"/>
                  <a:pt x="343" y="245"/>
                  <a:pt x="343" y="245"/>
                </a:cubicBezTo>
                <a:cubicBezTo>
                  <a:pt x="343" y="243"/>
                  <a:pt x="343" y="243"/>
                  <a:pt x="343" y="243"/>
                </a:cubicBezTo>
                <a:cubicBezTo>
                  <a:pt x="343" y="243"/>
                  <a:pt x="343" y="243"/>
                  <a:pt x="343" y="243"/>
                </a:cubicBezTo>
                <a:close/>
                <a:moveTo>
                  <a:pt x="325" y="266"/>
                </a:moveTo>
                <a:cubicBezTo>
                  <a:pt x="326" y="261"/>
                  <a:pt x="326" y="261"/>
                  <a:pt x="326" y="261"/>
                </a:cubicBezTo>
                <a:cubicBezTo>
                  <a:pt x="324" y="262"/>
                  <a:pt x="324" y="262"/>
                  <a:pt x="324" y="262"/>
                </a:cubicBezTo>
                <a:cubicBezTo>
                  <a:pt x="323" y="266"/>
                  <a:pt x="323" y="266"/>
                  <a:pt x="323" y="266"/>
                </a:cubicBezTo>
                <a:cubicBezTo>
                  <a:pt x="325" y="266"/>
                  <a:pt x="325" y="266"/>
                  <a:pt x="325" y="266"/>
                </a:cubicBezTo>
                <a:cubicBezTo>
                  <a:pt x="325" y="266"/>
                  <a:pt x="325" y="266"/>
                  <a:pt x="325" y="266"/>
                </a:cubicBezTo>
                <a:close/>
                <a:moveTo>
                  <a:pt x="326" y="240"/>
                </a:moveTo>
                <a:cubicBezTo>
                  <a:pt x="326" y="242"/>
                  <a:pt x="324" y="244"/>
                  <a:pt x="324" y="244"/>
                </a:cubicBezTo>
                <a:cubicBezTo>
                  <a:pt x="324" y="246"/>
                  <a:pt x="324" y="246"/>
                  <a:pt x="324" y="246"/>
                </a:cubicBezTo>
                <a:cubicBezTo>
                  <a:pt x="324" y="246"/>
                  <a:pt x="322" y="247"/>
                  <a:pt x="322" y="249"/>
                </a:cubicBezTo>
                <a:cubicBezTo>
                  <a:pt x="322" y="250"/>
                  <a:pt x="323" y="251"/>
                  <a:pt x="323" y="251"/>
                </a:cubicBezTo>
                <a:cubicBezTo>
                  <a:pt x="323" y="251"/>
                  <a:pt x="326" y="247"/>
                  <a:pt x="330" y="244"/>
                </a:cubicBezTo>
                <a:cubicBezTo>
                  <a:pt x="333" y="241"/>
                  <a:pt x="333" y="238"/>
                  <a:pt x="331" y="238"/>
                </a:cubicBezTo>
                <a:cubicBezTo>
                  <a:pt x="330" y="237"/>
                  <a:pt x="326" y="239"/>
                  <a:pt x="326" y="240"/>
                </a:cubicBezTo>
                <a:close/>
                <a:moveTo>
                  <a:pt x="927" y="892"/>
                </a:moveTo>
                <a:cubicBezTo>
                  <a:pt x="928" y="886"/>
                  <a:pt x="928" y="886"/>
                  <a:pt x="928" y="886"/>
                </a:cubicBezTo>
                <a:cubicBezTo>
                  <a:pt x="928" y="886"/>
                  <a:pt x="930" y="883"/>
                  <a:pt x="930" y="880"/>
                </a:cubicBezTo>
                <a:cubicBezTo>
                  <a:pt x="930" y="878"/>
                  <a:pt x="925" y="879"/>
                  <a:pt x="923" y="879"/>
                </a:cubicBezTo>
                <a:cubicBezTo>
                  <a:pt x="923" y="879"/>
                  <a:pt x="920" y="881"/>
                  <a:pt x="918" y="880"/>
                </a:cubicBezTo>
                <a:cubicBezTo>
                  <a:pt x="917" y="880"/>
                  <a:pt x="911" y="879"/>
                  <a:pt x="909" y="879"/>
                </a:cubicBezTo>
                <a:cubicBezTo>
                  <a:pt x="907" y="880"/>
                  <a:pt x="909" y="884"/>
                  <a:pt x="909" y="884"/>
                </a:cubicBezTo>
                <a:cubicBezTo>
                  <a:pt x="907" y="885"/>
                  <a:pt x="907" y="885"/>
                  <a:pt x="907" y="885"/>
                </a:cubicBezTo>
                <a:cubicBezTo>
                  <a:pt x="907" y="888"/>
                  <a:pt x="907" y="888"/>
                  <a:pt x="907" y="888"/>
                </a:cubicBezTo>
                <a:cubicBezTo>
                  <a:pt x="910" y="889"/>
                  <a:pt x="910" y="889"/>
                  <a:pt x="910" y="889"/>
                </a:cubicBezTo>
                <a:cubicBezTo>
                  <a:pt x="908" y="891"/>
                  <a:pt x="908" y="891"/>
                  <a:pt x="908" y="891"/>
                </a:cubicBezTo>
                <a:cubicBezTo>
                  <a:pt x="908" y="891"/>
                  <a:pt x="908" y="894"/>
                  <a:pt x="910" y="897"/>
                </a:cubicBezTo>
                <a:cubicBezTo>
                  <a:pt x="911" y="899"/>
                  <a:pt x="915" y="897"/>
                  <a:pt x="917" y="897"/>
                </a:cubicBezTo>
                <a:cubicBezTo>
                  <a:pt x="918" y="897"/>
                  <a:pt x="918" y="896"/>
                  <a:pt x="918" y="896"/>
                </a:cubicBezTo>
                <a:cubicBezTo>
                  <a:pt x="918" y="896"/>
                  <a:pt x="921" y="895"/>
                  <a:pt x="923" y="895"/>
                </a:cubicBezTo>
                <a:cubicBezTo>
                  <a:pt x="925" y="895"/>
                  <a:pt x="927" y="892"/>
                  <a:pt x="927" y="892"/>
                </a:cubicBezTo>
                <a:close/>
                <a:moveTo>
                  <a:pt x="906" y="877"/>
                </a:moveTo>
                <a:cubicBezTo>
                  <a:pt x="903" y="880"/>
                  <a:pt x="903" y="880"/>
                  <a:pt x="903" y="880"/>
                </a:cubicBezTo>
                <a:cubicBezTo>
                  <a:pt x="905" y="881"/>
                  <a:pt x="905" y="881"/>
                  <a:pt x="905" y="881"/>
                </a:cubicBezTo>
                <a:cubicBezTo>
                  <a:pt x="908" y="878"/>
                  <a:pt x="908" y="878"/>
                  <a:pt x="908" y="878"/>
                </a:cubicBezTo>
                <a:cubicBezTo>
                  <a:pt x="906" y="877"/>
                  <a:pt x="906" y="877"/>
                  <a:pt x="906" y="877"/>
                </a:cubicBezTo>
                <a:cubicBezTo>
                  <a:pt x="906" y="877"/>
                  <a:pt x="906" y="877"/>
                  <a:pt x="906" y="877"/>
                </a:cubicBezTo>
                <a:close/>
                <a:moveTo>
                  <a:pt x="914" y="874"/>
                </a:moveTo>
                <a:cubicBezTo>
                  <a:pt x="911" y="875"/>
                  <a:pt x="911" y="875"/>
                  <a:pt x="911" y="875"/>
                </a:cubicBezTo>
                <a:cubicBezTo>
                  <a:pt x="911" y="877"/>
                  <a:pt x="911" y="877"/>
                  <a:pt x="911" y="877"/>
                </a:cubicBezTo>
                <a:cubicBezTo>
                  <a:pt x="915" y="877"/>
                  <a:pt x="915" y="877"/>
                  <a:pt x="915" y="877"/>
                </a:cubicBezTo>
                <a:cubicBezTo>
                  <a:pt x="918" y="874"/>
                  <a:pt x="918" y="874"/>
                  <a:pt x="918" y="874"/>
                </a:cubicBezTo>
                <a:cubicBezTo>
                  <a:pt x="916" y="871"/>
                  <a:pt x="916" y="871"/>
                  <a:pt x="916" y="871"/>
                </a:cubicBezTo>
                <a:cubicBezTo>
                  <a:pt x="914" y="874"/>
                  <a:pt x="914" y="874"/>
                  <a:pt x="914" y="874"/>
                </a:cubicBezTo>
                <a:cubicBezTo>
                  <a:pt x="914" y="874"/>
                  <a:pt x="914" y="874"/>
                  <a:pt x="914" y="874"/>
                </a:cubicBezTo>
                <a:close/>
                <a:moveTo>
                  <a:pt x="921" y="878"/>
                </a:moveTo>
                <a:cubicBezTo>
                  <a:pt x="918" y="875"/>
                  <a:pt x="918" y="875"/>
                  <a:pt x="918" y="875"/>
                </a:cubicBezTo>
                <a:cubicBezTo>
                  <a:pt x="915" y="879"/>
                  <a:pt x="915" y="879"/>
                  <a:pt x="915" y="879"/>
                </a:cubicBezTo>
                <a:cubicBezTo>
                  <a:pt x="918" y="879"/>
                  <a:pt x="918" y="879"/>
                  <a:pt x="918" y="879"/>
                </a:cubicBezTo>
                <a:cubicBezTo>
                  <a:pt x="921" y="878"/>
                  <a:pt x="921" y="878"/>
                  <a:pt x="921" y="878"/>
                </a:cubicBezTo>
                <a:cubicBezTo>
                  <a:pt x="921" y="878"/>
                  <a:pt x="921" y="878"/>
                  <a:pt x="921" y="878"/>
                </a:cubicBezTo>
                <a:close/>
                <a:moveTo>
                  <a:pt x="787" y="1453"/>
                </a:moveTo>
                <a:cubicBezTo>
                  <a:pt x="788" y="1449"/>
                  <a:pt x="788" y="1449"/>
                  <a:pt x="788" y="1449"/>
                </a:cubicBezTo>
                <a:cubicBezTo>
                  <a:pt x="787" y="1444"/>
                  <a:pt x="787" y="1444"/>
                  <a:pt x="787" y="1444"/>
                </a:cubicBezTo>
                <a:cubicBezTo>
                  <a:pt x="785" y="1443"/>
                  <a:pt x="785" y="1443"/>
                  <a:pt x="785" y="1443"/>
                </a:cubicBezTo>
                <a:cubicBezTo>
                  <a:pt x="785" y="1445"/>
                  <a:pt x="785" y="1445"/>
                  <a:pt x="785" y="1445"/>
                </a:cubicBezTo>
                <a:cubicBezTo>
                  <a:pt x="780" y="1445"/>
                  <a:pt x="780" y="1445"/>
                  <a:pt x="780" y="1445"/>
                </a:cubicBezTo>
                <a:cubicBezTo>
                  <a:pt x="784" y="1449"/>
                  <a:pt x="784" y="1449"/>
                  <a:pt x="784" y="1449"/>
                </a:cubicBezTo>
                <a:cubicBezTo>
                  <a:pt x="783" y="1455"/>
                  <a:pt x="783" y="1455"/>
                  <a:pt x="783" y="1455"/>
                </a:cubicBezTo>
                <a:cubicBezTo>
                  <a:pt x="787" y="1453"/>
                  <a:pt x="787" y="1453"/>
                  <a:pt x="787" y="1453"/>
                </a:cubicBezTo>
                <a:cubicBezTo>
                  <a:pt x="787" y="1453"/>
                  <a:pt x="787" y="1453"/>
                  <a:pt x="787" y="1453"/>
                </a:cubicBezTo>
                <a:close/>
                <a:moveTo>
                  <a:pt x="857" y="1493"/>
                </a:moveTo>
                <a:cubicBezTo>
                  <a:pt x="859" y="1492"/>
                  <a:pt x="859" y="1492"/>
                  <a:pt x="859" y="1492"/>
                </a:cubicBezTo>
                <a:cubicBezTo>
                  <a:pt x="853" y="1491"/>
                  <a:pt x="853" y="1491"/>
                  <a:pt x="853" y="1491"/>
                </a:cubicBezTo>
                <a:cubicBezTo>
                  <a:pt x="848" y="1491"/>
                  <a:pt x="848" y="1491"/>
                  <a:pt x="848" y="1491"/>
                </a:cubicBezTo>
                <a:cubicBezTo>
                  <a:pt x="850" y="1496"/>
                  <a:pt x="850" y="1496"/>
                  <a:pt x="850" y="1496"/>
                </a:cubicBezTo>
                <a:cubicBezTo>
                  <a:pt x="855" y="1496"/>
                  <a:pt x="855" y="1496"/>
                  <a:pt x="855" y="1496"/>
                </a:cubicBezTo>
                <a:cubicBezTo>
                  <a:pt x="853" y="1494"/>
                  <a:pt x="853" y="1494"/>
                  <a:pt x="853" y="1494"/>
                </a:cubicBezTo>
                <a:cubicBezTo>
                  <a:pt x="855" y="1494"/>
                  <a:pt x="855" y="1494"/>
                  <a:pt x="855" y="1494"/>
                </a:cubicBezTo>
                <a:cubicBezTo>
                  <a:pt x="856" y="1496"/>
                  <a:pt x="856" y="1496"/>
                  <a:pt x="856" y="1496"/>
                </a:cubicBezTo>
                <a:cubicBezTo>
                  <a:pt x="863" y="1496"/>
                  <a:pt x="863" y="1496"/>
                  <a:pt x="863" y="1496"/>
                </a:cubicBezTo>
                <a:cubicBezTo>
                  <a:pt x="865" y="1498"/>
                  <a:pt x="865" y="1498"/>
                  <a:pt x="865" y="1498"/>
                </a:cubicBezTo>
                <a:cubicBezTo>
                  <a:pt x="867" y="1498"/>
                  <a:pt x="867" y="1498"/>
                  <a:pt x="867" y="1498"/>
                </a:cubicBezTo>
                <a:cubicBezTo>
                  <a:pt x="863" y="1494"/>
                  <a:pt x="863" y="1494"/>
                  <a:pt x="863" y="1494"/>
                </a:cubicBezTo>
                <a:cubicBezTo>
                  <a:pt x="857" y="1493"/>
                  <a:pt x="857" y="1493"/>
                  <a:pt x="857" y="1493"/>
                </a:cubicBezTo>
                <a:cubicBezTo>
                  <a:pt x="857" y="1493"/>
                  <a:pt x="857" y="1493"/>
                  <a:pt x="857" y="1493"/>
                </a:cubicBezTo>
                <a:close/>
                <a:moveTo>
                  <a:pt x="809" y="1462"/>
                </a:moveTo>
                <a:cubicBezTo>
                  <a:pt x="809" y="1462"/>
                  <a:pt x="804" y="1459"/>
                  <a:pt x="803" y="1462"/>
                </a:cubicBezTo>
                <a:cubicBezTo>
                  <a:pt x="802" y="1464"/>
                  <a:pt x="802" y="1467"/>
                  <a:pt x="802" y="1467"/>
                </a:cubicBezTo>
                <a:cubicBezTo>
                  <a:pt x="803" y="1467"/>
                  <a:pt x="807" y="1466"/>
                  <a:pt x="807" y="1466"/>
                </a:cubicBezTo>
                <a:cubicBezTo>
                  <a:pt x="807" y="1469"/>
                  <a:pt x="807" y="1469"/>
                  <a:pt x="807" y="1469"/>
                </a:cubicBezTo>
                <a:cubicBezTo>
                  <a:pt x="812" y="1467"/>
                  <a:pt x="812" y="1467"/>
                  <a:pt x="812" y="1467"/>
                </a:cubicBezTo>
                <a:cubicBezTo>
                  <a:pt x="809" y="1465"/>
                  <a:pt x="809" y="1465"/>
                  <a:pt x="809" y="1465"/>
                </a:cubicBezTo>
                <a:cubicBezTo>
                  <a:pt x="810" y="1462"/>
                  <a:pt x="810" y="1462"/>
                  <a:pt x="810" y="1462"/>
                </a:cubicBezTo>
                <a:cubicBezTo>
                  <a:pt x="809" y="1462"/>
                  <a:pt x="809" y="1462"/>
                  <a:pt x="809" y="1462"/>
                </a:cubicBezTo>
                <a:cubicBezTo>
                  <a:pt x="809" y="1462"/>
                  <a:pt x="809" y="1462"/>
                  <a:pt x="809" y="1462"/>
                </a:cubicBezTo>
                <a:close/>
                <a:moveTo>
                  <a:pt x="836" y="1478"/>
                </a:moveTo>
                <a:cubicBezTo>
                  <a:pt x="834" y="1480"/>
                  <a:pt x="834" y="1480"/>
                  <a:pt x="834" y="1480"/>
                </a:cubicBezTo>
                <a:cubicBezTo>
                  <a:pt x="835" y="1484"/>
                  <a:pt x="835" y="1484"/>
                  <a:pt x="835" y="1484"/>
                </a:cubicBezTo>
                <a:cubicBezTo>
                  <a:pt x="838" y="1483"/>
                  <a:pt x="838" y="1483"/>
                  <a:pt x="838" y="1483"/>
                </a:cubicBezTo>
                <a:cubicBezTo>
                  <a:pt x="836" y="1478"/>
                  <a:pt x="836" y="1478"/>
                  <a:pt x="836" y="1478"/>
                </a:cubicBezTo>
                <a:cubicBezTo>
                  <a:pt x="836" y="1478"/>
                  <a:pt x="836" y="1478"/>
                  <a:pt x="836" y="1478"/>
                </a:cubicBezTo>
                <a:close/>
                <a:moveTo>
                  <a:pt x="836" y="1487"/>
                </a:moveTo>
                <a:cubicBezTo>
                  <a:pt x="827" y="1486"/>
                  <a:pt x="827" y="1486"/>
                  <a:pt x="827" y="1486"/>
                </a:cubicBezTo>
                <a:cubicBezTo>
                  <a:pt x="828" y="1488"/>
                  <a:pt x="828" y="1488"/>
                  <a:pt x="828" y="1488"/>
                </a:cubicBezTo>
                <a:cubicBezTo>
                  <a:pt x="834" y="1488"/>
                  <a:pt x="834" y="1488"/>
                  <a:pt x="834" y="1488"/>
                </a:cubicBezTo>
                <a:cubicBezTo>
                  <a:pt x="836" y="1491"/>
                  <a:pt x="836" y="1491"/>
                  <a:pt x="836" y="1491"/>
                </a:cubicBezTo>
                <a:cubicBezTo>
                  <a:pt x="844" y="1494"/>
                  <a:pt x="844" y="1494"/>
                  <a:pt x="844" y="1494"/>
                </a:cubicBezTo>
                <a:cubicBezTo>
                  <a:pt x="839" y="1490"/>
                  <a:pt x="839" y="1490"/>
                  <a:pt x="839" y="1490"/>
                </a:cubicBezTo>
                <a:cubicBezTo>
                  <a:pt x="836" y="1487"/>
                  <a:pt x="836" y="1487"/>
                  <a:pt x="836" y="1487"/>
                </a:cubicBezTo>
                <a:cubicBezTo>
                  <a:pt x="836" y="1487"/>
                  <a:pt x="836" y="1487"/>
                  <a:pt x="836" y="1487"/>
                </a:cubicBezTo>
                <a:close/>
                <a:moveTo>
                  <a:pt x="832" y="1484"/>
                </a:moveTo>
                <a:cubicBezTo>
                  <a:pt x="831" y="1481"/>
                  <a:pt x="831" y="1481"/>
                  <a:pt x="831" y="1481"/>
                </a:cubicBezTo>
                <a:cubicBezTo>
                  <a:pt x="824" y="1480"/>
                  <a:pt x="824" y="1480"/>
                  <a:pt x="824" y="1480"/>
                </a:cubicBezTo>
                <a:cubicBezTo>
                  <a:pt x="822" y="1482"/>
                  <a:pt x="822" y="1482"/>
                  <a:pt x="822" y="1482"/>
                </a:cubicBezTo>
                <a:cubicBezTo>
                  <a:pt x="823" y="1485"/>
                  <a:pt x="823" y="1485"/>
                  <a:pt x="823" y="1485"/>
                </a:cubicBezTo>
                <a:cubicBezTo>
                  <a:pt x="827" y="1483"/>
                  <a:pt x="827" y="1483"/>
                  <a:pt x="827" y="1483"/>
                </a:cubicBezTo>
                <a:cubicBezTo>
                  <a:pt x="832" y="1484"/>
                  <a:pt x="832" y="1484"/>
                  <a:pt x="832" y="1484"/>
                </a:cubicBezTo>
                <a:cubicBezTo>
                  <a:pt x="832" y="1484"/>
                  <a:pt x="832" y="1484"/>
                  <a:pt x="832" y="1484"/>
                </a:cubicBezTo>
                <a:close/>
                <a:moveTo>
                  <a:pt x="855" y="1473"/>
                </a:moveTo>
                <a:cubicBezTo>
                  <a:pt x="850" y="1473"/>
                  <a:pt x="850" y="1473"/>
                  <a:pt x="850" y="1473"/>
                </a:cubicBezTo>
                <a:cubicBezTo>
                  <a:pt x="851" y="1471"/>
                  <a:pt x="851" y="1471"/>
                  <a:pt x="851" y="1471"/>
                </a:cubicBezTo>
                <a:cubicBezTo>
                  <a:pt x="845" y="1465"/>
                  <a:pt x="845" y="1465"/>
                  <a:pt x="845" y="1465"/>
                </a:cubicBezTo>
                <a:cubicBezTo>
                  <a:pt x="841" y="1467"/>
                  <a:pt x="841" y="1467"/>
                  <a:pt x="841" y="1467"/>
                </a:cubicBezTo>
                <a:cubicBezTo>
                  <a:pt x="839" y="1465"/>
                  <a:pt x="839" y="1465"/>
                  <a:pt x="839" y="1465"/>
                </a:cubicBezTo>
                <a:cubicBezTo>
                  <a:pt x="837" y="1468"/>
                  <a:pt x="837" y="1468"/>
                  <a:pt x="837" y="1468"/>
                </a:cubicBezTo>
                <a:cubicBezTo>
                  <a:pt x="835" y="1468"/>
                  <a:pt x="835" y="1468"/>
                  <a:pt x="835" y="1468"/>
                </a:cubicBezTo>
                <a:cubicBezTo>
                  <a:pt x="835" y="1471"/>
                  <a:pt x="835" y="1471"/>
                  <a:pt x="835" y="1471"/>
                </a:cubicBezTo>
                <a:cubicBezTo>
                  <a:pt x="833" y="1471"/>
                  <a:pt x="833" y="1471"/>
                  <a:pt x="833" y="1471"/>
                </a:cubicBezTo>
                <a:cubicBezTo>
                  <a:pt x="833" y="1475"/>
                  <a:pt x="833" y="1475"/>
                  <a:pt x="833" y="1475"/>
                </a:cubicBezTo>
                <a:cubicBezTo>
                  <a:pt x="836" y="1477"/>
                  <a:pt x="840" y="1473"/>
                  <a:pt x="840" y="1473"/>
                </a:cubicBezTo>
                <a:cubicBezTo>
                  <a:pt x="844" y="1474"/>
                  <a:pt x="844" y="1474"/>
                  <a:pt x="844" y="1474"/>
                </a:cubicBezTo>
                <a:cubicBezTo>
                  <a:pt x="844" y="1477"/>
                  <a:pt x="844" y="1477"/>
                  <a:pt x="844" y="1477"/>
                </a:cubicBezTo>
                <a:cubicBezTo>
                  <a:pt x="844" y="1477"/>
                  <a:pt x="837" y="1480"/>
                  <a:pt x="839" y="1481"/>
                </a:cubicBezTo>
                <a:cubicBezTo>
                  <a:pt x="841" y="1481"/>
                  <a:pt x="853" y="1485"/>
                  <a:pt x="853" y="1485"/>
                </a:cubicBezTo>
                <a:cubicBezTo>
                  <a:pt x="850" y="1488"/>
                  <a:pt x="850" y="1488"/>
                  <a:pt x="850" y="1488"/>
                </a:cubicBezTo>
                <a:cubicBezTo>
                  <a:pt x="850" y="1488"/>
                  <a:pt x="850" y="1485"/>
                  <a:pt x="848" y="1485"/>
                </a:cubicBezTo>
                <a:cubicBezTo>
                  <a:pt x="846" y="1485"/>
                  <a:pt x="845" y="1487"/>
                  <a:pt x="845" y="1487"/>
                </a:cubicBezTo>
                <a:cubicBezTo>
                  <a:pt x="843" y="1484"/>
                  <a:pt x="843" y="1484"/>
                  <a:pt x="843" y="1484"/>
                </a:cubicBezTo>
                <a:cubicBezTo>
                  <a:pt x="840" y="1485"/>
                  <a:pt x="840" y="1485"/>
                  <a:pt x="840" y="1485"/>
                </a:cubicBezTo>
                <a:cubicBezTo>
                  <a:pt x="842" y="1486"/>
                  <a:pt x="842" y="1486"/>
                  <a:pt x="842" y="1486"/>
                </a:cubicBezTo>
                <a:cubicBezTo>
                  <a:pt x="838" y="1486"/>
                  <a:pt x="838" y="1486"/>
                  <a:pt x="838" y="1486"/>
                </a:cubicBezTo>
                <a:cubicBezTo>
                  <a:pt x="838" y="1486"/>
                  <a:pt x="839" y="1489"/>
                  <a:pt x="842" y="1489"/>
                </a:cubicBezTo>
                <a:cubicBezTo>
                  <a:pt x="846" y="1489"/>
                  <a:pt x="848" y="1489"/>
                  <a:pt x="848" y="1489"/>
                </a:cubicBezTo>
                <a:cubicBezTo>
                  <a:pt x="848" y="1489"/>
                  <a:pt x="852" y="1490"/>
                  <a:pt x="854" y="1490"/>
                </a:cubicBezTo>
                <a:cubicBezTo>
                  <a:pt x="856" y="1490"/>
                  <a:pt x="865" y="1490"/>
                  <a:pt x="868" y="1490"/>
                </a:cubicBezTo>
                <a:cubicBezTo>
                  <a:pt x="871" y="1490"/>
                  <a:pt x="876" y="1492"/>
                  <a:pt x="876" y="1492"/>
                </a:cubicBezTo>
                <a:cubicBezTo>
                  <a:pt x="880" y="1490"/>
                  <a:pt x="880" y="1490"/>
                  <a:pt x="880" y="1490"/>
                </a:cubicBezTo>
                <a:cubicBezTo>
                  <a:pt x="882" y="1491"/>
                  <a:pt x="882" y="1491"/>
                  <a:pt x="882" y="1491"/>
                </a:cubicBezTo>
                <a:cubicBezTo>
                  <a:pt x="885" y="1491"/>
                  <a:pt x="885" y="1491"/>
                  <a:pt x="885" y="1491"/>
                </a:cubicBezTo>
                <a:cubicBezTo>
                  <a:pt x="885" y="1487"/>
                  <a:pt x="885" y="1487"/>
                  <a:pt x="885" y="1487"/>
                </a:cubicBezTo>
                <a:cubicBezTo>
                  <a:pt x="885" y="1487"/>
                  <a:pt x="876" y="1487"/>
                  <a:pt x="866" y="1481"/>
                </a:cubicBezTo>
                <a:cubicBezTo>
                  <a:pt x="855" y="1476"/>
                  <a:pt x="855" y="1473"/>
                  <a:pt x="855" y="1473"/>
                </a:cubicBezTo>
                <a:close/>
                <a:moveTo>
                  <a:pt x="862" y="1492"/>
                </a:moveTo>
                <a:cubicBezTo>
                  <a:pt x="865" y="1494"/>
                  <a:pt x="865" y="1494"/>
                  <a:pt x="865" y="1494"/>
                </a:cubicBezTo>
                <a:cubicBezTo>
                  <a:pt x="873" y="1495"/>
                  <a:pt x="873" y="1495"/>
                  <a:pt x="873" y="1495"/>
                </a:cubicBezTo>
                <a:cubicBezTo>
                  <a:pt x="869" y="1491"/>
                  <a:pt x="869" y="1491"/>
                  <a:pt x="869" y="1491"/>
                </a:cubicBezTo>
                <a:cubicBezTo>
                  <a:pt x="862" y="1492"/>
                  <a:pt x="862" y="1492"/>
                  <a:pt x="862" y="1492"/>
                </a:cubicBezTo>
                <a:cubicBezTo>
                  <a:pt x="862" y="1492"/>
                  <a:pt x="862" y="1492"/>
                  <a:pt x="862" y="1492"/>
                </a:cubicBezTo>
                <a:close/>
                <a:moveTo>
                  <a:pt x="898" y="886"/>
                </a:moveTo>
                <a:cubicBezTo>
                  <a:pt x="898" y="889"/>
                  <a:pt x="898" y="889"/>
                  <a:pt x="898" y="889"/>
                </a:cubicBezTo>
                <a:cubicBezTo>
                  <a:pt x="895" y="894"/>
                  <a:pt x="895" y="894"/>
                  <a:pt x="895" y="894"/>
                </a:cubicBezTo>
                <a:cubicBezTo>
                  <a:pt x="900" y="891"/>
                  <a:pt x="900" y="891"/>
                  <a:pt x="900" y="891"/>
                </a:cubicBezTo>
                <a:cubicBezTo>
                  <a:pt x="900" y="891"/>
                  <a:pt x="904" y="885"/>
                  <a:pt x="903" y="884"/>
                </a:cubicBezTo>
                <a:cubicBezTo>
                  <a:pt x="901" y="883"/>
                  <a:pt x="898" y="886"/>
                  <a:pt x="898" y="886"/>
                </a:cubicBezTo>
                <a:close/>
                <a:moveTo>
                  <a:pt x="758" y="1366"/>
                </a:moveTo>
                <a:cubicBezTo>
                  <a:pt x="758" y="1359"/>
                  <a:pt x="758" y="1359"/>
                  <a:pt x="758" y="1359"/>
                </a:cubicBezTo>
                <a:cubicBezTo>
                  <a:pt x="754" y="1355"/>
                  <a:pt x="754" y="1355"/>
                  <a:pt x="754" y="1355"/>
                </a:cubicBezTo>
                <a:cubicBezTo>
                  <a:pt x="756" y="1353"/>
                  <a:pt x="756" y="1353"/>
                  <a:pt x="756" y="1353"/>
                </a:cubicBezTo>
                <a:cubicBezTo>
                  <a:pt x="753" y="1350"/>
                  <a:pt x="753" y="1350"/>
                  <a:pt x="753" y="1350"/>
                </a:cubicBezTo>
                <a:cubicBezTo>
                  <a:pt x="748" y="1348"/>
                  <a:pt x="748" y="1348"/>
                  <a:pt x="748" y="1348"/>
                </a:cubicBezTo>
                <a:cubicBezTo>
                  <a:pt x="748" y="1348"/>
                  <a:pt x="748" y="1355"/>
                  <a:pt x="750" y="1356"/>
                </a:cubicBezTo>
                <a:cubicBezTo>
                  <a:pt x="751" y="1357"/>
                  <a:pt x="753" y="1361"/>
                  <a:pt x="753" y="1361"/>
                </a:cubicBezTo>
                <a:cubicBezTo>
                  <a:pt x="752" y="1364"/>
                  <a:pt x="752" y="1364"/>
                  <a:pt x="752" y="1364"/>
                </a:cubicBezTo>
                <a:cubicBezTo>
                  <a:pt x="758" y="1366"/>
                  <a:pt x="758" y="1366"/>
                  <a:pt x="758" y="1366"/>
                </a:cubicBezTo>
                <a:cubicBezTo>
                  <a:pt x="758" y="1366"/>
                  <a:pt x="758" y="1366"/>
                  <a:pt x="758" y="1366"/>
                </a:cubicBezTo>
                <a:close/>
                <a:moveTo>
                  <a:pt x="768" y="1381"/>
                </a:moveTo>
                <a:cubicBezTo>
                  <a:pt x="768" y="1381"/>
                  <a:pt x="775" y="1377"/>
                  <a:pt x="770" y="1376"/>
                </a:cubicBezTo>
                <a:cubicBezTo>
                  <a:pt x="766" y="1375"/>
                  <a:pt x="766" y="1381"/>
                  <a:pt x="768" y="1381"/>
                </a:cubicBezTo>
                <a:close/>
                <a:moveTo>
                  <a:pt x="1067" y="957"/>
                </a:moveTo>
                <a:cubicBezTo>
                  <a:pt x="1067" y="954"/>
                  <a:pt x="1063" y="949"/>
                  <a:pt x="1063" y="947"/>
                </a:cubicBezTo>
                <a:cubicBezTo>
                  <a:pt x="1063" y="944"/>
                  <a:pt x="1063" y="942"/>
                  <a:pt x="1063" y="940"/>
                </a:cubicBezTo>
                <a:cubicBezTo>
                  <a:pt x="1063" y="938"/>
                  <a:pt x="1059" y="935"/>
                  <a:pt x="1059" y="935"/>
                </a:cubicBezTo>
                <a:cubicBezTo>
                  <a:pt x="1055" y="934"/>
                  <a:pt x="1055" y="934"/>
                  <a:pt x="1055" y="934"/>
                </a:cubicBezTo>
                <a:cubicBezTo>
                  <a:pt x="1048" y="935"/>
                  <a:pt x="1048" y="935"/>
                  <a:pt x="1048" y="935"/>
                </a:cubicBezTo>
                <a:cubicBezTo>
                  <a:pt x="1045" y="933"/>
                  <a:pt x="1045" y="933"/>
                  <a:pt x="1045" y="933"/>
                </a:cubicBezTo>
                <a:cubicBezTo>
                  <a:pt x="1043" y="933"/>
                  <a:pt x="1043" y="933"/>
                  <a:pt x="1043" y="933"/>
                </a:cubicBezTo>
                <a:cubicBezTo>
                  <a:pt x="1040" y="929"/>
                  <a:pt x="1040" y="929"/>
                  <a:pt x="1040" y="929"/>
                </a:cubicBezTo>
                <a:cubicBezTo>
                  <a:pt x="1037" y="929"/>
                  <a:pt x="1037" y="929"/>
                  <a:pt x="1037" y="929"/>
                </a:cubicBezTo>
                <a:cubicBezTo>
                  <a:pt x="1037" y="929"/>
                  <a:pt x="1033" y="925"/>
                  <a:pt x="1030" y="921"/>
                </a:cubicBezTo>
                <a:cubicBezTo>
                  <a:pt x="1026" y="916"/>
                  <a:pt x="1016" y="910"/>
                  <a:pt x="1012" y="909"/>
                </a:cubicBezTo>
                <a:cubicBezTo>
                  <a:pt x="1009" y="909"/>
                  <a:pt x="1002" y="910"/>
                  <a:pt x="1002" y="910"/>
                </a:cubicBezTo>
                <a:cubicBezTo>
                  <a:pt x="1002" y="912"/>
                  <a:pt x="1002" y="912"/>
                  <a:pt x="1002" y="912"/>
                </a:cubicBezTo>
                <a:cubicBezTo>
                  <a:pt x="1002" y="912"/>
                  <a:pt x="999" y="910"/>
                  <a:pt x="998" y="909"/>
                </a:cubicBezTo>
                <a:cubicBezTo>
                  <a:pt x="996" y="908"/>
                  <a:pt x="991" y="908"/>
                  <a:pt x="991" y="908"/>
                </a:cubicBezTo>
                <a:cubicBezTo>
                  <a:pt x="991" y="908"/>
                  <a:pt x="985" y="905"/>
                  <a:pt x="981" y="904"/>
                </a:cubicBezTo>
                <a:cubicBezTo>
                  <a:pt x="977" y="903"/>
                  <a:pt x="973" y="910"/>
                  <a:pt x="973" y="910"/>
                </a:cubicBezTo>
                <a:cubicBezTo>
                  <a:pt x="970" y="908"/>
                  <a:pt x="970" y="908"/>
                  <a:pt x="970" y="908"/>
                </a:cubicBezTo>
                <a:cubicBezTo>
                  <a:pt x="970" y="912"/>
                  <a:pt x="970" y="912"/>
                  <a:pt x="970" y="912"/>
                </a:cubicBezTo>
                <a:cubicBezTo>
                  <a:pt x="966" y="915"/>
                  <a:pt x="966" y="915"/>
                  <a:pt x="966" y="915"/>
                </a:cubicBezTo>
                <a:cubicBezTo>
                  <a:pt x="968" y="906"/>
                  <a:pt x="968" y="906"/>
                  <a:pt x="968" y="906"/>
                </a:cubicBezTo>
                <a:cubicBezTo>
                  <a:pt x="968" y="906"/>
                  <a:pt x="972" y="904"/>
                  <a:pt x="971" y="902"/>
                </a:cubicBezTo>
                <a:cubicBezTo>
                  <a:pt x="969" y="900"/>
                  <a:pt x="967" y="904"/>
                  <a:pt x="967" y="904"/>
                </a:cubicBezTo>
                <a:cubicBezTo>
                  <a:pt x="968" y="899"/>
                  <a:pt x="968" y="899"/>
                  <a:pt x="968" y="899"/>
                </a:cubicBezTo>
                <a:cubicBezTo>
                  <a:pt x="968" y="899"/>
                  <a:pt x="967" y="899"/>
                  <a:pt x="967" y="898"/>
                </a:cubicBezTo>
                <a:cubicBezTo>
                  <a:pt x="967" y="896"/>
                  <a:pt x="963" y="894"/>
                  <a:pt x="963" y="894"/>
                </a:cubicBezTo>
                <a:cubicBezTo>
                  <a:pt x="961" y="897"/>
                  <a:pt x="961" y="897"/>
                  <a:pt x="961" y="897"/>
                </a:cubicBezTo>
                <a:cubicBezTo>
                  <a:pt x="961" y="897"/>
                  <a:pt x="958" y="893"/>
                  <a:pt x="956" y="891"/>
                </a:cubicBezTo>
                <a:cubicBezTo>
                  <a:pt x="954" y="889"/>
                  <a:pt x="948" y="889"/>
                  <a:pt x="948" y="889"/>
                </a:cubicBezTo>
                <a:cubicBezTo>
                  <a:pt x="947" y="888"/>
                  <a:pt x="942" y="884"/>
                  <a:pt x="942" y="884"/>
                </a:cubicBezTo>
                <a:cubicBezTo>
                  <a:pt x="940" y="886"/>
                  <a:pt x="940" y="886"/>
                  <a:pt x="940" y="886"/>
                </a:cubicBezTo>
                <a:cubicBezTo>
                  <a:pt x="940" y="886"/>
                  <a:pt x="936" y="885"/>
                  <a:pt x="934" y="885"/>
                </a:cubicBezTo>
                <a:cubicBezTo>
                  <a:pt x="932" y="885"/>
                  <a:pt x="930" y="892"/>
                  <a:pt x="930" y="892"/>
                </a:cubicBezTo>
                <a:cubicBezTo>
                  <a:pt x="932" y="895"/>
                  <a:pt x="932" y="895"/>
                  <a:pt x="932" y="895"/>
                </a:cubicBezTo>
                <a:cubicBezTo>
                  <a:pt x="932" y="895"/>
                  <a:pt x="929" y="895"/>
                  <a:pt x="927" y="895"/>
                </a:cubicBezTo>
                <a:cubicBezTo>
                  <a:pt x="925" y="895"/>
                  <a:pt x="923" y="900"/>
                  <a:pt x="923" y="900"/>
                </a:cubicBezTo>
                <a:cubicBezTo>
                  <a:pt x="923" y="900"/>
                  <a:pt x="921" y="907"/>
                  <a:pt x="920" y="906"/>
                </a:cubicBezTo>
                <a:cubicBezTo>
                  <a:pt x="918" y="906"/>
                  <a:pt x="922" y="901"/>
                  <a:pt x="921" y="899"/>
                </a:cubicBezTo>
                <a:cubicBezTo>
                  <a:pt x="921" y="896"/>
                  <a:pt x="916" y="901"/>
                  <a:pt x="916" y="901"/>
                </a:cubicBezTo>
                <a:cubicBezTo>
                  <a:pt x="915" y="899"/>
                  <a:pt x="915" y="899"/>
                  <a:pt x="915" y="899"/>
                </a:cubicBezTo>
                <a:cubicBezTo>
                  <a:pt x="915" y="899"/>
                  <a:pt x="911" y="900"/>
                  <a:pt x="908" y="899"/>
                </a:cubicBezTo>
                <a:cubicBezTo>
                  <a:pt x="906" y="898"/>
                  <a:pt x="906" y="895"/>
                  <a:pt x="906" y="893"/>
                </a:cubicBezTo>
                <a:cubicBezTo>
                  <a:pt x="906" y="890"/>
                  <a:pt x="905" y="888"/>
                  <a:pt x="905" y="888"/>
                </a:cubicBezTo>
                <a:cubicBezTo>
                  <a:pt x="904" y="887"/>
                  <a:pt x="901" y="892"/>
                  <a:pt x="901" y="892"/>
                </a:cubicBezTo>
                <a:cubicBezTo>
                  <a:pt x="901" y="892"/>
                  <a:pt x="896" y="895"/>
                  <a:pt x="894" y="896"/>
                </a:cubicBezTo>
                <a:cubicBezTo>
                  <a:pt x="891" y="896"/>
                  <a:pt x="888" y="895"/>
                  <a:pt x="888" y="895"/>
                </a:cubicBezTo>
                <a:cubicBezTo>
                  <a:pt x="894" y="893"/>
                  <a:pt x="894" y="893"/>
                  <a:pt x="894" y="893"/>
                </a:cubicBezTo>
                <a:cubicBezTo>
                  <a:pt x="894" y="893"/>
                  <a:pt x="896" y="891"/>
                  <a:pt x="896" y="890"/>
                </a:cubicBezTo>
                <a:cubicBezTo>
                  <a:pt x="897" y="889"/>
                  <a:pt x="897" y="886"/>
                  <a:pt x="897" y="886"/>
                </a:cubicBezTo>
                <a:cubicBezTo>
                  <a:pt x="897" y="886"/>
                  <a:pt x="899" y="885"/>
                  <a:pt x="900" y="882"/>
                </a:cubicBezTo>
                <a:cubicBezTo>
                  <a:pt x="900" y="880"/>
                  <a:pt x="905" y="876"/>
                  <a:pt x="908" y="874"/>
                </a:cubicBezTo>
                <a:cubicBezTo>
                  <a:pt x="910" y="873"/>
                  <a:pt x="910" y="871"/>
                  <a:pt x="911" y="869"/>
                </a:cubicBezTo>
                <a:cubicBezTo>
                  <a:pt x="912" y="867"/>
                  <a:pt x="916" y="865"/>
                  <a:pt x="916" y="865"/>
                </a:cubicBezTo>
                <a:cubicBezTo>
                  <a:pt x="913" y="864"/>
                  <a:pt x="913" y="864"/>
                  <a:pt x="913" y="864"/>
                </a:cubicBezTo>
                <a:cubicBezTo>
                  <a:pt x="913" y="864"/>
                  <a:pt x="916" y="863"/>
                  <a:pt x="916" y="859"/>
                </a:cubicBezTo>
                <a:cubicBezTo>
                  <a:pt x="916" y="856"/>
                  <a:pt x="910" y="858"/>
                  <a:pt x="908" y="856"/>
                </a:cubicBezTo>
                <a:cubicBezTo>
                  <a:pt x="906" y="853"/>
                  <a:pt x="906" y="849"/>
                  <a:pt x="905" y="841"/>
                </a:cubicBezTo>
                <a:cubicBezTo>
                  <a:pt x="904" y="833"/>
                  <a:pt x="903" y="829"/>
                  <a:pt x="901" y="829"/>
                </a:cubicBezTo>
                <a:cubicBezTo>
                  <a:pt x="899" y="828"/>
                  <a:pt x="900" y="832"/>
                  <a:pt x="900" y="833"/>
                </a:cubicBezTo>
                <a:cubicBezTo>
                  <a:pt x="900" y="834"/>
                  <a:pt x="898" y="833"/>
                  <a:pt x="898" y="832"/>
                </a:cubicBezTo>
                <a:cubicBezTo>
                  <a:pt x="897" y="831"/>
                  <a:pt x="895" y="824"/>
                  <a:pt x="895" y="824"/>
                </a:cubicBezTo>
                <a:cubicBezTo>
                  <a:pt x="891" y="822"/>
                  <a:pt x="891" y="822"/>
                  <a:pt x="891" y="822"/>
                </a:cubicBezTo>
                <a:cubicBezTo>
                  <a:pt x="887" y="816"/>
                  <a:pt x="887" y="816"/>
                  <a:pt x="887" y="816"/>
                </a:cubicBezTo>
                <a:cubicBezTo>
                  <a:pt x="883" y="816"/>
                  <a:pt x="883" y="816"/>
                  <a:pt x="883" y="816"/>
                </a:cubicBezTo>
                <a:cubicBezTo>
                  <a:pt x="883" y="816"/>
                  <a:pt x="878" y="814"/>
                  <a:pt x="876" y="812"/>
                </a:cubicBezTo>
                <a:cubicBezTo>
                  <a:pt x="876" y="812"/>
                  <a:pt x="876" y="812"/>
                  <a:pt x="876" y="812"/>
                </a:cubicBezTo>
                <a:cubicBezTo>
                  <a:pt x="874" y="810"/>
                  <a:pt x="864" y="810"/>
                  <a:pt x="864" y="810"/>
                </a:cubicBezTo>
                <a:cubicBezTo>
                  <a:pt x="864" y="812"/>
                  <a:pt x="864" y="812"/>
                  <a:pt x="864" y="812"/>
                </a:cubicBezTo>
                <a:cubicBezTo>
                  <a:pt x="857" y="811"/>
                  <a:pt x="857" y="811"/>
                  <a:pt x="857" y="811"/>
                </a:cubicBezTo>
                <a:cubicBezTo>
                  <a:pt x="857" y="813"/>
                  <a:pt x="857" y="813"/>
                  <a:pt x="857" y="813"/>
                </a:cubicBezTo>
                <a:cubicBezTo>
                  <a:pt x="849" y="810"/>
                  <a:pt x="849" y="810"/>
                  <a:pt x="849" y="810"/>
                </a:cubicBezTo>
                <a:cubicBezTo>
                  <a:pt x="845" y="811"/>
                  <a:pt x="845" y="811"/>
                  <a:pt x="845" y="811"/>
                </a:cubicBezTo>
                <a:cubicBezTo>
                  <a:pt x="845" y="811"/>
                  <a:pt x="845" y="809"/>
                  <a:pt x="844" y="807"/>
                </a:cubicBezTo>
                <a:cubicBezTo>
                  <a:pt x="844" y="806"/>
                  <a:pt x="841" y="807"/>
                  <a:pt x="841" y="807"/>
                </a:cubicBezTo>
                <a:cubicBezTo>
                  <a:pt x="840" y="804"/>
                  <a:pt x="840" y="804"/>
                  <a:pt x="840" y="804"/>
                </a:cubicBezTo>
                <a:cubicBezTo>
                  <a:pt x="840" y="804"/>
                  <a:pt x="837" y="801"/>
                  <a:pt x="834" y="801"/>
                </a:cubicBezTo>
                <a:cubicBezTo>
                  <a:pt x="831" y="800"/>
                  <a:pt x="830" y="806"/>
                  <a:pt x="830" y="806"/>
                </a:cubicBezTo>
                <a:cubicBezTo>
                  <a:pt x="830" y="806"/>
                  <a:pt x="832" y="797"/>
                  <a:pt x="832" y="796"/>
                </a:cubicBezTo>
                <a:cubicBezTo>
                  <a:pt x="832" y="794"/>
                  <a:pt x="830" y="789"/>
                  <a:pt x="828" y="787"/>
                </a:cubicBezTo>
                <a:cubicBezTo>
                  <a:pt x="827" y="786"/>
                  <a:pt x="819" y="783"/>
                  <a:pt x="819" y="783"/>
                </a:cubicBezTo>
                <a:cubicBezTo>
                  <a:pt x="819" y="783"/>
                  <a:pt x="818" y="781"/>
                  <a:pt x="817" y="780"/>
                </a:cubicBezTo>
                <a:cubicBezTo>
                  <a:pt x="816" y="778"/>
                  <a:pt x="813" y="782"/>
                  <a:pt x="813" y="782"/>
                </a:cubicBezTo>
                <a:cubicBezTo>
                  <a:pt x="813" y="782"/>
                  <a:pt x="811" y="781"/>
                  <a:pt x="809" y="780"/>
                </a:cubicBezTo>
                <a:cubicBezTo>
                  <a:pt x="808" y="780"/>
                  <a:pt x="805" y="783"/>
                  <a:pt x="805" y="783"/>
                </a:cubicBezTo>
                <a:cubicBezTo>
                  <a:pt x="801" y="780"/>
                  <a:pt x="801" y="780"/>
                  <a:pt x="801" y="780"/>
                </a:cubicBezTo>
                <a:cubicBezTo>
                  <a:pt x="801" y="780"/>
                  <a:pt x="806" y="780"/>
                  <a:pt x="807" y="779"/>
                </a:cubicBezTo>
                <a:cubicBezTo>
                  <a:pt x="808" y="777"/>
                  <a:pt x="808" y="775"/>
                  <a:pt x="808" y="775"/>
                </a:cubicBezTo>
                <a:cubicBezTo>
                  <a:pt x="808" y="775"/>
                  <a:pt x="810" y="775"/>
                  <a:pt x="810" y="772"/>
                </a:cubicBezTo>
                <a:cubicBezTo>
                  <a:pt x="811" y="769"/>
                  <a:pt x="805" y="770"/>
                  <a:pt x="805" y="770"/>
                </a:cubicBezTo>
                <a:cubicBezTo>
                  <a:pt x="805" y="770"/>
                  <a:pt x="804" y="767"/>
                  <a:pt x="802" y="767"/>
                </a:cubicBezTo>
                <a:cubicBezTo>
                  <a:pt x="801" y="766"/>
                  <a:pt x="801" y="770"/>
                  <a:pt x="801" y="770"/>
                </a:cubicBezTo>
                <a:cubicBezTo>
                  <a:pt x="801" y="770"/>
                  <a:pt x="800" y="768"/>
                  <a:pt x="800" y="767"/>
                </a:cubicBezTo>
                <a:cubicBezTo>
                  <a:pt x="800" y="765"/>
                  <a:pt x="797" y="766"/>
                  <a:pt x="797" y="766"/>
                </a:cubicBezTo>
                <a:cubicBezTo>
                  <a:pt x="796" y="770"/>
                  <a:pt x="796" y="770"/>
                  <a:pt x="796" y="770"/>
                </a:cubicBezTo>
                <a:cubicBezTo>
                  <a:pt x="796" y="770"/>
                  <a:pt x="795" y="768"/>
                  <a:pt x="794" y="767"/>
                </a:cubicBezTo>
                <a:cubicBezTo>
                  <a:pt x="794" y="766"/>
                  <a:pt x="794" y="763"/>
                  <a:pt x="794" y="763"/>
                </a:cubicBezTo>
                <a:cubicBezTo>
                  <a:pt x="789" y="764"/>
                  <a:pt x="789" y="764"/>
                  <a:pt x="789" y="764"/>
                </a:cubicBezTo>
                <a:cubicBezTo>
                  <a:pt x="789" y="764"/>
                  <a:pt x="793" y="762"/>
                  <a:pt x="793" y="761"/>
                </a:cubicBezTo>
                <a:cubicBezTo>
                  <a:pt x="793" y="760"/>
                  <a:pt x="790" y="760"/>
                  <a:pt x="790" y="759"/>
                </a:cubicBezTo>
                <a:cubicBezTo>
                  <a:pt x="790" y="758"/>
                  <a:pt x="799" y="758"/>
                  <a:pt x="799" y="757"/>
                </a:cubicBezTo>
                <a:cubicBezTo>
                  <a:pt x="800" y="756"/>
                  <a:pt x="781" y="757"/>
                  <a:pt x="781" y="757"/>
                </a:cubicBezTo>
                <a:cubicBezTo>
                  <a:pt x="782" y="759"/>
                  <a:pt x="782" y="759"/>
                  <a:pt x="782" y="759"/>
                </a:cubicBezTo>
                <a:cubicBezTo>
                  <a:pt x="782" y="759"/>
                  <a:pt x="778" y="760"/>
                  <a:pt x="776" y="761"/>
                </a:cubicBezTo>
                <a:cubicBezTo>
                  <a:pt x="774" y="761"/>
                  <a:pt x="769" y="765"/>
                  <a:pt x="769" y="765"/>
                </a:cubicBezTo>
                <a:cubicBezTo>
                  <a:pt x="764" y="765"/>
                  <a:pt x="757" y="758"/>
                  <a:pt x="757" y="758"/>
                </a:cubicBezTo>
                <a:cubicBezTo>
                  <a:pt x="757" y="758"/>
                  <a:pt x="740" y="759"/>
                  <a:pt x="738" y="759"/>
                </a:cubicBezTo>
                <a:cubicBezTo>
                  <a:pt x="736" y="759"/>
                  <a:pt x="736" y="757"/>
                  <a:pt x="736" y="754"/>
                </a:cubicBezTo>
                <a:cubicBezTo>
                  <a:pt x="736" y="751"/>
                  <a:pt x="734" y="749"/>
                  <a:pt x="729" y="748"/>
                </a:cubicBezTo>
                <a:cubicBezTo>
                  <a:pt x="723" y="747"/>
                  <a:pt x="716" y="752"/>
                  <a:pt x="716" y="752"/>
                </a:cubicBezTo>
                <a:cubicBezTo>
                  <a:pt x="716" y="752"/>
                  <a:pt x="710" y="753"/>
                  <a:pt x="707" y="756"/>
                </a:cubicBezTo>
                <a:cubicBezTo>
                  <a:pt x="703" y="759"/>
                  <a:pt x="708" y="764"/>
                  <a:pt x="709" y="768"/>
                </a:cubicBezTo>
                <a:cubicBezTo>
                  <a:pt x="709" y="772"/>
                  <a:pt x="703" y="776"/>
                  <a:pt x="703" y="776"/>
                </a:cubicBezTo>
                <a:cubicBezTo>
                  <a:pt x="704" y="772"/>
                  <a:pt x="704" y="772"/>
                  <a:pt x="704" y="772"/>
                </a:cubicBezTo>
                <a:cubicBezTo>
                  <a:pt x="704" y="772"/>
                  <a:pt x="700" y="771"/>
                  <a:pt x="699" y="769"/>
                </a:cubicBezTo>
                <a:cubicBezTo>
                  <a:pt x="697" y="767"/>
                  <a:pt x="701" y="763"/>
                  <a:pt x="702" y="761"/>
                </a:cubicBezTo>
                <a:cubicBezTo>
                  <a:pt x="704" y="759"/>
                  <a:pt x="703" y="756"/>
                  <a:pt x="703" y="753"/>
                </a:cubicBezTo>
                <a:cubicBezTo>
                  <a:pt x="703" y="751"/>
                  <a:pt x="701" y="748"/>
                  <a:pt x="701" y="748"/>
                </a:cubicBezTo>
                <a:cubicBezTo>
                  <a:pt x="701" y="748"/>
                  <a:pt x="705" y="746"/>
                  <a:pt x="706" y="745"/>
                </a:cubicBezTo>
                <a:cubicBezTo>
                  <a:pt x="707" y="745"/>
                  <a:pt x="710" y="744"/>
                  <a:pt x="710" y="740"/>
                </a:cubicBezTo>
                <a:cubicBezTo>
                  <a:pt x="710" y="736"/>
                  <a:pt x="702" y="739"/>
                  <a:pt x="700" y="739"/>
                </a:cubicBezTo>
                <a:cubicBezTo>
                  <a:pt x="699" y="739"/>
                  <a:pt x="699" y="744"/>
                  <a:pt x="698" y="745"/>
                </a:cubicBezTo>
                <a:cubicBezTo>
                  <a:pt x="696" y="746"/>
                  <a:pt x="694" y="745"/>
                  <a:pt x="692" y="745"/>
                </a:cubicBezTo>
                <a:cubicBezTo>
                  <a:pt x="691" y="745"/>
                  <a:pt x="688" y="750"/>
                  <a:pt x="688" y="750"/>
                </a:cubicBezTo>
                <a:cubicBezTo>
                  <a:pt x="683" y="751"/>
                  <a:pt x="683" y="751"/>
                  <a:pt x="683" y="751"/>
                </a:cubicBezTo>
                <a:cubicBezTo>
                  <a:pt x="683" y="751"/>
                  <a:pt x="681" y="749"/>
                  <a:pt x="680" y="750"/>
                </a:cubicBezTo>
                <a:cubicBezTo>
                  <a:pt x="678" y="751"/>
                  <a:pt x="678" y="754"/>
                  <a:pt x="678" y="754"/>
                </a:cubicBezTo>
                <a:cubicBezTo>
                  <a:pt x="678" y="754"/>
                  <a:pt x="677" y="757"/>
                  <a:pt x="676" y="757"/>
                </a:cubicBezTo>
                <a:cubicBezTo>
                  <a:pt x="675" y="757"/>
                  <a:pt x="676" y="755"/>
                  <a:pt x="676" y="755"/>
                </a:cubicBezTo>
                <a:cubicBezTo>
                  <a:pt x="676" y="755"/>
                  <a:pt x="675" y="754"/>
                  <a:pt x="674" y="754"/>
                </a:cubicBezTo>
                <a:cubicBezTo>
                  <a:pt x="673" y="754"/>
                  <a:pt x="670" y="755"/>
                  <a:pt x="669" y="755"/>
                </a:cubicBezTo>
                <a:cubicBezTo>
                  <a:pt x="668" y="756"/>
                  <a:pt x="665" y="759"/>
                  <a:pt x="664" y="761"/>
                </a:cubicBezTo>
                <a:cubicBezTo>
                  <a:pt x="664" y="762"/>
                  <a:pt x="665" y="764"/>
                  <a:pt x="665" y="764"/>
                </a:cubicBezTo>
                <a:cubicBezTo>
                  <a:pt x="663" y="768"/>
                  <a:pt x="663" y="768"/>
                  <a:pt x="663" y="768"/>
                </a:cubicBezTo>
                <a:cubicBezTo>
                  <a:pt x="664" y="771"/>
                  <a:pt x="664" y="771"/>
                  <a:pt x="664" y="771"/>
                </a:cubicBezTo>
                <a:cubicBezTo>
                  <a:pt x="664" y="771"/>
                  <a:pt x="661" y="772"/>
                  <a:pt x="660" y="772"/>
                </a:cubicBezTo>
                <a:cubicBezTo>
                  <a:pt x="659" y="773"/>
                  <a:pt x="657" y="776"/>
                  <a:pt x="657" y="777"/>
                </a:cubicBezTo>
                <a:cubicBezTo>
                  <a:pt x="656" y="778"/>
                  <a:pt x="653" y="779"/>
                  <a:pt x="653" y="779"/>
                </a:cubicBezTo>
                <a:cubicBezTo>
                  <a:pt x="650" y="780"/>
                  <a:pt x="650" y="780"/>
                  <a:pt x="650" y="780"/>
                </a:cubicBezTo>
                <a:cubicBezTo>
                  <a:pt x="652" y="784"/>
                  <a:pt x="652" y="784"/>
                  <a:pt x="652" y="784"/>
                </a:cubicBezTo>
                <a:cubicBezTo>
                  <a:pt x="652" y="784"/>
                  <a:pt x="652" y="788"/>
                  <a:pt x="651" y="789"/>
                </a:cubicBezTo>
                <a:cubicBezTo>
                  <a:pt x="649" y="789"/>
                  <a:pt x="650" y="787"/>
                  <a:pt x="650" y="785"/>
                </a:cubicBezTo>
                <a:cubicBezTo>
                  <a:pt x="650" y="783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2" y="778"/>
                  <a:pt x="642" y="778"/>
                  <a:pt x="642" y="778"/>
                </a:cubicBezTo>
                <a:cubicBezTo>
                  <a:pt x="642" y="778"/>
                  <a:pt x="641" y="774"/>
                  <a:pt x="638" y="772"/>
                </a:cubicBezTo>
                <a:cubicBezTo>
                  <a:pt x="635" y="771"/>
                  <a:pt x="630" y="771"/>
                  <a:pt x="630" y="771"/>
                </a:cubicBezTo>
                <a:cubicBezTo>
                  <a:pt x="630" y="770"/>
                  <a:pt x="630" y="770"/>
                  <a:pt x="630" y="770"/>
                </a:cubicBezTo>
                <a:cubicBezTo>
                  <a:pt x="630" y="770"/>
                  <a:pt x="624" y="769"/>
                  <a:pt x="623" y="770"/>
                </a:cubicBezTo>
                <a:cubicBezTo>
                  <a:pt x="622" y="772"/>
                  <a:pt x="619" y="774"/>
                  <a:pt x="619" y="774"/>
                </a:cubicBezTo>
                <a:cubicBezTo>
                  <a:pt x="619" y="774"/>
                  <a:pt x="617" y="772"/>
                  <a:pt x="615" y="774"/>
                </a:cubicBezTo>
                <a:cubicBezTo>
                  <a:pt x="614" y="775"/>
                  <a:pt x="611" y="779"/>
                  <a:pt x="609" y="779"/>
                </a:cubicBezTo>
                <a:cubicBezTo>
                  <a:pt x="607" y="779"/>
                  <a:pt x="605" y="778"/>
                  <a:pt x="605" y="778"/>
                </a:cubicBezTo>
                <a:cubicBezTo>
                  <a:pt x="603" y="775"/>
                  <a:pt x="603" y="775"/>
                  <a:pt x="603" y="775"/>
                </a:cubicBezTo>
                <a:cubicBezTo>
                  <a:pt x="601" y="777"/>
                  <a:pt x="601" y="777"/>
                  <a:pt x="601" y="777"/>
                </a:cubicBezTo>
                <a:cubicBezTo>
                  <a:pt x="601" y="777"/>
                  <a:pt x="598" y="778"/>
                  <a:pt x="597" y="776"/>
                </a:cubicBezTo>
                <a:cubicBezTo>
                  <a:pt x="596" y="774"/>
                  <a:pt x="598" y="772"/>
                  <a:pt x="596" y="771"/>
                </a:cubicBezTo>
                <a:cubicBezTo>
                  <a:pt x="596" y="770"/>
                  <a:pt x="595" y="770"/>
                  <a:pt x="595" y="770"/>
                </a:cubicBezTo>
                <a:cubicBezTo>
                  <a:pt x="593" y="769"/>
                  <a:pt x="591" y="767"/>
                  <a:pt x="590" y="765"/>
                </a:cubicBezTo>
                <a:cubicBezTo>
                  <a:pt x="589" y="763"/>
                  <a:pt x="587" y="760"/>
                  <a:pt x="587" y="760"/>
                </a:cubicBezTo>
                <a:cubicBezTo>
                  <a:pt x="586" y="757"/>
                  <a:pt x="586" y="757"/>
                  <a:pt x="586" y="757"/>
                </a:cubicBezTo>
                <a:cubicBezTo>
                  <a:pt x="586" y="757"/>
                  <a:pt x="586" y="757"/>
                  <a:pt x="586" y="756"/>
                </a:cubicBezTo>
                <a:cubicBezTo>
                  <a:pt x="586" y="756"/>
                  <a:pt x="586" y="756"/>
                  <a:pt x="586" y="756"/>
                </a:cubicBezTo>
                <a:cubicBezTo>
                  <a:pt x="586" y="756"/>
                  <a:pt x="584" y="753"/>
                  <a:pt x="584" y="750"/>
                </a:cubicBezTo>
                <a:cubicBezTo>
                  <a:pt x="584" y="747"/>
                  <a:pt x="586" y="748"/>
                  <a:pt x="586" y="746"/>
                </a:cubicBezTo>
                <a:cubicBezTo>
                  <a:pt x="586" y="744"/>
                  <a:pt x="585" y="742"/>
                  <a:pt x="585" y="742"/>
                </a:cubicBezTo>
                <a:cubicBezTo>
                  <a:pt x="586" y="735"/>
                  <a:pt x="586" y="735"/>
                  <a:pt x="586" y="735"/>
                </a:cubicBezTo>
                <a:cubicBezTo>
                  <a:pt x="588" y="738"/>
                  <a:pt x="588" y="738"/>
                  <a:pt x="588" y="738"/>
                </a:cubicBezTo>
                <a:cubicBezTo>
                  <a:pt x="589" y="726"/>
                  <a:pt x="589" y="726"/>
                  <a:pt x="589" y="726"/>
                </a:cubicBezTo>
                <a:cubicBezTo>
                  <a:pt x="589" y="726"/>
                  <a:pt x="590" y="721"/>
                  <a:pt x="592" y="719"/>
                </a:cubicBezTo>
                <a:cubicBezTo>
                  <a:pt x="594" y="718"/>
                  <a:pt x="594" y="714"/>
                  <a:pt x="594" y="713"/>
                </a:cubicBezTo>
                <a:cubicBezTo>
                  <a:pt x="593" y="712"/>
                  <a:pt x="592" y="711"/>
                  <a:pt x="592" y="710"/>
                </a:cubicBezTo>
                <a:cubicBezTo>
                  <a:pt x="592" y="710"/>
                  <a:pt x="595" y="710"/>
                  <a:pt x="595" y="708"/>
                </a:cubicBezTo>
                <a:cubicBezTo>
                  <a:pt x="594" y="707"/>
                  <a:pt x="593" y="705"/>
                  <a:pt x="593" y="705"/>
                </a:cubicBezTo>
                <a:cubicBezTo>
                  <a:pt x="589" y="704"/>
                  <a:pt x="589" y="704"/>
                  <a:pt x="589" y="704"/>
                </a:cubicBezTo>
                <a:cubicBezTo>
                  <a:pt x="589" y="704"/>
                  <a:pt x="587" y="703"/>
                  <a:pt x="585" y="701"/>
                </a:cubicBezTo>
                <a:cubicBezTo>
                  <a:pt x="583" y="699"/>
                  <a:pt x="581" y="700"/>
                  <a:pt x="581" y="700"/>
                </a:cubicBezTo>
                <a:cubicBezTo>
                  <a:pt x="581" y="700"/>
                  <a:pt x="581" y="697"/>
                  <a:pt x="578" y="697"/>
                </a:cubicBezTo>
                <a:cubicBezTo>
                  <a:pt x="576" y="697"/>
                  <a:pt x="573" y="699"/>
                  <a:pt x="573" y="699"/>
                </a:cubicBezTo>
                <a:cubicBezTo>
                  <a:pt x="573" y="699"/>
                  <a:pt x="571" y="697"/>
                  <a:pt x="569" y="697"/>
                </a:cubicBezTo>
                <a:cubicBezTo>
                  <a:pt x="568" y="697"/>
                  <a:pt x="564" y="701"/>
                  <a:pt x="564" y="701"/>
                </a:cubicBezTo>
                <a:cubicBezTo>
                  <a:pt x="559" y="700"/>
                  <a:pt x="559" y="700"/>
                  <a:pt x="559" y="700"/>
                </a:cubicBezTo>
                <a:cubicBezTo>
                  <a:pt x="559" y="700"/>
                  <a:pt x="557" y="699"/>
                  <a:pt x="556" y="699"/>
                </a:cubicBezTo>
                <a:cubicBezTo>
                  <a:pt x="555" y="699"/>
                  <a:pt x="552" y="700"/>
                  <a:pt x="552" y="700"/>
                </a:cubicBezTo>
                <a:cubicBezTo>
                  <a:pt x="552" y="700"/>
                  <a:pt x="551" y="697"/>
                  <a:pt x="550" y="697"/>
                </a:cubicBezTo>
                <a:cubicBezTo>
                  <a:pt x="550" y="697"/>
                  <a:pt x="546" y="700"/>
                  <a:pt x="546" y="700"/>
                </a:cubicBezTo>
                <a:cubicBezTo>
                  <a:pt x="544" y="698"/>
                  <a:pt x="544" y="698"/>
                  <a:pt x="544" y="698"/>
                </a:cubicBezTo>
                <a:cubicBezTo>
                  <a:pt x="541" y="700"/>
                  <a:pt x="541" y="700"/>
                  <a:pt x="541" y="700"/>
                </a:cubicBezTo>
                <a:cubicBezTo>
                  <a:pt x="540" y="699"/>
                  <a:pt x="540" y="699"/>
                  <a:pt x="540" y="699"/>
                </a:cubicBezTo>
                <a:cubicBezTo>
                  <a:pt x="542" y="693"/>
                  <a:pt x="542" y="693"/>
                  <a:pt x="542" y="693"/>
                </a:cubicBezTo>
                <a:cubicBezTo>
                  <a:pt x="544" y="694"/>
                  <a:pt x="544" y="694"/>
                  <a:pt x="544" y="694"/>
                </a:cubicBezTo>
                <a:cubicBezTo>
                  <a:pt x="544" y="694"/>
                  <a:pt x="547" y="691"/>
                  <a:pt x="547" y="689"/>
                </a:cubicBezTo>
                <a:cubicBezTo>
                  <a:pt x="547" y="686"/>
                  <a:pt x="546" y="684"/>
                  <a:pt x="547" y="682"/>
                </a:cubicBezTo>
                <a:cubicBezTo>
                  <a:pt x="548" y="680"/>
                  <a:pt x="551" y="675"/>
                  <a:pt x="551" y="674"/>
                </a:cubicBezTo>
                <a:cubicBezTo>
                  <a:pt x="551" y="673"/>
                  <a:pt x="547" y="672"/>
                  <a:pt x="547" y="672"/>
                </a:cubicBezTo>
                <a:cubicBezTo>
                  <a:pt x="549" y="669"/>
                  <a:pt x="549" y="669"/>
                  <a:pt x="549" y="669"/>
                </a:cubicBezTo>
                <a:cubicBezTo>
                  <a:pt x="552" y="666"/>
                  <a:pt x="552" y="666"/>
                  <a:pt x="552" y="666"/>
                </a:cubicBezTo>
                <a:cubicBezTo>
                  <a:pt x="552" y="666"/>
                  <a:pt x="551" y="670"/>
                  <a:pt x="552" y="671"/>
                </a:cubicBezTo>
                <a:cubicBezTo>
                  <a:pt x="553" y="671"/>
                  <a:pt x="554" y="671"/>
                  <a:pt x="554" y="671"/>
                </a:cubicBezTo>
                <a:cubicBezTo>
                  <a:pt x="557" y="662"/>
                  <a:pt x="557" y="662"/>
                  <a:pt x="557" y="662"/>
                </a:cubicBezTo>
                <a:cubicBezTo>
                  <a:pt x="556" y="660"/>
                  <a:pt x="556" y="660"/>
                  <a:pt x="556" y="660"/>
                </a:cubicBezTo>
                <a:cubicBezTo>
                  <a:pt x="559" y="659"/>
                  <a:pt x="559" y="659"/>
                  <a:pt x="559" y="659"/>
                </a:cubicBezTo>
                <a:cubicBezTo>
                  <a:pt x="559" y="658"/>
                  <a:pt x="559" y="658"/>
                  <a:pt x="559" y="658"/>
                </a:cubicBezTo>
                <a:cubicBezTo>
                  <a:pt x="557" y="657"/>
                  <a:pt x="557" y="657"/>
                  <a:pt x="557" y="657"/>
                </a:cubicBezTo>
                <a:cubicBezTo>
                  <a:pt x="559" y="654"/>
                  <a:pt x="559" y="654"/>
                  <a:pt x="559" y="654"/>
                </a:cubicBezTo>
                <a:cubicBezTo>
                  <a:pt x="560" y="651"/>
                  <a:pt x="560" y="651"/>
                  <a:pt x="560" y="651"/>
                </a:cubicBezTo>
                <a:cubicBezTo>
                  <a:pt x="560" y="651"/>
                  <a:pt x="566" y="644"/>
                  <a:pt x="567" y="642"/>
                </a:cubicBezTo>
                <a:cubicBezTo>
                  <a:pt x="568" y="641"/>
                  <a:pt x="570" y="636"/>
                  <a:pt x="567" y="635"/>
                </a:cubicBezTo>
                <a:cubicBezTo>
                  <a:pt x="565" y="635"/>
                  <a:pt x="560" y="636"/>
                  <a:pt x="560" y="636"/>
                </a:cubicBezTo>
                <a:cubicBezTo>
                  <a:pt x="560" y="636"/>
                  <a:pt x="555" y="635"/>
                  <a:pt x="554" y="635"/>
                </a:cubicBezTo>
                <a:cubicBezTo>
                  <a:pt x="553" y="635"/>
                  <a:pt x="547" y="636"/>
                  <a:pt x="544" y="637"/>
                </a:cubicBezTo>
                <a:cubicBezTo>
                  <a:pt x="541" y="638"/>
                  <a:pt x="536" y="637"/>
                  <a:pt x="534" y="638"/>
                </a:cubicBezTo>
                <a:cubicBezTo>
                  <a:pt x="533" y="640"/>
                  <a:pt x="531" y="644"/>
                  <a:pt x="531" y="647"/>
                </a:cubicBezTo>
                <a:cubicBezTo>
                  <a:pt x="530" y="651"/>
                  <a:pt x="530" y="654"/>
                  <a:pt x="530" y="654"/>
                </a:cubicBezTo>
                <a:cubicBezTo>
                  <a:pt x="528" y="655"/>
                  <a:pt x="528" y="655"/>
                  <a:pt x="528" y="655"/>
                </a:cubicBezTo>
                <a:cubicBezTo>
                  <a:pt x="528" y="655"/>
                  <a:pt x="528" y="659"/>
                  <a:pt x="527" y="660"/>
                </a:cubicBezTo>
                <a:cubicBezTo>
                  <a:pt x="526" y="661"/>
                  <a:pt x="521" y="663"/>
                  <a:pt x="520" y="664"/>
                </a:cubicBezTo>
                <a:cubicBezTo>
                  <a:pt x="519" y="666"/>
                  <a:pt x="520" y="670"/>
                  <a:pt x="517" y="671"/>
                </a:cubicBezTo>
                <a:cubicBezTo>
                  <a:pt x="514" y="671"/>
                  <a:pt x="516" y="667"/>
                  <a:pt x="513" y="667"/>
                </a:cubicBezTo>
                <a:cubicBezTo>
                  <a:pt x="509" y="667"/>
                  <a:pt x="504" y="669"/>
                  <a:pt x="500" y="669"/>
                </a:cubicBezTo>
                <a:cubicBezTo>
                  <a:pt x="495" y="669"/>
                  <a:pt x="490" y="674"/>
                  <a:pt x="488" y="673"/>
                </a:cubicBezTo>
                <a:cubicBezTo>
                  <a:pt x="486" y="673"/>
                  <a:pt x="486" y="668"/>
                  <a:pt x="484" y="668"/>
                </a:cubicBezTo>
                <a:cubicBezTo>
                  <a:pt x="481" y="667"/>
                  <a:pt x="476" y="667"/>
                  <a:pt x="476" y="667"/>
                </a:cubicBezTo>
                <a:cubicBezTo>
                  <a:pt x="476" y="667"/>
                  <a:pt x="475" y="663"/>
                  <a:pt x="474" y="662"/>
                </a:cubicBezTo>
                <a:cubicBezTo>
                  <a:pt x="473" y="660"/>
                  <a:pt x="471" y="658"/>
                  <a:pt x="471" y="658"/>
                </a:cubicBezTo>
                <a:cubicBezTo>
                  <a:pt x="471" y="654"/>
                  <a:pt x="471" y="654"/>
                  <a:pt x="471" y="654"/>
                </a:cubicBezTo>
                <a:cubicBezTo>
                  <a:pt x="466" y="645"/>
                  <a:pt x="466" y="645"/>
                  <a:pt x="466" y="645"/>
                </a:cubicBezTo>
                <a:cubicBezTo>
                  <a:pt x="466" y="639"/>
                  <a:pt x="466" y="639"/>
                  <a:pt x="466" y="639"/>
                </a:cubicBezTo>
                <a:cubicBezTo>
                  <a:pt x="463" y="635"/>
                  <a:pt x="463" y="635"/>
                  <a:pt x="463" y="635"/>
                </a:cubicBezTo>
                <a:cubicBezTo>
                  <a:pt x="463" y="623"/>
                  <a:pt x="463" y="623"/>
                  <a:pt x="463" y="623"/>
                </a:cubicBezTo>
                <a:cubicBezTo>
                  <a:pt x="463" y="623"/>
                  <a:pt x="466" y="619"/>
                  <a:pt x="466" y="616"/>
                </a:cubicBezTo>
                <a:cubicBezTo>
                  <a:pt x="466" y="614"/>
                  <a:pt x="467" y="608"/>
                  <a:pt x="467" y="608"/>
                </a:cubicBezTo>
                <a:cubicBezTo>
                  <a:pt x="466" y="602"/>
                  <a:pt x="466" y="602"/>
                  <a:pt x="466" y="602"/>
                </a:cubicBezTo>
                <a:cubicBezTo>
                  <a:pt x="469" y="601"/>
                  <a:pt x="469" y="601"/>
                  <a:pt x="469" y="601"/>
                </a:cubicBezTo>
                <a:cubicBezTo>
                  <a:pt x="469" y="601"/>
                  <a:pt x="469" y="593"/>
                  <a:pt x="471" y="592"/>
                </a:cubicBezTo>
                <a:cubicBezTo>
                  <a:pt x="473" y="592"/>
                  <a:pt x="474" y="594"/>
                  <a:pt x="475" y="592"/>
                </a:cubicBezTo>
                <a:cubicBezTo>
                  <a:pt x="475" y="590"/>
                  <a:pt x="477" y="586"/>
                  <a:pt x="477" y="586"/>
                </a:cubicBezTo>
                <a:cubicBezTo>
                  <a:pt x="475" y="576"/>
                  <a:pt x="475" y="576"/>
                  <a:pt x="475" y="576"/>
                </a:cubicBezTo>
                <a:cubicBezTo>
                  <a:pt x="478" y="574"/>
                  <a:pt x="478" y="574"/>
                  <a:pt x="478" y="574"/>
                </a:cubicBezTo>
                <a:cubicBezTo>
                  <a:pt x="475" y="572"/>
                  <a:pt x="475" y="572"/>
                  <a:pt x="475" y="572"/>
                </a:cubicBezTo>
                <a:cubicBezTo>
                  <a:pt x="475" y="569"/>
                  <a:pt x="475" y="569"/>
                  <a:pt x="475" y="569"/>
                </a:cubicBezTo>
                <a:cubicBezTo>
                  <a:pt x="475" y="569"/>
                  <a:pt x="479" y="572"/>
                  <a:pt x="480" y="569"/>
                </a:cubicBezTo>
                <a:cubicBezTo>
                  <a:pt x="480" y="567"/>
                  <a:pt x="480" y="565"/>
                  <a:pt x="480" y="565"/>
                </a:cubicBezTo>
                <a:cubicBezTo>
                  <a:pt x="483" y="564"/>
                  <a:pt x="483" y="564"/>
                  <a:pt x="483" y="564"/>
                </a:cubicBezTo>
                <a:cubicBezTo>
                  <a:pt x="484" y="560"/>
                  <a:pt x="484" y="560"/>
                  <a:pt x="484" y="560"/>
                </a:cubicBezTo>
                <a:cubicBezTo>
                  <a:pt x="486" y="561"/>
                  <a:pt x="486" y="561"/>
                  <a:pt x="486" y="561"/>
                </a:cubicBezTo>
                <a:cubicBezTo>
                  <a:pt x="489" y="560"/>
                  <a:pt x="489" y="560"/>
                  <a:pt x="489" y="560"/>
                </a:cubicBezTo>
                <a:cubicBezTo>
                  <a:pt x="488" y="557"/>
                  <a:pt x="488" y="557"/>
                  <a:pt x="488" y="557"/>
                </a:cubicBezTo>
                <a:cubicBezTo>
                  <a:pt x="490" y="558"/>
                  <a:pt x="490" y="558"/>
                  <a:pt x="490" y="558"/>
                </a:cubicBezTo>
                <a:cubicBezTo>
                  <a:pt x="490" y="558"/>
                  <a:pt x="491" y="554"/>
                  <a:pt x="492" y="554"/>
                </a:cubicBezTo>
                <a:cubicBezTo>
                  <a:pt x="493" y="555"/>
                  <a:pt x="493" y="558"/>
                  <a:pt x="495" y="557"/>
                </a:cubicBezTo>
                <a:cubicBezTo>
                  <a:pt x="496" y="556"/>
                  <a:pt x="502" y="555"/>
                  <a:pt x="503" y="553"/>
                </a:cubicBezTo>
                <a:cubicBezTo>
                  <a:pt x="505" y="551"/>
                  <a:pt x="508" y="547"/>
                  <a:pt x="508" y="547"/>
                </a:cubicBezTo>
                <a:cubicBezTo>
                  <a:pt x="508" y="547"/>
                  <a:pt x="506" y="542"/>
                  <a:pt x="508" y="542"/>
                </a:cubicBezTo>
                <a:cubicBezTo>
                  <a:pt x="510" y="542"/>
                  <a:pt x="513" y="547"/>
                  <a:pt x="515" y="546"/>
                </a:cubicBezTo>
                <a:cubicBezTo>
                  <a:pt x="518" y="544"/>
                  <a:pt x="519" y="538"/>
                  <a:pt x="520" y="540"/>
                </a:cubicBezTo>
                <a:cubicBezTo>
                  <a:pt x="521" y="541"/>
                  <a:pt x="522" y="542"/>
                  <a:pt x="523" y="542"/>
                </a:cubicBezTo>
                <a:cubicBezTo>
                  <a:pt x="524" y="542"/>
                  <a:pt x="526" y="539"/>
                  <a:pt x="526" y="539"/>
                </a:cubicBezTo>
                <a:cubicBezTo>
                  <a:pt x="526" y="539"/>
                  <a:pt x="530" y="546"/>
                  <a:pt x="533" y="545"/>
                </a:cubicBezTo>
                <a:cubicBezTo>
                  <a:pt x="536" y="545"/>
                  <a:pt x="536" y="538"/>
                  <a:pt x="540" y="542"/>
                </a:cubicBezTo>
                <a:cubicBezTo>
                  <a:pt x="543" y="545"/>
                  <a:pt x="541" y="549"/>
                  <a:pt x="544" y="549"/>
                </a:cubicBezTo>
                <a:cubicBezTo>
                  <a:pt x="546" y="549"/>
                  <a:pt x="549" y="550"/>
                  <a:pt x="549" y="550"/>
                </a:cubicBezTo>
                <a:cubicBezTo>
                  <a:pt x="549" y="550"/>
                  <a:pt x="549" y="547"/>
                  <a:pt x="550" y="548"/>
                </a:cubicBezTo>
                <a:cubicBezTo>
                  <a:pt x="552" y="549"/>
                  <a:pt x="553" y="553"/>
                  <a:pt x="554" y="550"/>
                </a:cubicBezTo>
                <a:cubicBezTo>
                  <a:pt x="555" y="548"/>
                  <a:pt x="554" y="545"/>
                  <a:pt x="554" y="545"/>
                </a:cubicBezTo>
                <a:cubicBezTo>
                  <a:pt x="557" y="546"/>
                  <a:pt x="557" y="546"/>
                  <a:pt x="557" y="546"/>
                </a:cubicBezTo>
                <a:cubicBezTo>
                  <a:pt x="558" y="548"/>
                  <a:pt x="558" y="548"/>
                  <a:pt x="558" y="548"/>
                </a:cubicBezTo>
                <a:cubicBezTo>
                  <a:pt x="560" y="549"/>
                  <a:pt x="560" y="549"/>
                  <a:pt x="560" y="549"/>
                </a:cubicBezTo>
                <a:cubicBezTo>
                  <a:pt x="560" y="551"/>
                  <a:pt x="560" y="551"/>
                  <a:pt x="560" y="551"/>
                </a:cubicBezTo>
                <a:cubicBezTo>
                  <a:pt x="560" y="551"/>
                  <a:pt x="565" y="552"/>
                  <a:pt x="564" y="550"/>
                </a:cubicBezTo>
                <a:cubicBezTo>
                  <a:pt x="563" y="547"/>
                  <a:pt x="560" y="546"/>
                  <a:pt x="560" y="546"/>
                </a:cubicBezTo>
                <a:cubicBezTo>
                  <a:pt x="559" y="544"/>
                  <a:pt x="559" y="544"/>
                  <a:pt x="559" y="544"/>
                </a:cubicBezTo>
                <a:cubicBezTo>
                  <a:pt x="559" y="544"/>
                  <a:pt x="563" y="543"/>
                  <a:pt x="563" y="542"/>
                </a:cubicBezTo>
                <a:cubicBezTo>
                  <a:pt x="562" y="540"/>
                  <a:pt x="562" y="540"/>
                  <a:pt x="560" y="540"/>
                </a:cubicBezTo>
                <a:cubicBezTo>
                  <a:pt x="558" y="540"/>
                  <a:pt x="552" y="541"/>
                  <a:pt x="554" y="538"/>
                </a:cubicBezTo>
                <a:cubicBezTo>
                  <a:pt x="556" y="535"/>
                  <a:pt x="558" y="537"/>
                  <a:pt x="560" y="538"/>
                </a:cubicBezTo>
                <a:cubicBezTo>
                  <a:pt x="563" y="538"/>
                  <a:pt x="564" y="538"/>
                  <a:pt x="566" y="536"/>
                </a:cubicBezTo>
                <a:cubicBezTo>
                  <a:pt x="568" y="535"/>
                  <a:pt x="571" y="535"/>
                  <a:pt x="571" y="535"/>
                </a:cubicBezTo>
                <a:cubicBezTo>
                  <a:pt x="571" y="536"/>
                  <a:pt x="571" y="536"/>
                  <a:pt x="571" y="536"/>
                </a:cubicBezTo>
                <a:cubicBezTo>
                  <a:pt x="571" y="536"/>
                  <a:pt x="577" y="536"/>
                  <a:pt x="577" y="534"/>
                </a:cubicBezTo>
                <a:cubicBezTo>
                  <a:pt x="577" y="533"/>
                  <a:pt x="578" y="530"/>
                  <a:pt x="579" y="531"/>
                </a:cubicBezTo>
                <a:cubicBezTo>
                  <a:pt x="580" y="532"/>
                  <a:pt x="580" y="536"/>
                  <a:pt x="580" y="536"/>
                </a:cubicBezTo>
                <a:cubicBezTo>
                  <a:pt x="580" y="536"/>
                  <a:pt x="587" y="534"/>
                  <a:pt x="589" y="534"/>
                </a:cubicBezTo>
                <a:cubicBezTo>
                  <a:pt x="590" y="534"/>
                  <a:pt x="592" y="536"/>
                  <a:pt x="592" y="536"/>
                </a:cubicBezTo>
                <a:cubicBezTo>
                  <a:pt x="592" y="536"/>
                  <a:pt x="591" y="533"/>
                  <a:pt x="593" y="534"/>
                </a:cubicBezTo>
                <a:cubicBezTo>
                  <a:pt x="595" y="535"/>
                  <a:pt x="595" y="538"/>
                  <a:pt x="595" y="538"/>
                </a:cubicBezTo>
                <a:cubicBezTo>
                  <a:pt x="600" y="537"/>
                  <a:pt x="600" y="537"/>
                  <a:pt x="600" y="537"/>
                </a:cubicBezTo>
                <a:cubicBezTo>
                  <a:pt x="599" y="538"/>
                  <a:pt x="599" y="538"/>
                  <a:pt x="599" y="538"/>
                </a:cubicBezTo>
                <a:cubicBezTo>
                  <a:pt x="599" y="538"/>
                  <a:pt x="599" y="545"/>
                  <a:pt x="603" y="544"/>
                </a:cubicBezTo>
                <a:cubicBezTo>
                  <a:pt x="607" y="543"/>
                  <a:pt x="609" y="538"/>
                  <a:pt x="613" y="539"/>
                </a:cubicBezTo>
                <a:cubicBezTo>
                  <a:pt x="617" y="540"/>
                  <a:pt x="617" y="547"/>
                  <a:pt x="619" y="548"/>
                </a:cubicBezTo>
                <a:cubicBezTo>
                  <a:pt x="621" y="549"/>
                  <a:pt x="625" y="549"/>
                  <a:pt x="625" y="549"/>
                </a:cubicBezTo>
                <a:cubicBezTo>
                  <a:pt x="624" y="555"/>
                  <a:pt x="624" y="555"/>
                  <a:pt x="624" y="555"/>
                </a:cubicBezTo>
                <a:cubicBezTo>
                  <a:pt x="624" y="555"/>
                  <a:pt x="620" y="560"/>
                  <a:pt x="620" y="562"/>
                </a:cubicBezTo>
                <a:cubicBezTo>
                  <a:pt x="621" y="564"/>
                  <a:pt x="623" y="564"/>
                  <a:pt x="623" y="564"/>
                </a:cubicBezTo>
                <a:cubicBezTo>
                  <a:pt x="624" y="566"/>
                  <a:pt x="624" y="566"/>
                  <a:pt x="624" y="566"/>
                </a:cubicBezTo>
                <a:cubicBezTo>
                  <a:pt x="620" y="569"/>
                  <a:pt x="620" y="569"/>
                  <a:pt x="620" y="569"/>
                </a:cubicBezTo>
                <a:cubicBezTo>
                  <a:pt x="623" y="576"/>
                  <a:pt x="623" y="576"/>
                  <a:pt x="623" y="576"/>
                </a:cubicBezTo>
                <a:cubicBezTo>
                  <a:pt x="623" y="576"/>
                  <a:pt x="626" y="572"/>
                  <a:pt x="626" y="573"/>
                </a:cubicBezTo>
                <a:cubicBezTo>
                  <a:pt x="626" y="574"/>
                  <a:pt x="624" y="579"/>
                  <a:pt x="624" y="579"/>
                </a:cubicBezTo>
                <a:cubicBezTo>
                  <a:pt x="626" y="579"/>
                  <a:pt x="626" y="579"/>
                  <a:pt x="626" y="579"/>
                </a:cubicBezTo>
                <a:cubicBezTo>
                  <a:pt x="626" y="586"/>
                  <a:pt x="626" y="586"/>
                  <a:pt x="626" y="586"/>
                </a:cubicBezTo>
                <a:cubicBezTo>
                  <a:pt x="626" y="586"/>
                  <a:pt x="630" y="586"/>
                  <a:pt x="630" y="587"/>
                </a:cubicBezTo>
                <a:cubicBezTo>
                  <a:pt x="630" y="588"/>
                  <a:pt x="629" y="591"/>
                  <a:pt x="629" y="591"/>
                </a:cubicBezTo>
                <a:cubicBezTo>
                  <a:pt x="632" y="595"/>
                  <a:pt x="632" y="595"/>
                  <a:pt x="632" y="595"/>
                </a:cubicBezTo>
                <a:cubicBezTo>
                  <a:pt x="632" y="595"/>
                  <a:pt x="637" y="594"/>
                  <a:pt x="638" y="592"/>
                </a:cubicBezTo>
                <a:cubicBezTo>
                  <a:pt x="638" y="591"/>
                  <a:pt x="639" y="588"/>
                  <a:pt x="639" y="588"/>
                </a:cubicBezTo>
                <a:cubicBezTo>
                  <a:pt x="641" y="588"/>
                  <a:pt x="641" y="588"/>
                  <a:pt x="641" y="588"/>
                </a:cubicBezTo>
                <a:cubicBezTo>
                  <a:pt x="641" y="588"/>
                  <a:pt x="641" y="584"/>
                  <a:pt x="643" y="582"/>
                </a:cubicBezTo>
                <a:cubicBezTo>
                  <a:pt x="644" y="579"/>
                  <a:pt x="645" y="576"/>
                  <a:pt x="644" y="574"/>
                </a:cubicBezTo>
                <a:cubicBezTo>
                  <a:pt x="644" y="572"/>
                  <a:pt x="641" y="565"/>
                  <a:pt x="641" y="563"/>
                </a:cubicBezTo>
                <a:cubicBezTo>
                  <a:pt x="641" y="561"/>
                  <a:pt x="643" y="558"/>
                  <a:pt x="643" y="555"/>
                </a:cubicBezTo>
                <a:cubicBezTo>
                  <a:pt x="643" y="551"/>
                  <a:pt x="639" y="546"/>
                  <a:pt x="639" y="543"/>
                </a:cubicBezTo>
                <a:cubicBezTo>
                  <a:pt x="640" y="540"/>
                  <a:pt x="639" y="532"/>
                  <a:pt x="641" y="529"/>
                </a:cubicBezTo>
                <a:cubicBezTo>
                  <a:pt x="644" y="526"/>
                  <a:pt x="645" y="520"/>
                  <a:pt x="645" y="520"/>
                </a:cubicBezTo>
                <a:cubicBezTo>
                  <a:pt x="647" y="519"/>
                  <a:pt x="647" y="519"/>
                  <a:pt x="647" y="519"/>
                </a:cubicBezTo>
                <a:cubicBezTo>
                  <a:pt x="650" y="517"/>
                  <a:pt x="650" y="517"/>
                  <a:pt x="650" y="517"/>
                </a:cubicBezTo>
                <a:cubicBezTo>
                  <a:pt x="651" y="513"/>
                  <a:pt x="651" y="513"/>
                  <a:pt x="651" y="513"/>
                </a:cubicBezTo>
                <a:cubicBezTo>
                  <a:pt x="653" y="514"/>
                  <a:pt x="653" y="514"/>
                  <a:pt x="653" y="514"/>
                </a:cubicBezTo>
                <a:cubicBezTo>
                  <a:pt x="654" y="511"/>
                  <a:pt x="654" y="511"/>
                  <a:pt x="654" y="511"/>
                </a:cubicBezTo>
                <a:cubicBezTo>
                  <a:pt x="654" y="511"/>
                  <a:pt x="660" y="512"/>
                  <a:pt x="661" y="511"/>
                </a:cubicBezTo>
                <a:cubicBezTo>
                  <a:pt x="662" y="510"/>
                  <a:pt x="661" y="508"/>
                  <a:pt x="661" y="508"/>
                </a:cubicBezTo>
                <a:cubicBezTo>
                  <a:pt x="664" y="508"/>
                  <a:pt x="664" y="508"/>
                  <a:pt x="664" y="508"/>
                </a:cubicBezTo>
                <a:cubicBezTo>
                  <a:pt x="665" y="506"/>
                  <a:pt x="665" y="506"/>
                  <a:pt x="665" y="506"/>
                </a:cubicBezTo>
                <a:cubicBezTo>
                  <a:pt x="667" y="506"/>
                  <a:pt x="667" y="506"/>
                  <a:pt x="667" y="506"/>
                </a:cubicBezTo>
                <a:cubicBezTo>
                  <a:pt x="671" y="502"/>
                  <a:pt x="671" y="502"/>
                  <a:pt x="671" y="502"/>
                </a:cubicBezTo>
                <a:cubicBezTo>
                  <a:pt x="671" y="502"/>
                  <a:pt x="672" y="498"/>
                  <a:pt x="676" y="497"/>
                </a:cubicBezTo>
                <a:cubicBezTo>
                  <a:pt x="680" y="496"/>
                  <a:pt x="682" y="498"/>
                  <a:pt x="684" y="496"/>
                </a:cubicBezTo>
                <a:cubicBezTo>
                  <a:pt x="686" y="494"/>
                  <a:pt x="687" y="491"/>
                  <a:pt x="687" y="491"/>
                </a:cubicBezTo>
                <a:cubicBezTo>
                  <a:pt x="689" y="491"/>
                  <a:pt x="689" y="491"/>
                  <a:pt x="689" y="491"/>
                </a:cubicBezTo>
                <a:cubicBezTo>
                  <a:pt x="690" y="488"/>
                  <a:pt x="690" y="488"/>
                  <a:pt x="690" y="488"/>
                </a:cubicBezTo>
                <a:cubicBezTo>
                  <a:pt x="701" y="487"/>
                  <a:pt x="701" y="487"/>
                  <a:pt x="701" y="487"/>
                </a:cubicBezTo>
                <a:cubicBezTo>
                  <a:pt x="702" y="484"/>
                  <a:pt x="702" y="484"/>
                  <a:pt x="702" y="484"/>
                </a:cubicBezTo>
                <a:cubicBezTo>
                  <a:pt x="697" y="484"/>
                  <a:pt x="697" y="484"/>
                  <a:pt x="697" y="484"/>
                </a:cubicBezTo>
                <a:cubicBezTo>
                  <a:pt x="697" y="484"/>
                  <a:pt x="700" y="483"/>
                  <a:pt x="699" y="482"/>
                </a:cubicBezTo>
                <a:cubicBezTo>
                  <a:pt x="699" y="480"/>
                  <a:pt x="697" y="479"/>
                  <a:pt x="697" y="479"/>
                </a:cubicBezTo>
                <a:cubicBezTo>
                  <a:pt x="702" y="478"/>
                  <a:pt x="702" y="478"/>
                  <a:pt x="702" y="478"/>
                </a:cubicBezTo>
                <a:cubicBezTo>
                  <a:pt x="705" y="479"/>
                  <a:pt x="705" y="479"/>
                  <a:pt x="705" y="479"/>
                </a:cubicBezTo>
                <a:cubicBezTo>
                  <a:pt x="710" y="474"/>
                  <a:pt x="710" y="474"/>
                  <a:pt x="710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0"/>
                  <a:pt x="702" y="470"/>
                  <a:pt x="702" y="470"/>
                </a:cubicBezTo>
                <a:cubicBezTo>
                  <a:pt x="704" y="472"/>
                  <a:pt x="704" y="472"/>
                  <a:pt x="704" y="472"/>
                </a:cubicBezTo>
                <a:cubicBezTo>
                  <a:pt x="710" y="470"/>
                  <a:pt x="710" y="470"/>
                  <a:pt x="710" y="470"/>
                </a:cubicBezTo>
                <a:cubicBezTo>
                  <a:pt x="711" y="462"/>
                  <a:pt x="711" y="462"/>
                  <a:pt x="711" y="462"/>
                </a:cubicBezTo>
                <a:cubicBezTo>
                  <a:pt x="707" y="464"/>
                  <a:pt x="707" y="464"/>
                  <a:pt x="707" y="464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3" y="457"/>
                  <a:pt x="703" y="457"/>
                  <a:pt x="703" y="457"/>
                </a:cubicBezTo>
                <a:cubicBezTo>
                  <a:pt x="709" y="461"/>
                  <a:pt x="709" y="461"/>
                  <a:pt x="709" y="461"/>
                </a:cubicBezTo>
                <a:cubicBezTo>
                  <a:pt x="710" y="459"/>
                  <a:pt x="710" y="459"/>
                  <a:pt x="710" y="459"/>
                </a:cubicBezTo>
                <a:cubicBezTo>
                  <a:pt x="707" y="457"/>
                  <a:pt x="707" y="457"/>
                  <a:pt x="707" y="457"/>
                </a:cubicBezTo>
                <a:cubicBezTo>
                  <a:pt x="711" y="457"/>
                  <a:pt x="711" y="457"/>
                  <a:pt x="711" y="457"/>
                </a:cubicBezTo>
                <a:cubicBezTo>
                  <a:pt x="711" y="457"/>
                  <a:pt x="707" y="451"/>
                  <a:pt x="707" y="450"/>
                </a:cubicBezTo>
                <a:cubicBezTo>
                  <a:pt x="707" y="448"/>
                  <a:pt x="708" y="448"/>
                  <a:pt x="708" y="448"/>
                </a:cubicBezTo>
                <a:cubicBezTo>
                  <a:pt x="708" y="448"/>
                  <a:pt x="704" y="445"/>
                  <a:pt x="704" y="445"/>
                </a:cubicBezTo>
                <a:cubicBezTo>
                  <a:pt x="705" y="444"/>
                  <a:pt x="709" y="442"/>
                  <a:pt x="709" y="442"/>
                </a:cubicBezTo>
                <a:cubicBezTo>
                  <a:pt x="708" y="445"/>
                  <a:pt x="708" y="445"/>
                  <a:pt x="708" y="445"/>
                </a:cubicBezTo>
                <a:cubicBezTo>
                  <a:pt x="712" y="449"/>
                  <a:pt x="712" y="449"/>
                  <a:pt x="712" y="449"/>
                </a:cubicBezTo>
                <a:cubicBezTo>
                  <a:pt x="712" y="449"/>
                  <a:pt x="714" y="444"/>
                  <a:pt x="714" y="441"/>
                </a:cubicBezTo>
                <a:cubicBezTo>
                  <a:pt x="714" y="438"/>
                  <a:pt x="722" y="432"/>
                  <a:pt x="722" y="434"/>
                </a:cubicBezTo>
                <a:cubicBezTo>
                  <a:pt x="721" y="435"/>
                  <a:pt x="717" y="442"/>
                  <a:pt x="717" y="442"/>
                </a:cubicBezTo>
                <a:cubicBezTo>
                  <a:pt x="715" y="447"/>
                  <a:pt x="715" y="447"/>
                  <a:pt x="715" y="447"/>
                </a:cubicBezTo>
                <a:cubicBezTo>
                  <a:pt x="718" y="447"/>
                  <a:pt x="718" y="447"/>
                  <a:pt x="718" y="447"/>
                </a:cubicBezTo>
                <a:cubicBezTo>
                  <a:pt x="718" y="447"/>
                  <a:pt x="717" y="452"/>
                  <a:pt x="716" y="452"/>
                </a:cubicBezTo>
                <a:cubicBezTo>
                  <a:pt x="715" y="453"/>
                  <a:pt x="712" y="460"/>
                  <a:pt x="713" y="460"/>
                </a:cubicBezTo>
                <a:cubicBezTo>
                  <a:pt x="714" y="460"/>
                  <a:pt x="717" y="455"/>
                  <a:pt x="718" y="454"/>
                </a:cubicBezTo>
                <a:cubicBezTo>
                  <a:pt x="719" y="453"/>
                  <a:pt x="725" y="450"/>
                  <a:pt x="726" y="447"/>
                </a:cubicBezTo>
                <a:cubicBezTo>
                  <a:pt x="726" y="445"/>
                  <a:pt x="725" y="440"/>
                  <a:pt x="725" y="438"/>
                </a:cubicBezTo>
                <a:cubicBezTo>
                  <a:pt x="725" y="436"/>
                  <a:pt x="726" y="430"/>
                  <a:pt x="728" y="429"/>
                </a:cubicBezTo>
                <a:cubicBezTo>
                  <a:pt x="729" y="429"/>
                  <a:pt x="728" y="430"/>
                  <a:pt x="727" y="433"/>
                </a:cubicBezTo>
                <a:cubicBezTo>
                  <a:pt x="727" y="435"/>
                  <a:pt x="729" y="436"/>
                  <a:pt x="729" y="436"/>
                </a:cubicBezTo>
                <a:cubicBezTo>
                  <a:pt x="729" y="436"/>
                  <a:pt x="728" y="441"/>
                  <a:pt x="729" y="441"/>
                </a:cubicBezTo>
                <a:cubicBezTo>
                  <a:pt x="729" y="441"/>
                  <a:pt x="736" y="433"/>
                  <a:pt x="738" y="431"/>
                </a:cubicBezTo>
                <a:cubicBezTo>
                  <a:pt x="740" y="429"/>
                  <a:pt x="745" y="426"/>
                  <a:pt x="744" y="425"/>
                </a:cubicBezTo>
                <a:cubicBezTo>
                  <a:pt x="743" y="424"/>
                  <a:pt x="741" y="425"/>
                  <a:pt x="741" y="423"/>
                </a:cubicBezTo>
                <a:cubicBezTo>
                  <a:pt x="741" y="420"/>
                  <a:pt x="745" y="422"/>
                  <a:pt x="749" y="422"/>
                </a:cubicBezTo>
                <a:cubicBezTo>
                  <a:pt x="754" y="422"/>
                  <a:pt x="763" y="417"/>
                  <a:pt x="763" y="417"/>
                </a:cubicBezTo>
                <a:cubicBezTo>
                  <a:pt x="760" y="416"/>
                  <a:pt x="760" y="416"/>
                  <a:pt x="760" y="416"/>
                </a:cubicBezTo>
                <a:cubicBezTo>
                  <a:pt x="760" y="416"/>
                  <a:pt x="755" y="418"/>
                  <a:pt x="753" y="418"/>
                </a:cubicBezTo>
                <a:cubicBezTo>
                  <a:pt x="750" y="418"/>
                  <a:pt x="746" y="420"/>
                  <a:pt x="747" y="417"/>
                </a:cubicBezTo>
                <a:cubicBezTo>
                  <a:pt x="748" y="415"/>
                  <a:pt x="755" y="414"/>
                  <a:pt x="755" y="414"/>
                </a:cubicBezTo>
                <a:cubicBezTo>
                  <a:pt x="767" y="414"/>
                  <a:pt x="767" y="414"/>
                  <a:pt x="767" y="414"/>
                </a:cubicBezTo>
                <a:cubicBezTo>
                  <a:pt x="773" y="408"/>
                  <a:pt x="773" y="408"/>
                  <a:pt x="773" y="408"/>
                </a:cubicBezTo>
                <a:cubicBezTo>
                  <a:pt x="775" y="410"/>
                  <a:pt x="775" y="410"/>
                  <a:pt x="775" y="410"/>
                </a:cubicBezTo>
                <a:cubicBezTo>
                  <a:pt x="778" y="408"/>
                  <a:pt x="778" y="408"/>
                  <a:pt x="778" y="408"/>
                </a:cubicBezTo>
                <a:cubicBezTo>
                  <a:pt x="778" y="413"/>
                  <a:pt x="778" y="413"/>
                  <a:pt x="778" y="413"/>
                </a:cubicBezTo>
                <a:cubicBezTo>
                  <a:pt x="782" y="410"/>
                  <a:pt x="782" y="410"/>
                  <a:pt x="782" y="410"/>
                </a:cubicBezTo>
                <a:cubicBezTo>
                  <a:pt x="786" y="410"/>
                  <a:pt x="786" y="410"/>
                  <a:pt x="786" y="410"/>
                </a:cubicBezTo>
                <a:cubicBezTo>
                  <a:pt x="787" y="405"/>
                  <a:pt x="787" y="405"/>
                  <a:pt x="787" y="405"/>
                </a:cubicBezTo>
                <a:cubicBezTo>
                  <a:pt x="785" y="403"/>
                  <a:pt x="785" y="403"/>
                  <a:pt x="785" y="403"/>
                </a:cubicBezTo>
                <a:cubicBezTo>
                  <a:pt x="784" y="407"/>
                  <a:pt x="784" y="407"/>
                  <a:pt x="784" y="407"/>
                </a:cubicBezTo>
                <a:cubicBezTo>
                  <a:pt x="781" y="408"/>
                  <a:pt x="781" y="408"/>
                  <a:pt x="781" y="408"/>
                </a:cubicBezTo>
                <a:cubicBezTo>
                  <a:pt x="781" y="404"/>
                  <a:pt x="781" y="404"/>
                  <a:pt x="781" y="404"/>
                </a:cubicBezTo>
                <a:cubicBezTo>
                  <a:pt x="778" y="401"/>
                  <a:pt x="778" y="401"/>
                  <a:pt x="778" y="401"/>
                </a:cubicBezTo>
                <a:cubicBezTo>
                  <a:pt x="782" y="399"/>
                  <a:pt x="782" y="399"/>
                  <a:pt x="782" y="399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6" y="391"/>
                  <a:pt x="788" y="390"/>
                </a:cubicBezTo>
                <a:cubicBezTo>
                  <a:pt x="790" y="389"/>
                  <a:pt x="791" y="385"/>
                  <a:pt x="791" y="385"/>
                </a:cubicBezTo>
                <a:cubicBezTo>
                  <a:pt x="795" y="386"/>
                  <a:pt x="795" y="386"/>
                  <a:pt x="795" y="386"/>
                </a:cubicBezTo>
                <a:cubicBezTo>
                  <a:pt x="797" y="383"/>
                  <a:pt x="797" y="383"/>
                  <a:pt x="797" y="383"/>
                </a:cubicBezTo>
                <a:cubicBezTo>
                  <a:pt x="797" y="383"/>
                  <a:pt x="798" y="385"/>
                  <a:pt x="799" y="384"/>
                </a:cubicBezTo>
                <a:cubicBezTo>
                  <a:pt x="801" y="383"/>
                  <a:pt x="807" y="378"/>
                  <a:pt x="807" y="378"/>
                </a:cubicBezTo>
                <a:cubicBezTo>
                  <a:pt x="807" y="382"/>
                  <a:pt x="807" y="382"/>
                  <a:pt x="807" y="382"/>
                </a:cubicBezTo>
                <a:cubicBezTo>
                  <a:pt x="807" y="382"/>
                  <a:pt x="814" y="378"/>
                  <a:pt x="816" y="377"/>
                </a:cubicBezTo>
                <a:cubicBezTo>
                  <a:pt x="817" y="375"/>
                  <a:pt x="824" y="375"/>
                  <a:pt x="824" y="375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5" y="371"/>
                  <a:pt x="827" y="372"/>
                  <a:pt x="830" y="371"/>
                </a:cubicBezTo>
                <a:cubicBezTo>
                  <a:pt x="833" y="370"/>
                  <a:pt x="835" y="366"/>
                  <a:pt x="835" y="366"/>
                </a:cubicBezTo>
                <a:cubicBezTo>
                  <a:pt x="837" y="369"/>
                  <a:pt x="837" y="369"/>
                  <a:pt x="837" y="369"/>
                </a:cubicBezTo>
                <a:cubicBezTo>
                  <a:pt x="837" y="369"/>
                  <a:pt x="843" y="366"/>
                  <a:pt x="844" y="366"/>
                </a:cubicBezTo>
                <a:cubicBezTo>
                  <a:pt x="845" y="365"/>
                  <a:pt x="850" y="364"/>
                  <a:pt x="850" y="364"/>
                </a:cubicBezTo>
                <a:cubicBezTo>
                  <a:pt x="852" y="364"/>
                  <a:pt x="852" y="364"/>
                  <a:pt x="852" y="364"/>
                </a:cubicBezTo>
                <a:cubicBezTo>
                  <a:pt x="846" y="369"/>
                  <a:pt x="846" y="369"/>
                  <a:pt x="846" y="369"/>
                </a:cubicBezTo>
                <a:cubicBezTo>
                  <a:pt x="859" y="367"/>
                  <a:pt x="859" y="367"/>
                  <a:pt x="859" y="367"/>
                </a:cubicBezTo>
                <a:cubicBezTo>
                  <a:pt x="859" y="367"/>
                  <a:pt x="853" y="368"/>
                  <a:pt x="852" y="369"/>
                </a:cubicBezTo>
                <a:cubicBezTo>
                  <a:pt x="852" y="370"/>
                  <a:pt x="851" y="372"/>
                  <a:pt x="851" y="372"/>
                </a:cubicBezTo>
                <a:cubicBezTo>
                  <a:pt x="851" y="372"/>
                  <a:pt x="847" y="370"/>
                  <a:pt x="846" y="370"/>
                </a:cubicBezTo>
                <a:cubicBezTo>
                  <a:pt x="844" y="371"/>
                  <a:pt x="830" y="378"/>
                  <a:pt x="830" y="380"/>
                </a:cubicBezTo>
                <a:cubicBezTo>
                  <a:pt x="829" y="381"/>
                  <a:pt x="828" y="386"/>
                  <a:pt x="829" y="387"/>
                </a:cubicBezTo>
                <a:cubicBezTo>
                  <a:pt x="830" y="387"/>
                  <a:pt x="831" y="386"/>
                  <a:pt x="831" y="386"/>
                </a:cubicBezTo>
                <a:cubicBezTo>
                  <a:pt x="831" y="386"/>
                  <a:pt x="831" y="389"/>
                  <a:pt x="833" y="388"/>
                </a:cubicBezTo>
                <a:cubicBezTo>
                  <a:pt x="835" y="388"/>
                  <a:pt x="836" y="385"/>
                  <a:pt x="836" y="385"/>
                </a:cubicBezTo>
                <a:cubicBezTo>
                  <a:pt x="836" y="385"/>
                  <a:pt x="841" y="385"/>
                  <a:pt x="844" y="382"/>
                </a:cubicBezTo>
                <a:cubicBezTo>
                  <a:pt x="847" y="380"/>
                  <a:pt x="850" y="375"/>
                  <a:pt x="850" y="375"/>
                </a:cubicBezTo>
                <a:cubicBezTo>
                  <a:pt x="850" y="375"/>
                  <a:pt x="850" y="379"/>
                  <a:pt x="853" y="378"/>
                </a:cubicBezTo>
                <a:cubicBezTo>
                  <a:pt x="856" y="377"/>
                  <a:pt x="863" y="374"/>
                  <a:pt x="866" y="374"/>
                </a:cubicBezTo>
                <a:cubicBezTo>
                  <a:pt x="868" y="373"/>
                  <a:pt x="879" y="370"/>
                  <a:pt x="879" y="370"/>
                </a:cubicBezTo>
                <a:cubicBezTo>
                  <a:pt x="877" y="368"/>
                  <a:pt x="877" y="368"/>
                  <a:pt x="877" y="368"/>
                </a:cubicBezTo>
                <a:cubicBezTo>
                  <a:pt x="878" y="365"/>
                  <a:pt x="878" y="365"/>
                  <a:pt x="878" y="365"/>
                </a:cubicBezTo>
                <a:cubicBezTo>
                  <a:pt x="873" y="366"/>
                  <a:pt x="873" y="366"/>
                  <a:pt x="873" y="366"/>
                </a:cubicBezTo>
                <a:cubicBezTo>
                  <a:pt x="873" y="363"/>
                  <a:pt x="873" y="363"/>
                  <a:pt x="873" y="363"/>
                </a:cubicBezTo>
                <a:cubicBezTo>
                  <a:pt x="873" y="363"/>
                  <a:pt x="868" y="366"/>
                  <a:pt x="867" y="366"/>
                </a:cubicBezTo>
                <a:cubicBezTo>
                  <a:pt x="866" y="365"/>
                  <a:pt x="866" y="364"/>
                  <a:pt x="866" y="364"/>
                </a:cubicBezTo>
                <a:cubicBezTo>
                  <a:pt x="866" y="364"/>
                  <a:pt x="859" y="364"/>
                  <a:pt x="858" y="363"/>
                </a:cubicBezTo>
                <a:cubicBezTo>
                  <a:pt x="857" y="362"/>
                  <a:pt x="855" y="360"/>
                  <a:pt x="857" y="360"/>
                </a:cubicBezTo>
                <a:cubicBezTo>
                  <a:pt x="859" y="360"/>
                  <a:pt x="856" y="357"/>
                  <a:pt x="854" y="358"/>
                </a:cubicBezTo>
                <a:cubicBezTo>
                  <a:pt x="852" y="359"/>
                  <a:pt x="851" y="355"/>
                  <a:pt x="851" y="353"/>
                </a:cubicBezTo>
                <a:cubicBezTo>
                  <a:pt x="851" y="352"/>
                  <a:pt x="853" y="350"/>
                  <a:pt x="853" y="350"/>
                </a:cubicBezTo>
                <a:cubicBezTo>
                  <a:pt x="850" y="350"/>
                  <a:pt x="850" y="350"/>
                  <a:pt x="850" y="350"/>
                </a:cubicBezTo>
                <a:cubicBezTo>
                  <a:pt x="850" y="350"/>
                  <a:pt x="854" y="346"/>
                  <a:pt x="855" y="345"/>
                </a:cubicBezTo>
                <a:cubicBezTo>
                  <a:pt x="857" y="343"/>
                  <a:pt x="861" y="339"/>
                  <a:pt x="861" y="339"/>
                </a:cubicBezTo>
                <a:cubicBezTo>
                  <a:pt x="859" y="338"/>
                  <a:pt x="859" y="338"/>
                  <a:pt x="859" y="338"/>
                </a:cubicBezTo>
                <a:cubicBezTo>
                  <a:pt x="856" y="342"/>
                  <a:pt x="856" y="342"/>
                  <a:pt x="856" y="342"/>
                </a:cubicBezTo>
                <a:cubicBezTo>
                  <a:pt x="853" y="341"/>
                  <a:pt x="853" y="341"/>
                  <a:pt x="853" y="341"/>
                </a:cubicBezTo>
                <a:cubicBezTo>
                  <a:pt x="849" y="343"/>
                  <a:pt x="849" y="343"/>
                  <a:pt x="849" y="343"/>
                </a:cubicBezTo>
                <a:cubicBezTo>
                  <a:pt x="848" y="341"/>
                  <a:pt x="848" y="341"/>
                  <a:pt x="848" y="341"/>
                </a:cubicBezTo>
                <a:cubicBezTo>
                  <a:pt x="844" y="339"/>
                  <a:pt x="844" y="339"/>
                  <a:pt x="844" y="339"/>
                </a:cubicBezTo>
                <a:cubicBezTo>
                  <a:pt x="841" y="340"/>
                  <a:pt x="841" y="340"/>
                  <a:pt x="841" y="340"/>
                </a:cubicBezTo>
                <a:cubicBezTo>
                  <a:pt x="849" y="337"/>
                  <a:pt x="849" y="337"/>
                  <a:pt x="849" y="337"/>
                </a:cubicBezTo>
                <a:cubicBezTo>
                  <a:pt x="849" y="337"/>
                  <a:pt x="850" y="339"/>
                  <a:pt x="852" y="339"/>
                </a:cubicBezTo>
                <a:cubicBezTo>
                  <a:pt x="854" y="339"/>
                  <a:pt x="859" y="335"/>
                  <a:pt x="859" y="335"/>
                </a:cubicBezTo>
                <a:cubicBezTo>
                  <a:pt x="859" y="335"/>
                  <a:pt x="864" y="336"/>
                  <a:pt x="865" y="334"/>
                </a:cubicBezTo>
                <a:cubicBezTo>
                  <a:pt x="865" y="333"/>
                  <a:pt x="863" y="331"/>
                  <a:pt x="863" y="331"/>
                </a:cubicBezTo>
                <a:cubicBezTo>
                  <a:pt x="867" y="330"/>
                  <a:pt x="867" y="330"/>
                  <a:pt x="867" y="330"/>
                </a:cubicBezTo>
                <a:cubicBezTo>
                  <a:pt x="867" y="330"/>
                  <a:pt x="865" y="326"/>
                  <a:pt x="856" y="326"/>
                </a:cubicBezTo>
                <a:cubicBezTo>
                  <a:pt x="847" y="326"/>
                  <a:pt x="837" y="330"/>
                  <a:pt x="832" y="331"/>
                </a:cubicBezTo>
                <a:cubicBezTo>
                  <a:pt x="827" y="332"/>
                  <a:pt x="819" y="337"/>
                  <a:pt x="818" y="338"/>
                </a:cubicBezTo>
                <a:cubicBezTo>
                  <a:pt x="816" y="339"/>
                  <a:pt x="808" y="346"/>
                  <a:pt x="805" y="348"/>
                </a:cubicBezTo>
                <a:cubicBezTo>
                  <a:pt x="803" y="350"/>
                  <a:pt x="796" y="351"/>
                  <a:pt x="796" y="351"/>
                </a:cubicBezTo>
                <a:cubicBezTo>
                  <a:pt x="796" y="351"/>
                  <a:pt x="806" y="345"/>
                  <a:pt x="808" y="343"/>
                </a:cubicBezTo>
                <a:cubicBezTo>
                  <a:pt x="810" y="341"/>
                  <a:pt x="813" y="338"/>
                  <a:pt x="813" y="338"/>
                </a:cubicBezTo>
                <a:cubicBezTo>
                  <a:pt x="810" y="336"/>
                  <a:pt x="810" y="336"/>
                  <a:pt x="810" y="336"/>
                </a:cubicBezTo>
                <a:cubicBezTo>
                  <a:pt x="810" y="336"/>
                  <a:pt x="814" y="338"/>
                  <a:pt x="815" y="337"/>
                </a:cubicBezTo>
                <a:cubicBezTo>
                  <a:pt x="816" y="336"/>
                  <a:pt x="827" y="329"/>
                  <a:pt x="829" y="327"/>
                </a:cubicBezTo>
                <a:cubicBezTo>
                  <a:pt x="832" y="325"/>
                  <a:pt x="840" y="324"/>
                  <a:pt x="840" y="324"/>
                </a:cubicBezTo>
                <a:cubicBezTo>
                  <a:pt x="841" y="325"/>
                  <a:pt x="846" y="317"/>
                  <a:pt x="852" y="316"/>
                </a:cubicBezTo>
                <a:cubicBezTo>
                  <a:pt x="858" y="315"/>
                  <a:pt x="874" y="314"/>
                  <a:pt x="878" y="314"/>
                </a:cubicBezTo>
                <a:cubicBezTo>
                  <a:pt x="881" y="314"/>
                  <a:pt x="893" y="318"/>
                  <a:pt x="895" y="317"/>
                </a:cubicBezTo>
                <a:cubicBezTo>
                  <a:pt x="898" y="317"/>
                  <a:pt x="902" y="314"/>
                  <a:pt x="904" y="314"/>
                </a:cubicBezTo>
                <a:cubicBezTo>
                  <a:pt x="906" y="314"/>
                  <a:pt x="913" y="313"/>
                  <a:pt x="915" y="311"/>
                </a:cubicBezTo>
                <a:cubicBezTo>
                  <a:pt x="918" y="309"/>
                  <a:pt x="923" y="304"/>
                  <a:pt x="925" y="303"/>
                </a:cubicBezTo>
                <a:cubicBezTo>
                  <a:pt x="927" y="303"/>
                  <a:pt x="931" y="303"/>
                  <a:pt x="931" y="303"/>
                </a:cubicBezTo>
                <a:cubicBezTo>
                  <a:pt x="931" y="303"/>
                  <a:pt x="934" y="301"/>
                  <a:pt x="936" y="301"/>
                </a:cubicBezTo>
                <a:cubicBezTo>
                  <a:pt x="938" y="301"/>
                  <a:pt x="938" y="302"/>
                  <a:pt x="941" y="300"/>
                </a:cubicBezTo>
                <a:cubicBezTo>
                  <a:pt x="941" y="300"/>
                  <a:pt x="955" y="297"/>
                  <a:pt x="954" y="294"/>
                </a:cubicBezTo>
                <a:cubicBezTo>
                  <a:pt x="953" y="292"/>
                  <a:pt x="949" y="290"/>
                  <a:pt x="949" y="290"/>
                </a:cubicBezTo>
                <a:cubicBezTo>
                  <a:pt x="949" y="290"/>
                  <a:pt x="954" y="290"/>
                  <a:pt x="954" y="288"/>
                </a:cubicBezTo>
                <a:cubicBezTo>
                  <a:pt x="954" y="286"/>
                  <a:pt x="953" y="284"/>
                  <a:pt x="953" y="284"/>
                </a:cubicBezTo>
                <a:cubicBezTo>
                  <a:pt x="953" y="284"/>
                  <a:pt x="959" y="285"/>
                  <a:pt x="957" y="281"/>
                </a:cubicBezTo>
                <a:cubicBezTo>
                  <a:pt x="956" y="278"/>
                  <a:pt x="951" y="276"/>
                  <a:pt x="950" y="277"/>
                </a:cubicBezTo>
                <a:cubicBezTo>
                  <a:pt x="948" y="279"/>
                  <a:pt x="949" y="282"/>
                  <a:pt x="945" y="280"/>
                </a:cubicBezTo>
                <a:cubicBezTo>
                  <a:pt x="942" y="278"/>
                  <a:pt x="947" y="276"/>
                  <a:pt x="947" y="276"/>
                </a:cubicBezTo>
                <a:cubicBezTo>
                  <a:pt x="947" y="273"/>
                  <a:pt x="947" y="273"/>
                  <a:pt x="947" y="273"/>
                </a:cubicBezTo>
                <a:cubicBezTo>
                  <a:pt x="943" y="272"/>
                  <a:pt x="943" y="272"/>
                  <a:pt x="943" y="272"/>
                </a:cubicBezTo>
                <a:cubicBezTo>
                  <a:pt x="943" y="272"/>
                  <a:pt x="933" y="276"/>
                  <a:pt x="932" y="277"/>
                </a:cubicBezTo>
                <a:cubicBezTo>
                  <a:pt x="932" y="278"/>
                  <a:pt x="924" y="279"/>
                  <a:pt x="924" y="279"/>
                </a:cubicBezTo>
                <a:cubicBezTo>
                  <a:pt x="920" y="282"/>
                  <a:pt x="920" y="282"/>
                  <a:pt x="920" y="282"/>
                </a:cubicBezTo>
                <a:cubicBezTo>
                  <a:pt x="921" y="279"/>
                  <a:pt x="921" y="279"/>
                  <a:pt x="921" y="279"/>
                </a:cubicBezTo>
                <a:cubicBezTo>
                  <a:pt x="918" y="276"/>
                  <a:pt x="918" y="276"/>
                  <a:pt x="918" y="276"/>
                </a:cubicBezTo>
                <a:cubicBezTo>
                  <a:pt x="923" y="278"/>
                  <a:pt x="923" y="278"/>
                  <a:pt x="923" y="278"/>
                </a:cubicBezTo>
                <a:cubicBezTo>
                  <a:pt x="925" y="276"/>
                  <a:pt x="925" y="276"/>
                  <a:pt x="925" y="276"/>
                </a:cubicBezTo>
                <a:cubicBezTo>
                  <a:pt x="929" y="276"/>
                  <a:pt x="929" y="276"/>
                  <a:pt x="929" y="276"/>
                </a:cubicBezTo>
                <a:cubicBezTo>
                  <a:pt x="929" y="273"/>
                  <a:pt x="929" y="273"/>
                  <a:pt x="929" y="273"/>
                </a:cubicBezTo>
                <a:cubicBezTo>
                  <a:pt x="929" y="273"/>
                  <a:pt x="934" y="274"/>
                  <a:pt x="936" y="273"/>
                </a:cubicBezTo>
                <a:cubicBezTo>
                  <a:pt x="939" y="271"/>
                  <a:pt x="942" y="270"/>
                  <a:pt x="942" y="270"/>
                </a:cubicBezTo>
                <a:cubicBezTo>
                  <a:pt x="942" y="270"/>
                  <a:pt x="952" y="271"/>
                  <a:pt x="952" y="270"/>
                </a:cubicBezTo>
                <a:cubicBezTo>
                  <a:pt x="952" y="269"/>
                  <a:pt x="948" y="267"/>
                  <a:pt x="948" y="267"/>
                </a:cubicBezTo>
                <a:cubicBezTo>
                  <a:pt x="948" y="264"/>
                  <a:pt x="948" y="264"/>
                  <a:pt x="948" y="264"/>
                </a:cubicBezTo>
                <a:cubicBezTo>
                  <a:pt x="948" y="264"/>
                  <a:pt x="942" y="265"/>
                  <a:pt x="941" y="265"/>
                </a:cubicBezTo>
                <a:cubicBezTo>
                  <a:pt x="940" y="265"/>
                  <a:pt x="939" y="262"/>
                  <a:pt x="939" y="262"/>
                </a:cubicBezTo>
                <a:cubicBezTo>
                  <a:pt x="931" y="265"/>
                  <a:pt x="931" y="265"/>
                  <a:pt x="931" y="265"/>
                </a:cubicBezTo>
                <a:cubicBezTo>
                  <a:pt x="931" y="261"/>
                  <a:pt x="931" y="261"/>
                  <a:pt x="931" y="261"/>
                </a:cubicBezTo>
                <a:cubicBezTo>
                  <a:pt x="925" y="263"/>
                  <a:pt x="925" y="263"/>
                  <a:pt x="925" y="263"/>
                </a:cubicBezTo>
                <a:cubicBezTo>
                  <a:pt x="925" y="263"/>
                  <a:pt x="932" y="256"/>
                  <a:pt x="930" y="255"/>
                </a:cubicBezTo>
                <a:cubicBezTo>
                  <a:pt x="928" y="254"/>
                  <a:pt x="923" y="254"/>
                  <a:pt x="923" y="254"/>
                </a:cubicBezTo>
                <a:cubicBezTo>
                  <a:pt x="924" y="251"/>
                  <a:pt x="924" y="251"/>
                  <a:pt x="924" y="251"/>
                </a:cubicBezTo>
                <a:cubicBezTo>
                  <a:pt x="919" y="251"/>
                  <a:pt x="919" y="251"/>
                  <a:pt x="919" y="251"/>
                </a:cubicBezTo>
                <a:cubicBezTo>
                  <a:pt x="921" y="248"/>
                  <a:pt x="921" y="248"/>
                  <a:pt x="921" y="248"/>
                </a:cubicBezTo>
                <a:cubicBezTo>
                  <a:pt x="917" y="244"/>
                  <a:pt x="917" y="244"/>
                  <a:pt x="917" y="244"/>
                </a:cubicBezTo>
                <a:cubicBezTo>
                  <a:pt x="917" y="244"/>
                  <a:pt x="923" y="246"/>
                  <a:pt x="925" y="244"/>
                </a:cubicBezTo>
                <a:cubicBezTo>
                  <a:pt x="927" y="243"/>
                  <a:pt x="929" y="242"/>
                  <a:pt x="929" y="242"/>
                </a:cubicBezTo>
                <a:cubicBezTo>
                  <a:pt x="923" y="238"/>
                  <a:pt x="923" y="238"/>
                  <a:pt x="923" y="238"/>
                </a:cubicBezTo>
                <a:cubicBezTo>
                  <a:pt x="930" y="234"/>
                  <a:pt x="930" y="234"/>
                  <a:pt x="930" y="234"/>
                </a:cubicBezTo>
                <a:cubicBezTo>
                  <a:pt x="923" y="231"/>
                  <a:pt x="923" y="231"/>
                  <a:pt x="923" y="231"/>
                </a:cubicBezTo>
                <a:cubicBezTo>
                  <a:pt x="917" y="232"/>
                  <a:pt x="917" y="232"/>
                  <a:pt x="917" y="232"/>
                </a:cubicBezTo>
                <a:cubicBezTo>
                  <a:pt x="924" y="229"/>
                  <a:pt x="924" y="229"/>
                  <a:pt x="924" y="229"/>
                </a:cubicBezTo>
                <a:cubicBezTo>
                  <a:pt x="919" y="228"/>
                  <a:pt x="919" y="228"/>
                  <a:pt x="919" y="228"/>
                </a:cubicBezTo>
                <a:cubicBezTo>
                  <a:pt x="925" y="225"/>
                  <a:pt x="925" y="225"/>
                  <a:pt x="925" y="225"/>
                </a:cubicBezTo>
                <a:cubicBezTo>
                  <a:pt x="924" y="221"/>
                  <a:pt x="924" y="221"/>
                  <a:pt x="924" y="221"/>
                </a:cubicBezTo>
                <a:cubicBezTo>
                  <a:pt x="920" y="221"/>
                  <a:pt x="920" y="221"/>
                  <a:pt x="920" y="221"/>
                </a:cubicBezTo>
                <a:cubicBezTo>
                  <a:pt x="920" y="221"/>
                  <a:pt x="923" y="219"/>
                  <a:pt x="922" y="215"/>
                </a:cubicBezTo>
                <a:cubicBezTo>
                  <a:pt x="920" y="211"/>
                  <a:pt x="918" y="211"/>
                  <a:pt x="918" y="211"/>
                </a:cubicBezTo>
                <a:cubicBezTo>
                  <a:pt x="920" y="208"/>
                  <a:pt x="920" y="208"/>
                  <a:pt x="920" y="208"/>
                </a:cubicBezTo>
                <a:cubicBezTo>
                  <a:pt x="920" y="208"/>
                  <a:pt x="915" y="211"/>
                  <a:pt x="914" y="212"/>
                </a:cubicBezTo>
                <a:cubicBezTo>
                  <a:pt x="913" y="214"/>
                  <a:pt x="914" y="215"/>
                  <a:pt x="914" y="215"/>
                </a:cubicBezTo>
                <a:cubicBezTo>
                  <a:pt x="910" y="214"/>
                  <a:pt x="910" y="214"/>
                  <a:pt x="910" y="214"/>
                </a:cubicBezTo>
                <a:cubicBezTo>
                  <a:pt x="911" y="218"/>
                  <a:pt x="911" y="218"/>
                  <a:pt x="911" y="218"/>
                </a:cubicBezTo>
                <a:cubicBezTo>
                  <a:pt x="907" y="218"/>
                  <a:pt x="907" y="218"/>
                  <a:pt x="907" y="218"/>
                </a:cubicBezTo>
                <a:cubicBezTo>
                  <a:pt x="905" y="221"/>
                  <a:pt x="905" y="221"/>
                  <a:pt x="905" y="221"/>
                </a:cubicBezTo>
                <a:cubicBezTo>
                  <a:pt x="906" y="222"/>
                  <a:pt x="906" y="222"/>
                  <a:pt x="906" y="222"/>
                </a:cubicBezTo>
                <a:cubicBezTo>
                  <a:pt x="903" y="223"/>
                  <a:pt x="903" y="223"/>
                  <a:pt x="903" y="223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8" y="229"/>
                  <a:pt x="898" y="229"/>
                  <a:pt x="898" y="229"/>
                </a:cubicBezTo>
                <a:cubicBezTo>
                  <a:pt x="900" y="224"/>
                  <a:pt x="900" y="224"/>
                  <a:pt x="900" y="224"/>
                </a:cubicBezTo>
                <a:cubicBezTo>
                  <a:pt x="900" y="224"/>
                  <a:pt x="898" y="220"/>
                  <a:pt x="896" y="222"/>
                </a:cubicBezTo>
                <a:cubicBezTo>
                  <a:pt x="894" y="224"/>
                  <a:pt x="892" y="227"/>
                  <a:pt x="890" y="227"/>
                </a:cubicBezTo>
                <a:cubicBezTo>
                  <a:pt x="889" y="227"/>
                  <a:pt x="883" y="232"/>
                  <a:pt x="883" y="232"/>
                </a:cubicBezTo>
                <a:cubicBezTo>
                  <a:pt x="884" y="229"/>
                  <a:pt x="884" y="229"/>
                  <a:pt x="884" y="229"/>
                </a:cubicBezTo>
                <a:cubicBezTo>
                  <a:pt x="884" y="226"/>
                  <a:pt x="884" y="226"/>
                  <a:pt x="884" y="226"/>
                </a:cubicBezTo>
                <a:cubicBezTo>
                  <a:pt x="879" y="231"/>
                  <a:pt x="879" y="231"/>
                  <a:pt x="879" y="231"/>
                </a:cubicBezTo>
                <a:cubicBezTo>
                  <a:pt x="869" y="233"/>
                  <a:pt x="869" y="233"/>
                  <a:pt x="869" y="233"/>
                </a:cubicBez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83" y="224"/>
                  <a:pt x="880" y="223"/>
                </a:cubicBezTo>
                <a:cubicBezTo>
                  <a:pt x="878" y="222"/>
                  <a:pt x="875" y="223"/>
                  <a:pt x="875" y="223"/>
                </a:cubicBezTo>
                <a:cubicBezTo>
                  <a:pt x="875" y="223"/>
                  <a:pt x="868" y="226"/>
                  <a:pt x="868" y="224"/>
                </a:cubicBezTo>
                <a:cubicBezTo>
                  <a:pt x="868" y="221"/>
                  <a:pt x="872" y="221"/>
                  <a:pt x="872" y="221"/>
                </a:cubicBezTo>
                <a:cubicBezTo>
                  <a:pt x="872" y="222"/>
                  <a:pt x="872" y="222"/>
                  <a:pt x="872" y="222"/>
                </a:cubicBezTo>
                <a:cubicBezTo>
                  <a:pt x="875" y="221"/>
                  <a:pt x="875" y="221"/>
                  <a:pt x="875" y="221"/>
                </a:cubicBezTo>
                <a:cubicBezTo>
                  <a:pt x="874" y="217"/>
                  <a:pt x="874" y="217"/>
                  <a:pt x="874" y="217"/>
                </a:cubicBezTo>
                <a:cubicBezTo>
                  <a:pt x="874" y="217"/>
                  <a:pt x="879" y="214"/>
                  <a:pt x="877" y="213"/>
                </a:cubicBezTo>
                <a:cubicBezTo>
                  <a:pt x="876" y="211"/>
                  <a:pt x="870" y="211"/>
                  <a:pt x="870" y="211"/>
                </a:cubicBezTo>
                <a:cubicBezTo>
                  <a:pt x="870" y="211"/>
                  <a:pt x="879" y="211"/>
                  <a:pt x="880" y="208"/>
                </a:cubicBezTo>
                <a:cubicBezTo>
                  <a:pt x="881" y="206"/>
                  <a:pt x="881" y="205"/>
                  <a:pt x="882" y="205"/>
                </a:cubicBezTo>
                <a:cubicBezTo>
                  <a:pt x="884" y="204"/>
                  <a:pt x="888" y="203"/>
                  <a:pt x="886" y="202"/>
                </a:cubicBezTo>
                <a:cubicBezTo>
                  <a:pt x="884" y="200"/>
                  <a:pt x="882" y="203"/>
                  <a:pt x="882" y="203"/>
                </a:cubicBezTo>
                <a:cubicBezTo>
                  <a:pt x="880" y="199"/>
                  <a:pt x="880" y="199"/>
                  <a:pt x="880" y="199"/>
                </a:cubicBezTo>
                <a:cubicBezTo>
                  <a:pt x="880" y="199"/>
                  <a:pt x="874" y="200"/>
                  <a:pt x="872" y="200"/>
                </a:cubicBezTo>
                <a:cubicBezTo>
                  <a:pt x="870" y="200"/>
                  <a:pt x="870" y="197"/>
                  <a:pt x="871" y="196"/>
                </a:cubicBezTo>
                <a:cubicBezTo>
                  <a:pt x="873" y="195"/>
                  <a:pt x="873" y="194"/>
                  <a:pt x="872" y="193"/>
                </a:cubicBezTo>
                <a:cubicBezTo>
                  <a:pt x="870" y="193"/>
                  <a:pt x="869" y="194"/>
                  <a:pt x="869" y="194"/>
                </a:cubicBezTo>
                <a:cubicBezTo>
                  <a:pt x="870" y="191"/>
                  <a:pt x="870" y="191"/>
                  <a:pt x="870" y="191"/>
                </a:cubicBezTo>
                <a:cubicBezTo>
                  <a:pt x="865" y="192"/>
                  <a:pt x="865" y="192"/>
                  <a:pt x="865" y="192"/>
                </a:cubicBezTo>
                <a:cubicBezTo>
                  <a:pt x="865" y="192"/>
                  <a:pt x="866" y="186"/>
                  <a:pt x="862" y="186"/>
                </a:cubicBezTo>
                <a:cubicBezTo>
                  <a:pt x="859" y="186"/>
                  <a:pt x="853" y="189"/>
                  <a:pt x="853" y="189"/>
                </a:cubicBezTo>
                <a:cubicBezTo>
                  <a:pt x="853" y="189"/>
                  <a:pt x="851" y="187"/>
                  <a:pt x="850" y="187"/>
                </a:cubicBezTo>
                <a:cubicBezTo>
                  <a:pt x="848" y="187"/>
                  <a:pt x="844" y="189"/>
                  <a:pt x="844" y="189"/>
                </a:cubicBezTo>
                <a:cubicBezTo>
                  <a:pt x="844" y="189"/>
                  <a:pt x="835" y="184"/>
                  <a:pt x="831" y="185"/>
                </a:cubicBezTo>
                <a:cubicBezTo>
                  <a:pt x="828" y="186"/>
                  <a:pt x="827" y="188"/>
                  <a:pt x="827" y="188"/>
                </a:cubicBezTo>
                <a:cubicBezTo>
                  <a:pt x="827" y="188"/>
                  <a:pt x="822" y="190"/>
                  <a:pt x="824" y="192"/>
                </a:cubicBezTo>
                <a:cubicBezTo>
                  <a:pt x="825" y="194"/>
                  <a:pt x="828" y="194"/>
                  <a:pt x="827" y="196"/>
                </a:cubicBezTo>
                <a:cubicBezTo>
                  <a:pt x="826" y="197"/>
                  <a:pt x="820" y="201"/>
                  <a:pt x="820" y="201"/>
                </a:cubicBezTo>
                <a:cubicBezTo>
                  <a:pt x="817" y="202"/>
                  <a:pt x="817" y="202"/>
                  <a:pt x="817" y="202"/>
                </a:cubicBezTo>
                <a:cubicBezTo>
                  <a:pt x="820" y="204"/>
                  <a:pt x="820" y="204"/>
                  <a:pt x="820" y="204"/>
                </a:cubicBezTo>
                <a:cubicBezTo>
                  <a:pt x="820" y="204"/>
                  <a:pt x="817" y="205"/>
                  <a:pt x="817" y="207"/>
                </a:cubicBezTo>
                <a:cubicBezTo>
                  <a:pt x="817" y="209"/>
                  <a:pt x="818" y="211"/>
                  <a:pt x="817" y="213"/>
                </a:cubicBezTo>
                <a:cubicBezTo>
                  <a:pt x="815" y="215"/>
                  <a:pt x="813" y="213"/>
                  <a:pt x="811" y="215"/>
                </a:cubicBezTo>
                <a:cubicBezTo>
                  <a:pt x="808" y="216"/>
                  <a:pt x="808" y="219"/>
                  <a:pt x="808" y="219"/>
                </a:cubicBezTo>
                <a:cubicBezTo>
                  <a:pt x="808" y="219"/>
                  <a:pt x="805" y="220"/>
                  <a:pt x="804" y="221"/>
                </a:cubicBezTo>
                <a:cubicBezTo>
                  <a:pt x="803" y="222"/>
                  <a:pt x="798" y="223"/>
                  <a:pt x="799" y="225"/>
                </a:cubicBezTo>
                <a:cubicBezTo>
                  <a:pt x="799" y="227"/>
                  <a:pt x="807" y="230"/>
                  <a:pt x="807" y="232"/>
                </a:cubicBezTo>
                <a:cubicBezTo>
                  <a:pt x="807" y="233"/>
                  <a:pt x="807" y="247"/>
                  <a:pt x="799" y="251"/>
                </a:cubicBezTo>
                <a:cubicBezTo>
                  <a:pt x="792" y="255"/>
                  <a:pt x="783" y="263"/>
                  <a:pt x="779" y="263"/>
                </a:cubicBezTo>
                <a:cubicBezTo>
                  <a:pt x="775" y="263"/>
                  <a:pt x="765" y="264"/>
                  <a:pt x="764" y="266"/>
                </a:cubicBezTo>
                <a:cubicBezTo>
                  <a:pt x="764" y="267"/>
                  <a:pt x="766" y="273"/>
                  <a:pt x="766" y="274"/>
                </a:cubicBezTo>
                <a:cubicBezTo>
                  <a:pt x="766" y="275"/>
                  <a:pt x="762" y="280"/>
                  <a:pt x="761" y="283"/>
                </a:cubicBezTo>
                <a:cubicBezTo>
                  <a:pt x="760" y="286"/>
                  <a:pt x="761" y="293"/>
                  <a:pt x="761" y="293"/>
                </a:cubicBezTo>
                <a:cubicBezTo>
                  <a:pt x="761" y="293"/>
                  <a:pt x="754" y="297"/>
                  <a:pt x="753" y="298"/>
                </a:cubicBezTo>
                <a:cubicBezTo>
                  <a:pt x="753" y="299"/>
                  <a:pt x="753" y="302"/>
                  <a:pt x="753" y="302"/>
                </a:cubicBezTo>
                <a:cubicBezTo>
                  <a:pt x="750" y="306"/>
                  <a:pt x="750" y="306"/>
                  <a:pt x="750" y="306"/>
                </a:cubicBezTo>
                <a:cubicBezTo>
                  <a:pt x="750" y="306"/>
                  <a:pt x="752" y="301"/>
                  <a:pt x="749" y="300"/>
                </a:cubicBezTo>
                <a:cubicBezTo>
                  <a:pt x="747" y="300"/>
                  <a:pt x="743" y="303"/>
                  <a:pt x="744" y="305"/>
                </a:cubicBezTo>
                <a:cubicBezTo>
                  <a:pt x="745" y="308"/>
                  <a:pt x="743" y="310"/>
                  <a:pt x="743" y="310"/>
                </a:cubicBezTo>
                <a:cubicBezTo>
                  <a:pt x="743" y="310"/>
                  <a:pt x="743" y="305"/>
                  <a:pt x="742" y="304"/>
                </a:cubicBezTo>
                <a:cubicBezTo>
                  <a:pt x="740" y="303"/>
                  <a:pt x="732" y="306"/>
                  <a:pt x="732" y="306"/>
                </a:cubicBezTo>
                <a:cubicBezTo>
                  <a:pt x="732" y="306"/>
                  <a:pt x="740" y="301"/>
                  <a:pt x="739" y="298"/>
                </a:cubicBezTo>
                <a:cubicBezTo>
                  <a:pt x="738" y="296"/>
                  <a:pt x="731" y="293"/>
                  <a:pt x="731" y="293"/>
                </a:cubicBezTo>
                <a:cubicBezTo>
                  <a:pt x="731" y="293"/>
                  <a:pt x="734" y="293"/>
                  <a:pt x="734" y="291"/>
                </a:cubicBezTo>
                <a:cubicBezTo>
                  <a:pt x="734" y="290"/>
                  <a:pt x="732" y="284"/>
                  <a:pt x="732" y="284"/>
                </a:cubicBezTo>
                <a:cubicBezTo>
                  <a:pt x="736" y="281"/>
                  <a:pt x="736" y="281"/>
                  <a:pt x="736" y="281"/>
                </a:cubicBezTo>
                <a:cubicBezTo>
                  <a:pt x="736" y="278"/>
                  <a:pt x="736" y="278"/>
                  <a:pt x="736" y="278"/>
                </a:cubicBezTo>
                <a:cubicBezTo>
                  <a:pt x="740" y="276"/>
                  <a:pt x="740" y="276"/>
                  <a:pt x="740" y="276"/>
                </a:cubicBezTo>
                <a:cubicBezTo>
                  <a:pt x="740" y="271"/>
                  <a:pt x="740" y="271"/>
                  <a:pt x="740" y="271"/>
                </a:cubicBezTo>
                <a:cubicBezTo>
                  <a:pt x="740" y="271"/>
                  <a:pt x="750" y="265"/>
                  <a:pt x="745" y="262"/>
                </a:cubicBezTo>
                <a:cubicBezTo>
                  <a:pt x="740" y="260"/>
                  <a:pt x="725" y="261"/>
                  <a:pt x="725" y="261"/>
                </a:cubicBezTo>
                <a:cubicBezTo>
                  <a:pt x="720" y="262"/>
                  <a:pt x="720" y="262"/>
                  <a:pt x="720" y="262"/>
                </a:cubicBezTo>
                <a:cubicBezTo>
                  <a:pt x="720" y="262"/>
                  <a:pt x="723" y="258"/>
                  <a:pt x="721" y="257"/>
                </a:cubicBezTo>
                <a:cubicBezTo>
                  <a:pt x="719" y="256"/>
                  <a:pt x="709" y="254"/>
                  <a:pt x="709" y="254"/>
                </a:cubicBezTo>
                <a:cubicBezTo>
                  <a:pt x="709" y="254"/>
                  <a:pt x="710" y="249"/>
                  <a:pt x="706" y="246"/>
                </a:cubicBezTo>
                <a:cubicBezTo>
                  <a:pt x="702" y="243"/>
                  <a:pt x="697" y="243"/>
                  <a:pt x="697" y="243"/>
                </a:cubicBezTo>
                <a:cubicBezTo>
                  <a:pt x="697" y="243"/>
                  <a:pt x="697" y="241"/>
                  <a:pt x="691" y="240"/>
                </a:cubicBezTo>
                <a:cubicBezTo>
                  <a:pt x="686" y="240"/>
                  <a:pt x="671" y="243"/>
                  <a:pt x="671" y="243"/>
                </a:cubicBezTo>
                <a:cubicBezTo>
                  <a:pt x="671" y="243"/>
                  <a:pt x="678" y="241"/>
                  <a:pt x="678" y="238"/>
                </a:cubicBezTo>
                <a:cubicBezTo>
                  <a:pt x="678" y="236"/>
                  <a:pt x="682" y="225"/>
                  <a:pt x="682" y="225"/>
                </a:cubicBezTo>
                <a:cubicBezTo>
                  <a:pt x="682" y="225"/>
                  <a:pt x="676" y="224"/>
                  <a:pt x="675" y="224"/>
                </a:cubicBezTo>
                <a:cubicBezTo>
                  <a:pt x="675" y="224"/>
                  <a:pt x="670" y="228"/>
                  <a:pt x="670" y="228"/>
                </a:cubicBezTo>
                <a:cubicBezTo>
                  <a:pt x="672" y="224"/>
                  <a:pt x="672" y="224"/>
                  <a:pt x="672" y="224"/>
                </a:cubicBezTo>
                <a:cubicBezTo>
                  <a:pt x="671" y="221"/>
                  <a:pt x="671" y="221"/>
                  <a:pt x="671" y="221"/>
                </a:cubicBezTo>
                <a:cubicBezTo>
                  <a:pt x="671" y="221"/>
                  <a:pt x="677" y="216"/>
                  <a:pt x="679" y="212"/>
                </a:cubicBezTo>
                <a:cubicBezTo>
                  <a:pt x="682" y="207"/>
                  <a:pt x="696" y="199"/>
                  <a:pt x="696" y="199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704" y="194"/>
                  <a:pt x="704" y="194"/>
                  <a:pt x="704" y="194"/>
                </a:cubicBezTo>
                <a:cubicBezTo>
                  <a:pt x="704" y="192"/>
                  <a:pt x="704" y="192"/>
                  <a:pt x="704" y="192"/>
                </a:cubicBezTo>
                <a:cubicBezTo>
                  <a:pt x="709" y="191"/>
                  <a:pt x="709" y="191"/>
                  <a:pt x="709" y="191"/>
                </a:cubicBezTo>
                <a:cubicBezTo>
                  <a:pt x="710" y="188"/>
                  <a:pt x="710" y="188"/>
                  <a:pt x="710" y="188"/>
                </a:cubicBezTo>
                <a:cubicBezTo>
                  <a:pt x="714" y="188"/>
                  <a:pt x="714" y="188"/>
                  <a:pt x="714" y="188"/>
                </a:cubicBezTo>
                <a:cubicBezTo>
                  <a:pt x="721" y="182"/>
                  <a:pt x="721" y="182"/>
                  <a:pt x="721" y="182"/>
                </a:cubicBezTo>
                <a:cubicBezTo>
                  <a:pt x="721" y="182"/>
                  <a:pt x="737" y="183"/>
                  <a:pt x="737" y="180"/>
                </a:cubicBezTo>
                <a:cubicBezTo>
                  <a:pt x="737" y="177"/>
                  <a:pt x="733" y="174"/>
                  <a:pt x="733" y="174"/>
                </a:cubicBezTo>
                <a:cubicBezTo>
                  <a:pt x="724" y="175"/>
                  <a:pt x="724" y="175"/>
                  <a:pt x="724" y="175"/>
                </a:cubicBezTo>
                <a:cubicBezTo>
                  <a:pt x="726" y="173"/>
                  <a:pt x="726" y="173"/>
                  <a:pt x="726" y="173"/>
                </a:cubicBezTo>
                <a:cubicBezTo>
                  <a:pt x="718" y="170"/>
                  <a:pt x="718" y="170"/>
                  <a:pt x="718" y="170"/>
                </a:cubicBezTo>
                <a:cubicBezTo>
                  <a:pt x="721" y="169"/>
                  <a:pt x="721" y="169"/>
                  <a:pt x="721" y="169"/>
                </a:cubicBezTo>
                <a:cubicBezTo>
                  <a:pt x="733" y="172"/>
                  <a:pt x="733" y="172"/>
                  <a:pt x="733" y="172"/>
                </a:cubicBezTo>
                <a:cubicBezTo>
                  <a:pt x="733" y="172"/>
                  <a:pt x="737" y="177"/>
                  <a:pt x="741" y="175"/>
                </a:cubicBezTo>
                <a:cubicBezTo>
                  <a:pt x="745" y="174"/>
                  <a:pt x="749" y="167"/>
                  <a:pt x="750" y="168"/>
                </a:cubicBezTo>
                <a:cubicBezTo>
                  <a:pt x="752" y="169"/>
                  <a:pt x="756" y="171"/>
                  <a:pt x="758" y="171"/>
                </a:cubicBezTo>
                <a:cubicBezTo>
                  <a:pt x="758" y="171"/>
                  <a:pt x="767" y="167"/>
                  <a:pt x="771" y="165"/>
                </a:cubicBezTo>
                <a:cubicBezTo>
                  <a:pt x="775" y="164"/>
                  <a:pt x="782" y="160"/>
                  <a:pt x="779" y="159"/>
                </a:cubicBezTo>
                <a:cubicBezTo>
                  <a:pt x="777" y="158"/>
                  <a:pt x="765" y="158"/>
                  <a:pt x="765" y="158"/>
                </a:cubicBezTo>
                <a:cubicBezTo>
                  <a:pt x="764" y="155"/>
                  <a:pt x="764" y="155"/>
                  <a:pt x="764" y="155"/>
                </a:cubicBezTo>
                <a:cubicBezTo>
                  <a:pt x="753" y="151"/>
                  <a:pt x="753" y="151"/>
                  <a:pt x="753" y="151"/>
                </a:cubicBezTo>
                <a:cubicBezTo>
                  <a:pt x="753" y="151"/>
                  <a:pt x="764" y="149"/>
                  <a:pt x="767" y="151"/>
                </a:cubicBezTo>
                <a:cubicBezTo>
                  <a:pt x="771" y="152"/>
                  <a:pt x="773" y="157"/>
                  <a:pt x="777" y="157"/>
                </a:cubicBezTo>
                <a:cubicBezTo>
                  <a:pt x="780" y="157"/>
                  <a:pt x="796" y="149"/>
                  <a:pt x="796" y="149"/>
                </a:cubicBezTo>
                <a:cubicBezTo>
                  <a:pt x="792" y="148"/>
                  <a:pt x="792" y="148"/>
                  <a:pt x="792" y="148"/>
                </a:cubicBezTo>
                <a:cubicBezTo>
                  <a:pt x="792" y="148"/>
                  <a:pt x="795" y="145"/>
                  <a:pt x="799" y="145"/>
                </a:cubicBezTo>
                <a:cubicBezTo>
                  <a:pt x="803" y="145"/>
                  <a:pt x="804" y="148"/>
                  <a:pt x="804" y="148"/>
                </a:cubicBezTo>
                <a:cubicBezTo>
                  <a:pt x="808" y="149"/>
                  <a:pt x="808" y="149"/>
                  <a:pt x="808" y="149"/>
                </a:cubicBezTo>
                <a:cubicBezTo>
                  <a:pt x="808" y="147"/>
                  <a:pt x="808" y="147"/>
                  <a:pt x="808" y="147"/>
                </a:cubicBezTo>
                <a:cubicBezTo>
                  <a:pt x="808" y="147"/>
                  <a:pt x="811" y="150"/>
                  <a:pt x="812" y="148"/>
                </a:cubicBezTo>
                <a:cubicBezTo>
                  <a:pt x="813" y="147"/>
                  <a:pt x="810" y="143"/>
                  <a:pt x="810" y="143"/>
                </a:cubicBezTo>
                <a:cubicBezTo>
                  <a:pt x="807" y="142"/>
                  <a:pt x="807" y="142"/>
                  <a:pt x="807" y="142"/>
                </a:cubicBezTo>
                <a:cubicBezTo>
                  <a:pt x="812" y="140"/>
                  <a:pt x="812" y="140"/>
                  <a:pt x="812" y="140"/>
                </a:cubicBezTo>
                <a:cubicBezTo>
                  <a:pt x="812" y="140"/>
                  <a:pt x="815" y="149"/>
                  <a:pt x="817" y="148"/>
                </a:cubicBezTo>
                <a:cubicBezTo>
                  <a:pt x="819" y="148"/>
                  <a:pt x="843" y="141"/>
                  <a:pt x="840" y="137"/>
                </a:cubicBezTo>
                <a:cubicBezTo>
                  <a:pt x="837" y="133"/>
                  <a:pt x="835" y="130"/>
                  <a:pt x="837" y="128"/>
                </a:cubicBezTo>
                <a:cubicBezTo>
                  <a:pt x="839" y="127"/>
                  <a:pt x="850" y="126"/>
                  <a:pt x="850" y="125"/>
                </a:cubicBezTo>
                <a:cubicBezTo>
                  <a:pt x="850" y="124"/>
                  <a:pt x="848" y="119"/>
                  <a:pt x="848" y="119"/>
                </a:cubicBezTo>
                <a:cubicBezTo>
                  <a:pt x="845" y="115"/>
                  <a:pt x="845" y="115"/>
                  <a:pt x="845" y="115"/>
                </a:cubicBezTo>
                <a:cubicBezTo>
                  <a:pt x="845" y="115"/>
                  <a:pt x="832" y="112"/>
                  <a:pt x="827" y="115"/>
                </a:cubicBezTo>
                <a:cubicBezTo>
                  <a:pt x="821" y="119"/>
                  <a:pt x="826" y="122"/>
                  <a:pt x="826" y="122"/>
                </a:cubicBezTo>
                <a:cubicBezTo>
                  <a:pt x="821" y="125"/>
                  <a:pt x="821" y="125"/>
                  <a:pt x="821" y="125"/>
                </a:cubicBezTo>
                <a:cubicBezTo>
                  <a:pt x="818" y="125"/>
                  <a:pt x="818" y="125"/>
                  <a:pt x="818" y="125"/>
                </a:cubicBezTo>
                <a:cubicBezTo>
                  <a:pt x="809" y="131"/>
                  <a:pt x="809" y="131"/>
                  <a:pt x="809" y="131"/>
                </a:cubicBezTo>
                <a:cubicBezTo>
                  <a:pt x="805" y="133"/>
                  <a:pt x="805" y="133"/>
                  <a:pt x="805" y="133"/>
                </a:cubicBezTo>
                <a:cubicBezTo>
                  <a:pt x="805" y="133"/>
                  <a:pt x="803" y="136"/>
                  <a:pt x="802" y="137"/>
                </a:cubicBezTo>
                <a:cubicBezTo>
                  <a:pt x="801" y="138"/>
                  <a:pt x="797" y="138"/>
                  <a:pt x="797" y="138"/>
                </a:cubicBezTo>
                <a:cubicBezTo>
                  <a:pt x="792" y="140"/>
                  <a:pt x="792" y="140"/>
                  <a:pt x="792" y="140"/>
                </a:cubicBezTo>
                <a:cubicBezTo>
                  <a:pt x="792" y="140"/>
                  <a:pt x="790" y="133"/>
                  <a:pt x="791" y="131"/>
                </a:cubicBezTo>
                <a:cubicBezTo>
                  <a:pt x="792" y="129"/>
                  <a:pt x="799" y="130"/>
                  <a:pt x="800" y="126"/>
                </a:cubicBezTo>
                <a:cubicBezTo>
                  <a:pt x="801" y="123"/>
                  <a:pt x="798" y="120"/>
                  <a:pt x="797" y="120"/>
                </a:cubicBezTo>
                <a:cubicBezTo>
                  <a:pt x="796" y="120"/>
                  <a:pt x="785" y="125"/>
                  <a:pt x="785" y="125"/>
                </a:cubicBezTo>
                <a:cubicBezTo>
                  <a:pt x="781" y="129"/>
                  <a:pt x="781" y="129"/>
                  <a:pt x="781" y="129"/>
                </a:cubicBezTo>
                <a:cubicBezTo>
                  <a:pt x="780" y="127"/>
                  <a:pt x="780" y="127"/>
                  <a:pt x="780" y="127"/>
                </a:cubicBezTo>
                <a:cubicBezTo>
                  <a:pt x="784" y="123"/>
                  <a:pt x="784" y="123"/>
                  <a:pt x="784" y="123"/>
                </a:cubicBezTo>
                <a:cubicBezTo>
                  <a:pt x="783" y="121"/>
                  <a:pt x="783" y="121"/>
                  <a:pt x="783" y="121"/>
                </a:cubicBezTo>
                <a:cubicBezTo>
                  <a:pt x="790" y="118"/>
                  <a:pt x="790" y="118"/>
                  <a:pt x="790" y="118"/>
                </a:cubicBezTo>
                <a:cubicBezTo>
                  <a:pt x="784" y="117"/>
                  <a:pt x="784" y="117"/>
                  <a:pt x="784" y="117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78" y="117"/>
                  <a:pt x="778" y="117"/>
                  <a:pt x="778" y="117"/>
                </a:cubicBezTo>
                <a:cubicBezTo>
                  <a:pt x="775" y="116"/>
                  <a:pt x="775" y="116"/>
                  <a:pt x="775" y="116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8" y="113"/>
                  <a:pt x="788" y="111"/>
                </a:cubicBezTo>
                <a:cubicBezTo>
                  <a:pt x="787" y="108"/>
                  <a:pt x="782" y="108"/>
                  <a:pt x="784" y="105"/>
                </a:cubicBezTo>
                <a:cubicBezTo>
                  <a:pt x="787" y="101"/>
                  <a:pt x="789" y="96"/>
                  <a:pt x="786" y="96"/>
                </a:cubicBezTo>
                <a:cubicBezTo>
                  <a:pt x="780" y="94"/>
                  <a:pt x="780" y="94"/>
                  <a:pt x="780" y="94"/>
                </a:cubicBezTo>
                <a:cubicBezTo>
                  <a:pt x="776" y="95"/>
                  <a:pt x="776" y="95"/>
                  <a:pt x="776" y="95"/>
                </a:cubicBezTo>
                <a:cubicBezTo>
                  <a:pt x="776" y="95"/>
                  <a:pt x="771" y="96"/>
                  <a:pt x="771" y="97"/>
                </a:cubicBezTo>
                <a:cubicBezTo>
                  <a:pt x="770" y="98"/>
                  <a:pt x="772" y="99"/>
                  <a:pt x="771" y="100"/>
                </a:cubicBezTo>
                <a:cubicBezTo>
                  <a:pt x="769" y="100"/>
                  <a:pt x="762" y="98"/>
                  <a:pt x="760" y="100"/>
                </a:cubicBezTo>
                <a:cubicBezTo>
                  <a:pt x="759" y="102"/>
                  <a:pt x="755" y="104"/>
                  <a:pt x="757" y="105"/>
                </a:cubicBezTo>
                <a:cubicBezTo>
                  <a:pt x="759" y="106"/>
                  <a:pt x="761" y="106"/>
                  <a:pt x="761" y="106"/>
                </a:cubicBezTo>
                <a:cubicBezTo>
                  <a:pt x="761" y="106"/>
                  <a:pt x="751" y="109"/>
                  <a:pt x="751" y="112"/>
                </a:cubicBezTo>
                <a:cubicBezTo>
                  <a:pt x="752" y="114"/>
                  <a:pt x="757" y="116"/>
                  <a:pt x="757" y="116"/>
                </a:cubicBezTo>
                <a:cubicBezTo>
                  <a:pt x="761" y="115"/>
                  <a:pt x="761" y="115"/>
                  <a:pt x="761" y="115"/>
                </a:cubicBezTo>
                <a:cubicBezTo>
                  <a:pt x="761" y="115"/>
                  <a:pt x="760" y="119"/>
                  <a:pt x="762" y="119"/>
                </a:cubicBezTo>
                <a:cubicBezTo>
                  <a:pt x="763" y="118"/>
                  <a:pt x="769" y="117"/>
                  <a:pt x="767" y="119"/>
                </a:cubicBezTo>
                <a:cubicBezTo>
                  <a:pt x="764" y="120"/>
                  <a:pt x="763" y="120"/>
                  <a:pt x="763" y="120"/>
                </a:cubicBezTo>
                <a:cubicBezTo>
                  <a:pt x="760" y="119"/>
                  <a:pt x="760" y="119"/>
                  <a:pt x="760" y="119"/>
                </a:cubicBezTo>
                <a:cubicBezTo>
                  <a:pt x="759" y="121"/>
                  <a:pt x="759" y="121"/>
                  <a:pt x="759" y="121"/>
                </a:cubicBezTo>
                <a:cubicBezTo>
                  <a:pt x="759" y="121"/>
                  <a:pt x="752" y="122"/>
                  <a:pt x="754" y="123"/>
                </a:cubicBezTo>
                <a:cubicBezTo>
                  <a:pt x="757" y="124"/>
                  <a:pt x="763" y="120"/>
                  <a:pt x="761" y="122"/>
                </a:cubicBezTo>
                <a:cubicBezTo>
                  <a:pt x="760" y="125"/>
                  <a:pt x="756" y="127"/>
                  <a:pt x="753" y="128"/>
                </a:cubicBezTo>
                <a:cubicBezTo>
                  <a:pt x="751" y="129"/>
                  <a:pt x="746" y="132"/>
                  <a:pt x="746" y="132"/>
                </a:cubicBezTo>
                <a:cubicBezTo>
                  <a:pt x="746" y="132"/>
                  <a:pt x="742" y="129"/>
                  <a:pt x="741" y="131"/>
                </a:cubicBezTo>
                <a:cubicBezTo>
                  <a:pt x="740" y="132"/>
                  <a:pt x="736" y="134"/>
                  <a:pt x="736" y="136"/>
                </a:cubicBezTo>
                <a:cubicBezTo>
                  <a:pt x="736" y="138"/>
                  <a:pt x="735" y="140"/>
                  <a:pt x="735" y="140"/>
                </a:cubicBezTo>
                <a:cubicBezTo>
                  <a:pt x="734" y="138"/>
                  <a:pt x="734" y="138"/>
                  <a:pt x="734" y="138"/>
                </a:cubicBezTo>
                <a:cubicBezTo>
                  <a:pt x="734" y="138"/>
                  <a:pt x="729" y="138"/>
                  <a:pt x="729" y="136"/>
                </a:cubicBezTo>
                <a:cubicBezTo>
                  <a:pt x="730" y="135"/>
                  <a:pt x="738" y="129"/>
                  <a:pt x="738" y="129"/>
                </a:cubicBezTo>
                <a:cubicBezTo>
                  <a:pt x="733" y="129"/>
                  <a:pt x="733" y="129"/>
                  <a:pt x="733" y="129"/>
                </a:cubicBezTo>
                <a:cubicBezTo>
                  <a:pt x="733" y="129"/>
                  <a:pt x="732" y="126"/>
                  <a:pt x="730" y="126"/>
                </a:cubicBezTo>
                <a:cubicBezTo>
                  <a:pt x="729" y="126"/>
                  <a:pt x="725" y="128"/>
                  <a:pt x="725" y="128"/>
                </a:cubicBezTo>
                <a:cubicBezTo>
                  <a:pt x="725" y="128"/>
                  <a:pt x="721" y="126"/>
                  <a:pt x="720" y="128"/>
                </a:cubicBezTo>
                <a:cubicBezTo>
                  <a:pt x="720" y="129"/>
                  <a:pt x="719" y="131"/>
                  <a:pt x="720" y="131"/>
                </a:cubicBezTo>
                <a:cubicBezTo>
                  <a:pt x="721" y="131"/>
                  <a:pt x="727" y="134"/>
                  <a:pt x="725" y="135"/>
                </a:cubicBezTo>
                <a:cubicBezTo>
                  <a:pt x="723" y="135"/>
                  <a:pt x="719" y="132"/>
                  <a:pt x="719" y="132"/>
                </a:cubicBezTo>
                <a:cubicBezTo>
                  <a:pt x="716" y="130"/>
                  <a:pt x="716" y="130"/>
                  <a:pt x="716" y="130"/>
                </a:cubicBezTo>
                <a:cubicBezTo>
                  <a:pt x="716" y="134"/>
                  <a:pt x="716" y="134"/>
                  <a:pt x="716" y="134"/>
                </a:cubicBezTo>
                <a:cubicBezTo>
                  <a:pt x="716" y="134"/>
                  <a:pt x="713" y="136"/>
                  <a:pt x="711" y="136"/>
                </a:cubicBezTo>
                <a:cubicBezTo>
                  <a:pt x="709" y="135"/>
                  <a:pt x="702" y="134"/>
                  <a:pt x="700" y="134"/>
                </a:cubicBezTo>
                <a:cubicBezTo>
                  <a:pt x="698" y="134"/>
                  <a:pt x="693" y="134"/>
                  <a:pt x="691" y="134"/>
                </a:cubicBezTo>
                <a:cubicBezTo>
                  <a:pt x="688" y="134"/>
                  <a:pt x="685" y="130"/>
                  <a:pt x="685" y="130"/>
                </a:cubicBezTo>
                <a:cubicBezTo>
                  <a:pt x="677" y="131"/>
                  <a:pt x="677" y="131"/>
                  <a:pt x="677" y="131"/>
                </a:cubicBezTo>
                <a:cubicBezTo>
                  <a:pt x="677" y="131"/>
                  <a:pt x="673" y="128"/>
                  <a:pt x="672" y="128"/>
                </a:cubicBezTo>
                <a:cubicBezTo>
                  <a:pt x="670" y="127"/>
                  <a:pt x="667" y="127"/>
                  <a:pt x="664" y="129"/>
                </a:cubicBezTo>
                <a:cubicBezTo>
                  <a:pt x="662" y="130"/>
                  <a:pt x="663" y="130"/>
                  <a:pt x="660" y="130"/>
                </a:cubicBezTo>
                <a:cubicBezTo>
                  <a:pt x="657" y="130"/>
                  <a:pt x="651" y="129"/>
                  <a:pt x="650" y="131"/>
                </a:cubicBezTo>
                <a:cubicBezTo>
                  <a:pt x="648" y="133"/>
                  <a:pt x="646" y="138"/>
                  <a:pt x="646" y="138"/>
                </a:cubicBezTo>
                <a:cubicBezTo>
                  <a:pt x="644" y="142"/>
                  <a:pt x="644" y="142"/>
                  <a:pt x="644" y="142"/>
                </a:cubicBezTo>
                <a:cubicBezTo>
                  <a:pt x="640" y="143"/>
                  <a:pt x="640" y="143"/>
                  <a:pt x="640" y="143"/>
                </a:cubicBezTo>
                <a:cubicBezTo>
                  <a:pt x="639" y="147"/>
                  <a:pt x="639" y="147"/>
                  <a:pt x="639" y="147"/>
                </a:cubicBezTo>
                <a:cubicBezTo>
                  <a:pt x="636" y="140"/>
                  <a:pt x="636" y="140"/>
                  <a:pt x="636" y="140"/>
                </a:cubicBezTo>
                <a:cubicBezTo>
                  <a:pt x="636" y="140"/>
                  <a:pt x="644" y="142"/>
                  <a:pt x="642" y="138"/>
                </a:cubicBezTo>
                <a:cubicBezTo>
                  <a:pt x="640" y="134"/>
                  <a:pt x="633" y="134"/>
                  <a:pt x="633" y="134"/>
                </a:cubicBezTo>
                <a:cubicBezTo>
                  <a:pt x="634" y="132"/>
                  <a:pt x="634" y="132"/>
                  <a:pt x="634" y="132"/>
                </a:cubicBezTo>
                <a:cubicBezTo>
                  <a:pt x="634" y="132"/>
                  <a:pt x="619" y="134"/>
                  <a:pt x="611" y="134"/>
                </a:cubicBezTo>
                <a:cubicBezTo>
                  <a:pt x="604" y="134"/>
                  <a:pt x="590" y="134"/>
                  <a:pt x="593" y="132"/>
                </a:cubicBezTo>
                <a:cubicBezTo>
                  <a:pt x="595" y="131"/>
                  <a:pt x="613" y="132"/>
                  <a:pt x="609" y="127"/>
                </a:cubicBezTo>
                <a:cubicBezTo>
                  <a:pt x="604" y="122"/>
                  <a:pt x="600" y="122"/>
                  <a:pt x="595" y="122"/>
                </a:cubicBezTo>
                <a:cubicBezTo>
                  <a:pt x="590" y="123"/>
                  <a:pt x="582" y="120"/>
                  <a:pt x="581" y="119"/>
                </a:cubicBezTo>
                <a:cubicBezTo>
                  <a:pt x="580" y="119"/>
                  <a:pt x="576" y="119"/>
                  <a:pt x="576" y="119"/>
                </a:cubicBezTo>
                <a:cubicBezTo>
                  <a:pt x="576" y="119"/>
                  <a:pt x="566" y="113"/>
                  <a:pt x="562" y="113"/>
                </a:cubicBezTo>
                <a:cubicBezTo>
                  <a:pt x="558" y="113"/>
                  <a:pt x="552" y="119"/>
                  <a:pt x="552" y="119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48" y="116"/>
                  <a:pt x="548" y="116"/>
                  <a:pt x="548" y="116"/>
                </a:cubicBezTo>
                <a:cubicBezTo>
                  <a:pt x="548" y="115"/>
                  <a:pt x="548" y="115"/>
                  <a:pt x="548" y="115"/>
                </a:cubicBezTo>
                <a:cubicBezTo>
                  <a:pt x="552" y="110"/>
                  <a:pt x="552" y="110"/>
                  <a:pt x="552" y="110"/>
                </a:cubicBezTo>
                <a:cubicBezTo>
                  <a:pt x="552" y="110"/>
                  <a:pt x="544" y="114"/>
                  <a:pt x="542" y="116"/>
                </a:cubicBezTo>
                <a:cubicBezTo>
                  <a:pt x="541" y="117"/>
                  <a:pt x="537" y="122"/>
                  <a:pt x="534" y="119"/>
                </a:cubicBezTo>
                <a:cubicBezTo>
                  <a:pt x="531" y="115"/>
                  <a:pt x="536" y="112"/>
                  <a:pt x="535" y="110"/>
                </a:cubicBezTo>
                <a:cubicBezTo>
                  <a:pt x="534" y="107"/>
                  <a:pt x="530" y="105"/>
                  <a:pt x="529" y="107"/>
                </a:cubicBezTo>
                <a:cubicBezTo>
                  <a:pt x="528" y="109"/>
                  <a:pt x="531" y="110"/>
                  <a:pt x="531" y="110"/>
                </a:cubicBezTo>
                <a:cubicBezTo>
                  <a:pt x="531" y="110"/>
                  <a:pt x="527" y="110"/>
                  <a:pt x="525" y="111"/>
                </a:cubicBezTo>
                <a:cubicBezTo>
                  <a:pt x="522" y="111"/>
                  <a:pt x="519" y="114"/>
                  <a:pt x="518" y="115"/>
                </a:cubicBezTo>
                <a:cubicBezTo>
                  <a:pt x="517" y="115"/>
                  <a:pt x="513" y="114"/>
                  <a:pt x="513" y="114"/>
                </a:cubicBezTo>
                <a:cubicBezTo>
                  <a:pt x="513" y="114"/>
                  <a:pt x="503" y="116"/>
                  <a:pt x="502" y="117"/>
                </a:cubicBezTo>
                <a:cubicBezTo>
                  <a:pt x="501" y="117"/>
                  <a:pt x="496" y="120"/>
                  <a:pt x="496" y="120"/>
                </a:cubicBezTo>
                <a:cubicBezTo>
                  <a:pt x="493" y="117"/>
                  <a:pt x="493" y="117"/>
                  <a:pt x="493" y="117"/>
                </a:cubicBezTo>
                <a:cubicBezTo>
                  <a:pt x="493" y="117"/>
                  <a:pt x="486" y="121"/>
                  <a:pt x="484" y="121"/>
                </a:cubicBezTo>
                <a:cubicBezTo>
                  <a:pt x="482" y="121"/>
                  <a:pt x="478" y="124"/>
                  <a:pt x="478" y="124"/>
                </a:cubicBezTo>
                <a:cubicBezTo>
                  <a:pt x="474" y="124"/>
                  <a:pt x="474" y="124"/>
                  <a:pt x="474" y="124"/>
                </a:cubicBezTo>
                <a:cubicBezTo>
                  <a:pt x="474" y="124"/>
                  <a:pt x="477" y="120"/>
                  <a:pt x="481" y="120"/>
                </a:cubicBezTo>
                <a:cubicBezTo>
                  <a:pt x="484" y="119"/>
                  <a:pt x="491" y="116"/>
                  <a:pt x="491" y="116"/>
                </a:cubicBezTo>
                <a:cubicBezTo>
                  <a:pt x="491" y="116"/>
                  <a:pt x="497" y="117"/>
                  <a:pt x="500" y="116"/>
                </a:cubicBezTo>
                <a:cubicBezTo>
                  <a:pt x="502" y="115"/>
                  <a:pt x="515" y="112"/>
                  <a:pt x="515" y="112"/>
                </a:cubicBezTo>
                <a:cubicBezTo>
                  <a:pt x="515" y="112"/>
                  <a:pt x="517" y="111"/>
                  <a:pt x="516" y="110"/>
                </a:cubicBezTo>
                <a:cubicBezTo>
                  <a:pt x="514" y="109"/>
                  <a:pt x="510" y="111"/>
                  <a:pt x="510" y="111"/>
                </a:cubicBezTo>
                <a:cubicBezTo>
                  <a:pt x="510" y="111"/>
                  <a:pt x="506" y="111"/>
                  <a:pt x="505" y="111"/>
                </a:cubicBezTo>
                <a:cubicBezTo>
                  <a:pt x="503" y="111"/>
                  <a:pt x="502" y="113"/>
                  <a:pt x="501" y="113"/>
                </a:cubicBezTo>
                <a:cubicBezTo>
                  <a:pt x="500" y="113"/>
                  <a:pt x="496" y="113"/>
                  <a:pt x="496" y="113"/>
                </a:cubicBezTo>
                <a:cubicBezTo>
                  <a:pt x="492" y="114"/>
                  <a:pt x="492" y="114"/>
                  <a:pt x="492" y="114"/>
                </a:cubicBezTo>
                <a:cubicBezTo>
                  <a:pt x="492" y="114"/>
                  <a:pt x="489" y="114"/>
                  <a:pt x="486" y="115"/>
                </a:cubicBezTo>
                <a:cubicBezTo>
                  <a:pt x="484" y="115"/>
                  <a:pt x="482" y="118"/>
                  <a:pt x="482" y="118"/>
                </a:cubicBezTo>
                <a:cubicBezTo>
                  <a:pt x="479" y="118"/>
                  <a:pt x="479" y="118"/>
                  <a:pt x="479" y="118"/>
                </a:cubicBezTo>
                <a:cubicBezTo>
                  <a:pt x="471" y="121"/>
                  <a:pt x="471" y="121"/>
                  <a:pt x="471" y="121"/>
                </a:cubicBezTo>
                <a:cubicBezTo>
                  <a:pt x="471" y="121"/>
                  <a:pt x="468" y="122"/>
                  <a:pt x="468" y="122"/>
                </a:cubicBezTo>
                <a:cubicBezTo>
                  <a:pt x="467" y="123"/>
                  <a:pt x="467" y="126"/>
                  <a:pt x="465" y="125"/>
                </a:cubicBezTo>
                <a:cubicBezTo>
                  <a:pt x="464" y="125"/>
                  <a:pt x="463" y="121"/>
                  <a:pt x="466" y="121"/>
                </a:cubicBezTo>
                <a:cubicBezTo>
                  <a:pt x="468" y="121"/>
                  <a:pt x="474" y="119"/>
                  <a:pt x="476" y="117"/>
                </a:cubicBezTo>
                <a:cubicBezTo>
                  <a:pt x="478" y="116"/>
                  <a:pt x="469" y="115"/>
                  <a:pt x="468" y="117"/>
                </a:cubicBezTo>
                <a:cubicBezTo>
                  <a:pt x="466" y="119"/>
                  <a:pt x="460" y="120"/>
                  <a:pt x="459" y="120"/>
                </a:cubicBezTo>
                <a:cubicBezTo>
                  <a:pt x="458" y="120"/>
                  <a:pt x="458" y="125"/>
                  <a:pt x="458" y="125"/>
                </a:cubicBezTo>
                <a:cubicBezTo>
                  <a:pt x="454" y="123"/>
                  <a:pt x="454" y="123"/>
                  <a:pt x="454" y="123"/>
                </a:cubicBezTo>
                <a:cubicBezTo>
                  <a:pt x="445" y="122"/>
                  <a:pt x="445" y="122"/>
                  <a:pt x="445" y="122"/>
                </a:cubicBezTo>
                <a:cubicBezTo>
                  <a:pt x="445" y="122"/>
                  <a:pt x="440" y="120"/>
                  <a:pt x="440" y="119"/>
                </a:cubicBezTo>
                <a:cubicBezTo>
                  <a:pt x="441" y="117"/>
                  <a:pt x="442" y="116"/>
                  <a:pt x="442" y="116"/>
                </a:cubicBezTo>
                <a:cubicBezTo>
                  <a:pt x="426" y="116"/>
                  <a:pt x="426" y="116"/>
                  <a:pt x="426" y="116"/>
                </a:cubicBezTo>
                <a:cubicBezTo>
                  <a:pt x="426" y="116"/>
                  <a:pt x="426" y="111"/>
                  <a:pt x="420" y="111"/>
                </a:cubicBezTo>
                <a:cubicBezTo>
                  <a:pt x="415" y="112"/>
                  <a:pt x="408" y="114"/>
                  <a:pt x="407" y="114"/>
                </a:cubicBezTo>
                <a:cubicBezTo>
                  <a:pt x="407" y="114"/>
                  <a:pt x="401" y="111"/>
                  <a:pt x="400" y="110"/>
                </a:cubicBezTo>
                <a:cubicBezTo>
                  <a:pt x="399" y="110"/>
                  <a:pt x="389" y="110"/>
                  <a:pt x="389" y="110"/>
                </a:cubicBezTo>
                <a:cubicBezTo>
                  <a:pt x="389" y="110"/>
                  <a:pt x="385" y="108"/>
                  <a:pt x="382" y="108"/>
                </a:cubicBezTo>
                <a:cubicBezTo>
                  <a:pt x="378" y="108"/>
                  <a:pt x="363" y="108"/>
                  <a:pt x="362" y="108"/>
                </a:cubicBezTo>
                <a:cubicBezTo>
                  <a:pt x="362" y="108"/>
                  <a:pt x="363" y="105"/>
                  <a:pt x="363" y="105"/>
                </a:cubicBezTo>
                <a:cubicBezTo>
                  <a:pt x="363" y="105"/>
                  <a:pt x="355" y="104"/>
                  <a:pt x="354" y="104"/>
                </a:cubicBezTo>
                <a:cubicBezTo>
                  <a:pt x="353" y="104"/>
                  <a:pt x="346" y="105"/>
                  <a:pt x="346" y="105"/>
                </a:cubicBezTo>
                <a:cubicBezTo>
                  <a:pt x="351" y="101"/>
                  <a:pt x="351" y="101"/>
                  <a:pt x="351" y="101"/>
                </a:cubicBezTo>
                <a:cubicBezTo>
                  <a:pt x="339" y="105"/>
                  <a:pt x="339" y="105"/>
                  <a:pt x="339" y="105"/>
                </a:cubicBezTo>
                <a:cubicBezTo>
                  <a:pt x="344" y="101"/>
                  <a:pt x="344" y="101"/>
                  <a:pt x="344" y="101"/>
                </a:cubicBezTo>
                <a:cubicBezTo>
                  <a:pt x="339" y="100"/>
                  <a:pt x="339" y="100"/>
                  <a:pt x="339" y="100"/>
                </a:cubicBezTo>
                <a:cubicBezTo>
                  <a:pt x="339" y="100"/>
                  <a:pt x="333" y="105"/>
                  <a:pt x="327" y="105"/>
                </a:cubicBezTo>
                <a:cubicBezTo>
                  <a:pt x="320" y="105"/>
                  <a:pt x="311" y="104"/>
                  <a:pt x="309" y="105"/>
                </a:cubicBezTo>
                <a:cubicBezTo>
                  <a:pt x="307" y="107"/>
                  <a:pt x="301" y="108"/>
                  <a:pt x="301" y="108"/>
                </a:cubicBezTo>
                <a:cubicBezTo>
                  <a:pt x="301" y="108"/>
                  <a:pt x="291" y="108"/>
                  <a:pt x="285" y="109"/>
                </a:cubicBezTo>
                <a:cubicBezTo>
                  <a:pt x="280" y="110"/>
                  <a:pt x="267" y="119"/>
                  <a:pt x="258" y="121"/>
                </a:cubicBezTo>
                <a:cubicBezTo>
                  <a:pt x="250" y="122"/>
                  <a:pt x="239" y="123"/>
                  <a:pt x="239" y="123"/>
                </a:cubicBezTo>
                <a:cubicBezTo>
                  <a:pt x="239" y="123"/>
                  <a:pt x="226" y="127"/>
                  <a:pt x="226" y="128"/>
                </a:cubicBezTo>
                <a:cubicBezTo>
                  <a:pt x="227" y="129"/>
                  <a:pt x="231" y="131"/>
                  <a:pt x="231" y="131"/>
                </a:cubicBezTo>
                <a:cubicBezTo>
                  <a:pt x="231" y="131"/>
                  <a:pt x="234" y="136"/>
                  <a:pt x="233" y="137"/>
                </a:cubicBezTo>
                <a:cubicBezTo>
                  <a:pt x="231" y="138"/>
                  <a:pt x="230" y="139"/>
                  <a:pt x="230" y="139"/>
                </a:cubicBezTo>
                <a:cubicBezTo>
                  <a:pt x="242" y="140"/>
                  <a:pt x="242" y="140"/>
                  <a:pt x="242" y="140"/>
                </a:cubicBezTo>
                <a:cubicBezTo>
                  <a:pt x="238" y="144"/>
                  <a:pt x="238" y="144"/>
                  <a:pt x="238" y="144"/>
                </a:cubicBezTo>
                <a:cubicBezTo>
                  <a:pt x="247" y="145"/>
                  <a:pt x="247" y="145"/>
                  <a:pt x="247" y="145"/>
                </a:cubicBezTo>
                <a:cubicBezTo>
                  <a:pt x="246" y="147"/>
                  <a:pt x="246" y="147"/>
                  <a:pt x="246" y="147"/>
                </a:cubicBezTo>
                <a:cubicBezTo>
                  <a:pt x="238" y="147"/>
                  <a:pt x="238" y="147"/>
                  <a:pt x="238" y="147"/>
                </a:cubicBezTo>
                <a:cubicBezTo>
                  <a:pt x="237" y="149"/>
                  <a:pt x="237" y="149"/>
                  <a:pt x="237" y="149"/>
                </a:cubicBezTo>
                <a:cubicBezTo>
                  <a:pt x="232" y="149"/>
                  <a:pt x="232" y="149"/>
                  <a:pt x="232" y="149"/>
                </a:cubicBezTo>
                <a:cubicBezTo>
                  <a:pt x="232" y="149"/>
                  <a:pt x="225" y="150"/>
                  <a:pt x="220" y="150"/>
                </a:cubicBezTo>
                <a:cubicBezTo>
                  <a:pt x="215" y="150"/>
                  <a:pt x="216" y="148"/>
                  <a:pt x="219" y="147"/>
                </a:cubicBezTo>
                <a:cubicBezTo>
                  <a:pt x="222" y="146"/>
                  <a:pt x="213" y="145"/>
                  <a:pt x="213" y="145"/>
                </a:cubicBezTo>
                <a:cubicBezTo>
                  <a:pt x="213" y="145"/>
                  <a:pt x="203" y="145"/>
                  <a:pt x="202" y="147"/>
                </a:cubicBezTo>
                <a:cubicBezTo>
                  <a:pt x="202" y="148"/>
                  <a:pt x="203" y="149"/>
                  <a:pt x="203" y="149"/>
                </a:cubicBezTo>
                <a:cubicBezTo>
                  <a:pt x="203" y="149"/>
                  <a:pt x="195" y="150"/>
                  <a:pt x="191" y="150"/>
                </a:cubicBezTo>
                <a:cubicBezTo>
                  <a:pt x="186" y="151"/>
                  <a:pt x="172" y="154"/>
                  <a:pt x="175" y="155"/>
                </a:cubicBezTo>
                <a:cubicBezTo>
                  <a:pt x="179" y="156"/>
                  <a:pt x="183" y="157"/>
                  <a:pt x="183" y="157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6" y="165"/>
                  <a:pt x="181" y="165"/>
                  <a:pt x="184" y="165"/>
                </a:cubicBezTo>
                <a:cubicBezTo>
                  <a:pt x="187" y="165"/>
                  <a:pt x="190" y="165"/>
                  <a:pt x="190" y="165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4"/>
                  <a:pt x="198" y="164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00" y="166"/>
                  <a:pt x="207" y="162"/>
                  <a:pt x="208" y="162"/>
                </a:cubicBezTo>
                <a:cubicBezTo>
                  <a:pt x="209" y="162"/>
                  <a:pt x="211" y="164"/>
                  <a:pt x="213" y="163"/>
                </a:cubicBezTo>
                <a:cubicBezTo>
                  <a:pt x="215" y="162"/>
                  <a:pt x="219" y="159"/>
                  <a:pt x="219" y="161"/>
                </a:cubicBezTo>
                <a:cubicBezTo>
                  <a:pt x="219" y="163"/>
                  <a:pt x="217" y="165"/>
                  <a:pt x="217" y="165"/>
                </a:cubicBezTo>
                <a:cubicBezTo>
                  <a:pt x="209" y="166"/>
                  <a:pt x="209" y="166"/>
                  <a:pt x="209" y="166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10" y="170"/>
                  <a:pt x="204" y="176"/>
                  <a:pt x="200" y="176"/>
                </a:cubicBezTo>
                <a:cubicBezTo>
                  <a:pt x="197" y="176"/>
                  <a:pt x="192" y="176"/>
                  <a:pt x="192" y="176"/>
                </a:cubicBezTo>
                <a:cubicBezTo>
                  <a:pt x="190" y="174"/>
                  <a:pt x="190" y="174"/>
                  <a:pt x="190" y="174"/>
                </a:cubicBezTo>
                <a:cubicBezTo>
                  <a:pt x="188" y="175"/>
                  <a:pt x="188" y="175"/>
                  <a:pt x="188" y="175"/>
                </a:cubicBezTo>
                <a:cubicBezTo>
                  <a:pt x="188" y="177"/>
                  <a:pt x="188" y="177"/>
                  <a:pt x="188" y="177"/>
                </a:cubicBezTo>
                <a:cubicBezTo>
                  <a:pt x="188" y="177"/>
                  <a:pt x="179" y="182"/>
                  <a:pt x="177" y="180"/>
                </a:cubicBezTo>
                <a:cubicBezTo>
                  <a:pt x="174" y="178"/>
                  <a:pt x="172" y="178"/>
                  <a:pt x="172" y="178"/>
                </a:cubicBezTo>
                <a:cubicBezTo>
                  <a:pt x="159" y="185"/>
                  <a:pt x="159" y="185"/>
                  <a:pt x="159" y="185"/>
                </a:cubicBezTo>
                <a:cubicBezTo>
                  <a:pt x="157" y="188"/>
                  <a:pt x="157" y="188"/>
                  <a:pt x="157" y="188"/>
                </a:cubicBezTo>
                <a:cubicBezTo>
                  <a:pt x="156" y="185"/>
                  <a:pt x="156" y="185"/>
                  <a:pt x="156" y="185"/>
                </a:cubicBezTo>
                <a:cubicBezTo>
                  <a:pt x="156" y="185"/>
                  <a:pt x="151" y="187"/>
                  <a:pt x="148" y="188"/>
                </a:cubicBezTo>
                <a:cubicBezTo>
                  <a:pt x="145" y="189"/>
                  <a:pt x="143" y="192"/>
                  <a:pt x="143" y="192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39" y="194"/>
                  <a:pt x="139" y="194"/>
                  <a:pt x="139" y="194"/>
                </a:cubicBezTo>
                <a:cubicBezTo>
                  <a:pt x="139" y="194"/>
                  <a:pt x="136" y="193"/>
                  <a:pt x="135" y="194"/>
                </a:cubicBezTo>
                <a:cubicBezTo>
                  <a:pt x="135" y="195"/>
                  <a:pt x="135" y="197"/>
                  <a:pt x="135" y="197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41" y="196"/>
                  <a:pt x="141" y="196"/>
                  <a:pt x="141" y="196"/>
                </a:cubicBezTo>
                <a:cubicBezTo>
                  <a:pt x="138" y="198"/>
                  <a:pt x="138" y="198"/>
                  <a:pt x="138" y="198"/>
                </a:cubicBezTo>
                <a:cubicBezTo>
                  <a:pt x="138" y="200"/>
                  <a:pt x="138" y="200"/>
                  <a:pt x="138" y="200"/>
                </a:cubicBezTo>
                <a:cubicBezTo>
                  <a:pt x="136" y="201"/>
                  <a:pt x="136" y="201"/>
                  <a:pt x="136" y="201"/>
                </a:cubicBezTo>
                <a:cubicBezTo>
                  <a:pt x="136" y="201"/>
                  <a:pt x="146" y="201"/>
                  <a:pt x="144" y="203"/>
                </a:cubicBezTo>
                <a:cubicBezTo>
                  <a:pt x="142" y="205"/>
                  <a:pt x="138" y="205"/>
                  <a:pt x="138" y="205"/>
                </a:cubicBezTo>
                <a:cubicBezTo>
                  <a:pt x="134" y="205"/>
                  <a:pt x="134" y="205"/>
                  <a:pt x="134" y="205"/>
                </a:cubicBezTo>
                <a:cubicBezTo>
                  <a:pt x="136" y="204"/>
                  <a:pt x="136" y="204"/>
                  <a:pt x="136" y="204"/>
                </a:cubicBezTo>
                <a:cubicBezTo>
                  <a:pt x="134" y="203"/>
                  <a:pt x="134" y="203"/>
                  <a:pt x="134" y="203"/>
                </a:cubicBezTo>
                <a:cubicBezTo>
                  <a:pt x="134" y="203"/>
                  <a:pt x="128" y="205"/>
                  <a:pt x="128" y="206"/>
                </a:cubicBezTo>
                <a:cubicBezTo>
                  <a:pt x="128" y="206"/>
                  <a:pt x="130" y="207"/>
                  <a:pt x="130" y="207"/>
                </a:cubicBezTo>
                <a:cubicBezTo>
                  <a:pt x="130" y="207"/>
                  <a:pt x="127" y="213"/>
                  <a:pt x="128" y="213"/>
                </a:cubicBezTo>
                <a:cubicBezTo>
                  <a:pt x="129" y="213"/>
                  <a:pt x="138" y="212"/>
                  <a:pt x="138" y="212"/>
                </a:cubicBezTo>
                <a:cubicBezTo>
                  <a:pt x="145" y="209"/>
                  <a:pt x="145" y="209"/>
                  <a:pt x="145" y="209"/>
                </a:cubicBezTo>
                <a:cubicBezTo>
                  <a:pt x="154" y="205"/>
                  <a:pt x="154" y="205"/>
                  <a:pt x="154" y="205"/>
                </a:cubicBezTo>
                <a:cubicBezTo>
                  <a:pt x="154" y="205"/>
                  <a:pt x="145" y="209"/>
                  <a:pt x="144" y="211"/>
                </a:cubicBezTo>
                <a:cubicBezTo>
                  <a:pt x="143" y="212"/>
                  <a:pt x="143" y="216"/>
                  <a:pt x="142" y="216"/>
                </a:cubicBezTo>
                <a:cubicBezTo>
                  <a:pt x="140" y="217"/>
                  <a:pt x="138" y="215"/>
                  <a:pt x="137" y="217"/>
                </a:cubicBezTo>
                <a:cubicBezTo>
                  <a:pt x="135" y="219"/>
                  <a:pt x="135" y="221"/>
                  <a:pt x="133" y="222"/>
                </a:cubicBezTo>
                <a:cubicBezTo>
                  <a:pt x="132" y="223"/>
                  <a:pt x="129" y="225"/>
                  <a:pt x="129" y="225"/>
                </a:cubicBezTo>
                <a:cubicBezTo>
                  <a:pt x="137" y="224"/>
                  <a:pt x="137" y="224"/>
                  <a:pt x="137" y="224"/>
                </a:cubicBezTo>
                <a:cubicBezTo>
                  <a:pt x="135" y="227"/>
                  <a:pt x="135" y="227"/>
                  <a:pt x="135" y="227"/>
                </a:cubicBezTo>
                <a:cubicBezTo>
                  <a:pt x="135" y="227"/>
                  <a:pt x="142" y="220"/>
                  <a:pt x="145" y="221"/>
                </a:cubicBezTo>
                <a:cubicBezTo>
                  <a:pt x="149" y="221"/>
                  <a:pt x="147" y="223"/>
                  <a:pt x="147" y="223"/>
                </a:cubicBezTo>
                <a:cubicBezTo>
                  <a:pt x="150" y="222"/>
                  <a:pt x="150" y="222"/>
                  <a:pt x="150" y="222"/>
                </a:cubicBezTo>
                <a:cubicBezTo>
                  <a:pt x="150" y="222"/>
                  <a:pt x="148" y="227"/>
                  <a:pt x="150" y="227"/>
                </a:cubicBezTo>
                <a:cubicBezTo>
                  <a:pt x="153" y="227"/>
                  <a:pt x="157" y="223"/>
                  <a:pt x="157" y="223"/>
                </a:cubicBezTo>
                <a:cubicBezTo>
                  <a:pt x="163" y="220"/>
                  <a:pt x="163" y="220"/>
                  <a:pt x="163" y="220"/>
                </a:cubicBezTo>
                <a:cubicBezTo>
                  <a:pt x="164" y="222"/>
                  <a:pt x="164" y="222"/>
                  <a:pt x="164" y="222"/>
                </a:cubicBezTo>
                <a:cubicBezTo>
                  <a:pt x="160" y="222"/>
                  <a:pt x="160" y="222"/>
                  <a:pt x="160" y="222"/>
                </a:cubicBezTo>
                <a:cubicBezTo>
                  <a:pt x="160" y="222"/>
                  <a:pt x="157" y="225"/>
                  <a:pt x="159" y="225"/>
                </a:cubicBezTo>
                <a:cubicBezTo>
                  <a:pt x="162" y="225"/>
                  <a:pt x="171" y="222"/>
                  <a:pt x="171" y="222"/>
                </a:cubicBezTo>
                <a:cubicBezTo>
                  <a:pt x="177" y="220"/>
                  <a:pt x="177" y="220"/>
                  <a:pt x="177" y="220"/>
                </a:cubicBezTo>
                <a:cubicBezTo>
                  <a:pt x="171" y="223"/>
                  <a:pt x="171" y="223"/>
                  <a:pt x="171" y="223"/>
                </a:cubicBezTo>
                <a:cubicBezTo>
                  <a:pt x="171" y="225"/>
                  <a:pt x="171" y="225"/>
                  <a:pt x="171" y="225"/>
                </a:cubicBezTo>
                <a:cubicBezTo>
                  <a:pt x="171" y="225"/>
                  <a:pt x="167" y="226"/>
                  <a:pt x="164" y="226"/>
                </a:cubicBezTo>
                <a:cubicBezTo>
                  <a:pt x="162" y="227"/>
                  <a:pt x="160" y="230"/>
                  <a:pt x="160" y="23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51" y="235"/>
                  <a:pt x="151" y="235"/>
                  <a:pt x="151" y="235"/>
                </a:cubicBezTo>
                <a:cubicBezTo>
                  <a:pt x="151" y="237"/>
                  <a:pt x="151" y="237"/>
                  <a:pt x="151" y="237"/>
                </a:cubicBezTo>
                <a:cubicBezTo>
                  <a:pt x="146" y="237"/>
                  <a:pt x="146" y="237"/>
                  <a:pt x="146" y="237"/>
                </a:cubicBezTo>
                <a:cubicBezTo>
                  <a:pt x="146" y="237"/>
                  <a:pt x="136" y="239"/>
                  <a:pt x="135" y="240"/>
                </a:cubicBezTo>
                <a:cubicBezTo>
                  <a:pt x="134" y="242"/>
                  <a:pt x="135" y="245"/>
                  <a:pt x="133" y="245"/>
                </a:cubicBezTo>
                <a:cubicBezTo>
                  <a:pt x="131" y="245"/>
                  <a:pt x="126" y="245"/>
                  <a:pt x="122" y="245"/>
                </a:cubicBezTo>
                <a:cubicBezTo>
                  <a:pt x="119" y="246"/>
                  <a:pt x="108" y="254"/>
                  <a:pt x="108" y="254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3" y="257"/>
                  <a:pt x="103" y="257"/>
                  <a:pt x="103" y="257"/>
                </a:cubicBezTo>
                <a:cubicBezTo>
                  <a:pt x="103" y="254"/>
                  <a:pt x="103" y="254"/>
                  <a:pt x="103" y="254"/>
                </a:cubicBezTo>
                <a:cubicBezTo>
                  <a:pt x="103" y="254"/>
                  <a:pt x="96" y="253"/>
                  <a:pt x="94" y="255"/>
                </a:cubicBezTo>
                <a:cubicBezTo>
                  <a:pt x="91" y="256"/>
                  <a:pt x="86" y="258"/>
                  <a:pt x="86" y="258"/>
                </a:cubicBezTo>
                <a:cubicBezTo>
                  <a:pt x="84" y="258"/>
                  <a:pt x="84" y="258"/>
                  <a:pt x="84" y="258"/>
                </a:cubicBezTo>
                <a:cubicBezTo>
                  <a:pt x="85" y="259"/>
                  <a:pt x="85" y="259"/>
                  <a:pt x="85" y="259"/>
                </a:cubicBezTo>
                <a:cubicBezTo>
                  <a:pt x="81" y="260"/>
                  <a:pt x="81" y="260"/>
                  <a:pt x="81" y="260"/>
                </a:cubicBezTo>
                <a:cubicBezTo>
                  <a:pt x="79" y="261"/>
                  <a:pt x="79" y="261"/>
                  <a:pt x="79" y="261"/>
                </a:cubicBezTo>
                <a:cubicBezTo>
                  <a:pt x="76" y="261"/>
                  <a:pt x="76" y="261"/>
                  <a:pt x="76" y="261"/>
                </a:cubicBezTo>
                <a:cubicBezTo>
                  <a:pt x="72" y="264"/>
                  <a:pt x="72" y="264"/>
                  <a:pt x="72" y="264"/>
                </a:cubicBezTo>
                <a:cubicBezTo>
                  <a:pt x="73" y="265"/>
                  <a:pt x="73" y="265"/>
                  <a:pt x="73" y="265"/>
                </a:cubicBezTo>
                <a:cubicBezTo>
                  <a:pt x="75" y="263"/>
                  <a:pt x="75" y="263"/>
                  <a:pt x="75" y="263"/>
                </a:cubicBezTo>
                <a:cubicBezTo>
                  <a:pt x="78" y="264"/>
                  <a:pt x="78" y="264"/>
                  <a:pt x="78" y="264"/>
                </a:cubicBezTo>
                <a:cubicBezTo>
                  <a:pt x="81" y="262"/>
                  <a:pt x="81" y="262"/>
                  <a:pt x="81" y="262"/>
                </a:cubicBezTo>
                <a:cubicBezTo>
                  <a:pt x="81" y="263"/>
                  <a:pt x="81" y="263"/>
                  <a:pt x="81" y="263"/>
                </a:cubicBezTo>
                <a:cubicBezTo>
                  <a:pt x="81" y="263"/>
                  <a:pt x="86" y="263"/>
                  <a:pt x="87" y="262"/>
                </a:cubicBezTo>
                <a:cubicBezTo>
                  <a:pt x="89" y="260"/>
                  <a:pt x="92" y="257"/>
                  <a:pt x="94" y="257"/>
                </a:cubicBezTo>
                <a:cubicBezTo>
                  <a:pt x="96" y="256"/>
                  <a:pt x="94" y="260"/>
                  <a:pt x="97" y="260"/>
                </a:cubicBezTo>
                <a:cubicBezTo>
                  <a:pt x="100" y="260"/>
                  <a:pt x="108" y="256"/>
                  <a:pt x="108" y="256"/>
                </a:cubicBezTo>
                <a:cubicBezTo>
                  <a:pt x="112" y="258"/>
                  <a:pt x="112" y="258"/>
                  <a:pt x="112" y="258"/>
                </a:cubicBezTo>
                <a:cubicBezTo>
                  <a:pt x="115" y="255"/>
                  <a:pt x="115" y="255"/>
                  <a:pt x="115" y="255"/>
                </a:cubicBezTo>
                <a:cubicBezTo>
                  <a:pt x="115" y="255"/>
                  <a:pt x="122" y="255"/>
                  <a:pt x="125" y="253"/>
                </a:cubicBezTo>
                <a:cubicBezTo>
                  <a:pt x="127" y="251"/>
                  <a:pt x="130" y="248"/>
                  <a:pt x="131" y="248"/>
                </a:cubicBezTo>
                <a:cubicBezTo>
                  <a:pt x="133" y="248"/>
                  <a:pt x="136" y="248"/>
                  <a:pt x="136" y="248"/>
                </a:cubicBezTo>
                <a:cubicBezTo>
                  <a:pt x="137" y="246"/>
                  <a:pt x="137" y="246"/>
                  <a:pt x="137" y="246"/>
                </a:cubicBezTo>
                <a:cubicBezTo>
                  <a:pt x="142" y="246"/>
                  <a:pt x="142" y="246"/>
                  <a:pt x="142" y="246"/>
                </a:cubicBezTo>
                <a:cubicBezTo>
                  <a:pt x="143" y="245"/>
                  <a:pt x="143" y="245"/>
                  <a:pt x="143" y="245"/>
                </a:cubicBezTo>
                <a:cubicBezTo>
                  <a:pt x="143" y="245"/>
                  <a:pt x="150" y="243"/>
                  <a:pt x="153" y="242"/>
                </a:cubicBezTo>
                <a:cubicBezTo>
                  <a:pt x="156" y="240"/>
                  <a:pt x="159" y="238"/>
                  <a:pt x="159" y="238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176" y="232"/>
                  <a:pt x="176" y="232"/>
                  <a:pt x="176" y="232"/>
                </a:cubicBezTo>
                <a:cubicBezTo>
                  <a:pt x="176" y="232"/>
                  <a:pt x="185" y="232"/>
                  <a:pt x="187" y="230"/>
                </a:cubicBezTo>
                <a:cubicBezTo>
                  <a:pt x="188" y="229"/>
                  <a:pt x="191" y="226"/>
                  <a:pt x="191" y="226"/>
                </a:cubicBezTo>
                <a:cubicBezTo>
                  <a:pt x="191" y="226"/>
                  <a:pt x="200" y="225"/>
                  <a:pt x="200" y="223"/>
                </a:cubicBezTo>
                <a:cubicBezTo>
                  <a:pt x="201" y="221"/>
                  <a:pt x="198" y="221"/>
                  <a:pt x="198" y="221"/>
                </a:cubicBezTo>
                <a:cubicBezTo>
                  <a:pt x="198" y="221"/>
                  <a:pt x="203" y="218"/>
                  <a:pt x="205" y="217"/>
                </a:cubicBezTo>
                <a:cubicBezTo>
                  <a:pt x="207" y="216"/>
                  <a:pt x="212" y="214"/>
                  <a:pt x="212" y="214"/>
                </a:cubicBezTo>
                <a:cubicBezTo>
                  <a:pt x="223" y="210"/>
                  <a:pt x="223" y="210"/>
                  <a:pt x="223" y="210"/>
                </a:cubicBezTo>
                <a:cubicBezTo>
                  <a:pt x="222" y="208"/>
                  <a:pt x="222" y="208"/>
                  <a:pt x="222" y="208"/>
                </a:cubicBezTo>
                <a:cubicBezTo>
                  <a:pt x="222" y="208"/>
                  <a:pt x="227" y="209"/>
                  <a:pt x="228" y="208"/>
                </a:cubicBezTo>
                <a:cubicBezTo>
                  <a:pt x="230" y="207"/>
                  <a:pt x="236" y="204"/>
                  <a:pt x="236" y="204"/>
                </a:cubicBezTo>
                <a:cubicBezTo>
                  <a:pt x="236" y="204"/>
                  <a:pt x="249" y="199"/>
                  <a:pt x="250" y="198"/>
                </a:cubicBezTo>
                <a:cubicBezTo>
                  <a:pt x="252" y="197"/>
                  <a:pt x="258" y="202"/>
                  <a:pt x="258" y="202"/>
                </a:cubicBezTo>
                <a:cubicBezTo>
                  <a:pt x="253" y="202"/>
                  <a:pt x="253" y="202"/>
                  <a:pt x="253" y="202"/>
                </a:cubicBezTo>
                <a:cubicBezTo>
                  <a:pt x="250" y="200"/>
                  <a:pt x="250" y="200"/>
                  <a:pt x="250" y="200"/>
                </a:cubicBezTo>
                <a:cubicBezTo>
                  <a:pt x="246" y="203"/>
                  <a:pt x="246" y="203"/>
                  <a:pt x="246" y="203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241" y="203"/>
                  <a:pt x="236" y="208"/>
                  <a:pt x="234" y="209"/>
                </a:cubicBezTo>
                <a:cubicBezTo>
                  <a:pt x="232" y="209"/>
                  <a:pt x="224" y="211"/>
                  <a:pt x="225" y="212"/>
                </a:cubicBezTo>
                <a:cubicBezTo>
                  <a:pt x="226" y="214"/>
                  <a:pt x="230" y="214"/>
                  <a:pt x="230" y="214"/>
                </a:cubicBezTo>
                <a:cubicBezTo>
                  <a:pt x="230" y="214"/>
                  <a:pt x="226" y="216"/>
                  <a:pt x="225" y="216"/>
                </a:cubicBezTo>
                <a:cubicBezTo>
                  <a:pt x="224" y="216"/>
                  <a:pt x="218" y="216"/>
                  <a:pt x="218" y="217"/>
                </a:cubicBezTo>
                <a:cubicBezTo>
                  <a:pt x="218" y="218"/>
                  <a:pt x="219" y="221"/>
                  <a:pt x="223" y="219"/>
                </a:cubicBezTo>
                <a:cubicBezTo>
                  <a:pt x="227" y="217"/>
                  <a:pt x="236" y="212"/>
                  <a:pt x="240" y="212"/>
                </a:cubicBezTo>
                <a:cubicBezTo>
                  <a:pt x="244" y="211"/>
                  <a:pt x="250" y="213"/>
                  <a:pt x="253" y="211"/>
                </a:cubicBezTo>
                <a:cubicBezTo>
                  <a:pt x="256" y="210"/>
                  <a:pt x="261" y="205"/>
                  <a:pt x="261" y="205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203"/>
                  <a:pt x="272" y="199"/>
                  <a:pt x="274" y="199"/>
                </a:cubicBezTo>
                <a:cubicBezTo>
                  <a:pt x="276" y="199"/>
                  <a:pt x="277" y="201"/>
                  <a:pt x="277" y="201"/>
                </a:cubicBezTo>
                <a:cubicBezTo>
                  <a:pt x="285" y="199"/>
                  <a:pt x="285" y="199"/>
                  <a:pt x="285" y="199"/>
                </a:cubicBezTo>
                <a:cubicBezTo>
                  <a:pt x="280" y="203"/>
                  <a:pt x="280" y="203"/>
                  <a:pt x="280" y="203"/>
                </a:cubicBezTo>
                <a:cubicBezTo>
                  <a:pt x="282" y="205"/>
                  <a:pt x="282" y="205"/>
                  <a:pt x="282" y="205"/>
                </a:cubicBezTo>
                <a:cubicBezTo>
                  <a:pt x="282" y="205"/>
                  <a:pt x="282" y="207"/>
                  <a:pt x="282" y="207"/>
                </a:cubicBezTo>
                <a:cubicBezTo>
                  <a:pt x="283" y="207"/>
                  <a:pt x="292" y="202"/>
                  <a:pt x="292" y="202"/>
                </a:cubicBezTo>
                <a:cubicBezTo>
                  <a:pt x="292" y="202"/>
                  <a:pt x="284" y="208"/>
                  <a:pt x="286" y="209"/>
                </a:cubicBezTo>
                <a:cubicBezTo>
                  <a:pt x="288" y="210"/>
                  <a:pt x="294" y="210"/>
                  <a:pt x="294" y="210"/>
                </a:cubicBezTo>
                <a:cubicBezTo>
                  <a:pt x="308" y="212"/>
                  <a:pt x="308" y="212"/>
                  <a:pt x="308" y="212"/>
                </a:cubicBezTo>
                <a:cubicBezTo>
                  <a:pt x="312" y="209"/>
                  <a:pt x="312" y="209"/>
                  <a:pt x="312" y="209"/>
                </a:cubicBezTo>
                <a:cubicBezTo>
                  <a:pt x="312" y="209"/>
                  <a:pt x="310" y="214"/>
                  <a:pt x="312" y="214"/>
                </a:cubicBezTo>
                <a:cubicBezTo>
                  <a:pt x="314" y="214"/>
                  <a:pt x="321" y="214"/>
                  <a:pt x="321" y="214"/>
                </a:cubicBezTo>
                <a:cubicBezTo>
                  <a:pt x="326" y="212"/>
                  <a:pt x="326" y="212"/>
                  <a:pt x="326" y="212"/>
                </a:cubicBezTo>
                <a:cubicBezTo>
                  <a:pt x="326" y="212"/>
                  <a:pt x="317" y="215"/>
                  <a:pt x="318" y="217"/>
                </a:cubicBezTo>
                <a:cubicBezTo>
                  <a:pt x="319" y="219"/>
                  <a:pt x="322" y="220"/>
                  <a:pt x="322" y="220"/>
                </a:cubicBezTo>
                <a:cubicBezTo>
                  <a:pt x="322" y="220"/>
                  <a:pt x="322" y="228"/>
                  <a:pt x="324" y="228"/>
                </a:cubicBezTo>
                <a:cubicBezTo>
                  <a:pt x="327" y="228"/>
                  <a:pt x="333" y="227"/>
                  <a:pt x="333" y="227"/>
                </a:cubicBezTo>
                <a:cubicBezTo>
                  <a:pt x="332" y="223"/>
                  <a:pt x="332" y="223"/>
                  <a:pt x="332" y="223"/>
                </a:cubicBezTo>
                <a:cubicBezTo>
                  <a:pt x="335" y="222"/>
                  <a:pt x="335" y="222"/>
                  <a:pt x="335" y="222"/>
                </a:cubicBezTo>
                <a:cubicBezTo>
                  <a:pt x="337" y="224"/>
                  <a:pt x="337" y="224"/>
                  <a:pt x="337" y="224"/>
                </a:cubicBezTo>
                <a:cubicBezTo>
                  <a:pt x="341" y="223"/>
                  <a:pt x="341" y="223"/>
                  <a:pt x="341" y="223"/>
                </a:cubicBezTo>
                <a:cubicBezTo>
                  <a:pt x="341" y="223"/>
                  <a:pt x="337" y="228"/>
                  <a:pt x="339" y="228"/>
                </a:cubicBezTo>
                <a:cubicBezTo>
                  <a:pt x="341" y="229"/>
                  <a:pt x="345" y="223"/>
                  <a:pt x="345" y="223"/>
                </a:cubicBezTo>
                <a:cubicBezTo>
                  <a:pt x="349" y="217"/>
                  <a:pt x="349" y="217"/>
                  <a:pt x="349" y="217"/>
                </a:cubicBezTo>
                <a:cubicBezTo>
                  <a:pt x="346" y="226"/>
                  <a:pt x="346" y="226"/>
                  <a:pt x="346" y="226"/>
                </a:cubicBezTo>
                <a:cubicBezTo>
                  <a:pt x="346" y="229"/>
                  <a:pt x="346" y="229"/>
                  <a:pt x="346" y="229"/>
                </a:cubicBezTo>
                <a:cubicBezTo>
                  <a:pt x="351" y="227"/>
                  <a:pt x="351" y="227"/>
                  <a:pt x="351" y="227"/>
                </a:cubicBezTo>
                <a:cubicBezTo>
                  <a:pt x="348" y="231"/>
                  <a:pt x="348" y="231"/>
                  <a:pt x="348" y="231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49" y="233"/>
                  <a:pt x="349" y="233"/>
                  <a:pt x="349" y="233"/>
                </a:cubicBezTo>
                <a:cubicBezTo>
                  <a:pt x="349" y="236"/>
                  <a:pt x="349" y="236"/>
                  <a:pt x="349" y="236"/>
                </a:cubicBezTo>
                <a:cubicBezTo>
                  <a:pt x="345" y="238"/>
                  <a:pt x="345" y="238"/>
                  <a:pt x="345" y="238"/>
                </a:cubicBezTo>
                <a:cubicBezTo>
                  <a:pt x="342" y="240"/>
                  <a:pt x="342" y="240"/>
                  <a:pt x="342" y="240"/>
                </a:cubicBezTo>
                <a:cubicBezTo>
                  <a:pt x="347" y="243"/>
                  <a:pt x="347" y="243"/>
                  <a:pt x="347" y="243"/>
                </a:cubicBezTo>
                <a:cubicBezTo>
                  <a:pt x="346" y="247"/>
                  <a:pt x="346" y="247"/>
                  <a:pt x="346" y="247"/>
                </a:cubicBezTo>
                <a:cubicBezTo>
                  <a:pt x="344" y="250"/>
                  <a:pt x="344" y="250"/>
                  <a:pt x="344" y="250"/>
                </a:cubicBezTo>
                <a:cubicBezTo>
                  <a:pt x="346" y="251"/>
                  <a:pt x="346" y="251"/>
                  <a:pt x="346" y="251"/>
                </a:cubicBezTo>
                <a:cubicBezTo>
                  <a:pt x="343" y="254"/>
                  <a:pt x="343" y="254"/>
                  <a:pt x="343" y="254"/>
                </a:cubicBezTo>
                <a:cubicBezTo>
                  <a:pt x="347" y="254"/>
                  <a:pt x="347" y="254"/>
                  <a:pt x="347" y="254"/>
                </a:cubicBezTo>
                <a:cubicBezTo>
                  <a:pt x="353" y="252"/>
                  <a:pt x="353" y="252"/>
                  <a:pt x="353" y="252"/>
                </a:cubicBezTo>
                <a:cubicBezTo>
                  <a:pt x="348" y="257"/>
                  <a:pt x="348" y="257"/>
                  <a:pt x="348" y="257"/>
                </a:cubicBezTo>
                <a:cubicBezTo>
                  <a:pt x="346" y="259"/>
                  <a:pt x="346" y="259"/>
                  <a:pt x="346" y="259"/>
                </a:cubicBezTo>
                <a:cubicBezTo>
                  <a:pt x="349" y="260"/>
                  <a:pt x="349" y="260"/>
                  <a:pt x="349" y="260"/>
                </a:cubicBezTo>
                <a:cubicBezTo>
                  <a:pt x="342" y="263"/>
                  <a:pt x="342" y="263"/>
                  <a:pt x="342" y="263"/>
                </a:cubicBezTo>
                <a:cubicBezTo>
                  <a:pt x="340" y="265"/>
                  <a:pt x="340" y="265"/>
                  <a:pt x="340" y="265"/>
                </a:cubicBezTo>
                <a:cubicBezTo>
                  <a:pt x="342" y="266"/>
                  <a:pt x="342" y="266"/>
                  <a:pt x="342" y="266"/>
                </a:cubicBezTo>
                <a:cubicBezTo>
                  <a:pt x="342" y="266"/>
                  <a:pt x="342" y="266"/>
                  <a:pt x="342" y="267"/>
                </a:cubicBezTo>
                <a:cubicBezTo>
                  <a:pt x="341" y="268"/>
                  <a:pt x="341" y="269"/>
                  <a:pt x="341" y="270"/>
                </a:cubicBezTo>
                <a:cubicBezTo>
                  <a:pt x="341" y="272"/>
                  <a:pt x="340" y="275"/>
                  <a:pt x="340" y="275"/>
                </a:cubicBezTo>
                <a:cubicBezTo>
                  <a:pt x="338" y="276"/>
                  <a:pt x="338" y="276"/>
                  <a:pt x="338" y="276"/>
                </a:cubicBezTo>
                <a:cubicBezTo>
                  <a:pt x="338" y="276"/>
                  <a:pt x="340" y="277"/>
                  <a:pt x="340" y="278"/>
                </a:cubicBezTo>
                <a:cubicBezTo>
                  <a:pt x="340" y="280"/>
                  <a:pt x="342" y="280"/>
                  <a:pt x="342" y="280"/>
                </a:cubicBezTo>
                <a:cubicBezTo>
                  <a:pt x="342" y="280"/>
                  <a:pt x="352" y="272"/>
                  <a:pt x="352" y="274"/>
                </a:cubicBezTo>
                <a:cubicBezTo>
                  <a:pt x="352" y="276"/>
                  <a:pt x="349" y="276"/>
                  <a:pt x="348" y="277"/>
                </a:cubicBezTo>
                <a:cubicBezTo>
                  <a:pt x="348" y="278"/>
                  <a:pt x="349" y="280"/>
                  <a:pt x="349" y="280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45" y="282"/>
                  <a:pt x="345" y="282"/>
                  <a:pt x="345" y="282"/>
                </a:cubicBezTo>
                <a:cubicBezTo>
                  <a:pt x="345" y="282"/>
                  <a:pt x="340" y="287"/>
                  <a:pt x="342" y="287"/>
                </a:cubicBezTo>
                <a:cubicBezTo>
                  <a:pt x="344" y="288"/>
                  <a:pt x="345" y="289"/>
                  <a:pt x="345" y="289"/>
                </a:cubicBezTo>
                <a:cubicBezTo>
                  <a:pt x="345" y="289"/>
                  <a:pt x="343" y="293"/>
                  <a:pt x="344" y="293"/>
                </a:cubicBezTo>
                <a:cubicBezTo>
                  <a:pt x="346" y="292"/>
                  <a:pt x="354" y="286"/>
                  <a:pt x="354" y="286"/>
                </a:cubicBezTo>
                <a:cubicBezTo>
                  <a:pt x="354" y="288"/>
                  <a:pt x="354" y="288"/>
                  <a:pt x="354" y="288"/>
                </a:cubicBezTo>
                <a:cubicBezTo>
                  <a:pt x="350" y="290"/>
                  <a:pt x="350" y="290"/>
                  <a:pt x="350" y="290"/>
                </a:cubicBezTo>
                <a:cubicBezTo>
                  <a:pt x="353" y="292"/>
                  <a:pt x="353" y="292"/>
                  <a:pt x="353" y="292"/>
                </a:cubicBezTo>
                <a:cubicBezTo>
                  <a:pt x="353" y="292"/>
                  <a:pt x="352" y="296"/>
                  <a:pt x="351" y="295"/>
                </a:cubicBezTo>
                <a:cubicBezTo>
                  <a:pt x="349" y="295"/>
                  <a:pt x="349" y="293"/>
                  <a:pt x="349" y="293"/>
                </a:cubicBezTo>
                <a:cubicBezTo>
                  <a:pt x="349" y="293"/>
                  <a:pt x="342" y="295"/>
                  <a:pt x="340" y="296"/>
                </a:cubicBezTo>
                <a:cubicBezTo>
                  <a:pt x="339" y="298"/>
                  <a:pt x="338" y="299"/>
                  <a:pt x="338" y="299"/>
                </a:cubicBezTo>
                <a:cubicBezTo>
                  <a:pt x="338" y="299"/>
                  <a:pt x="342" y="298"/>
                  <a:pt x="343" y="298"/>
                </a:cubicBezTo>
                <a:cubicBezTo>
                  <a:pt x="344" y="298"/>
                  <a:pt x="348" y="298"/>
                  <a:pt x="348" y="298"/>
                </a:cubicBezTo>
                <a:cubicBezTo>
                  <a:pt x="348" y="298"/>
                  <a:pt x="341" y="300"/>
                  <a:pt x="339" y="301"/>
                </a:cubicBezTo>
                <a:cubicBezTo>
                  <a:pt x="338" y="301"/>
                  <a:pt x="339" y="303"/>
                  <a:pt x="339" y="303"/>
                </a:cubicBezTo>
                <a:cubicBezTo>
                  <a:pt x="339" y="303"/>
                  <a:pt x="332" y="301"/>
                  <a:pt x="334" y="303"/>
                </a:cubicBezTo>
                <a:cubicBezTo>
                  <a:pt x="336" y="306"/>
                  <a:pt x="338" y="307"/>
                  <a:pt x="338" y="307"/>
                </a:cubicBezTo>
                <a:cubicBezTo>
                  <a:pt x="344" y="305"/>
                  <a:pt x="344" y="305"/>
                  <a:pt x="344" y="305"/>
                </a:cubicBezTo>
                <a:cubicBezTo>
                  <a:pt x="346" y="308"/>
                  <a:pt x="346" y="308"/>
                  <a:pt x="346" y="308"/>
                </a:cubicBezTo>
                <a:cubicBezTo>
                  <a:pt x="351" y="305"/>
                  <a:pt x="351" y="305"/>
                  <a:pt x="351" y="305"/>
                </a:cubicBezTo>
                <a:cubicBezTo>
                  <a:pt x="351" y="305"/>
                  <a:pt x="345" y="312"/>
                  <a:pt x="347" y="312"/>
                </a:cubicBezTo>
                <a:cubicBezTo>
                  <a:pt x="349" y="312"/>
                  <a:pt x="355" y="307"/>
                  <a:pt x="355" y="307"/>
                </a:cubicBezTo>
                <a:cubicBezTo>
                  <a:pt x="355" y="307"/>
                  <a:pt x="350" y="313"/>
                  <a:pt x="351" y="313"/>
                </a:cubicBezTo>
                <a:cubicBezTo>
                  <a:pt x="351" y="313"/>
                  <a:pt x="355" y="312"/>
                  <a:pt x="355" y="312"/>
                </a:cubicBezTo>
                <a:cubicBezTo>
                  <a:pt x="355" y="312"/>
                  <a:pt x="347" y="318"/>
                  <a:pt x="350" y="319"/>
                </a:cubicBezTo>
                <a:cubicBezTo>
                  <a:pt x="352" y="319"/>
                  <a:pt x="358" y="315"/>
                  <a:pt x="358" y="315"/>
                </a:cubicBezTo>
                <a:cubicBezTo>
                  <a:pt x="358" y="315"/>
                  <a:pt x="353" y="320"/>
                  <a:pt x="354" y="321"/>
                </a:cubicBezTo>
                <a:cubicBezTo>
                  <a:pt x="355" y="321"/>
                  <a:pt x="359" y="322"/>
                  <a:pt x="359" y="323"/>
                </a:cubicBezTo>
                <a:cubicBezTo>
                  <a:pt x="359" y="323"/>
                  <a:pt x="358" y="327"/>
                  <a:pt x="358" y="329"/>
                </a:cubicBezTo>
                <a:cubicBezTo>
                  <a:pt x="358" y="329"/>
                  <a:pt x="358" y="329"/>
                  <a:pt x="358" y="329"/>
                </a:cubicBezTo>
                <a:cubicBezTo>
                  <a:pt x="358" y="331"/>
                  <a:pt x="357" y="332"/>
                  <a:pt x="357" y="333"/>
                </a:cubicBezTo>
                <a:cubicBezTo>
                  <a:pt x="356" y="334"/>
                  <a:pt x="356" y="339"/>
                  <a:pt x="356" y="339"/>
                </a:cubicBezTo>
                <a:cubicBezTo>
                  <a:pt x="351" y="341"/>
                  <a:pt x="351" y="341"/>
                  <a:pt x="351" y="341"/>
                </a:cubicBezTo>
                <a:cubicBezTo>
                  <a:pt x="351" y="344"/>
                  <a:pt x="351" y="344"/>
                  <a:pt x="351" y="344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4" y="346"/>
                  <a:pt x="344" y="346"/>
                  <a:pt x="344" y="346"/>
                </a:cubicBezTo>
                <a:cubicBezTo>
                  <a:pt x="344" y="346"/>
                  <a:pt x="346" y="342"/>
                  <a:pt x="347" y="341"/>
                </a:cubicBezTo>
                <a:cubicBezTo>
                  <a:pt x="348" y="341"/>
                  <a:pt x="352" y="338"/>
                  <a:pt x="350" y="338"/>
                </a:cubicBezTo>
                <a:cubicBezTo>
                  <a:pt x="348" y="338"/>
                  <a:pt x="346" y="338"/>
                  <a:pt x="344" y="338"/>
                </a:cubicBezTo>
                <a:cubicBezTo>
                  <a:pt x="342" y="338"/>
                  <a:pt x="340" y="334"/>
                  <a:pt x="338" y="335"/>
                </a:cubicBezTo>
                <a:cubicBezTo>
                  <a:pt x="336" y="336"/>
                  <a:pt x="335" y="334"/>
                  <a:pt x="334" y="338"/>
                </a:cubicBezTo>
                <a:cubicBezTo>
                  <a:pt x="334" y="343"/>
                  <a:pt x="334" y="345"/>
                  <a:pt x="333" y="346"/>
                </a:cubicBezTo>
                <a:cubicBezTo>
                  <a:pt x="333" y="346"/>
                  <a:pt x="331" y="349"/>
                  <a:pt x="331" y="349"/>
                </a:cubicBezTo>
                <a:cubicBezTo>
                  <a:pt x="335" y="350"/>
                  <a:pt x="335" y="350"/>
                  <a:pt x="335" y="350"/>
                </a:cubicBezTo>
                <a:cubicBezTo>
                  <a:pt x="331" y="351"/>
                  <a:pt x="331" y="351"/>
                  <a:pt x="331" y="351"/>
                </a:cubicBezTo>
                <a:cubicBezTo>
                  <a:pt x="331" y="353"/>
                  <a:pt x="331" y="353"/>
                  <a:pt x="331" y="353"/>
                </a:cubicBezTo>
                <a:cubicBezTo>
                  <a:pt x="329" y="357"/>
                  <a:pt x="329" y="357"/>
                  <a:pt x="329" y="357"/>
                </a:cubicBezTo>
                <a:cubicBezTo>
                  <a:pt x="329" y="357"/>
                  <a:pt x="333" y="358"/>
                  <a:pt x="333" y="359"/>
                </a:cubicBezTo>
                <a:cubicBezTo>
                  <a:pt x="333" y="360"/>
                  <a:pt x="326" y="359"/>
                  <a:pt x="326" y="359"/>
                </a:cubicBezTo>
                <a:cubicBezTo>
                  <a:pt x="326" y="359"/>
                  <a:pt x="318" y="371"/>
                  <a:pt x="316" y="374"/>
                </a:cubicBezTo>
                <a:cubicBezTo>
                  <a:pt x="314" y="376"/>
                  <a:pt x="304" y="388"/>
                  <a:pt x="304" y="388"/>
                </a:cubicBezTo>
                <a:cubicBezTo>
                  <a:pt x="305" y="391"/>
                  <a:pt x="305" y="391"/>
                  <a:pt x="305" y="391"/>
                </a:cubicBezTo>
                <a:cubicBezTo>
                  <a:pt x="305" y="391"/>
                  <a:pt x="302" y="392"/>
                  <a:pt x="300" y="394"/>
                </a:cubicBezTo>
                <a:cubicBezTo>
                  <a:pt x="297" y="397"/>
                  <a:pt x="297" y="400"/>
                  <a:pt x="297" y="400"/>
                </a:cubicBezTo>
                <a:cubicBezTo>
                  <a:pt x="295" y="403"/>
                  <a:pt x="295" y="403"/>
                  <a:pt x="295" y="403"/>
                </a:cubicBezTo>
                <a:cubicBezTo>
                  <a:pt x="294" y="410"/>
                  <a:pt x="294" y="410"/>
                  <a:pt x="294" y="410"/>
                </a:cubicBezTo>
                <a:cubicBezTo>
                  <a:pt x="294" y="410"/>
                  <a:pt x="289" y="417"/>
                  <a:pt x="288" y="418"/>
                </a:cubicBezTo>
                <a:cubicBezTo>
                  <a:pt x="286" y="419"/>
                  <a:pt x="282" y="422"/>
                  <a:pt x="282" y="424"/>
                </a:cubicBezTo>
                <a:cubicBezTo>
                  <a:pt x="283" y="427"/>
                  <a:pt x="286" y="428"/>
                  <a:pt x="286" y="430"/>
                </a:cubicBezTo>
                <a:cubicBezTo>
                  <a:pt x="285" y="432"/>
                  <a:pt x="281" y="437"/>
                  <a:pt x="281" y="440"/>
                </a:cubicBezTo>
                <a:cubicBezTo>
                  <a:pt x="281" y="442"/>
                  <a:pt x="283" y="451"/>
                  <a:pt x="283" y="451"/>
                </a:cubicBezTo>
                <a:cubicBezTo>
                  <a:pt x="287" y="449"/>
                  <a:pt x="287" y="449"/>
                  <a:pt x="287" y="449"/>
                </a:cubicBezTo>
                <a:cubicBezTo>
                  <a:pt x="296" y="450"/>
                  <a:pt x="296" y="450"/>
                  <a:pt x="296" y="450"/>
                </a:cubicBezTo>
                <a:cubicBezTo>
                  <a:pt x="296" y="450"/>
                  <a:pt x="288" y="450"/>
                  <a:pt x="288" y="451"/>
                </a:cubicBezTo>
                <a:cubicBezTo>
                  <a:pt x="287" y="452"/>
                  <a:pt x="287" y="455"/>
                  <a:pt x="287" y="455"/>
                </a:cubicBezTo>
                <a:cubicBezTo>
                  <a:pt x="287" y="455"/>
                  <a:pt x="285" y="452"/>
                  <a:pt x="284" y="453"/>
                </a:cubicBezTo>
                <a:cubicBezTo>
                  <a:pt x="283" y="454"/>
                  <a:pt x="281" y="458"/>
                  <a:pt x="282" y="460"/>
                </a:cubicBezTo>
                <a:cubicBezTo>
                  <a:pt x="283" y="462"/>
                  <a:pt x="286" y="462"/>
                  <a:pt x="286" y="462"/>
                </a:cubicBezTo>
                <a:cubicBezTo>
                  <a:pt x="286" y="462"/>
                  <a:pt x="286" y="466"/>
                  <a:pt x="285" y="466"/>
                </a:cubicBezTo>
                <a:cubicBezTo>
                  <a:pt x="284" y="466"/>
                  <a:pt x="282" y="469"/>
                  <a:pt x="282" y="470"/>
                </a:cubicBezTo>
                <a:cubicBezTo>
                  <a:pt x="282" y="472"/>
                  <a:pt x="285" y="475"/>
                  <a:pt x="285" y="475"/>
                </a:cubicBezTo>
                <a:cubicBezTo>
                  <a:pt x="285" y="475"/>
                  <a:pt x="289" y="482"/>
                  <a:pt x="289" y="483"/>
                </a:cubicBezTo>
                <a:cubicBezTo>
                  <a:pt x="289" y="485"/>
                  <a:pt x="284" y="489"/>
                  <a:pt x="287" y="490"/>
                </a:cubicBezTo>
                <a:cubicBezTo>
                  <a:pt x="289" y="491"/>
                  <a:pt x="294" y="491"/>
                  <a:pt x="294" y="491"/>
                </a:cubicBezTo>
                <a:cubicBezTo>
                  <a:pt x="294" y="491"/>
                  <a:pt x="295" y="495"/>
                  <a:pt x="297" y="495"/>
                </a:cubicBezTo>
                <a:cubicBezTo>
                  <a:pt x="300" y="495"/>
                  <a:pt x="303" y="494"/>
                  <a:pt x="303" y="494"/>
                </a:cubicBezTo>
                <a:cubicBezTo>
                  <a:pt x="304" y="498"/>
                  <a:pt x="304" y="498"/>
                  <a:pt x="304" y="498"/>
                </a:cubicBezTo>
                <a:cubicBezTo>
                  <a:pt x="304" y="498"/>
                  <a:pt x="311" y="500"/>
                  <a:pt x="311" y="504"/>
                </a:cubicBezTo>
                <a:cubicBezTo>
                  <a:pt x="311" y="505"/>
                  <a:pt x="310" y="508"/>
                  <a:pt x="310" y="511"/>
                </a:cubicBezTo>
                <a:cubicBezTo>
                  <a:pt x="309" y="513"/>
                  <a:pt x="309" y="514"/>
                  <a:pt x="309" y="515"/>
                </a:cubicBezTo>
                <a:cubicBezTo>
                  <a:pt x="309" y="518"/>
                  <a:pt x="312" y="522"/>
                  <a:pt x="312" y="522"/>
                </a:cubicBezTo>
                <a:cubicBezTo>
                  <a:pt x="309" y="523"/>
                  <a:pt x="309" y="523"/>
                  <a:pt x="309" y="523"/>
                </a:cubicBezTo>
                <a:cubicBezTo>
                  <a:pt x="311" y="526"/>
                  <a:pt x="311" y="526"/>
                  <a:pt x="311" y="526"/>
                </a:cubicBezTo>
                <a:cubicBezTo>
                  <a:pt x="309" y="528"/>
                  <a:pt x="309" y="528"/>
                  <a:pt x="309" y="528"/>
                </a:cubicBezTo>
                <a:cubicBezTo>
                  <a:pt x="312" y="531"/>
                  <a:pt x="312" y="531"/>
                  <a:pt x="312" y="531"/>
                </a:cubicBezTo>
                <a:cubicBezTo>
                  <a:pt x="310" y="535"/>
                  <a:pt x="310" y="535"/>
                  <a:pt x="310" y="535"/>
                </a:cubicBezTo>
                <a:cubicBezTo>
                  <a:pt x="312" y="536"/>
                  <a:pt x="312" y="536"/>
                  <a:pt x="312" y="536"/>
                </a:cubicBezTo>
                <a:cubicBezTo>
                  <a:pt x="312" y="536"/>
                  <a:pt x="311" y="544"/>
                  <a:pt x="313" y="546"/>
                </a:cubicBezTo>
                <a:cubicBezTo>
                  <a:pt x="315" y="548"/>
                  <a:pt x="318" y="547"/>
                  <a:pt x="318" y="547"/>
                </a:cubicBezTo>
                <a:cubicBezTo>
                  <a:pt x="318" y="547"/>
                  <a:pt x="323" y="556"/>
                  <a:pt x="323" y="558"/>
                </a:cubicBezTo>
                <a:cubicBezTo>
                  <a:pt x="323" y="559"/>
                  <a:pt x="319" y="565"/>
                  <a:pt x="319" y="565"/>
                </a:cubicBezTo>
                <a:cubicBezTo>
                  <a:pt x="321" y="566"/>
                  <a:pt x="321" y="566"/>
                  <a:pt x="321" y="566"/>
                </a:cubicBezTo>
                <a:cubicBezTo>
                  <a:pt x="319" y="568"/>
                  <a:pt x="319" y="568"/>
                  <a:pt x="319" y="568"/>
                </a:cubicBezTo>
                <a:cubicBezTo>
                  <a:pt x="317" y="565"/>
                  <a:pt x="317" y="565"/>
                  <a:pt x="317" y="565"/>
                </a:cubicBezTo>
                <a:cubicBezTo>
                  <a:pt x="310" y="565"/>
                  <a:pt x="310" y="565"/>
                  <a:pt x="310" y="565"/>
                </a:cubicBezTo>
                <a:cubicBezTo>
                  <a:pt x="314" y="569"/>
                  <a:pt x="314" y="569"/>
                  <a:pt x="314" y="569"/>
                </a:cubicBezTo>
                <a:cubicBezTo>
                  <a:pt x="315" y="572"/>
                  <a:pt x="315" y="572"/>
                  <a:pt x="315" y="572"/>
                </a:cubicBezTo>
                <a:cubicBezTo>
                  <a:pt x="318" y="572"/>
                  <a:pt x="318" y="572"/>
                  <a:pt x="318" y="572"/>
                </a:cubicBezTo>
                <a:cubicBezTo>
                  <a:pt x="318" y="572"/>
                  <a:pt x="321" y="577"/>
                  <a:pt x="322" y="577"/>
                </a:cubicBezTo>
                <a:cubicBezTo>
                  <a:pt x="323" y="576"/>
                  <a:pt x="327" y="574"/>
                  <a:pt x="327" y="574"/>
                </a:cubicBezTo>
                <a:cubicBezTo>
                  <a:pt x="327" y="574"/>
                  <a:pt x="326" y="579"/>
                  <a:pt x="328" y="581"/>
                </a:cubicBezTo>
                <a:cubicBezTo>
                  <a:pt x="329" y="583"/>
                  <a:pt x="332" y="585"/>
                  <a:pt x="332" y="587"/>
                </a:cubicBezTo>
                <a:cubicBezTo>
                  <a:pt x="332" y="589"/>
                  <a:pt x="329" y="594"/>
                  <a:pt x="330" y="596"/>
                </a:cubicBezTo>
                <a:cubicBezTo>
                  <a:pt x="331" y="599"/>
                  <a:pt x="336" y="603"/>
                  <a:pt x="339" y="606"/>
                </a:cubicBezTo>
                <a:cubicBezTo>
                  <a:pt x="341" y="610"/>
                  <a:pt x="345" y="614"/>
                  <a:pt x="345" y="614"/>
                </a:cubicBezTo>
                <a:cubicBezTo>
                  <a:pt x="345" y="614"/>
                  <a:pt x="343" y="620"/>
                  <a:pt x="346" y="620"/>
                </a:cubicBezTo>
                <a:cubicBezTo>
                  <a:pt x="349" y="620"/>
                  <a:pt x="353" y="616"/>
                  <a:pt x="353" y="616"/>
                </a:cubicBezTo>
                <a:cubicBezTo>
                  <a:pt x="352" y="613"/>
                  <a:pt x="352" y="613"/>
                  <a:pt x="352" y="613"/>
                </a:cubicBezTo>
                <a:cubicBezTo>
                  <a:pt x="352" y="613"/>
                  <a:pt x="350" y="606"/>
                  <a:pt x="349" y="605"/>
                </a:cubicBezTo>
                <a:cubicBezTo>
                  <a:pt x="347" y="604"/>
                  <a:pt x="345" y="605"/>
                  <a:pt x="345" y="605"/>
                </a:cubicBezTo>
                <a:cubicBezTo>
                  <a:pt x="342" y="601"/>
                  <a:pt x="342" y="601"/>
                  <a:pt x="342" y="601"/>
                </a:cubicBezTo>
                <a:cubicBezTo>
                  <a:pt x="342" y="601"/>
                  <a:pt x="343" y="599"/>
                  <a:pt x="343" y="597"/>
                </a:cubicBezTo>
                <a:cubicBezTo>
                  <a:pt x="342" y="595"/>
                  <a:pt x="343" y="591"/>
                  <a:pt x="343" y="591"/>
                </a:cubicBezTo>
                <a:cubicBezTo>
                  <a:pt x="340" y="587"/>
                  <a:pt x="340" y="587"/>
                  <a:pt x="340" y="587"/>
                </a:cubicBezTo>
                <a:cubicBezTo>
                  <a:pt x="340" y="587"/>
                  <a:pt x="342" y="582"/>
                  <a:pt x="341" y="579"/>
                </a:cubicBezTo>
                <a:cubicBezTo>
                  <a:pt x="341" y="577"/>
                  <a:pt x="336" y="577"/>
                  <a:pt x="336" y="577"/>
                </a:cubicBezTo>
                <a:cubicBezTo>
                  <a:pt x="336" y="570"/>
                  <a:pt x="336" y="570"/>
                  <a:pt x="336" y="570"/>
                </a:cubicBezTo>
                <a:cubicBezTo>
                  <a:pt x="333" y="566"/>
                  <a:pt x="333" y="566"/>
                  <a:pt x="333" y="566"/>
                </a:cubicBezTo>
                <a:cubicBezTo>
                  <a:pt x="333" y="558"/>
                  <a:pt x="333" y="558"/>
                  <a:pt x="333" y="558"/>
                </a:cubicBezTo>
                <a:cubicBezTo>
                  <a:pt x="333" y="558"/>
                  <a:pt x="330" y="554"/>
                  <a:pt x="329" y="552"/>
                </a:cubicBezTo>
                <a:cubicBezTo>
                  <a:pt x="328" y="551"/>
                  <a:pt x="327" y="546"/>
                  <a:pt x="327" y="546"/>
                </a:cubicBezTo>
                <a:cubicBezTo>
                  <a:pt x="327" y="546"/>
                  <a:pt x="322" y="538"/>
                  <a:pt x="323" y="537"/>
                </a:cubicBezTo>
                <a:cubicBezTo>
                  <a:pt x="323" y="536"/>
                  <a:pt x="325" y="533"/>
                  <a:pt x="324" y="530"/>
                </a:cubicBezTo>
                <a:cubicBezTo>
                  <a:pt x="324" y="528"/>
                  <a:pt x="327" y="524"/>
                  <a:pt x="327" y="52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19"/>
                  <a:pt x="331" y="523"/>
                  <a:pt x="332" y="523"/>
                </a:cubicBezTo>
                <a:cubicBezTo>
                  <a:pt x="334" y="523"/>
                  <a:pt x="337" y="522"/>
                  <a:pt x="337" y="522"/>
                </a:cubicBezTo>
                <a:cubicBezTo>
                  <a:pt x="337" y="522"/>
                  <a:pt x="336" y="525"/>
                  <a:pt x="338" y="526"/>
                </a:cubicBezTo>
                <a:cubicBezTo>
                  <a:pt x="339" y="526"/>
                  <a:pt x="341" y="526"/>
                  <a:pt x="341" y="526"/>
                </a:cubicBezTo>
                <a:cubicBezTo>
                  <a:pt x="341" y="526"/>
                  <a:pt x="341" y="529"/>
                  <a:pt x="341" y="532"/>
                </a:cubicBezTo>
                <a:cubicBezTo>
                  <a:pt x="341" y="536"/>
                  <a:pt x="342" y="548"/>
                  <a:pt x="342" y="548"/>
                </a:cubicBezTo>
                <a:cubicBezTo>
                  <a:pt x="342" y="548"/>
                  <a:pt x="347" y="564"/>
                  <a:pt x="348" y="564"/>
                </a:cubicBezTo>
                <a:cubicBezTo>
                  <a:pt x="350" y="564"/>
                  <a:pt x="354" y="564"/>
                  <a:pt x="354" y="564"/>
                </a:cubicBezTo>
                <a:cubicBezTo>
                  <a:pt x="354" y="564"/>
                  <a:pt x="350" y="566"/>
                  <a:pt x="352" y="570"/>
                </a:cubicBezTo>
                <a:cubicBezTo>
                  <a:pt x="354" y="573"/>
                  <a:pt x="358" y="573"/>
                  <a:pt x="358" y="573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63" y="577"/>
                  <a:pt x="363" y="577"/>
                  <a:pt x="363" y="577"/>
                </a:cubicBezTo>
                <a:cubicBezTo>
                  <a:pt x="363" y="583"/>
                  <a:pt x="363" y="583"/>
                  <a:pt x="363" y="583"/>
                </a:cubicBezTo>
                <a:cubicBezTo>
                  <a:pt x="363" y="583"/>
                  <a:pt x="357" y="585"/>
                  <a:pt x="359" y="588"/>
                </a:cubicBezTo>
                <a:cubicBezTo>
                  <a:pt x="361" y="592"/>
                  <a:pt x="362" y="589"/>
                  <a:pt x="362" y="589"/>
                </a:cubicBezTo>
                <a:cubicBezTo>
                  <a:pt x="362" y="589"/>
                  <a:pt x="364" y="593"/>
                  <a:pt x="365" y="593"/>
                </a:cubicBezTo>
                <a:cubicBezTo>
                  <a:pt x="367" y="594"/>
                  <a:pt x="370" y="594"/>
                  <a:pt x="370" y="595"/>
                </a:cubicBezTo>
                <a:cubicBezTo>
                  <a:pt x="370" y="595"/>
                  <a:pt x="370" y="598"/>
                  <a:pt x="370" y="598"/>
                </a:cubicBezTo>
                <a:cubicBezTo>
                  <a:pt x="370" y="598"/>
                  <a:pt x="367" y="602"/>
                  <a:pt x="369" y="602"/>
                </a:cubicBezTo>
                <a:cubicBezTo>
                  <a:pt x="372" y="602"/>
                  <a:pt x="374" y="602"/>
                  <a:pt x="374" y="602"/>
                </a:cubicBezTo>
                <a:cubicBezTo>
                  <a:pt x="374" y="606"/>
                  <a:pt x="374" y="606"/>
                  <a:pt x="374" y="606"/>
                </a:cubicBezTo>
                <a:cubicBezTo>
                  <a:pt x="374" y="606"/>
                  <a:pt x="379" y="611"/>
                  <a:pt x="381" y="614"/>
                </a:cubicBezTo>
                <a:cubicBezTo>
                  <a:pt x="383" y="617"/>
                  <a:pt x="387" y="623"/>
                  <a:pt x="387" y="625"/>
                </a:cubicBezTo>
                <a:cubicBezTo>
                  <a:pt x="387" y="627"/>
                  <a:pt x="386" y="628"/>
                  <a:pt x="386" y="631"/>
                </a:cubicBezTo>
                <a:cubicBezTo>
                  <a:pt x="387" y="633"/>
                  <a:pt x="390" y="635"/>
                  <a:pt x="389" y="637"/>
                </a:cubicBezTo>
                <a:cubicBezTo>
                  <a:pt x="389" y="639"/>
                  <a:pt x="385" y="641"/>
                  <a:pt x="385" y="642"/>
                </a:cubicBezTo>
                <a:cubicBezTo>
                  <a:pt x="385" y="644"/>
                  <a:pt x="387" y="645"/>
                  <a:pt x="387" y="645"/>
                </a:cubicBezTo>
                <a:cubicBezTo>
                  <a:pt x="387" y="645"/>
                  <a:pt x="382" y="645"/>
                  <a:pt x="382" y="648"/>
                </a:cubicBezTo>
                <a:cubicBezTo>
                  <a:pt x="382" y="652"/>
                  <a:pt x="382" y="660"/>
                  <a:pt x="387" y="661"/>
                </a:cubicBezTo>
                <a:cubicBezTo>
                  <a:pt x="392" y="661"/>
                  <a:pt x="396" y="662"/>
                  <a:pt x="397" y="665"/>
                </a:cubicBezTo>
                <a:cubicBezTo>
                  <a:pt x="399" y="668"/>
                  <a:pt x="400" y="673"/>
                  <a:pt x="404" y="674"/>
                </a:cubicBezTo>
                <a:cubicBezTo>
                  <a:pt x="407" y="674"/>
                  <a:pt x="413" y="673"/>
                  <a:pt x="415" y="675"/>
                </a:cubicBezTo>
                <a:cubicBezTo>
                  <a:pt x="417" y="677"/>
                  <a:pt x="419" y="683"/>
                  <a:pt x="425" y="686"/>
                </a:cubicBezTo>
                <a:cubicBezTo>
                  <a:pt x="432" y="688"/>
                  <a:pt x="441" y="688"/>
                  <a:pt x="442" y="690"/>
                </a:cubicBezTo>
                <a:cubicBezTo>
                  <a:pt x="444" y="692"/>
                  <a:pt x="445" y="695"/>
                  <a:pt x="447" y="695"/>
                </a:cubicBezTo>
                <a:cubicBezTo>
                  <a:pt x="449" y="695"/>
                  <a:pt x="450" y="698"/>
                  <a:pt x="450" y="698"/>
                </a:cubicBezTo>
                <a:cubicBezTo>
                  <a:pt x="450" y="698"/>
                  <a:pt x="459" y="697"/>
                  <a:pt x="460" y="698"/>
                </a:cubicBezTo>
                <a:cubicBezTo>
                  <a:pt x="460" y="699"/>
                  <a:pt x="462" y="703"/>
                  <a:pt x="465" y="702"/>
                </a:cubicBezTo>
                <a:cubicBezTo>
                  <a:pt x="468" y="701"/>
                  <a:pt x="482" y="693"/>
                  <a:pt x="485" y="694"/>
                </a:cubicBezTo>
                <a:cubicBezTo>
                  <a:pt x="487" y="695"/>
                  <a:pt x="501" y="707"/>
                  <a:pt x="502" y="708"/>
                </a:cubicBezTo>
                <a:cubicBezTo>
                  <a:pt x="503" y="709"/>
                  <a:pt x="503" y="712"/>
                  <a:pt x="504" y="714"/>
                </a:cubicBezTo>
                <a:cubicBezTo>
                  <a:pt x="505" y="715"/>
                  <a:pt x="505" y="716"/>
                  <a:pt x="507" y="717"/>
                </a:cubicBezTo>
                <a:cubicBezTo>
                  <a:pt x="511" y="718"/>
                  <a:pt x="512" y="720"/>
                  <a:pt x="514" y="721"/>
                </a:cubicBezTo>
                <a:cubicBezTo>
                  <a:pt x="516" y="722"/>
                  <a:pt x="521" y="721"/>
                  <a:pt x="521" y="721"/>
                </a:cubicBezTo>
                <a:cubicBezTo>
                  <a:pt x="521" y="721"/>
                  <a:pt x="522" y="722"/>
                  <a:pt x="523" y="723"/>
                </a:cubicBezTo>
                <a:cubicBezTo>
                  <a:pt x="525" y="724"/>
                  <a:pt x="527" y="725"/>
                  <a:pt x="527" y="726"/>
                </a:cubicBezTo>
                <a:cubicBezTo>
                  <a:pt x="529" y="726"/>
                  <a:pt x="533" y="726"/>
                  <a:pt x="533" y="726"/>
                </a:cubicBezTo>
                <a:cubicBezTo>
                  <a:pt x="537" y="729"/>
                  <a:pt x="537" y="729"/>
                  <a:pt x="537" y="729"/>
                </a:cubicBezTo>
                <a:cubicBezTo>
                  <a:pt x="541" y="728"/>
                  <a:pt x="541" y="728"/>
                  <a:pt x="541" y="728"/>
                </a:cubicBezTo>
                <a:cubicBezTo>
                  <a:pt x="544" y="730"/>
                  <a:pt x="544" y="730"/>
                  <a:pt x="544" y="730"/>
                </a:cubicBezTo>
                <a:cubicBezTo>
                  <a:pt x="546" y="726"/>
                  <a:pt x="546" y="726"/>
                  <a:pt x="546" y="726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51" y="728"/>
                  <a:pt x="551" y="728"/>
                  <a:pt x="551" y="728"/>
                </a:cubicBezTo>
                <a:cubicBezTo>
                  <a:pt x="553" y="730"/>
                  <a:pt x="552" y="732"/>
                  <a:pt x="552" y="732"/>
                </a:cubicBezTo>
                <a:cubicBezTo>
                  <a:pt x="548" y="732"/>
                  <a:pt x="548" y="732"/>
                  <a:pt x="548" y="732"/>
                </a:cubicBezTo>
                <a:cubicBezTo>
                  <a:pt x="555" y="739"/>
                  <a:pt x="555" y="739"/>
                  <a:pt x="555" y="739"/>
                </a:cubicBezTo>
                <a:cubicBezTo>
                  <a:pt x="555" y="739"/>
                  <a:pt x="556" y="745"/>
                  <a:pt x="558" y="747"/>
                </a:cubicBezTo>
                <a:cubicBezTo>
                  <a:pt x="560" y="748"/>
                  <a:pt x="564" y="751"/>
                  <a:pt x="565" y="752"/>
                </a:cubicBezTo>
                <a:cubicBezTo>
                  <a:pt x="565" y="752"/>
                  <a:pt x="565" y="752"/>
                  <a:pt x="565" y="752"/>
                </a:cubicBezTo>
                <a:cubicBezTo>
                  <a:pt x="563" y="755"/>
                  <a:pt x="563" y="755"/>
                  <a:pt x="563" y="755"/>
                </a:cubicBezTo>
                <a:cubicBezTo>
                  <a:pt x="563" y="755"/>
                  <a:pt x="566" y="757"/>
                  <a:pt x="565" y="758"/>
                </a:cubicBezTo>
                <a:cubicBezTo>
                  <a:pt x="564" y="759"/>
                  <a:pt x="561" y="761"/>
                  <a:pt x="563" y="764"/>
                </a:cubicBezTo>
                <a:cubicBezTo>
                  <a:pt x="564" y="767"/>
                  <a:pt x="568" y="767"/>
                  <a:pt x="568" y="767"/>
                </a:cubicBezTo>
                <a:cubicBezTo>
                  <a:pt x="568" y="767"/>
                  <a:pt x="571" y="771"/>
                  <a:pt x="572" y="769"/>
                </a:cubicBezTo>
                <a:cubicBezTo>
                  <a:pt x="572" y="768"/>
                  <a:pt x="571" y="766"/>
                  <a:pt x="571" y="766"/>
                </a:cubicBezTo>
                <a:cubicBezTo>
                  <a:pt x="571" y="766"/>
                  <a:pt x="566" y="762"/>
                  <a:pt x="568" y="762"/>
                </a:cubicBezTo>
                <a:cubicBezTo>
                  <a:pt x="569" y="762"/>
                  <a:pt x="575" y="766"/>
                  <a:pt x="575" y="766"/>
                </a:cubicBezTo>
                <a:cubicBezTo>
                  <a:pt x="575" y="766"/>
                  <a:pt x="574" y="770"/>
                  <a:pt x="575" y="770"/>
                </a:cubicBezTo>
                <a:cubicBezTo>
                  <a:pt x="576" y="770"/>
                  <a:pt x="581" y="771"/>
                  <a:pt x="581" y="771"/>
                </a:cubicBezTo>
                <a:cubicBezTo>
                  <a:pt x="583" y="777"/>
                  <a:pt x="583" y="777"/>
                  <a:pt x="583" y="777"/>
                </a:cubicBezTo>
                <a:cubicBezTo>
                  <a:pt x="583" y="777"/>
                  <a:pt x="581" y="778"/>
                  <a:pt x="583" y="780"/>
                </a:cubicBezTo>
                <a:cubicBezTo>
                  <a:pt x="585" y="782"/>
                  <a:pt x="588" y="783"/>
                  <a:pt x="588" y="783"/>
                </a:cubicBezTo>
                <a:cubicBezTo>
                  <a:pt x="586" y="779"/>
                  <a:pt x="586" y="779"/>
                  <a:pt x="586" y="779"/>
                </a:cubicBezTo>
                <a:cubicBezTo>
                  <a:pt x="591" y="784"/>
                  <a:pt x="591" y="784"/>
                  <a:pt x="591" y="784"/>
                </a:cubicBezTo>
                <a:cubicBezTo>
                  <a:pt x="597" y="783"/>
                  <a:pt x="597" y="783"/>
                  <a:pt x="597" y="783"/>
                </a:cubicBezTo>
                <a:cubicBezTo>
                  <a:pt x="598" y="786"/>
                  <a:pt x="598" y="786"/>
                  <a:pt x="598" y="786"/>
                </a:cubicBezTo>
                <a:cubicBezTo>
                  <a:pt x="602" y="785"/>
                  <a:pt x="602" y="785"/>
                  <a:pt x="602" y="785"/>
                </a:cubicBezTo>
                <a:cubicBezTo>
                  <a:pt x="602" y="785"/>
                  <a:pt x="601" y="790"/>
                  <a:pt x="603" y="791"/>
                </a:cubicBezTo>
                <a:cubicBezTo>
                  <a:pt x="605" y="792"/>
                  <a:pt x="607" y="790"/>
                  <a:pt x="607" y="790"/>
                </a:cubicBezTo>
                <a:cubicBezTo>
                  <a:pt x="607" y="787"/>
                  <a:pt x="607" y="787"/>
                  <a:pt x="607" y="787"/>
                </a:cubicBezTo>
                <a:cubicBezTo>
                  <a:pt x="609" y="787"/>
                  <a:pt x="609" y="787"/>
                  <a:pt x="609" y="787"/>
                </a:cubicBezTo>
                <a:cubicBezTo>
                  <a:pt x="609" y="787"/>
                  <a:pt x="610" y="798"/>
                  <a:pt x="613" y="797"/>
                </a:cubicBezTo>
                <a:cubicBezTo>
                  <a:pt x="616" y="795"/>
                  <a:pt x="619" y="793"/>
                  <a:pt x="619" y="793"/>
                </a:cubicBezTo>
                <a:cubicBezTo>
                  <a:pt x="619" y="793"/>
                  <a:pt x="611" y="788"/>
                  <a:pt x="613" y="786"/>
                </a:cubicBezTo>
                <a:cubicBezTo>
                  <a:pt x="616" y="784"/>
                  <a:pt x="618" y="783"/>
                  <a:pt x="620" y="782"/>
                </a:cubicBezTo>
                <a:cubicBezTo>
                  <a:pt x="622" y="780"/>
                  <a:pt x="624" y="776"/>
                  <a:pt x="626" y="776"/>
                </a:cubicBezTo>
                <a:cubicBezTo>
                  <a:pt x="628" y="777"/>
                  <a:pt x="631" y="778"/>
                  <a:pt x="633" y="778"/>
                </a:cubicBezTo>
                <a:cubicBezTo>
                  <a:pt x="634" y="779"/>
                  <a:pt x="636" y="782"/>
                  <a:pt x="636" y="782"/>
                </a:cubicBezTo>
                <a:cubicBezTo>
                  <a:pt x="637" y="782"/>
                  <a:pt x="637" y="782"/>
                  <a:pt x="637" y="782"/>
                </a:cubicBezTo>
                <a:cubicBezTo>
                  <a:pt x="642" y="786"/>
                  <a:pt x="642" y="786"/>
                  <a:pt x="642" y="786"/>
                </a:cubicBezTo>
                <a:cubicBezTo>
                  <a:pt x="637" y="784"/>
                  <a:pt x="637" y="784"/>
                  <a:pt x="637" y="784"/>
                </a:cubicBezTo>
                <a:cubicBezTo>
                  <a:pt x="637" y="784"/>
                  <a:pt x="637" y="790"/>
                  <a:pt x="637" y="791"/>
                </a:cubicBezTo>
                <a:cubicBezTo>
                  <a:pt x="637" y="792"/>
                  <a:pt x="639" y="795"/>
                  <a:pt x="640" y="795"/>
                </a:cubicBezTo>
                <a:cubicBezTo>
                  <a:pt x="641" y="799"/>
                  <a:pt x="641" y="799"/>
                  <a:pt x="641" y="799"/>
                </a:cubicBezTo>
                <a:cubicBezTo>
                  <a:pt x="641" y="800"/>
                  <a:pt x="641" y="800"/>
                  <a:pt x="641" y="800"/>
                </a:cubicBezTo>
                <a:cubicBezTo>
                  <a:pt x="641" y="800"/>
                  <a:pt x="643" y="801"/>
                  <a:pt x="644" y="804"/>
                </a:cubicBezTo>
                <a:cubicBezTo>
                  <a:pt x="645" y="806"/>
                  <a:pt x="642" y="806"/>
                  <a:pt x="642" y="806"/>
                </a:cubicBezTo>
                <a:cubicBezTo>
                  <a:pt x="644" y="809"/>
                  <a:pt x="644" y="809"/>
                  <a:pt x="644" y="809"/>
                </a:cubicBezTo>
                <a:cubicBezTo>
                  <a:pt x="645" y="814"/>
                  <a:pt x="645" y="814"/>
                  <a:pt x="645" y="814"/>
                </a:cubicBezTo>
                <a:cubicBezTo>
                  <a:pt x="642" y="815"/>
                  <a:pt x="642" y="815"/>
                  <a:pt x="642" y="815"/>
                </a:cubicBezTo>
                <a:cubicBezTo>
                  <a:pt x="644" y="817"/>
                  <a:pt x="644" y="817"/>
                  <a:pt x="644" y="817"/>
                </a:cubicBezTo>
                <a:cubicBezTo>
                  <a:pt x="644" y="826"/>
                  <a:pt x="644" y="826"/>
                  <a:pt x="644" y="826"/>
                </a:cubicBezTo>
                <a:cubicBezTo>
                  <a:pt x="644" y="826"/>
                  <a:pt x="641" y="828"/>
                  <a:pt x="641" y="831"/>
                </a:cubicBezTo>
                <a:cubicBezTo>
                  <a:pt x="641" y="833"/>
                  <a:pt x="645" y="833"/>
                  <a:pt x="645" y="836"/>
                </a:cubicBezTo>
                <a:cubicBezTo>
                  <a:pt x="645" y="840"/>
                  <a:pt x="640" y="843"/>
                  <a:pt x="640" y="843"/>
                </a:cubicBezTo>
                <a:cubicBezTo>
                  <a:pt x="641" y="845"/>
                  <a:pt x="641" y="845"/>
                  <a:pt x="641" y="845"/>
                </a:cubicBezTo>
                <a:cubicBezTo>
                  <a:pt x="637" y="848"/>
                  <a:pt x="637" y="848"/>
                  <a:pt x="637" y="848"/>
                </a:cubicBezTo>
                <a:cubicBezTo>
                  <a:pt x="637" y="848"/>
                  <a:pt x="633" y="848"/>
                  <a:pt x="631" y="850"/>
                </a:cubicBezTo>
                <a:cubicBezTo>
                  <a:pt x="630" y="852"/>
                  <a:pt x="631" y="857"/>
                  <a:pt x="631" y="857"/>
                </a:cubicBezTo>
                <a:cubicBezTo>
                  <a:pt x="631" y="857"/>
                  <a:pt x="626" y="855"/>
                  <a:pt x="626" y="858"/>
                </a:cubicBezTo>
                <a:cubicBezTo>
                  <a:pt x="626" y="859"/>
                  <a:pt x="626" y="859"/>
                  <a:pt x="626" y="859"/>
                </a:cubicBezTo>
                <a:cubicBezTo>
                  <a:pt x="626" y="862"/>
                  <a:pt x="627" y="862"/>
                  <a:pt x="627" y="864"/>
                </a:cubicBezTo>
                <a:cubicBezTo>
                  <a:pt x="626" y="866"/>
                  <a:pt x="620" y="867"/>
                  <a:pt x="620" y="867"/>
                </a:cubicBezTo>
                <a:cubicBezTo>
                  <a:pt x="619" y="865"/>
                  <a:pt x="619" y="865"/>
                  <a:pt x="619" y="865"/>
                </a:cubicBezTo>
                <a:cubicBezTo>
                  <a:pt x="619" y="865"/>
                  <a:pt x="615" y="867"/>
                  <a:pt x="615" y="869"/>
                </a:cubicBezTo>
                <a:cubicBezTo>
                  <a:pt x="614" y="871"/>
                  <a:pt x="616" y="873"/>
                  <a:pt x="616" y="876"/>
                </a:cubicBezTo>
                <a:cubicBezTo>
                  <a:pt x="616" y="878"/>
                  <a:pt x="613" y="878"/>
                  <a:pt x="612" y="880"/>
                </a:cubicBezTo>
                <a:cubicBezTo>
                  <a:pt x="611" y="881"/>
                  <a:pt x="614" y="884"/>
                  <a:pt x="614" y="884"/>
                </a:cubicBezTo>
                <a:cubicBezTo>
                  <a:pt x="611" y="884"/>
                  <a:pt x="611" y="884"/>
                  <a:pt x="611" y="884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06" y="890"/>
                  <a:pt x="606" y="890"/>
                  <a:pt x="606" y="890"/>
                </a:cubicBezTo>
                <a:cubicBezTo>
                  <a:pt x="609" y="892"/>
                  <a:pt x="609" y="892"/>
                  <a:pt x="609" y="892"/>
                </a:cubicBezTo>
                <a:cubicBezTo>
                  <a:pt x="607" y="896"/>
                  <a:pt x="607" y="896"/>
                  <a:pt x="607" y="896"/>
                </a:cubicBezTo>
                <a:cubicBezTo>
                  <a:pt x="607" y="896"/>
                  <a:pt x="609" y="896"/>
                  <a:pt x="609" y="899"/>
                </a:cubicBezTo>
                <a:cubicBezTo>
                  <a:pt x="609" y="901"/>
                  <a:pt x="606" y="902"/>
                  <a:pt x="606" y="902"/>
                </a:cubicBezTo>
                <a:cubicBezTo>
                  <a:pt x="608" y="903"/>
                  <a:pt x="608" y="903"/>
                  <a:pt x="608" y="903"/>
                </a:cubicBezTo>
                <a:cubicBezTo>
                  <a:pt x="608" y="903"/>
                  <a:pt x="605" y="906"/>
                  <a:pt x="610" y="907"/>
                </a:cubicBezTo>
                <a:cubicBezTo>
                  <a:pt x="615" y="909"/>
                  <a:pt x="616" y="904"/>
                  <a:pt x="616" y="904"/>
                </a:cubicBezTo>
                <a:cubicBezTo>
                  <a:pt x="619" y="905"/>
                  <a:pt x="619" y="905"/>
                  <a:pt x="619" y="905"/>
                </a:cubicBezTo>
                <a:cubicBezTo>
                  <a:pt x="621" y="907"/>
                  <a:pt x="619" y="911"/>
                  <a:pt x="618" y="913"/>
                </a:cubicBezTo>
                <a:cubicBezTo>
                  <a:pt x="618" y="916"/>
                  <a:pt x="613" y="916"/>
                  <a:pt x="613" y="916"/>
                </a:cubicBezTo>
                <a:cubicBezTo>
                  <a:pt x="613" y="916"/>
                  <a:pt x="608" y="922"/>
                  <a:pt x="606" y="924"/>
                </a:cubicBezTo>
                <a:cubicBezTo>
                  <a:pt x="604" y="925"/>
                  <a:pt x="604" y="927"/>
                  <a:pt x="604" y="930"/>
                </a:cubicBezTo>
                <a:cubicBezTo>
                  <a:pt x="604" y="933"/>
                  <a:pt x="607" y="932"/>
                  <a:pt x="607" y="932"/>
                </a:cubicBezTo>
                <a:cubicBezTo>
                  <a:pt x="606" y="936"/>
                  <a:pt x="606" y="936"/>
                  <a:pt x="606" y="936"/>
                </a:cubicBezTo>
                <a:cubicBezTo>
                  <a:pt x="606" y="936"/>
                  <a:pt x="609" y="938"/>
                  <a:pt x="610" y="940"/>
                </a:cubicBezTo>
                <a:cubicBezTo>
                  <a:pt x="610" y="943"/>
                  <a:pt x="606" y="943"/>
                  <a:pt x="606" y="946"/>
                </a:cubicBezTo>
                <a:cubicBezTo>
                  <a:pt x="606" y="949"/>
                  <a:pt x="613" y="949"/>
                  <a:pt x="615" y="951"/>
                </a:cubicBezTo>
                <a:cubicBezTo>
                  <a:pt x="616" y="952"/>
                  <a:pt x="621" y="958"/>
                  <a:pt x="622" y="959"/>
                </a:cubicBezTo>
                <a:cubicBezTo>
                  <a:pt x="622" y="960"/>
                  <a:pt x="625" y="964"/>
                  <a:pt x="625" y="966"/>
                </a:cubicBezTo>
                <a:cubicBezTo>
                  <a:pt x="625" y="967"/>
                  <a:pt x="630" y="972"/>
                  <a:pt x="630" y="974"/>
                </a:cubicBezTo>
                <a:cubicBezTo>
                  <a:pt x="631" y="975"/>
                  <a:pt x="638" y="986"/>
                  <a:pt x="638" y="986"/>
                </a:cubicBezTo>
                <a:cubicBezTo>
                  <a:pt x="639" y="991"/>
                  <a:pt x="639" y="991"/>
                  <a:pt x="639" y="991"/>
                </a:cubicBezTo>
                <a:cubicBezTo>
                  <a:pt x="639" y="991"/>
                  <a:pt x="645" y="1003"/>
                  <a:pt x="645" y="1004"/>
                </a:cubicBezTo>
                <a:cubicBezTo>
                  <a:pt x="645" y="1006"/>
                  <a:pt x="647" y="1006"/>
                  <a:pt x="649" y="1007"/>
                </a:cubicBezTo>
                <a:cubicBezTo>
                  <a:pt x="650" y="1008"/>
                  <a:pt x="650" y="1010"/>
                  <a:pt x="650" y="1012"/>
                </a:cubicBezTo>
                <a:cubicBezTo>
                  <a:pt x="650" y="1015"/>
                  <a:pt x="657" y="1023"/>
                  <a:pt x="660" y="1026"/>
                </a:cubicBezTo>
                <a:cubicBezTo>
                  <a:pt x="662" y="1030"/>
                  <a:pt x="660" y="1035"/>
                  <a:pt x="660" y="1036"/>
                </a:cubicBezTo>
                <a:cubicBezTo>
                  <a:pt x="660" y="1038"/>
                  <a:pt x="665" y="1043"/>
                  <a:pt x="668" y="1045"/>
                </a:cubicBezTo>
                <a:cubicBezTo>
                  <a:pt x="670" y="1046"/>
                  <a:pt x="672" y="1050"/>
                  <a:pt x="673" y="1052"/>
                </a:cubicBezTo>
                <a:cubicBezTo>
                  <a:pt x="675" y="1053"/>
                  <a:pt x="685" y="1057"/>
                  <a:pt x="688" y="1059"/>
                </a:cubicBezTo>
                <a:cubicBezTo>
                  <a:pt x="691" y="1060"/>
                  <a:pt x="696" y="1062"/>
                  <a:pt x="701" y="1065"/>
                </a:cubicBezTo>
                <a:cubicBezTo>
                  <a:pt x="705" y="1069"/>
                  <a:pt x="712" y="1073"/>
                  <a:pt x="712" y="1073"/>
                </a:cubicBezTo>
                <a:cubicBezTo>
                  <a:pt x="713" y="1076"/>
                  <a:pt x="713" y="1076"/>
                  <a:pt x="713" y="1076"/>
                </a:cubicBezTo>
                <a:cubicBezTo>
                  <a:pt x="713" y="1076"/>
                  <a:pt x="716" y="1078"/>
                  <a:pt x="717" y="1079"/>
                </a:cubicBezTo>
                <a:cubicBezTo>
                  <a:pt x="718" y="1081"/>
                  <a:pt x="724" y="1084"/>
                  <a:pt x="724" y="1084"/>
                </a:cubicBezTo>
                <a:cubicBezTo>
                  <a:pt x="724" y="1085"/>
                  <a:pt x="724" y="1085"/>
                  <a:pt x="724" y="1085"/>
                </a:cubicBezTo>
                <a:cubicBezTo>
                  <a:pt x="724" y="1090"/>
                  <a:pt x="724" y="1090"/>
                  <a:pt x="724" y="1090"/>
                </a:cubicBezTo>
                <a:cubicBezTo>
                  <a:pt x="724" y="1090"/>
                  <a:pt x="727" y="1096"/>
                  <a:pt x="728" y="1100"/>
                </a:cubicBezTo>
                <a:cubicBezTo>
                  <a:pt x="729" y="1104"/>
                  <a:pt x="729" y="1110"/>
                  <a:pt x="729" y="1113"/>
                </a:cubicBezTo>
                <a:cubicBezTo>
                  <a:pt x="729" y="1116"/>
                  <a:pt x="731" y="1118"/>
                  <a:pt x="731" y="1123"/>
                </a:cubicBezTo>
                <a:cubicBezTo>
                  <a:pt x="731" y="1128"/>
                  <a:pt x="731" y="1136"/>
                  <a:pt x="731" y="1136"/>
                </a:cubicBezTo>
                <a:cubicBezTo>
                  <a:pt x="728" y="1137"/>
                  <a:pt x="728" y="1137"/>
                  <a:pt x="728" y="1137"/>
                </a:cubicBezTo>
                <a:cubicBezTo>
                  <a:pt x="729" y="1142"/>
                  <a:pt x="729" y="1142"/>
                  <a:pt x="729" y="1142"/>
                </a:cubicBezTo>
                <a:cubicBezTo>
                  <a:pt x="732" y="1143"/>
                  <a:pt x="732" y="1143"/>
                  <a:pt x="732" y="1143"/>
                </a:cubicBezTo>
                <a:cubicBezTo>
                  <a:pt x="731" y="1156"/>
                  <a:pt x="731" y="1156"/>
                  <a:pt x="731" y="1156"/>
                </a:cubicBezTo>
                <a:cubicBezTo>
                  <a:pt x="734" y="1162"/>
                  <a:pt x="734" y="1162"/>
                  <a:pt x="734" y="1162"/>
                </a:cubicBezTo>
                <a:cubicBezTo>
                  <a:pt x="731" y="1165"/>
                  <a:pt x="731" y="1165"/>
                  <a:pt x="731" y="1165"/>
                </a:cubicBezTo>
                <a:cubicBezTo>
                  <a:pt x="733" y="1174"/>
                  <a:pt x="733" y="1174"/>
                  <a:pt x="733" y="1174"/>
                </a:cubicBezTo>
                <a:cubicBezTo>
                  <a:pt x="733" y="1174"/>
                  <a:pt x="734" y="1174"/>
                  <a:pt x="735" y="1178"/>
                </a:cubicBezTo>
                <a:cubicBezTo>
                  <a:pt x="735" y="1181"/>
                  <a:pt x="733" y="1182"/>
                  <a:pt x="733" y="1182"/>
                </a:cubicBezTo>
                <a:cubicBezTo>
                  <a:pt x="732" y="1186"/>
                  <a:pt x="732" y="1186"/>
                  <a:pt x="732" y="1186"/>
                </a:cubicBezTo>
                <a:cubicBezTo>
                  <a:pt x="734" y="1188"/>
                  <a:pt x="734" y="1188"/>
                  <a:pt x="734" y="1188"/>
                </a:cubicBezTo>
                <a:cubicBezTo>
                  <a:pt x="734" y="1188"/>
                  <a:pt x="732" y="1189"/>
                  <a:pt x="731" y="1192"/>
                </a:cubicBezTo>
                <a:cubicBezTo>
                  <a:pt x="730" y="1195"/>
                  <a:pt x="732" y="1195"/>
                  <a:pt x="732" y="1195"/>
                </a:cubicBezTo>
                <a:cubicBezTo>
                  <a:pt x="732" y="1195"/>
                  <a:pt x="733" y="1196"/>
                  <a:pt x="733" y="1199"/>
                </a:cubicBezTo>
                <a:cubicBezTo>
                  <a:pt x="733" y="1201"/>
                  <a:pt x="731" y="1200"/>
                  <a:pt x="731" y="1205"/>
                </a:cubicBezTo>
                <a:cubicBezTo>
                  <a:pt x="731" y="1209"/>
                  <a:pt x="734" y="1209"/>
                  <a:pt x="735" y="1211"/>
                </a:cubicBezTo>
                <a:cubicBezTo>
                  <a:pt x="736" y="1212"/>
                  <a:pt x="735" y="1218"/>
                  <a:pt x="735" y="1218"/>
                </a:cubicBezTo>
                <a:cubicBezTo>
                  <a:pt x="735" y="1218"/>
                  <a:pt x="733" y="1217"/>
                  <a:pt x="732" y="1218"/>
                </a:cubicBezTo>
                <a:cubicBezTo>
                  <a:pt x="731" y="1218"/>
                  <a:pt x="732" y="1221"/>
                  <a:pt x="734" y="1226"/>
                </a:cubicBezTo>
                <a:cubicBezTo>
                  <a:pt x="735" y="1230"/>
                  <a:pt x="738" y="1236"/>
                  <a:pt x="738" y="1236"/>
                </a:cubicBezTo>
                <a:cubicBezTo>
                  <a:pt x="738" y="1236"/>
                  <a:pt x="738" y="1239"/>
                  <a:pt x="740" y="1240"/>
                </a:cubicBezTo>
                <a:cubicBezTo>
                  <a:pt x="741" y="1242"/>
                  <a:pt x="740" y="1248"/>
                  <a:pt x="740" y="1248"/>
                </a:cubicBezTo>
                <a:cubicBezTo>
                  <a:pt x="740" y="1252"/>
                  <a:pt x="740" y="1252"/>
                  <a:pt x="740" y="1252"/>
                </a:cubicBezTo>
                <a:cubicBezTo>
                  <a:pt x="743" y="1255"/>
                  <a:pt x="743" y="1255"/>
                  <a:pt x="743" y="1255"/>
                </a:cubicBezTo>
                <a:cubicBezTo>
                  <a:pt x="743" y="1255"/>
                  <a:pt x="741" y="1261"/>
                  <a:pt x="741" y="1264"/>
                </a:cubicBezTo>
                <a:cubicBezTo>
                  <a:pt x="741" y="1267"/>
                  <a:pt x="741" y="1273"/>
                  <a:pt x="741" y="1273"/>
                </a:cubicBezTo>
                <a:cubicBezTo>
                  <a:pt x="738" y="1278"/>
                  <a:pt x="738" y="1278"/>
                  <a:pt x="738" y="1278"/>
                </a:cubicBezTo>
                <a:cubicBezTo>
                  <a:pt x="740" y="1280"/>
                  <a:pt x="740" y="1280"/>
                  <a:pt x="740" y="1280"/>
                </a:cubicBezTo>
                <a:cubicBezTo>
                  <a:pt x="740" y="1280"/>
                  <a:pt x="739" y="1283"/>
                  <a:pt x="739" y="1285"/>
                </a:cubicBezTo>
                <a:cubicBezTo>
                  <a:pt x="739" y="1287"/>
                  <a:pt x="738" y="1296"/>
                  <a:pt x="738" y="1296"/>
                </a:cubicBezTo>
                <a:cubicBezTo>
                  <a:pt x="736" y="1296"/>
                  <a:pt x="736" y="1296"/>
                  <a:pt x="736" y="1296"/>
                </a:cubicBezTo>
                <a:cubicBezTo>
                  <a:pt x="736" y="1299"/>
                  <a:pt x="736" y="1299"/>
                  <a:pt x="736" y="1299"/>
                </a:cubicBezTo>
                <a:cubicBezTo>
                  <a:pt x="739" y="1306"/>
                  <a:pt x="739" y="1306"/>
                  <a:pt x="739" y="1306"/>
                </a:cubicBezTo>
                <a:cubicBezTo>
                  <a:pt x="739" y="1306"/>
                  <a:pt x="739" y="1310"/>
                  <a:pt x="739" y="1312"/>
                </a:cubicBezTo>
                <a:cubicBezTo>
                  <a:pt x="739" y="1314"/>
                  <a:pt x="744" y="1315"/>
                  <a:pt x="745" y="1319"/>
                </a:cubicBezTo>
                <a:cubicBezTo>
                  <a:pt x="746" y="1322"/>
                  <a:pt x="744" y="1330"/>
                  <a:pt x="744" y="1330"/>
                </a:cubicBezTo>
                <a:cubicBezTo>
                  <a:pt x="746" y="1331"/>
                  <a:pt x="746" y="1331"/>
                  <a:pt x="746" y="1331"/>
                </a:cubicBezTo>
                <a:cubicBezTo>
                  <a:pt x="746" y="1331"/>
                  <a:pt x="746" y="1337"/>
                  <a:pt x="746" y="1340"/>
                </a:cubicBezTo>
                <a:cubicBezTo>
                  <a:pt x="746" y="1342"/>
                  <a:pt x="752" y="1344"/>
                  <a:pt x="752" y="1344"/>
                </a:cubicBezTo>
                <a:cubicBezTo>
                  <a:pt x="751" y="1347"/>
                  <a:pt x="751" y="1347"/>
                  <a:pt x="751" y="1347"/>
                </a:cubicBezTo>
                <a:cubicBezTo>
                  <a:pt x="757" y="1347"/>
                  <a:pt x="757" y="1347"/>
                  <a:pt x="757" y="1347"/>
                </a:cubicBezTo>
                <a:cubicBezTo>
                  <a:pt x="757" y="1343"/>
                  <a:pt x="757" y="1343"/>
                  <a:pt x="757" y="1343"/>
                </a:cubicBezTo>
                <a:cubicBezTo>
                  <a:pt x="757" y="1343"/>
                  <a:pt x="759" y="1345"/>
                  <a:pt x="761" y="1345"/>
                </a:cubicBezTo>
                <a:cubicBezTo>
                  <a:pt x="763" y="1345"/>
                  <a:pt x="763" y="1342"/>
                  <a:pt x="763" y="1342"/>
                </a:cubicBezTo>
                <a:cubicBezTo>
                  <a:pt x="764" y="1345"/>
                  <a:pt x="764" y="1345"/>
                  <a:pt x="764" y="1345"/>
                </a:cubicBezTo>
                <a:cubicBezTo>
                  <a:pt x="764" y="1345"/>
                  <a:pt x="760" y="1347"/>
                  <a:pt x="760" y="1349"/>
                </a:cubicBezTo>
                <a:cubicBezTo>
                  <a:pt x="759" y="1352"/>
                  <a:pt x="763" y="1349"/>
                  <a:pt x="764" y="1350"/>
                </a:cubicBezTo>
                <a:cubicBezTo>
                  <a:pt x="766" y="1351"/>
                  <a:pt x="765" y="1353"/>
                  <a:pt x="765" y="1353"/>
                </a:cubicBezTo>
                <a:cubicBezTo>
                  <a:pt x="761" y="1353"/>
                  <a:pt x="761" y="1353"/>
                  <a:pt x="761" y="1353"/>
                </a:cubicBezTo>
                <a:cubicBezTo>
                  <a:pt x="764" y="1356"/>
                  <a:pt x="764" y="1356"/>
                  <a:pt x="764" y="1356"/>
                </a:cubicBezTo>
                <a:cubicBezTo>
                  <a:pt x="762" y="1357"/>
                  <a:pt x="762" y="1357"/>
                  <a:pt x="762" y="1357"/>
                </a:cubicBezTo>
                <a:cubicBezTo>
                  <a:pt x="765" y="1361"/>
                  <a:pt x="765" y="1361"/>
                  <a:pt x="765" y="1361"/>
                </a:cubicBezTo>
                <a:cubicBezTo>
                  <a:pt x="765" y="1361"/>
                  <a:pt x="763" y="1363"/>
                  <a:pt x="762" y="1365"/>
                </a:cubicBezTo>
                <a:cubicBezTo>
                  <a:pt x="760" y="1367"/>
                  <a:pt x="768" y="1369"/>
                  <a:pt x="768" y="1369"/>
                </a:cubicBezTo>
                <a:cubicBezTo>
                  <a:pt x="768" y="1369"/>
                  <a:pt x="767" y="1370"/>
                  <a:pt x="766" y="1371"/>
                </a:cubicBezTo>
                <a:cubicBezTo>
                  <a:pt x="765" y="1371"/>
                  <a:pt x="766" y="1374"/>
                  <a:pt x="768" y="1375"/>
                </a:cubicBezTo>
                <a:cubicBezTo>
                  <a:pt x="770" y="1376"/>
                  <a:pt x="773" y="1375"/>
                  <a:pt x="773" y="1375"/>
                </a:cubicBezTo>
                <a:cubicBezTo>
                  <a:pt x="774" y="1380"/>
                  <a:pt x="774" y="1380"/>
                  <a:pt x="774" y="1380"/>
                </a:cubicBezTo>
                <a:cubicBezTo>
                  <a:pt x="774" y="1380"/>
                  <a:pt x="770" y="1383"/>
                  <a:pt x="769" y="1384"/>
                </a:cubicBezTo>
                <a:cubicBezTo>
                  <a:pt x="768" y="1386"/>
                  <a:pt x="772" y="1386"/>
                  <a:pt x="772" y="1386"/>
                </a:cubicBezTo>
                <a:cubicBezTo>
                  <a:pt x="772" y="1386"/>
                  <a:pt x="777" y="1387"/>
                  <a:pt x="777" y="1388"/>
                </a:cubicBezTo>
                <a:cubicBezTo>
                  <a:pt x="777" y="1390"/>
                  <a:pt x="773" y="1388"/>
                  <a:pt x="771" y="1387"/>
                </a:cubicBezTo>
                <a:cubicBezTo>
                  <a:pt x="769" y="1386"/>
                  <a:pt x="769" y="1390"/>
                  <a:pt x="769" y="1390"/>
                </a:cubicBezTo>
                <a:cubicBezTo>
                  <a:pt x="773" y="1390"/>
                  <a:pt x="773" y="1390"/>
                  <a:pt x="773" y="1390"/>
                </a:cubicBezTo>
                <a:cubicBezTo>
                  <a:pt x="770" y="1392"/>
                  <a:pt x="770" y="1392"/>
                  <a:pt x="770" y="1392"/>
                </a:cubicBezTo>
                <a:cubicBezTo>
                  <a:pt x="770" y="1395"/>
                  <a:pt x="770" y="1395"/>
                  <a:pt x="770" y="1395"/>
                </a:cubicBezTo>
                <a:cubicBezTo>
                  <a:pt x="770" y="1395"/>
                  <a:pt x="774" y="1394"/>
                  <a:pt x="772" y="1398"/>
                </a:cubicBezTo>
                <a:cubicBezTo>
                  <a:pt x="771" y="1403"/>
                  <a:pt x="769" y="1396"/>
                  <a:pt x="769" y="1396"/>
                </a:cubicBezTo>
                <a:cubicBezTo>
                  <a:pt x="764" y="1396"/>
                  <a:pt x="764" y="1396"/>
                  <a:pt x="764" y="1396"/>
                </a:cubicBezTo>
                <a:cubicBezTo>
                  <a:pt x="767" y="1395"/>
                  <a:pt x="767" y="1395"/>
                  <a:pt x="767" y="1395"/>
                </a:cubicBezTo>
                <a:cubicBezTo>
                  <a:pt x="767" y="1395"/>
                  <a:pt x="763" y="1391"/>
                  <a:pt x="763" y="1391"/>
                </a:cubicBezTo>
                <a:cubicBezTo>
                  <a:pt x="762" y="1392"/>
                  <a:pt x="763" y="1394"/>
                  <a:pt x="763" y="1394"/>
                </a:cubicBezTo>
                <a:cubicBezTo>
                  <a:pt x="761" y="1392"/>
                  <a:pt x="761" y="1392"/>
                  <a:pt x="761" y="1392"/>
                </a:cubicBezTo>
                <a:cubicBezTo>
                  <a:pt x="756" y="1394"/>
                  <a:pt x="756" y="1394"/>
                  <a:pt x="756" y="1394"/>
                </a:cubicBezTo>
                <a:cubicBezTo>
                  <a:pt x="761" y="1395"/>
                  <a:pt x="761" y="1395"/>
                  <a:pt x="761" y="1395"/>
                </a:cubicBezTo>
                <a:cubicBezTo>
                  <a:pt x="761" y="1395"/>
                  <a:pt x="760" y="1395"/>
                  <a:pt x="759" y="1397"/>
                </a:cubicBezTo>
                <a:cubicBezTo>
                  <a:pt x="758" y="1398"/>
                  <a:pt x="755" y="1399"/>
                  <a:pt x="755" y="1401"/>
                </a:cubicBezTo>
                <a:cubicBezTo>
                  <a:pt x="754" y="1403"/>
                  <a:pt x="759" y="1404"/>
                  <a:pt x="759" y="1404"/>
                </a:cubicBezTo>
                <a:cubicBezTo>
                  <a:pt x="760" y="1403"/>
                  <a:pt x="758" y="1401"/>
                  <a:pt x="758" y="1401"/>
                </a:cubicBezTo>
                <a:cubicBezTo>
                  <a:pt x="761" y="1401"/>
                  <a:pt x="761" y="1401"/>
                  <a:pt x="761" y="1401"/>
                </a:cubicBezTo>
                <a:cubicBezTo>
                  <a:pt x="761" y="1401"/>
                  <a:pt x="762" y="1402"/>
                  <a:pt x="763" y="1403"/>
                </a:cubicBezTo>
                <a:cubicBezTo>
                  <a:pt x="764" y="1404"/>
                  <a:pt x="769" y="1403"/>
                  <a:pt x="769" y="1403"/>
                </a:cubicBezTo>
                <a:cubicBezTo>
                  <a:pt x="769" y="1403"/>
                  <a:pt x="772" y="1404"/>
                  <a:pt x="773" y="1406"/>
                </a:cubicBezTo>
                <a:cubicBezTo>
                  <a:pt x="774" y="1408"/>
                  <a:pt x="770" y="1409"/>
                  <a:pt x="770" y="1409"/>
                </a:cubicBezTo>
                <a:cubicBezTo>
                  <a:pt x="772" y="1411"/>
                  <a:pt x="772" y="1411"/>
                  <a:pt x="772" y="1411"/>
                </a:cubicBezTo>
                <a:cubicBezTo>
                  <a:pt x="774" y="1411"/>
                  <a:pt x="774" y="1411"/>
                  <a:pt x="774" y="1411"/>
                </a:cubicBezTo>
                <a:cubicBezTo>
                  <a:pt x="774" y="1413"/>
                  <a:pt x="774" y="1413"/>
                  <a:pt x="774" y="1413"/>
                </a:cubicBezTo>
                <a:cubicBezTo>
                  <a:pt x="777" y="1414"/>
                  <a:pt x="777" y="1414"/>
                  <a:pt x="777" y="1414"/>
                </a:cubicBezTo>
                <a:cubicBezTo>
                  <a:pt x="778" y="1411"/>
                  <a:pt x="778" y="1411"/>
                  <a:pt x="778" y="1411"/>
                </a:cubicBezTo>
                <a:cubicBezTo>
                  <a:pt x="780" y="1414"/>
                  <a:pt x="780" y="1414"/>
                  <a:pt x="780" y="1414"/>
                </a:cubicBezTo>
                <a:cubicBezTo>
                  <a:pt x="780" y="1414"/>
                  <a:pt x="784" y="1414"/>
                  <a:pt x="783" y="1417"/>
                </a:cubicBezTo>
                <a:cubicBezTo>
                  <a:pt x="782" y="1420"/>
                  <a:pt x="778" y="1417"/>
                  <a:pt x="776" y="1416"/>
                </a:cubicBezTo>
                <a:cubicBezTo>
                  <a:pt x="774" y="1416"/>
                  <a:pt x="776" y="1419"/>
                  <a:pt x="776" y="1419"/>
                </a:cubicBezTo>
                <a:cubicBezTo>
                  <a:pt x="776" y="1419"/>
                  <a:pt x="780" y="1420"/>
                  <a:pt x="780" y="1423"/>
                </a:cubicBezTo>
                <a:cubicBezTo>
                  <a:pt x="781" y="1426"/>
                  <a:pt x="777" y="1425"/>
                  <a:pt x="777" y="1425"/>
                </a:cubicBezTo>
                <a:cubicBezTo>
                  <a:pt x="779" y="1428"/>
                  <a:pt x="779" y="1428"/>
                  <a:pt x="779" y="1428"/>
                </a:cubicBezTo>
                <a:cubicBezTo>
                  <a:pt x="781" y="1433"/>
                  <a:pt x="781" y="1433"/>
                  <a:pt x="781" y="1433"/>
                </a:cubicBezTo>
                <a:cubicBezTo>
                  <a:pt x="783" y="1427"/>
                  <a:pt x="783" y="1427"/>
                  <a:pt x="783" y="1427"/>
                </a:cubicBezTo>
                <a:cubicBezTo>
                  <a:pt x="783" y="1431"/>
                  <a:pt x="783" y="1431"/>
                  <a:pt x="783" y="1431"/>
                </a:cubicBezTo>
                <a:cubicBezTo>
                  <a:pt x="786" y="1434"/>
                  <a:pt x="786" y="1434"/>
                  <a:pt x="786" y="1434"/>
                </a:cubicBezTo>
                <a:cubicBezTo>
                  <a:pt x="782" y="1434"/>
                  <a:pt x="782" y="1434"/>
                  <a:pt x="782" y="1434"/>
                </a:cubicBezTo>
                <a:cubicBezTo>
                  <a:pt x="783" y="1437"/>
                  <a:pt x="783" y="1437"/>
                  <a:pt x="783" y="1437"/>
                </a:cubicBezTo>
                <a:cubicBezTo>
                  <a:pt x="786" y="1437"/>
                  <a:pt x="786" y="1437"/>
                  <a:pt x="786" y="1437"/>
                </a:cubicBezTo>
                <a:cubicBezTo>
                  <a:pt x="784" y="1439"/>
                  <a:pt x="784" y="1439"/>
                  <a:pt x="784" y="1439"/>
                </a:cubicBezTo>
                <a:cubicBezTo>
                  <a:pt x="789" y="1440"/>
                  <a:pt x="789" y="1440"/>
                  <a:pt x="789" y="1440"/>
                </a:cubicBezTo>
                <a:cubicBezTo>
                  <a:pt x="786" y="1442"/>
                  <a:pt x="786" y="1442"/>
                  <a:pt x="786" y="1442"/>
                </a:cubicBezTo>
                <a:cubicBezTo>
                  <a:pt x="790" y="1443"/>
                  <a:pt x="790" y="1443"/>
                  <a:pt x="790" y="1443"/>
                </a:cubicBezTo>
                <a:cubicBezTo>
                  <a:pt x="789" y="1445"/>
                  <a:pt x="789" y="1445"/>
                  <a:pt x="789" y="1445"/>
                </a:cubicBezTo>
                <a:cubicBezTo>
                  <a:pt x="791" y="1446"/>
                  <a:pt x="791" y="1446"/>
                  <a:pt x="791" y="1446"/>
                </a:cubicBezTo>
                <a:cubicBezTo>
                  <a:pt x="791" y="1446"/>
                  <a:pt x="792" y="1441"/>
                  <a:pt x="793" y="1444"/>
                </a:cubicBezTo>
                <a:cubicBezTo>
                  <a:pt x="795" y="1446"/>
                  <a:pt x="793" y="1447"/>
                  <a:pt x="791" y="1448"/>
                </a:cubicBezTo>
                <a:cubicBezTo>
                  <a:pt x="790" y="1449"/>
                  <a:pt x="791" y="1450"/>
                  <a:pt x="791" y="1450"/>
                </a:cubicBezTo>
                <a:cubicBezTo>
                  <a:pt x="796" y="1451"/>
                  <a:pt x="796" y="1451"/>
                  <a:pt x="796" y="1451"/>
                </a:cubicBezTo>
                <a:cubicBezTo>
                  <a:pt x="796" y="1451"/>
                  <a:pt x="796" y="1453"/>
                  <a:pt x="797" y="1454"/>
                </a:cubicBezTo>
                <a:cubicBezTo>
                  <a:pt x="798" y="1455"/>
                  <a:pt x="802" y="1457"/>
                  <a:pt x="802" y="1457"/>
                </a:cubicBezTo>
                <a:cubicBezTo>
                  <a:pt x="801" y="1452"/>
                  <a:pt x="801" y="1452"/>
                  <a:pt x="801" y="1452"/>
                </a:cubicBezTo>
                <a:cubicBezTo>
                  <a:pt x="801" y="1452"/>
                  <a:pt x="806" y="1454"/>
                  <a:pt x="809" y="1456"/>
                </a:cubicBezTo>
                <a:cubicBezTo>
                  <a:pt x="812" y="1458"/>
                  <a:pt x="809" y="1460"/>
                  <a:pt x="809" y="1460"/>
                </a:cubicBezTo>
                <a:cubicBezTo>
                  <a:pt x="812" y="1462"/>
                  <a:pt x="812" y="1462"/>
                  <a:pt x="812" y="1462"/>
                </a:cubicBezTo>
                <a:cubicBezTo>
                  <a:pt x="812" y="1464"/>
                  <a:pt x="812" y="1464"/>
                  <a:pt x="812" y="1464"/>
                </a:cubicBezTo>
                <a:cubicBezTo>
                  <a:pt x="820" y="1464"/>
                  <a:pt x="820" y="1464"/>
                  <a:pt x="820" y="1464"/>
                </a:cubicBezTo>
                <a:cubicBezTo>
                  <a:pt x="821" y="1466"/>
                  <a:pt x="821" y="1466"/>
                  <a:pt x="821" y="1466"/>
                </a:cubicBezTo>
                <a:cubicBezTo>
                  <a:pt x="816" y="1466"/>
                  <a:pt x="816" y="1466"/>
                  <a:pt x="816" y="1466"/>
                </a:cubicBezTo>
                <a:cubicBezTo>
                  <a:pt x="815" y="1468"/>
                  <a:pt x="815" y="1468"/>
                  <a:pt x="815" y="1468"/>
                </a:cubicBezTo>
                <a:cubicBezTo>
                  <a:pt x="812" y="1468"/>
                  <a:pt x="812" y="1468"/>
                  <a:pt x="812" y="1468"/>
                </a:cubicBezTo>
                <a:cubicBezTo>
                  <a:pt x="810" y="1470"/>
                  <a:pt x="810" y="1470"/>
                  <a:pt x="810" y="1470"/>
                </a:cubicBezTo>
                <a:cubicBezTo>
                  <a:pt x="814" y="1471"/>
                  <a:pt x="814" y="1471"/>
                  <a:pt x="814" y="1471"/>
                </a:cubicBezTo>
                <a:cubicBezTo>
                  <a:pt x="813" y="1473"/>
                  <a:pt x="813" y="1473"/>
                  <a:pt x="813" y="1473"/>
                </a:cubicBezTo>
                <a:cubicBezTo>
                  <a:pt x="816" y="1473"/>
                  <a:pt x="816" y="1473"/>
                  <a:pt x="816" y="1473"/>
                </a:cubicBezTo>
                <a:cubicBezTo>
                  <a:pt x="817" y="1470"/>
                  <a:pt x="817" y="1470"/>
                  <a:pt x="817" y="1470"/>
                </a:cubicBezTo>
                <a:cubicBezTo>
                  <a:pt x="820" y="1471"/>
                  <a:pt x="820" y="1471"/>
                  <a:pt x="820" y="1471"/>
                </a:cubicBezTo>
                <a:cubicBezTo>
                  <a:pt x="820" y="1471"/>
                  <a:pt x="824" y="1466"/>
                  <a:pt x="826" y="1467"/>
                </a:cubicBezTo>
                <a:cubicBezTo>
                  <a:pt x="828" y="1469"/>
                  <a:pt x="822" y="1474"/>
                  <a:pt x="822" y="1474"/>
                </a:cubicBezTo>
                <a:cubicBezTo>
                  <a:pt x="822" y="1474"/>
                  <a:pt x="821" y="1473"/>
                  <a:pt x="819" y="1473"/>
                </a:cubicBezTo>
                <a:cubicBezTo>
                  <a:pt x="817" y="1473"/>
                  <a:pt x="818" y="1475"/>
                  <a:pt x="818" y="1475"/>
                </a:cubicBezTo>
                <a:cubicBezTo>
                  <a:pt x="816" y="1475"/>
                  <a:pt x="816" y="1475"/>
                  <a:pt x="816" y="1475"/>
                </a:cubicBezTo>
                <a:cubicBezTo>
                  <a:pt x="814" y="1475"/>
                  <a:pt x="812" y="1477"/>
                  <a:pt x="812" y="1477"/>
                </a:cubicBezTo>
                <a:cubicBezTo>
                  <a:pt x="813" y="1478"/>
                  <a:pt x="813" y="1478"/>
                  <a:pt x="813" y="1478"/>
                </a:cubicBezTo>
                <a:cubicBezTo>
                  <a:pt x="814" y="1482"/>
                  <a:pt x="814" y="1482"/>
                  <a:pt x="814" y="1482"/>
                </a:cubicBezTo>
                <a:cubicBezTo>
                  <a:pt x="818" y="1480"/>
                  <a:pt x="818" y="1480"/>
                  <a:pt x="818" y="1480"/>
                </a:cubicBezTo>
                <a:cubicBezTo>
                  <a:pt x="818" y="1480"/>
                  <a:pt x="819" y="1482"/>
                  <a:pt x="820" y="1482"/>
                </a:cubicBezTo>
                <a:cubicBezTo>
                  <a:pt x="821" y="1482"/>
                  <a:pt x="822" y="1478"/>
                  <a:pt x="823" y="1477"/>
                </a:cubicBezTo>
                <a:cubicBezTo>
                  <a:pt x="825" y="1476"/>
                  <a:pt x="825" y="1478"/>
                  <a:pt x="825" y="1478"/>
                </a:cubicBezTo>
                <a:cubicBezTo>
                  <a:pt x="825" y="1478"/>
                  <a:pt x="828" y="1478"/>
                  <a:pt x="831" y="1478"/>
                </a:cubicBezTo>
                <a:cubicBezTo>
                  <a:pt x="834" y="1477"/>
                  <a:pt x="828" y="1472"/>
                  <a:pt x="828" y="1472"/>
                </a:cubicBezTo>
                <a:cubicBezTo>
                  <a:pt x="828" y="1467"/>
                  <a:pt x="828" y="1467"/>
                  <a:pt x="828" y="1467"/>
                </a:cubicBezTo>
                <a:cubicBezTo>
                  <a:pt x="833" y="1467"/>
                  <a:pt x="833" y="1467"/>
                  <a:pt x="833" y="1467"/>
                </a:cubicBezTo>
                <a:cubicBezTo>
                  <a:pt x="833" y="1464"/>
                  <a:pt x="833" y="1464"/>
                  <a:pt x="833" y="1464"/>
                </a:cubicBezTo>
                <a:cubicBezTo>
                  <a:pt x="836" y="1465"/>
                  <a:pt x="836" y="1465"/>
                  <a:pt x="836" y="1465"/>
                </a:cubicBezTo>
                <a:cubicBezTo>
                  <a:pt x="837" y="1462"/>
                  <a:pt x="837" y="1462"/>
                  <a:pt x="837" y="1462"/>
                </a:cubicBezTo>
                <a:cubicBezTo>
                  <a:pt x="837" y="1464"/>
                  <a:pt x="837" y="1464"/>
                  <a:pt x="837" y="1464"/>
                </a:cubicBezTo>
                <a:cubicBezTo>
                  <a:pt x="838" y="1461"/>
                  <a:pt x="838" y="1461"/>
                  <a:pt x="838" y="1461"/>
                </a:cubicBezTo>
                <a:cubicBezTo>
                  <a:pt x="839" y="1459"/>
                  <a:pt x="845" y="1463"/>
                  <a:pt x="845" y="1463"/>
                </a:cubicBezTo>
                <a:cubicBezTo>
                  <a:pt x="840" y="1455"/>
                  <a:pt x="840" y="1455"/>
                  <a:pt x="840" y="1455"/>
                </a:cubicBezTo>
                <a:cubicBezTo>
                  <a:pt x="837" y="1456"/>
                  <a:pt x="837" y="1456"/>
                  <a:pt x="837" y="1456"/>
                </a:cubicBezTo>
                <a:cubicBezTo>
                  <a:pt x="837" y="1454"/>
                  <a:pt x="837" y="1454"/>
                  <a:pt x="837" y="1454"/>
                </a:cubicBezTo>
                <a:cubicBezTo>
                  <a:pt x="832" y="1450"/>
                  <a:pt x="832" y="1450"/>
                  <a:pt x="832" y="1450"/>
                </a:cubicBezTo>
                <a:cubicBezTo>
                  <a:pt x="833" y="1445"/>
                  <a:pt x="833" y="1445"/>
                  <a:pt x="833" y="1445"/>
                </a:cubicBezTo>
                <a:cubicBezTo>
                  <a:pt x="831" y="1444"/>
                  <a:pt x="831" y="1444"/>
                  <a:pt x="831" y="1444"/>
                </a:cubicBezTo>
                <a:cubicBezTo>
                  <a:pt x="832" y="1442"/>
                  <a:pt x="832" y="1442"/>
                  <a:pt x="832" y="1442"/>
                </a:cubicBezTo>
                <a:cubicBezTo>
                  <a:pt x="832" y="1442"/>
                  <a:pt x="834" y="1442"/>
                  <a:pt x="834" y="1440"/>
                </a:cubicBezTo>
                <a:cubicBezTo>
                  <a:pt x="835" y="1438"/>
                  <a:pt x="829" y="1438"/>
                  <a:pt x="829" y="1438"/>
                </a:cubicBezTo>
                <a:cubicBezTo>
                  <a:pt x="831" y="1437"/>
                  <a:pt x="831" y="1437"/>
                  <a:pt x="831" y="1437"/>
                </a:cubicBezTo>
                <a:cubicBezTo>
                  <a:pt x="831" y="1435"/>
                  <a:pt x="831" y="1435"/>
                  <a:pt x="831" y="1435"/>
                </a:cubicBezTo>
                <a:cubicBezTo>
                  <a:pt x="834" y="1438"/>
                  <a:pt x="834" y="1438"/>
                  <a:pt x="834" y="1438"/>
                </a:cubicBezTo>
                <a:cubicBezTo>
                  <a:pt x="834" y="1438"/>
                  <a:pt x="837" y="1440"/>
                  <a:pt x="839" y="1438"/>
                </a:cubicBezTo>
                <a:cubicBezTo>
                  <a:pt x="841" y="1435"/>
                  <a:pt x="837" y="1430"/>
                  <a:pt x="837" y="1427"/>
                </a:cubicBezTo>
                <a:cubicBezTo>
                  <a:pt x="838" y="1424"/>
                  <a:pt x="847" y="1418"/>
                  <a:pt x="847" y="1416"/>
                </a:cubicBezTo>
                <a:cubicBezTo>
                  <a:pt x="848" y="1414"/>
                  <a:pt x="843" y="1414"/>
                  <a:pt x="843" y="1414"/>
                </a:cubicBezTo>
                <a:cubicBezTo>
                  <a:pt x="846" y="1414"/>
                  <a:pt x="846" y="1414"/>
                  <a:pt x="846" y="1414"/>
                </a:cubicBezTo>
                <a:cubicBezTo>
                  <a:pt x="846" y="1414"/>
                  <a:pt x="846" y="1410"/>
                  <a:pt x="845" y="1408"/>
                </a:cubicBezTo>
                <a:cubicBezTo>
                  <a:pt x="843" y="1405"/>
                  <a:pt x="841" y="1406"/>
                  <a:pt x="841" y="1406"/>
                </a:cubicBezTo>
                <a:cubicBezTo>
                  <a:pt x="838" y="1405"/>
                  <a:pt x="838" y="1405"/>
                  <a:pt x="838" y="1405"/>
                </a:cubicBezTo>
                <a:cubicBezTo>
                  <a:pt x="835" y="1405"/>
                  <a:pt x="835" y="1405"/>
                  <a:pt x="835" y="1405"/>
                </a:cubicBezTo>
                <a:cubicBezTo>
                  <a:pt x="835" y="1405"/>
                  <a:pt x="827" y="1401"/>
                  <a:pt x="825" y="1395"/>
                </a:cubicBezTo>
                <a:cubicBezTo>
                  <a:pt x="822" y="1390"/>
                  <a:pt x="826" y="1389"/>
                  <a:pt x="826" y="1389"/>
                </a:cubicBezTo>
                <a:cubicBezTo>
                  <a:pt x="827" y="1385"/>
                  <a:pt x="827" y="1385"/>
                  <a:pt x="827" y="1385"/>
                </a:cubicBezTo>
                <a:cubicBezTo>
                  <a:pt x="829" y="1385"/>
                  <a:pt x="829" y="1385"/>
                  <a:pt x="829" y="1385"/>
                </a:cubicBezTo>
                <a:cubicBezTo>
                  <a:pt x="830" y="1383"/>
                  <a:pt x="830" y="1383"/>
                  <a:pt x="830" y="1383"/>
                </a:cubicBezTo>
                <a:cubicBezTo>
                  <a:pt x="838" y="1382"/>
                  <a:pt x="838" y="1382"/>
                  <a:pt x="838" y="1382"/>
                </a:cubicBezTo>
                <a:cubicBezTo>
                  <a:pt x="836" y="1381"/>
                  <a:pt x="836" y="1381"/>
                  <a:pt x="836" y="1381"/>
                </a:cubicBezTo>
                <a:cubicBezTo>
                  <a:pt x="836" y="1378"/>
                  <a:pt x="836" y="1378"/>
                  <a:pt x="836" y="1378"/>
                </a:cubicBezTo>
                <a:cubicBezTo>
                  <a:pt x="838" y="1378"/>
                  <a:pt x="838" y="1378"/>
                  <a:pt x="838" y="1378"/>
                </a:cubicBezTo>
                <a:cubicBezTo>
                  <a:pt x="838" y="1378"/>
                  <a:pt x="839" y="1374"/>
                  <a:pt x="837" y="1372"/>
                </a:cubicBezTo>
                <a:cubicBezTo>
                  <a:pt x="836" y="1371"/>
                  <a:pt x="834" y="1368"/>
                  <a:pt x="835" y="1364"/>
                </a:cubicBezTo>
                <a:cubicBezTo>
                  <a:pt x="836" y="1361"/>
                  <a:pt x="841" y="1361"/>
                  <a:pt x="841" y="1361"/>
                </a:cubicBezTo>
                <a:cubicBezTo>
                  <a:pt x="841" y="1360"/>
                  <a:pt x="841" y="1360"/>
                  <a:pt x="841" y="1360"/>
                </a:cubicBezTo>
                <a:cubicBezTo>
                  <a:pt x="841" y="1360"/>
                  <a:pt x="837" y="1360"/>
                  <a:pt x="835" y="1359"/>
                </a:cubicBezTo>
                <a:cubicBezTo>
                  <a:pt x="834" y="1358"/>
                  <a:pt x="836" y="1356"/>
                  <a:pt x="837" y="1356"/>
                </a:cubicBezTo>
                <a:cubicBezTo>
                  <a:pt x="839" y="1355"/>
                  <a:pt x="842" y="1359"/>
                  <a:pt x="843" y="1359"/>
                </a:cubicBezTo>
                <a:cubicBezTo>
                  <a:pt x="845" y="1359"/>
                  <a:pt x="847" y="1358"/>
                  <a:pt x="847" y="1356"/>
                </a:cubicBezTo>
                <a:cubicBezTo>
                  <a:pt x="847" y="1354"/>
                  <a:pt x="844" y="1349"/>
                  <a:pt x="842" y="1350"/>
                </a:cubicBezTo>
                <a:cubicBezTo>
                  <a:pt x="839" y="1351"/>
                  <a:pt x="843" y="1353"/>
                  <a:pt x="841" y="1354"/>
                </a:cubicBezTo>
                <a:cubicBezTo>
                  <a:pt x="838" y="1356"/>
                  <a:pt x="835" y="1352"/>
                  <a:pt x="835" y="1352"/>
                </a:cubicBezTo>
                <a:cubicBezTo>
                  <a:pt x="835" y="1352"/>
                  <a:pt x="830" y="1352"/>
                  <a:pt x="830" y="1351"/>
                </a:cubicBezTo>
                <a:cubicBezTo>
                  <a:pt x="829" y="1350"/>
                  <a:pt x="830" y="1344"/>
                  <a:pt x="830" y="1343"/>
                </a:cubicBezTo>
                <a:cubicBezTo>
                  <a:pt x="830" y="1343"/>
                  <a:pt x="826" y="1339"/>
                  <a:pt x="827" y="1336"/>
                </a:cubicBezTo>
                <a:cubicBezTo>
                  <a:pt x="828" y="1333"/>
                  <a:pt x="831" y="1336"/>
                  <a:pt x="834" y="1337"/>
                </a:cubicBezTo>
                <a:cubicBezTo>
                  <a:pt x="837" y="1338"/>
                  <a:pt x="841" y="1341"/>
                  <a:pt x="843" y="1341"/>
                </a:cubicBezTo>
                <a:cubicBezTo>
                  <a:pt x="844" y="1341"/>
                  <a:pt x="851" y="1337"/>
                  <a:pt x="853" y="1336"/>
                </a:cubicBezTo>
                <a:cubicBezTo>
                  <a:pt x="855" y="1334"/>
                  <a:pt x="848" y="1331"/>
                  <a:pt x="848" y="1331"/>
                </a:cubicBezTo>
                <a:cubicBezTo>
                  <a:pt x="848" y="1327"/>
                  <a:pt x="848" y="1327"/>
                  <a:pt x="848" y="1327"/>
                </a:cubicBezTo>
                <a:cubicBezTo>
                  <a:pt x="848" y="1327"/>
                  <a:pt x="849" y="1324"/>
                  <a:pt x="850" y="1322"/>
                </a:cubicBezTo>
                <a:cubicBezTo>
                  <a:pt x="850" y="1319"/>
                  <a:pt x="846" y="1319"/>
                  <a:pt x="846" y="1319"/>
                </a:cubicBezTo>
                <a:cubicBezTo>
                  <a:pt x="845" y="1316"/>
                  <a:pt x="845" y="1316"/>
                  <a:pt x="845" y="1316"/>
                </a:cubicBezTo>
                <a:cubicBezTo>
                  <a:pt x="845" y="1316"/>
                  <a:pt x="844" y="1315"/>
                  <a:pt x="845" y="1313"/>
                </a:cubicBezTo>
                <a:cubicBezTo>
                  <a:pt x="846" y="1311"/>
                  <a:pt x="849" y="1319"/>
                  <a:pt x="849" y="1319"/>
                </a:cubicBezTo>
                <a:cubicBezTo>
                  <a:pt x="850" y="1318"/>
                  <a:pt x="850" y="1318"/>
                  <a:pt x="850" y="1318"/>
                </a:cubicBezTo>
                <a:cubicBezTo>
                  <a:pt x="849" y="1315"/>
                  <a:pt x="849" y="1315"/>
                  <a:pt x="849" y="1315"/>
                </a:cubicBezTo>
                <a:cubicBezTo>
                  <a:pt x="861" y="1317"/>
                  <a:pt x="861" y="1317"/>
                  <a:pt x="861" y="1317"/>
                </a:cubicBezTo>
                <a:cubicBezTo>
                  <a:pt x="861" y="1316"/>
                  <a:pt x="861" y="1316"/>
                  <a:pt x="861" y="1316"/>
                </a:cubicBezTo>
                <a:cubicBezTo>
                  <a:pt x="861" y="1316"/>
                  <a:pt x="864" y="1314"/>
                  <a:pt x="870" y="1313"/>
                </a:cubicBezTo>
                <a:cubicBezTo>
                  <a:pt x="876" y="1313"/>
                  <a:pt x="887" y="1307"/>
                  <a:pt x="887" y="1307"/>
                </a:cubicBezTo>
                <a:cubicBezTo>
                  <a:pt x="886" y="1302"/>
                  <a:pt x="886" y="1302"/>
                  <a:pt x="886" y="1302"/>
                </a:cubicBezTo>
                <a:cubicBezTo>
                  <a:pt x="889" y="1300"/>
                  <a:pt x="889" y="1300"/>
                  <a:pt x="889" y="1300"/>
                </a:cubicBezTo>
                <a:cubicBezTo>
                  <a:pt x="891" y="1293"/>
                  <a:pt x="891" y="1293"/>
                  <a:pt x="891" y="1293"/>
                </a:cubicBezTo>
                <a:cubicBezTo>
                  <a:pt x="889" y="1290"/>
                  <a:pt x="889" y="1290"/>
                  <a:pt x="889" y="1290"/>
                </a:cubicBezTo>
                <a:cubicBezTo>
                  <a:pt x="889" y="1286"/>
                  <a:pt x="889" y="1286"/>
                  <a:pt x="889" y="1286"/>
                </a:cubicBezTo>
                <a:cubicBezTo>
                  <a:pt x="889" y="1286"/>
                  <a:pt x="887" y="1284"/>
                  <a:pt x="885" y="1283"/>
                </a:cubicBezTo>
                <a:cubicBezTo>
                  <a:pt x="884" y="1283"/>
                  <a:pt x="882" y="1284"/>
                  <a:pt x="881" y="1283"/>
                </a:cubicBezTo>
                <a:cubicBezTo>
                  <a:pt x="879" y="1282"/>
                  <a:pt x="882" y="1281"/>
                  <a:pt x="883" y="1280"/>
                </a:cubicBezTo>
                <a:cubicBezTo>
                  <a:pt x="884" y="1278"/>
                  <a:pt x="883" y="1277"/>
                  <a:pt x="883" y="1275"/>
                </a:cubicBezTo>
                <a:cubicBezTo>
                  <a:pt x="883" y="1272"/>
                  <a:pt x="876" y="1271"/>
                  <a:pt x="871" y="1269"/>
                </a:cubicBezTo>
                <a:cubicBezTo>
                  <a:pt x="866" y="1266"/>
                  <a:pt x="866" y="1264"/>
                  <a:pt x="868" y="1261"/>
                </a:cubicBezTo>
                <a:cubicBezTo>
                  <a:pt x="868" y="1261"/>
                  <a:pt x="868" y="1261"/>
                  <a:pt x="869" y="1261"/>
                </a:cubicBezTo>
                <a:cubicBezTo>
                  <a:pt x="864" y="1256"/>
                  <a:pt x="864" y="1256"/>
                  <a:pt x="864" y="1256"/>
                </a:cubicBezTo>
                <a:cubicBezTo>
                  <a:pt x="869" y="1261"/>
                  <a:pt x="869" y="1261"/>
                  <a:pt x="869" y="1261"/>
                </a:cubicBezTo>
                <a:cubicBezTo>
                  <a:pt x="870" y="1260"/>
                  <a:pt x="873" y="1263"/>
                  <a:pt x="874" y="1265"/>
                </a:cubicBezTo>
                <a:cubicBezTo>
                  <a:pt x="874" y="1265"/>
                  <a:pt x="874" y="1265"/>
                  <a:pt x="874" y="1265"/>
                </a:cubicBezTo>
                <a:cubicBezTo>
                  <a:pt x="875" y="1265"/>
                  <a:pt x="875" y="1266"/>
                  <a:pt x="875" y="1266"/>
                </a:cubicBezTo>
                <a:cubicBezTo>
                  <a:pt x="881" y="1266"/>
                  <a:pt x="881" y="1266"/>
                  <a:pt x="881" y="1266"/>
                </a:cubicBezTo>
                <a:cubicBezTo>
                  <a:pt x="883" y="1268"/>
                  <a:pt x="883" y="1268"/>
                  <a:pt x="883" y="1268"/>
                </a:cubicBezTo>
                <a:cubicBezTo>
                  <a:pt x="883" y="1268"/>
                  <a:pt x="889" y="1268"/>
                  <a:pt x="895" y="1269"/>
                </a:cubicBezTo>
                <a:cubicBezTo>
                  <a:pt x="902" y="1270"/>
                  <a:pt x="906" y="1270"/>
                  <a:pt x="910" y="1267"/>
                </a:cubicBezTo>
                <a:cubicBezTo>
                  <a:pt x="913" y="1265"/>
                  <a:pt x="914" y="1258"/>
                  <a:pt x="914" y="1257"/>
                </a:cubicBezTo>
                <a:cubicBezTo>
                  <a:pt x="914" y="1256"/>
                  <a:pt x="914" y="1256"/>
                  <a:pt x="914" y="1256"/>
                </a:cubicBezTo>
                <a:cubicBezTo>
                  <a:pt x="914" y="1256"/>
                  <a:pt x="919" y="1251"/>
                  <a:pt x="920" y="1249"/>
                </a:cubicBezTo>
                <a:cubicBezTo>
                  <a:pt x="921" y="1247"/>
                  <a:pt x="920" y="1243"/>
                  <a:pt x="920" y="1243"/>
                </a:cubicBezTo>
                <a:cubicBezTo>
                  <a:pt x="922" y="1239"/>
                  <a:pt x="922" y="1239"/>
                  <a:pt x="922" y="1239"/>
                </a:cubicBezTo>
                <a:cubicBezTo>
                  <a:pt x="922" y="1239"/>
                  <a:pt x="920" y="1237"/>
                  <a:pt x="920" y="1235"/>
                </a:cubicBezTo>
                <a:cubicBezTo>
                  <a:pt x="920" y="1233"/>
                  <a:pt x="922" y="1233"/>
                  <a:pt x="922" y="1233"/>
                </a:cubicBezTo>
                <a:cubicBezTo>
                  <a:pt x="923" y="1230"/>
                  <a:pt x="923" y="1230"/>
                  <a:pt x="923" y="1230"/>
                </a:cubicBezTo>
                <a:cubicBezTo>
                  <a:pt x="923" y="1230"/>
                  <a:pt x="925" y="1229"/>
                  <a:pt x="926" y="1228"/>
                </a:cubicBezTo>
                <a:cubicBezTo>
                  <a:pt x="927" y="1228"/>
                  <a:pt x="927" y="1225"/>
                  <a:pt x="927" y="1223"/>
                </a:cubicBezTo>
                <a:cubicBezTo>
                  <a:pt x="927" y="1221"/>
                  <a:pt x="930" y="1218"/>
                  <a:pt x="932" y="1217"/>
                </a:cubicBezTo>
                <a:cubicBezTo>
                  <a:pt x="934" y="1217"/>
                  <a:pt x="934" y="1222"/>
                  <a:pt x="934" y="1222"/>
                </a:cubicBezTo>
                <a:cubicBezTo>
                  <a:pt x="934" y="1222"/>
                  <a:pt x="932" y="1224"/>
                  <a:pt x="932" y="1224"/>
                </a:cubicBezTo>
                <a:cubicBezTo>
                  <a:pt x="931" y="1225"/>
                  <a:pt x="931" y="1227"/>
                  <a:pt x="931" y="1227"/>
                </a:cubicBezTo>
                <a:cubicBezTo>
                  <a:pt x="930" y="1228"/>
                  <a:pt x="930" y="1228"/>
                  <a:pt x="930" y="1228"/>
                </a:cubicBezTo>
                <a:cubicBezTo>
                  <a:pt x="930" y="1230"/>
                  <a:pt x="930" y="1230"/>
                  <a:pt x="930" y="1230"/>
                </a:cubicBezTo>
                <a:cubicBezTo>
                  <a:pt x="926" y="1234"/>
                  <a:pt x="926" y="1234"/>
                  <a:pt x="926" y="1234"/>
                </a:cubicBezTo>
                <a:cubicBezTo>
                  <a:pt x="922" y="1237"/>
                  <a:pt x="922" y="1237"/>
                  <a:pt x="922" y="1237"/>
                </a:cubicBezTo>
                <a:cubicBezTo>
                  <a:pt x="922" y="1237"/>
                  <a:pt x="923" y="1238"/>
                  <a:pt x="925" y="1238"/>
                </a:cubicBezTo>
                <a:cubicBezTo>
                  <a:pt x="926" y="1237"/>
                  <a:pt x="926" y="1235"/>
                  <a:pt x="927" y="1234"/>
                </a:cubicBezTo>
                <a:cubicBezTo>
                  <a:pt x="928" y="1233"/>
                  <a:pt x="929" y="1234"/>
                  <a:pt x="930" y="1234"/>
                </a:cubicBezTo>
                <a:cubicBezTo>
                  <a:pt x="931" y="1232"/>
                  <a:pt x="935" y="1225"/>
                  <a:pt x="936" y="1220"/>
                </a:cubicBezTo>
                <a:cubicBezTo>
                  <a:pt x="937" y="1215"/>
                  <a:pt x="940" y="1210"/>
                  <a:pt x="940" y="1207"/>
                </a:cubicBezTo>
                <a:cubicBezTo>
                  <a:pt x="941" y="1204"/>
                  <a:pt x="947" y="1201"/>
                  <a:pt x="948" y="1200"/>
                </a:cubicBezTo>
                <a:cubicBezTo>
                  <a:pt x="948" y="1199"/>
                  <a:pt x="946" y="1197"/>
                  <a:pt x="946" y="1197"/>
                </a:cubicBezTo>
                <a:cubicBezTo>
                  <a:pt x="949" y="1195"/>
                  <a:pt x="949" y="1195"/>
                  <a:pt x="949" y="1195"/>
                </a:cubicBezTo>
                <a:cubicBezTo>
                  <a:pt x="948" y="1190"/>
                  <a:pt x="948" y="1190"/>
                  <a:pt x="948" y="1190"/>
                </a:cubicBezTo>
                <a:cubicBezTo>
                  <a:pt x="949" y="1187"/>
                  <a:pt x="949" y="1187"/>
                  <a:pt x="949" y="1187"/>
                </a:cubicBezTo>
                <a:cubicBezTo>
                  <a:pt x="947" y="1186"/>
                  <a:pt x="947" y="1186"/>
                  <a:pt x="947" y="1186"/>
                </a:cubicBezTo>
                <a:cubicBezTo>
                  <a:pt x="947" y="1186"/>
                  <a:pt x="949" y="1184"/>
                  <a:pt x="949" y="1182"/>
                </a:cubicBezTo>
                <a:cubicBezTo>
                  <a:pt x="949" y="1181"/>
                  <a:pt x="946" y="1179"/>
                  <a:pt x="946" y="1179"/>
                </a:cubicBezTo>
                <a:cubicBezTo>
                  <a:pt x="945" y="1175"/>
                  <a:pt x="945" y="1175"/>
                  <a:pt x="945" y="1175"/>
                </a:cubicBezTo>
                <a:cubicBezTo>
                  <a:pt x="943" y="1172"/>
                  <a:pt x="943" y="1172"/>
                  <a:pt x="943" y="1172"/>
                </a:cubicBezTo>
                <a:cubicBezTo>
                  <a:pt x="946" y="1173"/>
                  <a:pt x="946" y="1173"/>
                  <a:pt x="946" y="1173"/>
                </a:cubicBezTo>
                <a:cubicBezTo>
                  <a:pt x="946" y="1169"/>
                  <a:pt x="946" y="1169"/>
                  <a:pt x="946" y="1169"/>
                </a:cubicBezTo>
                <a:cubicBezTo>
                  <a:pt x="944" y="1168"/>
                  <a:pt x="944" y="1168"/>
                  <a:pt x="944" y="1168"/>
                </a:cubicBezTo>
                <a:cubicBezTo>
                  <a:pt x="944" y="1168"/>
                  <a:pt x="947" y="1167"/>
                  <a:pt x="947" y="1166"/>
                </a:cubicBezTo>
                <a:cubicBezTo>
                  <a:pt x="947" y="1165"/>
                  <a:pt x="943" y="1163"/>
                  <a:pt x="943" y="1163"/>
                </a:cubicBezTo>
                <a:cubicBezTo>
                  <a:pt x="947" y="1161"/>
                  <a:pt x="947" y="1161"/>
                  <a:pt x="947" y="1161"/>
                </a:cubicBezTo>
                <a:cubicBezTo>
                  <a:pt x="947" y="1161"/>
                  <a:pt x="949" y="1164"/>
                  <a:pt x="951" y="1164"/>
                </a:cubicBezTo>
                <a:cubicBezTo>
                  <a:pt x="952" y="1163"/>
                  <a:pt x="951" y="1161"/>
                  <a:pt x="951" y="1161"/>
                </a:cubicBezTo>
                <a:cubicBezTo>
                  <a:pt x="951" y="1161"/>
                  <a:pt x="951" y="1158"/>
                  <a:pt x="953" y="1156"/>
                </a:cubicBezTo>
                <a:cubicBezTo>
                  <a:pt x="954" y="1154"/>
                  <a:pt x="957" y="1155"/>
                  <a:pt x="958" y="1154"/>
                </a:cubicBezTo>
                <a:cubicBezTo>
                  <a:pt x="959" y="1153"/>
                  <a:pt x="959" y="1152"/>
                  <a:pt x="959" y="1150"/>
                </a:cubicBezTo>
                <a:cubicBezTo>
                  <a:pt x="960" y="1149"/>
                  <a:pt x="964" y="1148"/>
                  <a:pt x="964" y="1148"/>
                </a:cubicBezTo>
                <a:cubicBezTo>
                  <a:pt x="964" y="1147"/>
                  <a:pt x="964" y="1147"/>
                  <a:pt x="964" y="1147"/>
                </a:cubicBezTo>
                <a:cubicBezTo>
                  <a:pt x="964" y="1147"/>
                  <a:pt x="966" y="1147"/>
                  <a:pt x="967" y="1147"/>
                </a:cubicBezTo>
                <a:cubicBezTo>
                  <a:pt x="968" y="1147"/>
                  <a:pt x="967" y="1144"/>
                  <a:pt x="969" y="1144"/>
                </a:cubicBezTo>
                <a:cubicBezTo>
                  <a:pt x="970" y="1144"/>
                  <a:pt x="974" y="1144"/>
                  <a:pt x="974" y="1144"/>
                </a:cubicBezTo>
                <a:cubicBezTo>
                  <a:pt x="975" y="1147"/>
                  <a:pt x="975" y="1147"/>
                  <a:pt x="975" y="1147"/>
                </a:cubicBezTo>
                <a:cubicBezTo>
                  <a:pt x="977" y="1146"/>
                  <a:pt x="977" y="1146"/>
                  <a:pt x="977" y="1146"/>
                </a:cubicBezTo>
                <a:cubicBezTo>
                  <a:pt x="974" y="1143"/>
                  <a:pt x="974" y="1143"/>
                  <a:pt x="974" y="1143"/>
                </a:cubicBezTo>
                <a:cubicBezTo>
                  <a:pt x="974" y="1143"/>
                  <a:pt x="976" y="1142"/>
                  <a:pt x="977" y="1141"/>
                </a:cubicBezTo>
                <a:cubicBezTo>
                  <a:pt x="978" y="1140"/>
                  <a:pt x="982" y="1140"/>
                  <a:pt x="982" y="1140"/>
                </a:cubicBezTo>
                <a:cubicBezTo>
                  <a:pt x="980" y="1138"/>
                  <a:pt x="980" y="1138"/>
                  <a:pt x="980" y="1138"/>
                </a:cubicBezTo>
                <a:cubicBezTo>
                  <a:pt x="980" y="1138"/>
                  <a:pt x="983" y="1136"/>
                  <a:pt x="984" y="1136"/>
                </a:cubicBezTo>
                <a:cubicBezTo>
                  <a:pt x="985" y="1136"/>
                  <a:pt x="984" y="1139"/>
                  <a:pt x="985" y="1139"/>
                </a:cubicBezTo>
                <a:cubicBezTo>
                  <a:pt x="985" y="1139"/>
                  <a:pt x="986" y="1135"/>
                  <a:pt x="986" y="1135"/>
                </a:cubicBezTo>
                <a:cubicBezTo>
                  <a:pt x="992" y="1137"/>
                  <a:pt x="992" y="1137"/>
                  <a:pt x="992" y="1137"/>
                </a:cubicBezTo>
                <a:cubicBezTo>
                  <a:pt x="992" y="1137"/>
                  <a:pt x="993" y="1132"/>
                  <a:pt x="995" y="1132"/>
                </a:cubicBezTo>
                <a:cubicBezTo>
                  <a:pt x="997" y="1132"/>
                  <a:pt x="997" y="1137"/>
                  <a:pt x="997" y="1137"/>
                </a:cubicBezTo>
                <a:cubicBezTo>
                  <a:pt x="1006" y="1135"/>
                  <a:pt x="1006" y="1135"/>
                  <a:pt x="1006" y="1135"/>
                </a:cubicBezTo>
                <a:cubicBezTo>
                  <a:pt x="1007" y="1133"/>
                  <a:pt x="1007" y="1133"/>
                  <a:pt x="1007" y="1133"/>
                </a:cubicBezTo>
                <a:cubicBezTo>
                  <a:pt x="1006" y="1132"/>
                  <a:pt x="1006" y="1132"/>
                  <a:pt x="1006" y="1132"/>
                </a:cubicBezTo>
                <a:cubicBezTo>
                  <a:pt x="1006" y="1132"/>
                  <a:pt x="1007" y="1130"/>
                  <a:pt x="1008" y="1128"/>
                </a:cubicBezTo>
                <a:cubicBezTo>
                  <a:pt x="1010" y="1126"/>
                  <a:pt x="1016" y="1125"/>
                  <a:pt x="1016" y="1125"/>
                </a:cubicBezTo>
                <a:cubicBezTo>
                  <a:pt x="1016" y="1125"/>
                  <a:pt x="1015" y="1122"/>
                  <a:pt x="1015" y="1122"/>
                </a:cubicBezTo>
                <a:cubicBezTo>
                  <a:pt x="1015" y="1121"/>
                  <a:pt x="1016" y="1112"/>
                  <a:pt x="1016" y="1112"/>
                </a:cubicBezTo>
                <a:cubicBezTo>
                  <a:pt x="1019" y="1108"/>
                  <a:pt x="1019" y="1108"/>
                  <a:pt x="1019" y="1108"/>
                </a:cubicBezTo>
                <a:cubicBezTo>
                  <a:pt x="1019" y="1105"/>
                  <a:pt x="1019" y="1105"/>
                  <a:pt x="1019" y="1105"/>
                </a:cubicBezTo>
                <a:cubicBezTo>
                  <a:pt x="1022" y="1104"/>
                  <a:pt x="1022" y="1104"/>
                  <a:pt x="1022" y="1104"/>
                </a:cubicBezTo>
                <a:cubicBezTo>
                  <a:pt x="1022" y="1100"/>
                  <a:pt x="1022" y="1100"/>
                  <a:pt x="1022" y="1100"/>
                </a:cubicBezTo>
                <a:cubicBezTo>
                  <a:pt x="1022" y="1100"/>
                  <a:pt x="1024" y="1099"/>
                  <a:pt x="1025" y="1099"/>
                </a:cubicBezTo>
                <a:cubicBezTo>
                  <a:pt x="1026" y="1099"/>
                  <a:pt x="1026" y="1093"/>
                  <a:pt x="1026" y="1093"/>
                </a:cubicBezTo>
                <a:cubicBezTo>
                  <a:pt x="1026" y="1093"/>
                  <a:pt x="1024" y="1087"/>
                  <a:pt x="1024" y="1084"/>
                </a:cubicBezTo>
                <a:cubicBezTo>
                  <a:pt x="1023" y="1081"/>
                  <a:pt x="1027" y="1079"/>
                  <a:pt x="1029" y="1077"/>
                </a:cubicBezTo>
                <a:cubicBezTo>
                  <a:pt x="1030" y="1076"/>
                  <a:pt x="1028" y="1072"/>
                  <a:pt x="1028" y="1072"/>
                </a:cubicBezTo>
                <a:cubicBezTo>
                  <a:pt x="1029" y="1064"/>
                  <a:pt x="1029" y="1064"/>
                  <a:pt x="1029" y="1064"/>
                </a:cubicBezTo>
                <a:cubicBezTo>
                  <a:pt x="1029" y="1064"/>
                  <a:pt x="1031" y="1057"/>
                  <a:pt x="1030" y="1055"/>
                </a:cubicBezTo>
                <a:cubicBezTo>
                  <a:pt x="1030" y="1053"/>
                  <a:pt x="1028" y="1041"/>
                  <a:pt x="1028" y="1041"/>
                </a:cubicBezTo>
                <a:cubicBezTo>
                  <a:pt x="1029" y="1036"/>
                  <a:pt x="1029" y="1036"/>
                  <a:pt x="1029" y="1036"/>
                </a:cubicBezTo>
                <a:cubicBezTo>
                  <a:pt x="1029" y="1036"/>
                  <a:pt x="1027" y="1029"/>
                  <a:pt x="1027" y="1028"/>
                </a:cubicBezTo>
                <a:cubicBezTo>
                  <a:pt x="1028" y="1026"/>
                  <a:pt x="1030" y="1024"/>
                  <a:pt x="1030" y="1024"/>
                </a:cubicBezTo>
                <a:cubicBezTo>
                  <a:pt x="1029" y="1021"/>
                  <a:pt x="1029" y="1021"/>
                  <a:pt x="1029" y="1021"/>
                </a:cubicBezTo>
                <a:cubicBezTo>
                  <a:pt x="1029" y="1021"/>
                  <a:pt x="1030" y="1019"/>
                  <a:pt x="1031" y="1019"/>
                </a:cubicBezTo>
                <a:cubicBezTo>
                  <a:pt x="1032" y="1019"/>
                  <a:pt x="1034" y="1023"/>
                  <a:pt x="1034" y="1023"/>
                </a:cubicBezTo>
                <a:cubicBezTo>
                  <a:pt x="1034" y="1023"/>
                  <a:pt x="1038" y="1019"/>
                  <a:pt x="1040" y="1017"/>
                </a:cubicBezTo>
                <a:cubicBezTo>
                  <a:pt x="1041" y="1015"/>
                  <a:pt x="1042" y="1006"/>
                  <a:pt x="1042" y="1006"/>
                </a:cubicBezTo>
                <a:cubicBezTo>
                  <a:pt x="1042" y="1006"/>
                  <a:pt x="1044" y="1005"/>
                  <a:pt x="1045" y="1004"/>
                </a:cubicBezTo>
                <a:cubicBezTo>
                  <a:pt x="1046" y="1003"/>
                  <a:pt x="1047" y="998"/>
                  <a:pt x="1047" y="998"/>
                </a:cubicBezTo>
                <a:cubicBezTo>
                  <a:pt x="1047" y="998"/>
                  <a:pt x="1050" y="997"/>
                  <a:pt x="1051" y="997"/>
                </a:cubicBezTo>
                <a:cubicBezTo>
                  <a:pt x="1053" y="997"/>
                  <a:pt x="1053" y="992"/>
                  <a:pt x="1053" y="992"/>
                </a:cubicBezTo>
                <a:cubicBezTo>
                  <a:pt x="1053" y="992"/>
                  <a:pt x="1056" y="991"/>
                  <a:pt x="1058" y="988"/>
                </a:cubicBezTo>
                <a:cubicBezTo>
                  <a:pt x="1061" y="984"/>
                  <a:pt x="1064" y="974"/>
                  <a:pt x="1064" y="974"/>
                </a:cubicBezTo>
                <a:cubicBezTo>
                  <a:pt x="1064" y="974"/>
                  <a:pt x="1067" y="971"/>
                  <a:pt x="1067" y="970"/>
                </a:cubicBezTo>
                <a:cubicBezTo>
                  <a:pt x="1067" y="969"/>
                  <a:pt x="1066" y="965"/>
                  <a:pt x="1066" y="965"/>
                </a:cubicBezTo>
                <a:cubicBezTo>
                  <a:pt x="1066" y="965"/>
                  <a:pt x="1067" y="961"/>
                  <a:pt x="1067" y="957"/>
                </a:cubicBezTo>
                <a:close/>
                <a:moveTo>
                  <a:pt x="660" y="375"/>
                </a:moveTo>
                <a:cubicBezTo>
                  <a:pt x="657" y="375"/>
                  <a:pt x="661" y="371"/>
                  <a:pt x="659" y="371"/>
                </a:cubicBezTo>
                <a:cubicBezTo>
                  <a:pt x="658" y="370"/>
                  <a:pt x="656" y="373"/>
                  <a:pt x="656" y="373"/>
                </a:cubicBezTo>
                <a:cubicBezTo>
                  <a:pt x="655" y="373"/>
                  <a:pt x="655" y="373"/>
                  <a:pt x="655" y="373"/>
                </a:cubicBezTo>
                <a:cubicBezTo>
                  <a:pt x="654" y="375"/>
                  <a:pt x="654" y="375"/>
                  <a:pt x="654" y="375"/>
                </a:cubicBezTo>
                <a:cubicBezTo>
                  <a:pt x="652" y="375"/>
                  <a:pt x="652" y="375"/>
                  <a:pt x="652" y="375"/>
                </a:cubicBezTo>
                <a:cubicBezTo>
                  <a:pt x="652" y="375"/>
                  <a:pt x="652" y="377"/>
                  <a:pt x="651" y="378"/>
                </a:cubicBezTo>
                <a:cubicBezTo>
                  <a:pt x="650" y="380"/>
                  <a:pt x="648" y="380"/>
                  <a:pt x="647" y="382"/>
                </a:cubicBezTo>
                <a:cubicBezTo>
                  <a:pt x="646" y="383"/>
                  <a:pt x="648" y="384"/>
                  <a:pt x="648" y="384"/>
                </a:cubicBezTo>
                <a:cubicBezTo>
                  <a:pt x="648" y="384"/>
                  <a:pt x="647" y="384"/>
                  <a:pt x="644" y="387"/>
                </a:cubicBezTo>
                <a:cubicBezTo>
                  <a:pt x="641" y="390"/>
                  <a:pt x="645" y="390"/>
                  <a:pt x="645" y="392"/>
                </a:cubicBezTo>
                <a:cubicBezTo>
                  <a:pt x="645" y="393"/>
                  <a:pt x="644" y="394"/>
                  <a:pt x="644" y="394"/>
                </a:cubicBezTo>
                <a:cubicBezTo>
                  <a:pt x="644" y="394"/>
                  <a:pt x="645" y="395"/>
                  <a:pt x="640" y="401"/>
                </a:cubicBezTo>
                <a:cubicBezTo>
                  <a:pt x="636" y="408"/>
                  <a:pt x="626" y="410"/>
                  <a:pt x="626" y="410"/>
                </a:cubicBezTo>
                <a:cubicBezTo>
                  <a:pt x="627" y="406"/>
                  <a:pt x="627" y="406"/>
                  <a:pt x="627" y="406"/>
                </a:cubicBezTo>
                <a:cubicBezTo>
                  <a:pt x="627" y="406"/>
                  <a:pt x="626" y="404"/>
                  <a:pt x="626" y="404"/>
                </a:cubicBezTo>
                <a:cubicBezTo>
                  <a:pt x="625" y="403"/>
                  <a:pt x="629" y="398"/>
                  <a:pt x="629" y="397"/>
                </a:cubicBezTo>
                <a:cubicBezTo>
                  <a:pt x="630" y="396"/>
                  <a:pt x="628" y="395"/>
                  <a:pt x="629" y="393"/>
                </a:cubicBezTo>
                <a:cubicBezTo>
                  <a:pt x="629" y="390"/>
                  <a:pt x="634" y="386"/>
                  <a:pt x="634" y="386"/>
                </a:cubicBezTo>
                <a:cubicBezTo>
                  <a:pt x="634" y="384"/>
                  <a:pt x="634" y="384"/>
                  <a:pt x="634" y="384"/>
                </a:cubicBezTo>
                <a:cubicBezTo>
                  <a:pt x="634" y="384"/>
                  <a:pt x="638" y="381"/>
                  <a:pt x="639" y="380"/>
                </a:cubicBezTo>
                <a:cubicBezTo>
                  <a:pt x="639" y="379"/>
                  <a:pt x="646" y="372"/>
                  <a:pt x="646" y="372"/>
                </a:cubicBezTo>
                <a:cubicBezTo>
                  <a:pt x="642" y="374"/>
                  <a:pt x="642" y="374"/>
                  <a:pt x="642" y="374"/>
                </a:cubicBezTo>
                <a:cubicBezTo>
                  <a:pt x="642" y="374"/>
                  <a:pt x="637" y="378"/>
                  <a:pt x="636" y="377"/>
                </a:cubicBezTo>
                <a:cubicBezTo>
                  <a:pt x="635" y="375"/>
                  <a:pt x="644" y="370"/>
                  <a:pt x="645" y="369"/>
                </a:cubicBezTo>
                <a:cubicBezTo>
                  <a:pt x="646" y="367"/>
                  <a:pt x="651" y="363"/>
                  <a:pt x="651" y="363"/>
                </a:cubicBezTo>
                <a:cubicBezTo>
                  <a:pt x="653" y="364"/>
                  <a:pt x="653" y="364"/>
                  <a:pt x="653" y="364"/>
                </a:cubicBezTo>
                <a:cubicBezTo>
                  <a:pt x="655" y="363"/>
                  <a:pt x="655" y="363"/>
                  <a:pt x="655" y="363"/>
                </a:cubicBezTo>
                <a:cubicBezTo>
                  <a:pt x="655" y="363"/>
                  <a:pt x="654" y="365"/>
                  <a:pt x="656" y="364"/>
                </a:cubicBezTo>
                <a:cubicBezTo>
                  <a:pt x="658" y="364"/>
                  <a:pt x="657" y="361"/>
                  <a:pt x="657" y="361"/>
                </a:cubicBezTo>
                <a:cubicBezTo>
                  <a:pt x="660" y="362"/>
                  <a:pt x="660" y="362"/>
                  <a:pt x="660" y="362"/>
                </a:cubicBezTo>
                <a:cubicBezTo>
                  <a:pt x="660" y="362"/>
                  <a:pt x="665" y="360"/>
                  <a:pt x="667" y="361"/>
                </a:cubicBezTo>
                <a:cubicBezTo>
                  <a:pt x="669" y="361"/>
                  <a:pt x="670" y="364"/>
                  <a:pt x="670" y="364"/>
                </a:cubicBezTo>
                <a:cubicBezTo>
                  <a:pt x="667" y="365"/>
                  <a:pt x="667" y="365"/>
                  <a:pt x="667" y="365"/>
                </a:cubicBezTo>
                <a:cubicBezTo>
                  <a:pt x="667" y="369"/>
                  <a:pt x="667" y="369"/>
                  <a:pt x="667" y="369"/>
                </a:cubicBezTo>
                <a:cubicBezTo>
                  <a:pt x="667" y="369"/>
                  <a:pt x="665" y="368"/>
                  <a:pt x="663" y="368"/>
                </a:cubicBezTo>
                <a:cubicBezTo>
                  <a:pt x="662" y="368"/>
                  <a:pt x="662" y="372"/>
                  <a:pt x="662" y="372"/>
                </a:cubicBezTo>
                <a:cubicBezTo>
                  <a:pt x="662" y="372"/>
                  <a:pt x="663" y="375"/>
                  <a:pt x="660" y="375"/>
                </a:cubicBezTo>
                <a:close/>
                <a:moveTo>
                  <a:pt x="691" y="406"/>
                </a:moveTo>
                <a:cubicBezTo>
                  <a:pt x="689" y="407"/>
                  <a:pt x="688" y="407"/>
                  <a:pt x="684" y="408"/>
                </a:cubicBezTo>
                <a:cubicBezTo>
                  <a:pt x="679" y="409"/>
                  <a:pt x="678" y="411"/>
                  <a:pt x="676" y="411"/>
                </a:cubicBezTo>
                <a:cubicBezTo>
                  <a:pt x="675" y="412"/>
                  <a:pt x="672" y="411"/>
                  <a:pt x="672" y="411"/>
                </a:cubicBezTo>
                <a:cubicBezTo>
                  <a:pt x="672" y="411"/>
                  <a:pt x="672" y="413"/>
                  <a:pt x="670" y="413"/>
                </a:cubicBezTo>
                <a:cubicBezTo>
                  <a:pt x="667" y="413"/>
                  <a:pt x="667" y="411"/>
                  <a:pt x="667" y="411"/>
                </a:cubicBezTo>
                <a:cubicBezTo>
                  <a:pt x="667" y="411"/>
                  <a:pt x="662" y="410"/>
                  <a:pt x="662" y="409"/>
                </a:cubicBezTo>
                <a:cubicBezTo>
                  <a:pt x="662" y="409"/>
                  <a:pt x="665" y="407"/>
                  <a:pt x="667" y="406"/>
                </a:cubicBezTo>
                <a:cubicBezTo>
                  <a:pt x="669" y="405"/>
                  <a:pt x="671" y="405"/>
                  <a:pt x="671" y="405"/>
                </a:cubicBezTo>
                <a:cubicBezTo>
                  <a:pt x="671" y="405"/>
                  <a:pt x="672" y="406"/>
                  <a:pt x="672" y="406"/>
                </a:cubicBezTo>
                <a:cubicBezTo>
                  <a:pt x="672" y="406"/>
                  <a:pt x="675" y="403"/>
                  <a:pt x="677" y="402"/>
                </a:cubicBezTo>
                <a:cubicBezTo>
                  <a:pt x="679" y="402"/>
                  <a:pt x="680" y="403"/>
                  <a:pt x="680" y="403"/>
                </a:cubicBezTo>
                <a:cubicBezTo>
                  <a:pt x="680" y="403"/>
                  <a:pt x="681" y="398"/>
                  <a:pt x="687" y="398"/>
                </a:cubicBezTo>
                <a:cubicBezTo>
                  <a:pt x="692" y="398"/>
                  <a:pt x="695" y="399"/>
                  <a:pt x="695" y="399"/>
                </a:cubicBezTo>
                <a:cubicBezTo>
                  <a:pt x="699" y="396"/>
                  <a:pt x="699" y="396"/>
                  <a:pt x="699" y="396"/>
                </a:cubicBezTo>
                <a:cubicBezTo>
                  <a:pt x="708" y="397"/>
                  <a:pt x="708" y="397"/>
                  <a:pt x="708" y="397"/>
                </a:cubicBezTo>
                <a:cubicBezTo>
                  <a:pt x="709" y="397"/>
                  <a:pt x="709" y="397"/>
                  <a:pt x="709" y="397"/>
                </a:cubicBezTo>
                <a:cubicBezTo>
                  <a:pt x="709" y="397"/>
                  <a:pt x="693" y="405"/>
                  <a:pt x="691" y="406"/>
                </a:cubicBezTo>
                <a:close/>
                <a:moveTo>
                  <a:pt x="721" y="384"/>
                </a:moveTo>
                <a:cubicBezTo>
                  <a:pt x="722" y="384"/>
                  <a:pt x="725" y="383"/>
                  <a:pt x="725" y="383"/>
                </a:cubicBezTo>
                <a:cubicBezTo>
                  <a:pt x="725" y="383"/>
                  <a:pt x="731" y="385"/>
                  <a:pt x="732" y="385"/>
                </a:cubicBezTo>
                <a:cubicBezTo>
                  <a:pt x="733" y="385"/>
                  <a:pt x="733" y="381"/>
                  <a:pt x="733" y="381"/>
                </a:cubicBezTo>
                <a:cubicBezTo>
                  <a:pt x="733" y="381"/>
                  <a:pt x="734" y="379"/>
                  <a:pt x="736" y="380"/>
                </a:cubicBezTo>
                <a:cubicBezTo>
                  <a:pt x="737" y="380"/>
                  <a:pt x="737" y="380"/>
                  <a:pt x="737" y="381"/>
                </a:cubicBezTo>
                <a:cubicBezTo>
                  <a:pt x="739" y="382"/>
                  <a:pt x="739" y="383"/>
                  <a:pt x="739" y="383"/>
                </a:cubicBezTo>
                <a:cubicBezTo>
                  <a:pt x="739" y="383"/>
                  <a:pt x="739" y="385"/>
                  <a:pt x="737" y="386"/>
                </a:cubicBezTo>
                <a:cubicBezTo>
                  <a:pt x="736" y="387"/>
                  <a:pt x="736" y="389"/>
                  <a:pt x="736" y="389"/>
                </a:cubicBezTo>
                <a:cubicBezTo>
                  <a:pt x="733" y="389"/>
                  <a:pt x="733" y="389"/>
                  <a:pt x="733" y="389"/>
                </a:cubicBezTo>
                <a:cubicBezTo>
                  <a:pt x="733" y="389"/>
                  <a:pt x="733" y="390"/>
                  <a:pt x="731" y="391"/>
                </a:cubicBezTo>
                <a:cubicBezTo>
                  <a:pt x="728" y="392"/>
                  <a:pt x="727" y="390"/>
                  <a:pt x="727" y="390"/>
                </a:cubicBezTo>
                <a:cubicBezTo>
                  <a:pt x="727" y="390"/>
                  <a:pt x="726" y="392"/>
                  <a:pt x="723" y="392"/>
                </a:cubicBezTo>
                <a:cubicBezTo>
                  <a:pt x="720" y="392"/>
                  <a:pt x="719" y="390"/>
                  <a:pt x="718" y="390"/>
                </a:cubicBezTo>
                <a:cubicBezTo>
                  <a:pt x="716" y="389"/>
                  <a:pt x="714" y="391"/>
                  <a:pt x="710" y="392"/>
                </a:cubicBezTo>
                <a:cubicBezTo>
                  <a:pt x="710" y="392"/>
                  <a:pt x="709" y="392"/>
                  <a:pt x="709" y="392"/>
                </a:cubicBezTo>
                <a:cubicBezTo>
                  <a:pt x="705" y="393"/>
                  <a:pt x="704" y="393"/>
                  <a:pt x="704" y="392"/>
                </a:cubicBezTo>
                <a:cubicBezTo>
                  <a:pt x="704" y="389"/>
                  <a:pt x="711" y="385"/>
                  <a:pt x="713" y="385"/>
                </a:cubicBezTo>
                <a:cubicBezTo>
                  <a:pt x="716" y="385"/>
                  <a:pt x="720" y="384"/>
                  <a:pt x="721" y="384"/>
                </a:cubicBezTo>
                <a:close/>
                <a:moveTo>
                  <a:pt x="683" y="359"/>
                </a:moveTo>
                <a:cubicBezTo>
                  <a:pt x="684" y="359"/>
                  <a:pt x="685" y="359"/>
                  <a:pt x="688" y="359"/>
                </a:cubicBezTo>
                <a:cubicBezTo>
                  <a:pt x="690" y="360"/>
                  <a:pt x="692" y="359"/>
                  <a:pt x="692" y="359"/>
                </a:cubicBezTo>
                <a:cubicBezTo>
                  <a:pt x="694" y="359"/>
                  <a:pt x="698" y="362"/>
                  <a:pt x="700" y="362"/>
                </a:cubicBezTo>
                <a:cubicBezTo>
                  <a:pt x="702" y="362"/>
                  <a:pt x="704" y="362"/>
                  <a:pt x="704" y="362"/>
                </a:cubicBezTo>
                <a:cubicBezTo>
                  <a:pt x="709" y="362"/>
                  <a:pt x="708" y="365"/>
                  <a:pt x="708" y="366"/>
                </a:cubicBezTo>
                <a:cubicBezTo>
                  <a:pt x="708" y="368"/>
                  <a:pt x="710" y="366"/>
                  <a:pt x="710" y="368"/>
                </a:cubicBezTo>
                <a:cubicBezTo>
                  <a:pt x="710" y="370"/>
                  <a:pt x="710" y="371"/>
                  <a:pt x="709" y="372"/>
                </a:cubicBezTo>
                <a:cubicBezTo>
                  <a:pt x="708" y="373"/>
                  <a:pt x="711" y="375"/>
                  <a:pt x="711" y="375"/>
                </a:cubicBezTo>
                <a:cubicBezTo>
                  <a:pt x="708" y="374"/>
                  <a:pt x="708" y="374"/>
                  <a:pt x="708" y="374"/>
                </a:cubicBezTo>
                <a:cubicBezTo>
                  <a:pt x="708" y="374"/>
                  <a:pt x="708" y="376"/>
                  <a:pt x="707" y="378"/>
                </a:cubicBezTo>
                <a:cubicBezTo>
                  <a:pt x="705" y="379"/>
                  <a:pt x="705" y="378"/>
                  <a:pt x="701" y="376"/>
                </a:cubicBezTo>
                <a:cubicBezTo>
                  <a:pt x="697" y="374"/>
                  <a:pt x="698" y="370"/>
                  <a:pt x="698" y="370"/>
                </a:cubicBezTo>
                <a:cubicBezTo>
                  <a:pt x="696" y="369"/>
                  <a:pt x="696" y="369"/>
                  <a:pt x="696" y="369"/>
                </a:cubicBezTo>
                <a:cubicBezTo>
                  <a:pt x="696" y="371"/>
                  <a:pt x="696" y="371"/>
                  <a:pt x="696" y="371"/>
                </a:cubicBezTo>
                <a:cubicBezTo>
                  <a:pt x="696" y="371"/>
                  <a:pt x="698" y="374"/>
                  <a:pt x="696" y="377"/>
                </a:cubicBezTo>
                <a:cubicBezTo>
                  <a:pt x="695" y="380"/>
                  <a:pt x="691" y="381"/>
                  <a:pt x="689" y="383"/>
                </a:cubicBezTo>
                <a:cubicBezTo>
                  <a:pt x="687" y="386"/>
                  <a:pt x="687" y="389"/>
                  <a:pt x="685" y="391"/>
                </a:cubicBezTo>
                <a:cubicBezTo>
                  <a:pt x="684" y="392"/>
                  <a:pt x="680" y="394"/>
                  <a:pt x="679" y="393"/>
                </a:cubicBezTo>
                <a:cubicBezTo>
                  <a:pt x="679" y="393"/>
                  <a:pt x="678" y="393"/>
                  <a:pt x="678" y="393"/>
                </a:cubicBezTo>
                <a:cubicBezTo>
                  <a:pt x="677" y="391"/>
                  <a:pt x="680" y="385"/>
                  <a:pt x="680" y="384"/>
                </a:cubicBezTo>
                <a:cubicBezTo>
                  <a:pt x="679" y="382"/>
                  <a:pt x="676" y="383"/>
                  <a:pt x="675" y="384"/>
                </a:cubicBezTo>
                <a:cubicBezTo>
                  <a:pt x="674" y="386"/>
                  <a:pt x="668" y="389"/>
                  <a:pt x="667" y="387"/>
                </a:cubicBezTo>
                <a:cubicBezTo>
                  <a:pt x="667" y="385"/>
                  <a:pt x="672" y="382"/>
                  <a:pt x="673" y="381"/>
                </a:cubicBezTo>
                <a:cubicBezTo>
                  <a:pt x="673" y="380"/>
                  <a:pt x="676" y="380"/>
                  <a:pt x="678" y="378"/>
                </a:cubicBezTo>
                <a:cubicBezTo>
                  <a:pt x="680" y="377"/>
                  <a:pt x="678" y="372"/>
                  <a:pt x="678" y="372"/>
                </a:cubicBezTo>
                <a:cubicBezTo>
                  <a:pt x="678" y="372"/>
                  <a:pt x="678" y="373"/>
                  <a:pt x="680" y="370"/>
                </a:cubicBezTo>
                <a:cubicBezTo>
                  <a:pt x="682" y="366"/>
                  <a:pt x="678" y="368"/>
                  <a:pt x="676" y="366"/>
                </a:cubicBezTo>
                <a:cubicBezTo>
                  <a:pt x="674" y="365"/>
                  <a:pt x="674" y="364"/>
                  <a:pt x="674" y="364"/>
                </a:cubicBezTo>
                <a:cubicBezTo>
                  <a:pt x="674" y="364"/>
                  <a:pt x="673" y="365"/>
                  <a:pt x="672" y="364"/>
                </a:cubicBezTo>
                <a:cubicBezTo>
                  <a:pt x="671" y="363"/>
                  <a:pt x="672" y="361"/>
                  <a:pt x="672" y="361"/>
                </a:cubicBezTo>
                <a:cubicBezTo>
                  <a:pt x="677" y="362"/>
                  <a:pt x="677" y="362"/>
                  <a:pt x="677" y="362"/>
                </a:cubicBezTo>
                <a:cubicBezTo>
                  <a:pt x="677" y="362"/>
                  <a:pt x="678" y="361"/>
                  <a:pt x="678" y="359"/>
                </a:cubicBezTo>
                <a:cubicBezTo>
                  <a:pt x="677" y="359"/>
                  <a:pt x="678" y="359"/>
                  <a:pt x="679" y="359"/>
                </a:cubicBezTo>
                <a:cubicBezTo>
                  <a:pt x="681" y="359"/>
                  <a:pt x="682" y="359"/>
                  <a:pt x="683" y="359"/>
                </a:cubicBezTo>
                <a:close/>
                <a:moveTo>
                  <a:pt x="630" y="343"/>
                </a:moveTo>
                <a:cubicBezTo>
                  <a:pt x="632" y="342"/>
                  <a:pt x="635" y="341"/>
                  <a:pt x="639" y="340"/>
                </a:cubicBezTo>
                <a:cubicBezTo>
                  <a:pt x="640" y="340"/>
                  <a:pt x="641" y="339"/>
                  <a:pt x="642" y="339"/>
                </a:cubicBezTo>
                <a:cubicBezTo>
                  <a:pt x="644" y="337"/>
                  <a:pt x="646" y="334"/>
                  <a:pt x="646" y="334"/>
                </a:cubicBezTo>
                <a:cubicBezTo>
                  <a:pt x="646" y="333"/>
                  <a:pt x="650" y="335"/>
                  <a:pt x="650" y="335"/>
                </a:cubicBezTo>
                <a:cubicBezTo>
                  <a:pt x="652" y="333"/>
                  <a:pt x="652" y="333"/>
                  <a:pt x="652" y="333"/>
                </a:cubicBezTo>
                <a:cubicBezTo>
                  <a:pt x="652" y="333"/>
                  <a:pt x="653" y="331"/>
                  <a:pt x="654" y="330"/>
                </a:cubicBezTo>
                <a:cubicBezTo>
                  <a:pt x="654" y="330"/>
                  <a:pt x="655" y="332"/>
                  <a:pt x="655" y="332"/>
                </a:cubicBezTo>
                <a:cubicBezTo>
                  <a:pt x="659" y="332"/>
                  <a:pt x="659" y="332"/>
                  <a:pt x="659" y="332"/>
                </a:cubicBezTo>
                <a:cubicBezTo>
                  <a:pt x="659" y="332"/>
                  <a:pt x="657" y="330"/>
                  <a:pt x="659" y="328"/>
                </a:cubicBezTo>
                <a:cubicBezTo>
                  <a:pt x="661" y="327"/>
                  <a:pt x="663" y="330"/>
                  <a:pt x="663" y="330"/>
                </a:cubicBezTo>
                <a:cubicBezTo>
                  <a:pt x="667" y="330"/>
                  <a:pt x="667" y="330"/>
                  <a:pt x="667" y="330"/>
                </a:cubicBezTo>
                <a:cubicBezTo>
                  <a:pt x="667" y="331"/>
                  <a:pt x="667" y="331"/>
                  <a:pt x="667" y="331"/>
                </a:cubicBezTo>
                <a:cubicBezTo>
                  <a:pt x="667" y="331"/>
                  <a:pt x="672" y="331"/>
                  <a:pt x="673" y="332"/>
                </a:cubicBezTo>
                <a:cubicBezTo>
                  <a:pt x="674" y="333"/>
                  <a:pt x="671" y="338"/>
                  <a:pt x="671" y="338"/>
                </a:cubicBezTo>
                <a:cubicBezTo>
                  <a:pt x="673" y="340"/>
                  <a:pt x="673" y="340"/>
                  <a:pt x="673" y="340"/>
                </a:cubicBezTo>
                <a:cubicBezTo>
                  <a:pt x="671" y="343"/>
                  <a:pt x="671" y="343"/>
                  <a:pt x="671" y="343"/>
                </a:cubicBezTo>
                <a:cubicBezTo>
                  <a:pt x="671" y="343"/>
                  <a:pt x="680" y="338"/>
                  <a:pt x="682" y="340"/>
                </a:cubicBezTo>
                <a:cubicBezTo>
                  <a:pt x="684" y="341"/>
                  <a:pt x="678" y="343"/>
                  <a:pt x="678" y="344"/>
                </a:cubicBezTo>
                <a:cubicBezTo>
                  <a:pt x="678" y="345"/>
                  <a:pt x="681" y="346"/>
                  <a:pt x="681" y="347"/>
                </a:cubicBezTo>
                <a:cubicBezTo>
                  <a:pt x="681" y="348"/>
                  <a:pt x="678" y="349"/>
                  <a:pt x="678" y="350"/>
                </a:cubicBezTo>
                <a:cubicBezTo>
                  <a:pt x="678" y="351"/>
                  <a:pt x="680" y="351"/>
                  <a:pt x="680" y="352"/>
                </a:cubicBezTo>
                <a:cubicBezTo>
                  <a:pt x="679" y="354"/>
                  <a:pt x="678" y="354"/>
                  <a:pt x="678" y="354"/>
                </a:cubicBezTo>
                <a:cubicBezTo>
                  <a:pt x="677" y="355"/>
                  <a:pt x="677" y="355"/>
                  <a:pt x="677" y="355"/>
                </a:cubicBezTo>
                <a:cubicBezTo>
                  <a:pt x="677" y="357"/>
                  <a:pt x="677" y="357"/>
                  <a:pt x="677" y="357"/>
                </a:cubicBezTo>
                <a:cubicBezTo>
                  <a:pt x="674" y="356"/>
                  <a:pt x="674" y="356"/>
                  <a:pt x="674" y="356"/>
                </a:cubicBezTo>
                <a:cubicBezTo>
                  <a:pt x="673" y="353"/>
                  <a:pt x="673" y="353"/>
                  <a:pt x="673" y="353"/>
                </a:cubicBezTo>
                <a:cubicBezTo>
                  <a:pt x="672" y="353"/>
                  <a:pt x="672" y="353"/>
                  <a:pt x="672" y="353"/>
                </a:cubicBezTo>
                <a:cubicBezTo>
                  <a:pt x="669" y="354"/>
                  <a:pt x="669" y="354"/>
                  <a:pt x="669" y="354"/>
                </a:cubicBezTo>
                <a:cubicBezTo>
                  <a:pt x="662" y="354"/>
                  <a:pt x="662" y="354"/>
                  <a:pt x="662" y="354"/>
                </a:cubicBezTo>
                <a:cubicBezTo>
                  <a:pt x="662" y="354"/>
                  <a:pt x="659" y="356"/>
                  <a:pt x="655" y="356"/>
                </a:cubicBezTo>
                <a:cubicBezTo>
                  <a:pt x="650" y="355"/>
                  <a:pt x="651" y="352"/>
                  <a:pt x="650" y="351"/>
                </a:cubicBezTo>
                <a:cubicBezTo>
                  <a:pt x="650" y="350"/>
                  <a:pt x="645" y="352"/>
                  <a:pt x="645" y="351"/>
                </a:cubicBezTo>
                <a:cubicBezTo>
                  <a:pt x="653" y="346"/>
                  <a:pt x="653" y="346"/>
                  <a:pt x="653" y="346"/>
                </a:cubicBezTo>
                <a:cubicBezTo>
                  <a:pt x="653" y="346"/>
                  <a:pt x="651" y="345"/>
                  <a:pt x="650" y="345"/>
                </a:cubicBezTo>
                <a:cubicBezTo>
                  <a:pt x="649" y="345"/>
                  <a:pt x="646" y="348"/>
                  <a:pt x="645" y="348"/>
                </a:cubicBezTo>
                <a:cubicBezTo>
                  <a:pt x="644" y="348"/>
                  <a:pt x="639" y="351"/>
                  <a:pt x="636" y="352"/>
                </a:cubicBezTo>
                <a:cubicBezTo>
                  <a:pt x="634" y="353"/>
                  <a:pt x="630" y="352"/>
                  <a:pt x="630" y="352"/>
                </a:cubicBezTo>
                <a:cubicBezTo>
                  <a:pt x="629" y="354"/>
                  <a:pt x="629" y="354"/>
                  <a:pt x="629" y="354"/>
                </a:cubicBezTo>
                <a:cubicBezTo>
                  <a:pt x="629" y="354"/>
                  <a:pt x="624" y="355"/>
                  <a:pt x="622" y="354"/>
                </a:cubicBezTo>
                <a:cubicBezTo>
                  <a:pt x="620" y="354"/>
                  <a:pt x="625" y="351"/>
                  <a:pt x="625" y="351"/>
                </a:cubicBezTo>
                <a:cubicBezTo>
                  <a:pt x="625" y="351"/>
                  <a:pt x="623" y="351"/>
                  <a:pt x="619" y="352"/>
                </a:cubicBezTo>
                <a:cubicBezTo>
                  <a:pt x="615" y="352"/>
                  <a:pt x="615" y="354"/>
                  <a:pt x="611" y="353"/>
                </a:cubicBezTo>
                <a:cubicBezTo>
                  <a:pt x="608" y="352"/>
                  <a:pt x="627" y="345"/>
                  <a:pt x="630" y="343"/>
                </a:cubicBezTo>
                <a:close/>
                <a:moveTo>
                  <a:pt x="599" y="275"/>
                </a:moveTo>
                <a:cubicBezTo>
                  <a:pt x="601" y="275"/>
                  <a:pt x="601" y="276"/>
                  <a:pt x="602" y="276"/>
                </a:cubicBezTo>
                <a:cubicBezTo>
                  <a:pt x="603" y="276"/>
                  <a:pt x="605" y="276"/>
                  <a:pt x="607" y="279"/>
                </a:cubicBezTo>
                <a:cubicBezTo>
                  <a:pt x="608" y="283"/>
                  <a:pt x="604" y="286"/>
                  <a:pt x="604" y="286"/>
                </a:cubicBezTo>
                <a:cubicBezTo>
                  <a:pt x="604" y="286"/>
                  <a:pt x="603" y="292"/>
                  <a:pt x="604" y="294"/>
                </a:cubicBezTo>
                <a:cubicBezTo>
                  <a:pt x="604" y="296"/>
                  <a:pt x="603" y="298"/>
                  <a:pt x="602" y="299"/>
                </a:cubicBezTo>
                <a:cubicBezTo>
                  <a:pt x="601" y="300"/>
                  <a:pt x="603" y="300"/>
                  <a:pt x="604" y="303"/>
                </a:cubicBezTo>
                <a:cubicBezTo>
                  <a:pt x="604" y="305"/>
                  <a:pt x="599" y="311"/>
                  <a:pt x="599" y="311"/>
                </a:cubicBezTo>
                <a:cubicBezTo>
                  <a:pt x="596" y="310"/>
                  <a:pt x="596" y="310"/>
                  <a:pt x="596" y="310"/>
                </a:cubicBezTo>
                <a:cubicBezTo>
                  <a:pt x="596" y="310"/>
                  <a:pt x="596" y="314"/>
                  <a:pt x="592" y="313"/>
                </a:cubicBezTo>
                <a:cubicBezTo>
                  <a:pt x="589" y="312"/>
                  <a:pt x="600" y="302"/>
                  <a:pt x="600" y="300"/>
                </a:cubicBezTo>
                <a:cubicBezTo>
                  <a:pt x="600" y="297"/>
                  <a:pt x="596" y="301"/>
                  <a:pt x="596" y="301"/>
                </a:cubicBezTo>
                <a:cubicBezTo>
                  <a:pt x="599" y="297"/>
                  <a:pt x="599" y="297"/>
                  <a:pt x="599" y="297"/>
                </a:cubicBezTo>
                <a:cubicBezTo>
                  <a:pt x="599" y="297"/>
                  <a:pt x="599" y="294"/>
                  <a:pt x="597" y="294"/>
                </a:cubicBezTo>
                <a:cubicBezTo>
                  <a:pt x="595" y="293"/>
                  <a:pt x="596" y="297"/>
                  <a:pt x="593" y="297"/>
                </a:cubicBezTo>
                <a:cubicBezTo>
                  <a:pt x="591" y="297"/>
                  <a:pt x="593" y="291"/>
                  <a:pt x="593" y="291"/>
                </a:cubicBezTo>
                <a:cubicBezTo>
                  <a:pt x="593" y="291"/>
                  <a:pt x="591" y="289"/>
                  <a:pt x="591" y="288"/>
                </a:cubicBezTo>
                <a:cubicBezTo>
                  <a:pt x="591" y="286"/>
                  <a:pt x="596" y="286"/>
                  <a:pt x="596" y="284"/>
                </a:cubicBezTo>
                <a:cubicBezTo>
                  <a:pt x="596" y="283"/>
                  <a:pt x="592" y="285"/>
                  <a:pt x="591" y="283"/>
                </a:cubicBezTo>
                <a:cubicBezTo>
                  <a:pt x="591" y="283"/>
                  <a:pt x="597" y="276"/>
                  <a:pt x="599" y="275"/>
                </a:cubicBezTo>
                <a:close/>
                <a:moveTo>
                  <a:pt x="581" y="181"/>
                </a:moveTo>
                <a:cubicBezTo>
                  <a:pt x="585" y="181"/>
                  <a:pt x="593" y="182"/>
                  <a:pt x="592" y="183"/>
                </a:cubicBezTo>
                <a:cubicBezTo>
                  <a:pt x="591" y="184"/>
                  <a:pt x="587" y="186"/>
                  <a:pt x="587" y="185"/>
                </a:cubicBezTo>
                <a:cubicBezTo>
                  <a:pt x="587" y="185"/>
                  <a:pt x="585" y="182"/>
                  <a:pt x="584" y="183"/>
                </a:cubicBezTo>
                <a:cubicBezTo>
                  <a:pt x="583" y="185"/>
                  <a:pt x="583" y="186"/>
                  <a:pt x="583" y="186"/>
                </a:cubicBezTo>
                <a:cubicBezTo>
                  <a:pt x="583" y="186"/>
                  <a:pt x="580" y="184"/>
                  <a:pt x="579" y="185"/>
                </a:cubicBezTo>
                <a:cubicBezTo>
                  <a:pt x="578" y="185"/>
                  <a:pt x="578" y="187"/>
                  <a:pt x="578" y="187"/>
                </a:cubicBezTo>
                <a:cubicBezTo>
                  <a:pt x="575" y="187"/>
                  <a:pt x="575" y="187"/>
                  <a:pt x="575" y="187"/>
                </a:cubicBezTo>
                <a:cubicBezTo>
                  <a:pt x="575" y="187"/>
                  <a:pt x="572" y="186"/>
                  <a:pt x="569" y="188"/>
                </a:cubicBezTo>
                <a:cubicBezTo>
                  <a:pt x="566" y="190"/>
                  <a:pt x="560" y="194"/>
                  <a:pt x="557" y="195"/>
                </a:cubicBezTo>
                <a:cubicBezTo>
                  <a:pt x="554" y="196"/>
                  <a:pt x="550" y="197"/>
                  <a:pt x="550" y="197"/>
                </a:cubicBezTo>
                <a:cubicBezTo>
                  <a:pt x="550" y="197"/>
                  <a:pt x="544" y="195"/>
                  <a:pt x="542" y="197"/>
                </a:cubicBezTo>
                <a:cubicBezTo>
                  <a:pt x="540" y="199"/>
                  <a:pt x="539" y="201"/>
                  <a:pt x="539" y="201"/>
                </a:cubicBezTo>
                <a:cubicBezTo>
                  <a:pt x="533" y="201"/>
                  <a:pt x="533" y="201"/>
                  <a:pt x="533" y="201"/>
                </a:cubicBezTo>
                <a:cubicBezTo>
                  <a:pt x="532" y="202"/>
                  <a:pt x="532" y="202"/>
                  <a:pt x="532" y="202"/>
                </a:cubicBezTo>
                <a:cubicBezTo>
                  <a:pt x="532" y="202"/>
                  <a:pt x="529" y="202"/>
                  <a:pt x="527" y="202"/>
                </a:cubicBezTo>
                <a:cubicBezTo>
                  <a:pt x="526" y="202"/>
                  <a:pt x="522" y="203"/>
                  <a:pt x="520" y="203"/>
                </a:cubicBezTo>
                <a:cubicBezTo>
                  <a:pt x="519" y="203"/>
                  <a:pt x="517" y="201"/>
                  <a:pt x="516" y="201"/>
                </a:cubicBezTo>
                <a:cubicBezTo>
                  <a:pt x="515" y="201"/>
                  <a:pt x="512" y="201"/>
                  <a:pt x="512" y="200"/>
                </a:cubicBezTo>
                <a:cubicBezTo>
                  <a:pt x="512" y="199"/>
                  <a:pt x="516" y="199"/>
                  <a:pt x="516" y="199"/>
                </a:cubicBezTo>
                <a:cubicBezTo>
                  <a:pt x="516" y="199"/>
                  <a:pt x="518" y="197"/>
                  <a:pt x="519" y="197"/>
                </a:cubicBezTo>
                <a:cubicBezTo>
                  <a:pt x="519" y="197"/>
                  <a:pt x="521" y="199"/>
                  <a:pt x="523" y="199"/>
                </a:cubicBezTo>
                <a:cubicBezTo>
                  <a:pt x="525" y="199"/>
                  <a:pt x="525" y="197"/>
                  <a:pt x="525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7"/>
                  <a:pt x="530" y="193"/>
                  <a:pt x="532" y="193"/>
                </a:cubicBezTo>
                <a:cubicBezTo>
                  <a:pt x="534" y="193"/>
                  <a:pt x="534" y="195"/>
                  <a:pt x="538" y="193"/>
                </a:cubicBezTo>
                <a:cubicBezTo>
                  <a:pt x="542" y="192"/>
                  <a:pt x="539" y="187"/>
                  <a:pt x="539" y="187"/>
                </a:cubicBezTo>
                <a:cubicBezTo>
                  <a:pt x="539" y="187"/>
                  <a:pt x="534" y="184"/>
                  <a:pt x="537" y="183"/>
                </a:cubicBezTo>
                <a:cubicBezTo>
                  <a:pt x="538" y="183"/>
                  <a:pt x="540" y="185"/>
                  <a:pt x="540" y="185"/>
                </a:cubicBezTo>
                <a:cubicBezTo>
                  <a:pt x="542" y="185"/>
                  <a:pt x="542" y="185"/>
                  <a:pt x="542" y="185"/>
                </a:cubicBezTo>
                <a:cubicBezTo>
                  <a:pt x="544" y="187"/>
                  <a:pt x="544" y="187"/>
                  <a:pt x="544" y="187"/>
                </a:cubicBezTo>
                <a:cubicBezTo>
                  <a:pt x="544" y="187"/>
                  <a:pt x="547" y="187"/>
                  <a:pt x="548" y="188"/>
                </a:cubicBezTo>
                <a:cubicBezTo>
                  <a:pt x="549" y="188"/>
                  <a:pt x="546" y="192"/>
                  <a:pt x="551" y="191"/>
                </a:cubicBezTo>
                <a:cubicBezTo>
                  <a:pt x="556" y="191"/>
                  <a:pt x="556" y="190"/>
                  <a:pt x="556" y="190"/>
                </a:cubicBezTo>
                <a:cubicBezTo>
                  <a:pt x="558" y="190"/>
                  <a:pt x="558" y="190"/>
                  <a:pt x="558" y="190"/>
                </a:cubicBezTo>
                <a:cubicBezTo>
                  <a:pt x="558" y="190"/>
                  <a:pt x="567" y="187"/>
                  <a:pt x="570" y="185"/>
                </a:cubicBezTo>
                <a:cubicBezTo>
                  <a:pt x="573" y="183"/>
                  <a:pt x="577" y="182"/>
                  <a:pt x="581" y="181"/>
                </a:cubicBezTo>
                <a:close/>
                <a:moveTo>
                  <a:pt x="511" y="147"/>
                </a:moveTo>
                <a:cubicBezTo>
                  <a:pt x="513" y="146"/>
                  <a:pt x="515" y="147"/>
                  <a:pt x="518" y="147"/>
                </a:cubicBezTo>
                <a:cubicBezTo>
                  <a:pt x="520" y="147"/>
                  <a:pt x="519" y="145"/>
                  <a:pt x="519" y="145"/>
                </a:cubicBezTo>
                <a:cubicBezTo>
                  <a:pt x="534" y="144"/>
                  <a:pt x="534" y="144"/>
                  <a:pt x="534" y="144"/>
                </a:cubicBezTo>
                <a:cubicBezTo>
                  <a:pt x="534" y="144"/>
                  <a:pt x="541" y="142"/>
                  <a:pt x="544" y="142"/>
                </a:cubicBezTo>
                <a:cubicBezTo>
                  <a:pt x="547" y="141"/>
                  <a:pt x="549" y="143"/>
                  <a:pt x="549" y="143"/>
                </a:cubicBezTo>
                <a:cubicBezTo>
                  <a:pt x="549" y="143"/>
                  <a:pt x="549" y="142"/>
                  <a:pt x="551" y="141"/>
                </a:cubicBezTo>
                <a:cubicBezTo>
                  <a:pt x="552" y="140"/>
                  <a:pt x="557" y="142"/>
                  <a:pt x="557" y="142"/>
                </a:cubicBezTo>
                <a:cubicBezTo>
                  <a:pt x="557" y="142"/>
                  <a:pt x="552" y="144"/>
                  <a:pt x="550" y="144"/>
                </a:cubicBezTo>
                <a:cubicBezTo>
                  <a:pt x="549" y="145"/>
                  <a:pt x="542" y="146"/>
                  <a:pt x="542" y="146"/>
                </a:cubicBezTo>
                <a:cubicBezTo>
                  <a:pt x="541" y="147"/>
                  <a:pt x="541" y="147"/>
                  <a:pt x="541" y="147"/>
                </a:cubicBezTo>
                <a:cubicBezTo>
                  <a:pt x="545" y="147"/>
                  <a:pt x="545" y="147"/>
                  <a:pt x="545" y="147"/>
                </a:cubicBezTo>
                <a:cubicBezTo>
                  <a:pt x="545" y="147"/>
                  <a:pt x="547" y="148"/>
                  <a:pt x="548" y="148"/>
                </a:cubicBezTo>
                <a:cubicBezTo>
                  <a:pt x="549" y="148"/>
                  <a:pt x="554" y="147"/>
                  <a:pt x="557" y="147"/>
                </a:cubicBezTo>
                <a:cubicBezTo>
                  <a:pt x="560" y="147"/>
                  <a:pt x="556" y="145"/>
                  <a:pt x="556" y="145"/>
                </a:cubicBezTo>
                <a:cubicBezTo>
                  <a:pt x="564" y="145"/>
                  <a:pt x="564" y="145"/>
                  <a:pt x="564" y="145"/>
                </a:cubicBezTo>
                <a:cubicBezTo>
                  <a:pt x="564" y="145"/>
                  <a:pt x="563" y="148"/>
                  <a:pt x="559" y="149"/>
                </a:cubicBezTo>
                <a:cubicBezTo>
                  <a:pt x="555" y="150"/>
                  <a:pt x="552" y="152"/>
                  <a:pt x="552" y="152"/>
                </a:cubicBezTo>
                <a:cubicBezTo>
                  <a:pt x="552" y="152"/>
                  <a:pt x="552" y="154"/>
                  <a:pt x="550" y="154"/>
                </a:cubicBezTo>
                <a:cubicBezTo>
                  <a:pt x="549" y="155"/>
                  <a:pt x="544" y="153"/>
                  <a:pt x="544" y="153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39" y="154"/>
                  <a:pt x="539" y="154"/>
                  <a:pt x="539" y="154"/>
                </a:cubicBezTo>
                <a:cubicBezTo>
                  <a:pt x="539" y="154"/>
                  <a:pt x="537" y="153"/>
                  <a:pt x="536" y="154"/>
                </a:cubicBezTo>
                <a:cubicBezTo>
                  <a:pt x="535" y="156"/>
                  <a:pt x="537" y="157"/>
                  <a:pt x="537" y="157"/>
                </a:cubicBezTo>
                <a:cubicBezTo>
                  <a:pt x="533" y="158"/>
                  <a:pt x="533" y="158"/>
                  <a:pt x="533" y="158"/>
                </a:cubicBezTo>
                <a:cubicBezTo>
                  <a:pt x="533" y="158"/>
                  <a:pt x="530" y="160"/>
                  <a:pt x="529" y="160"/>
                </a:cubicBezTo>
                <a:cubicBezTo>
                  <a:pt x="528" y="160"/>
                  <a:pt x="519" y="163"/>
                  <a:pt x="517" y="162"/>
                </a:cubicBezTo>
                <a:cubicBezTo>
                  <a:pt x="515" y="161"/>
                  <a:pt x="523" y="160"/>
                  <a:pt x="526" y="159"/>
                </a:cubicBezTo>
                <a:cubicBezTo>
                  <a:pt x="529" y="158"/>
                  <a:pt x="534" y="155"/>
                  <a:pt x="531" y="154"/>
                </a:cubicBezTo>
                <a:cubicBezTo>
                  <a:pt x="528" y="154"/>
                  <a:pt x="518" y="160"/>
                  <a:pt x="515" y="160"/>
                </a:cubicBezTo>
                <a:cubicBezTo>
                  <a:pt x="512" y="161"/>
                  <a:pt x="507" y="160"/>
                  <a:pt x="505" y="159"/>
                </a:cubicBezTo>
                <a:cubicBezTo>
                  <a:pt x="503" y="158"/>
                  <a:pt x="511" y="158"/>
                  <a:pt x="513" y="157"/>
                </a:cubicBezTo>
                <a:cubicBezTo>
                  <a:pt x="514" y="156"/>
                  <a:pt x="520" y="153"/>
                  <a:pt x="520" y="153"/>
                </a:cubicBezTo>
                <a:cubicBezTo>
                  <a:pt x="520" y="153"/>
                  <a:pt x="519" y="152"/>
                  <a:pt x="520" y="151"/>
                </a:cubicBezTo>
                <a:cubicBezTo>
                  <a:pt x="522" y="151"/>
                  <a:pt x="525" y="152"/>
                  <a:pt x="530" y="151"/>
                </a:cubicBezTo>
                <a:cubicBezTo>
                  <a:pt x="535" y="150"/>
                  <a:pt x="530" y="147"/>
                  <a:pt x="526" y="147"/>
                </a:cubicBezTo>
                <a:cubicBezTo>
                  <a:pt x="522" y="147"/>
                  <a:pt x="521" y="149"/>
                  <a:pt x="519" y="150"/>
                </a:cubicBezTo>
                <a:cubicBezTo>
                  <a:pt x="517" y="151"/>
                  <a:pt x="517" y="149"/>
                  <a:pt x="517" y="149"/>
                </a:cubicBezTo>
                <a:cubicBezTo>
                  <a:pt x="514" y="150"/>
                  <a:pt x="514" y="150"/>
                  <a:pt x="514" y="150"/>
                </a:cubicBezTo>
                <a:cubicBezTo>
                  <a:pt x="510" y="149"/>
                  <a:pt x="510" y="149"/>
                  <a:pt x="510" y="149"/>
                </a:cubicBezTo>
                <a:cubicBezTo>
                  <a:pt x="510" y="149"/>
                  <a:pt x="505" y="151"/>
                  <a:pt x="503" y="151"/>
                </a:cubicBezTo>
                <a:cubicBezTo>
                  <a:pt x="501" y="150"/>
                  <a:pt x="509" y="148"/>
                  <a:pt x="511" y="147"/>
                </a:cubicBezTo>
                <a:close/>
                <a:moveTo>
                  <a:pt x="573" y="754"/>
                </a:moveTo>
                <a:cubicBezTo>
                  <a:pt x="573" y="754"/>
                  <a:pt x="569" y="752"/>
                  <a:pt x="568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1"/>
                  <a:pt x="564" y="750"/>
                  <a:pt x="565" y="749"/>
                </a:cubicBezTo>
                <a:cubicBezTo>
                  <a:pt x="566" y="749"/>
                  <a:pt x="569" y="750"/>
                  <a:pt x="568" y="748"/>
                </a:cubicBezTo>
                <a:cubicBezTo>
                  <a:pt x="567" y="747"/>
                  <a:pt x="567" y="747"/>
                  <a:pt x="567" y="747"/>
                </a:cubicBezTo>
                <a:cubicBezTo>
                  <a:pt x="567" y="747"/>
                  <a:pt x="564" y="748"/>
                  <a:pt x="564" y="747"/>
                </a:cubicBezTo>
                <a:cubicBezTo>
                  <a:pt x="564" y="747"/>
                  <a:pt x="563" y="741"/>
                  <a:pt x="564" y="741"/>
                </a:cubicBezTo>
                <a:cubicBezTo>
                  <a:pt x="566" y="742"/>
                  <a:pt x="573" y="747"/>
                  <a:pt x="574" y="749"/>
                </a:cubicBezTo>
                <a:cubicBezTo>
                  <a:pt x="574" y="750"/>
                  <a:pt x="575" y="752"/>
                  <a:pt x="575" y="753"/>
                </a:cubicBezTo>
                <a:cubicBezTo>
                  <a:pt x="575" y="753"/>
                  <a:pt x="575" y="753"/>
                  <a:pt x="575" y="753"/>
                </a:cubicBezTo>
                <a:cubicBezTo>
                  <a:pt x="573" y="753"/>
                  <a:pt x="573" y="754"/>
                  <a:pt x="573" y="754"/>
                </a:cubicBezTo>
                <a:close/>
                <a:moveTo>
                  <a:pt x="737" y="1064"/>
                </a:moveTo>
                <a:cubicBezTo>
                  <a:pt x="736" y="1063"/>
                  <a:pt x="736" y="1063"/>
                  <a:pt x="736" y="1063"/>
                </a:cubicBezTo>
                <a:cubicBezTo>
                  <a:pt x="734" y="1061"/>
                  <a:pt x="734" y="1061"/>
                  <a:pt x="734" y="1061"/>
                </a:cubicBezTo>
                <a:cubicBezTo>
                  <a:pt x="734" y="1061"/>
                  <a:pt x="732" y="1060"/>
                  <a:pt x="730" y="1059"/>
                </a:cubicBezTo>
                <a:cubicBezTo>
                  <a:pt x="729" y="1058"/>
                  <a:pt x="728" y="1056"/>
                  <a:pt x="728" y="1056"/>
                </a:cubicBezTo>
                <a:cubicBezTo>
                  <a:pt x="728" y="1056"/>
                  <a:pt x="725" y="1057"/>
                  <a:pt x="724" y="1056"/>
                </a:cubicBezTo>
                <a:cubicBezTo>
                  <a:pt x="725" y="1053"/>
                  <a:pt x="725" y="1053"/>
                  <a:pt x="725" y="1053"/>
                </a:cubicBezTo>
                <a:cubicBezTo>
                  <a:pt x="725" y="1053"/>
                  <a:pt x="725" y="1049"/>
                  <a:pt x="726" y="1049"/>
                </a:cubicBezTo>
                <a:cubicBezTo>
                  <a:pt x="726" y="1048"/>
                  <a:pt x="729" y="1051"/>
                  <a:pt x="731" y="1052"/>
                </a:cubicBezTo>
                <a:cubicBezTo>
                  <a:pt x="732" y="1053"/>
                  <a:pt x="733" y="1054"/>
                  <a:pt x="733" y="1054"/>
                </a:cubicBezTo>
                <a:cubicBezTo>
                  <a:pt x="736" y="1057"/>
                  <a:pt x="736" y="1057"/>
                  <a:pt x="736" y="1057"/>
                </a:cubicBezTo>
                <a:cubicBezTo>
                  <a:pt x="736" y="1059"/>
                  <a:pt x="736" y="1059"/>
                  <a:pt x="736" y="1059"/>
                </a:cubicBezTo>
                <a:cubicBezTo>
                  <a:pt x="739" y="1061"/>
                  <a:pt x="739" y="1061"/>
                  <a:pt x="739" y="1061"/>
                </a:cubicBezTo>
                <a:cubicBezTo>
                  <a:pt x="737" y="1064"/>
                  <a:pt x="737" y="1064"/>
                  <a:pt x="737" y="1064"/>
                </a:cubicBezTo>
                <a:cubicBezTo>
                  <a:pt x="737" y="1064"/>
                  <a:pt x="737" y="1064"/>
                  <a:pt x="737" y="1064"/>
                </a:cubicBezTo>
                <a:close/>
                <a:moveTo>
                  <a:pt x="718" y="743"/>
                </a:moveTo>
                <a:cubicBezTo>
                  <a:pt x="718" y="744"/>
                  <a:pt x="719" y="747"/>
                  <a:pt x="719" y="747"/>
                </a:cubicBezTo>
                <a:cubicBezTo>
                  <a:pt x="723" y="747"/>
                  <a:pt x="723" y="747"/>
                  <a:pt x="723" y="747"/>
                </a:cubicBezTo>
                <a:cubicBezTo>
                  <a:pt x="723" y="747"/>
                  <a:pt x="724" y="741"/>
                  <a:pt x="722" y="740"/>
                </a:cubicBezTo>
                <a:cubicBezTo>
                  <a:pt x="719" y="740"/>
                  <a:pt x="718" y="741"/>
                  <a:pt x="718" y="743"/>
                </a:cubicBezTo>
                <a:close/>
                <a:moveTo>
                  <a:pt x="614" y="912"/>
                </a:moveTo>
                <a:cubicBezTo>
                  <a:pt x="617" y="911"/>
                  <a:pt x="618" y="907"/>
                  <a:pt x="616" y="907"/>
                </a:cubicBezTo>
                <a:cubicBezTo>
                  <a:pt x="614" y="908"/>
                  <a:pt x="613" y="912"/>
                  <a:pt x="614" y="912"/>
                </a:cubicBezTo>
                <a:close/>
                <a:moveTo>
                  <a:pt x="757" y="1376"/>
                </a:moveTo>
                <a:cubicBezTo>
                  <a:pt x="754" y="1376"/>
                  <a:pt x="754" y="1376"/>
                  <a:pt x="754" y="1376"/>
                </a:cubicBezTo>
                <a:cubicBezTo>
                  <a:pt x="755" y="1379"/>
                  <a:pt x="755" y="1379"/>
                  <a:pt x="755" y="1379"/>
                </a:cubicBezTo>
                <a:cubicBezTo>
                  <a:pt x="757" y="1376"/>
                  <a:pt x="757" y="1376"/>
                  <a:pt x="757" y="1376"/>
                </a:cubicBezTo>
                <a:cubicBezTo>
                  <a:pt x="757" y="1376"/>
                  <a:pt x="757" y="1376"/>
                  <a:pt x="757" y="1376"/>
                </a:cubicBezTo>
                <a:close/>
                <a:moveTo>
                  <a:pt x="759" y="1370"/>
                </a:moveTo>
                <a:cubicBezTo>
                  <a:pt x="756" y="1372"/>
                  <a:pt x="757" y="1374"/>
                  <a:pt x="759" y="1374"/>
                </a:cubicBezTo>
                <a:cubicBezTo>
                  <a:pt x="762" y="1373"/>
                  <a:pt x="762" y="1368"/>
                  <a:pt x="759" y="1370"/>
                </a:cubicBezTo>
                <a:close/>
                <a:moveTo>
                  <a:pt x="801" y="1470"/>
                </a:moveTo>
                <a:cubicBezTo>
                  <a:pt x="796" y="1467"/>
                  <a:pt x="796" y="1467"/>
                  <a:pt x="796" y="1467"/>
                </a:cubicBezTo>
                <a:cubicBezTo>
                  <a:pt x="800" y="1471"/>
                  <a:pt x="800" y="1471"/>
                  <a:pt x="800" y="1471"/>
                </a:cubicBezTo>
                <a:cubicBezTo>
                  <a:pt x="806" y="1472"/>
                  <a:pt x="806" y="1472"/>
                  <a:pt x="806" y="1472"/>
                </a:cubicBezTo>
                <a:cubicBezTo>
                  <a:pt x="808" y="1473"/>
                  <a:pt x="808" y="1473"/>
                  <a:pt x="808" y="1473"/>
                </a:cubicBezTo>
                <a:cubicBezTo>
                  <a:pt x="806" y="1470"/>
                  <a:pt x="806" y="1470"/>
                  <a:pt x="806" y="1470"/>
                </a:cubicBezTo>
                <a:cubicBezTo>
                  <a:pt x="801" y="1470"/>
                  <a:pt x="801" y="1470"/>
                  <a:pt x="801" y="1470"/>
                </a:cubicBezTo>
                <a:cubicBezTo>
                  <a:pt x="801" y="1470"/>
                  <a:pt x="801" y="1470"/>
                  <a:pt x="801" y="1470"/>
                </a:cubicBezTo>
                <a:close/>
                <a:moveTo>
                  <a:pt x="763" y="1385"/>
                </a:moveTo>
                <a:cubicBezTo>
                  <a:pt x="763" y="1388"/>
                  <a:pt x="763" y="1388"/>
                  <a:pt x="763" y="1388"/>
                </a:cubicBezTo>
                <a:cubicBezTo>
                  <a:pt x="767" y="1390"/>
                  <a:pt x="767" y="1390"/>
                  <a:pt x="767" y="1390"/>
                </a:cubicBezTo>
                <a:cubicBezTo>
                  <a:pt x="767" y="1387"/>
                  <a:pt x="767" y="1387"/>
                  <a:pt x="767" y="1387"/>
                </a:cubicBezTo>
                <a:cubicBezTo>
                  <a:pt x="765" y="1383"/>
                  <a:pt x="765" y="1383"/>
                  <a:pt x="765" y="1383"/>
                </a:cubicBezTo>
                <a:cubicBezTo>
                  <a:pt x="760" y="1383"/>
                  <a:pt x="760" y="1383"/>
                  <a:pt x="760" y="1383"/>
                </a:cubicBezTo>
                <a:cubicBezTo>
                  <a:pt x="763" y="1385"/>
                  <a:pt x="763" y="1385"/>
                  <a:pt x="763" y="1385"/>
                </a:cubicBezTo>
                <a:cubicBezTo>
                  <a:pt x="763" y="1385"/>
                  <a:pt x="763" y="1385"/>
                  <a:pt x="763" y="1385"/>
                </a:cubicBezTo>
                <a:close/>
                <a:moveTo>
                  <a:pt x="758" y="1379"/>
                </a:moveTo>
                <a:cubicBezTo>
                  <a:pt x="759" y="1381"/>
                  <a:pt x="759" y="1381"/>
                  <a:pt x="759" y="1381"/>
                </a:cubicBezTo>
                <a:cubicBezTo>
                  <a:pt x="763" y="1381"/>
                  <a:pt x="763" y="1381"/>
                  <a:pt x="763" y="1381"/>
                </a:cubicBezTo>
                <a:cubicBezTo>
                  <a:pt x="765" y="1378"/>
                  <a:pt x="765" y="1378"/>
                  <a:pt x="765" y="1378"/>
                </a:cubicBezTo>
                <a:cubicBezTo>
                  <a:pt x="761" y="1379"/>
                  <a:pt x="761" y="1379"/>
                  <a:pt x="761" y="1379"/>
                </a:cubicBezTo>
                <a:cubicBezTo>
                  <a:pt x="758" y="1379"/>
                  <a:pt x="758" y="1379"/>
                  <a:pt x="758" y="1379"/>
                </a:cubicBezTo>
                <a:cubicBezTo>
                  <a:pt x="758" y="1379"/>
                  <a:pt x="758" y="1379"/>
                  <a:pt x="758" y="1379"/>
                </a:cubicBezTo>
                <a:close/>
                <a:moveTo>
                  <a:pt x="776" y="1436"/>
                </a:moveTo>
                <a:cubicBezTo>
                  <a:pt x="777" y="1436"/>
                  <a:pt x="777" y="1434"/>
                  <a:pt x="777" y="1434"/>
                </a:cubicBezTo>
                <a:cubicBezTo>
                  <a:pt x="782" y="1438"/>
                  <a:pt x="782" y="1438"/>
                  <a:pt x="782" y="1438"/>
                </a:cubicBezTo>
                <a:cubicBezTo>
                  <a:pt x="782" y="1435"/>
                  <a:pt x="782" y="1435"/>
                  <a:pt x="782" y="1435"/>
                </a:cubicBezTo>
                <a:cubicBezTo>
                  <a:pt x="778" y="1430"/>
                  <a:pt x="778" y="1430"/>
                  <a:pt x="778" y="1430"/>
                </a:cubicBezTo>
                <a:cubicBezTo>
                  <a:pt x="778" y="1430"/>
                  <a:pt x="774" y="1425"/>
                  <a:pt x="774" y="1423"/>
                </a:cubicBezTo>
                <a:cubicBezTo>
                  <a:pt x="774" y="1420"/>
                  <a:pt x="772" y="1418"/>
                  <a:pt x="770" y="1417"/>
                </a:cubicBezTo>
                <a:cubicBezTo>
                  <a:pt x="768" y="1416"/>
                  <a:pt x="768" y="1418"/>
                  <a:pt x="768" y="1418"/>
                </a:cubicBezTo>
                <a:cubicBezTo>
                  <a:pt x="765" y="1417"/>
                  <a:pt x="765" y="1417"/>
                  <a:pt x="765" y="1417"/>
                </a:cubicBezTo>
                <a:cubicBezTo>
                  <a:pt x="765" y="1417"/>
                  <a:pt x="762" y="1423"/>
                  <a:pt x="764" y="1423"/>
                </a:cubicBezTo>
                <a:cubicBezTo>
                  <a:pt x="766" y="1423"/>
                  <a:pt x="770" y="1423"/>
                  <a:pt x="770" y="1423"/>
                </a:cubicBezTo>
                <a:cubicBezTo>
                  <a:pt x="767" y="1428"/>
                  <a:pt x="767" y="1428"/>
                  <a:pt x="767" y="1428"/>
                </a:cubicBezTo>
                <a:cubicBezTo>
                  <a:pt x="769" y="1428"/>
                  <a:pt x="769" y="1428"/>
                  <a:pt x="769" y="1428"/>
                </a:cubicBezTo>
                <a:cubicBezTo>
                  <a:pt x="772" y="1426"/>
                  <a:pt x="772" y="1426"/>
                  <a:pt x="772" y="1426"/>
                </a:cubicBezTo>
                <a:cubicBezTo>
                  <a:pt x="772" y="1429"/>
                  <a:pt x="772" y="1429"/>
                  <a:pt x="772" y="1429"/>
                </a:cubicBezTo>
                <a:cubicBezTo>
                  <a:pt x="772" y="1429"/>
                  <a:pt x="775" y="1437"/>
                  <a:pt x="776" y="1436"/>
                </a:cubicBezTo>
                <a:close/>
                <a:moveTo>
                  <a:pt x="775" y="1442"/>
                </a:moveTo>
                <a:cubicBezTo>
                  <a:pt x="777" y="1442"/>
                  <a:pt x="777" y="1442"/>
                  <a:pt x="777" y="1442"/>
                </a:cubicBezTo>
                <a:cubicBezTo>
                  <a:pt x="778" y="1446"/>
                  <a:pt x="778" y="1446"/>
                  <a:pt x="778" y="1446"/>
                </a:cubicBezTo>
                <a:cubicBezTo>
                  <a:pt x="780" y="1442"/>
                  <a:pt x="780" y="1442"/>
                  <a:pt x="780" y="1442"/>
                </a:cubicBezTo>
                <a:cubicBezTo>
                  <a:pt x="780" y="1439"/>
                  <a:pt x="780" y="1439"/>
                  <a:pt x="780" y="1439"/>
                </a:cubicBezTo>
                <a:cubicBezTo>
                  <a:pt x="776" y="1438"/>
                  <a:pt x="776" y="1438"/>
                  <a:pt x="776" y="1438"/>
                </a:cubicBezTo>
                <a:cubicBezTo>
                  <a:pt x="775" y="1442"/>
                  <a:pt x="775" y="1442"/>
                  <a:pt x="775" y="1442"/>
                </a:cubicBezTo>
                <a:cubicBezTo>
                  <a:pt x="775" y="1442"/>
                  <a:pt x="775" y="1442"/>
                  <a:pt x="775" y="1442"/>
                </a:cubicBezTo>
                <a:close/>
                <a:moveTo>
                  <a:pt x="786" y="1457"/>
                </a:moveTo>
                <a:cubicBezTo>
                  <a:pt x="791" y="1462"/>
                  <a:pt x="791" y="1462"/>
                  <a:pt x="791" y="1462"/>
                </a:cubicBezTo>
                <a:cubicBezTo>
                  <a:pt x="792" y="1460"/>
                  <a:pt x="792" y="1460"/>
                  <a:pt x="792" y="1460"/>
                </a:cubicBezTo>
                <a:cubicBezTo>
                  <a:pt x="788" y="1455"/>
                  <a:pt x="788" y="1455"/>
                  <a:pt x="788" y="1455"/>
                </a:cubicBezTo>
                <a:cubicBezTo>
                  <a:pt x="786" y="1457"/>
                  <a:pt x="786" y="1457"/>
                  <a:pt x="786" y="1457"/>
                </a:cubicBezTo>
                <a:cubicBezTo>
                  <a:pt x="786" y="1457"/>
                  <a:pt x="786" y="1457"/>
                  <a:pt x="786" y="1457"/>
                </a:cubicBezTo>
                <a:close/>
                <a:moveTo>
                  <a:pt x="801" y="1459"/>
                </a:moveTo>
                <a:cubicBezTo>
                  <a:pt x="798" y="1456"/>
                  <a:pt x="798" y="1456"/>
                  <a:pt x="798" y="1456"/>
                </a:cubicBezTo>
                <a:cubicBezTo>
                  <a:pt x="797" y="1461"/>
                  <a:pt x="797" y="1461"/>
                  <a:pt x="797" y="1461"/>
                </a:cubicBezTo>
                <a:cubicBezTo>
                  <a:pt x="794" y="1462"/>
                  <a:pt x="794" y="1462"/>
                  <a:pt x="794" y="1462"/>
                </a:cubicBezTo>
                <a:cubicBezTo>
                  <a:pt x="800" y="1464"/>
                  <a:pt x="800" y="1464"/>
                  <a:pt x="800" y="1464"/>
                </a:cubicBezTo>
                <a:cubicBezTo>
                  <a:pt x="801" y="1459"/>
                  <a:pt x="801" y="1459"/>
                  <a:pt x="801" y="1459"/>
                </a:cubicBezTo>
                <a:cubicBezTo>
                  <a:pt x="801" y="1459"/>
                  <a:pt x="801" y="1459"/>
                  <a:pt x="801" y="1459"/>
                </a:cubicBezTo>
                <a:close/>
                <a:moveTo>
                  <a:pt x="795" y="1456"/>
                </a:moveTo>
                <a:cubicBezTo>
                  <a:pt x="794" y="1455"/>
                  <a:pt x="794" y="1455"/>
                  <a:pt x="794" y="1455"/>
                </a:cubicBezTo>
                <a:cubicBezTo>
                  <a:pt x="793" y="1457"/>
                  <a:pt x="793" y="1457"/>
                  <a:pt x="793" y="1457"/>
                </a:cubicBezTo>
                <a:cubicBezTo>
                  <a:pt x="794" y="1459"/>
                  <a:pt x="794" y="1459"/>
                  <a:pt x="794" y="1459"/>
                </a:cubicBezTo>
                <a:cubicBezTo>
                  <a:pt x="795" y="1456"/>
                  <a:pt x="795" y="1456"/>
                  <a:pt x="795" y="1456"/>
                </a:cubicBezTo>
                <a:cubicBezTo>
                  <a:pt x="795" y="1456"/>
                  <a:pt x="795" y="1456"/>
                  <a:pt x="795" y="1456"/>
                </a:cubicBezTo>
                <a:close/>
                <a:moveTo>
                  <a:pt x="2034" y="29"/>
                </a:moveTo>
                <a:cubicBezTo>
                  <a:pt x="2034" y="31"/>
                  <a:pt x="2047" y="32"/>
                  <a:pt x="2047" y="32"/>
                </a:cubicBezTo>
                <a:cubicBezTo>
                  <a:pt x="2054" y="31"/>
                  <a:pt x="2054" y="31"/>
                  <a:pt x="2054" y="31"/>
                </a:cubicBezTo>
                <a:cubicBezTo>
                  <a:pt x="2062" y="34"/>
                  <a:pt x="2062" y="34"/>
                  <a:pt x="2062" y="34"/>
                </a:cubicBezTo>
                <a:cubicBezTo>
                  <a:pt x="2071" y="34"/>
                  <a:pt x="2071" y="34"/>
                  <a:pt x="2071" y="34"/>
                </a:cubicBezTo>
                <a:cubicBezTo>
                  <a:pt x="2070" y="30"/>
                  <a:pt x="2066" y="25"/>
                  <a:pt x="2062" y="25"/>
                </a:cubicBezTo>
                <a:cubicBezTo>
                  <a:pt x="2059" y="26"/>
                  <a:pt x="2055" y="28"/>
                  <a:pt x="2055" y="28"/>
                </a:cubicBezTo>
                <a:cubicBezTo>
                  <a:pt x="2052" y="25"/>
                  <a:pt x="2052" y="25"/>
                  <a:pt x="2052" y="25"/>
                </a:cubicBezTo>
                <a:cubicBezTo>
                  <a:pt x="2052" y="25"/>
                  <a:pt x="2034" y="28"/>
                  <a:pt x="2034" y="29"/>
                </a:cubicBezTo>
                <a:close/>
                <a:moveTo>
                  <a:pt x="2026" y="30"/>
                </a:moveTo>
                <a:cubicBezTo>
                  <a:pt x="2028" y="28"/>
                  <a:pt x="2028" y="28"/>
                  <a:pt x="2028" y="28"/>
                </a:cubicBezTo>
                <a:cubicBezTo>
                  <a:pt x="2015" y="28"/>
                  <a:pt x="2015" y="28"/>
                  <a:pt x="2015" y="28"/>
                </a:cubicBezTo>
                <a:cubicBezTo>
                  <a:pt x="2026" y="30"/>
                  <a:pt x="2026" y="30"/>
                  <a:pt x="2026" y="30"/>
                </a:cubicBezTo>
                <a:cubicBezTo>
                  <a:pt x="2026" y="30"/>
                  <a:pt x="2026" y="30"/>
                  <a:pt x="2026" y="30"/>
                </a:cubicBezTo>
                <a:close/>
                <a:moveTo>
                  <a:pt x="2021" y="26"/>
                </a:moveTo>
                <a:cubicBezTo>
                  <a:pt x="2021" y="26"/>
                  <a:pt x="2032" y="27"/>
                  <a:pt x="2035" y="26"/>
                </a:cubicBezTo>
                <a:cubicBezTo>
                  <a:pt x="2037" y="25"/>
                  <a:pt x="2046" y="26"/>
                  <a:pt x="2044" y="23"/>
                </a:cubicBezTo>
                <a:cubicBezTo>
                  <a:pt x="2043" y="19"/>
                  <a:pt x="2027" y="15"/>
                  <a:pt x="2027" y="15"/>
                </a:cubicBezTo>
                <a:cubicBezTo>
                  <a:pt x="2027" y="15"/>
                  <a:pt x="2016" y="13"/>
                  <a:pt x="2015" y="17"/>
                </a:cubicBezTo>
                <a:cubicBezTo>
                  <a:pt x="2015" y="21"/>
                  <a:pt x="2021" y="26"/>
                  <a:pt x="2021" y="26"/>
                </a:cubicBezTo>
                <a:close/>
                <a:moveTo>
                  <a:pt x="2092" y="40"/>
                </a:moveTo>
                <a:cubicBezTo>
                  <a:pt x="2114" y="39"/>
                  <a:pt x="2114" y="39"/>
                  <a:pt x="2114" y="39"/>
                </a:cubicBezTo>
                <a:cubicBezTo>
                  <a:pt x="2108" y="36"/>
                  <a:pt x="2108" y="36"/>
                  <a:pt x="2108" y="36"/>
                </a:cubicBezTo>
                <a:cubicBezTo>
                  <a:pt x="2108" y="36"/>
                  <a:pt x="2101" y="31"/>
                  <a:pt x="2098" y="31"/>
                </a:cubicBezTo>
                <a:cubicBezTo>
                  <a:pt x="2096" y="31"/>
                  <a:pt x="2093" y="34"/>
                  <a:pt x="2093" y="34"/>
                </a:cubicBezTo>
                <a:cubicBezTo>
                  <a:pt x="2093" y="34"/>
                  <a:pt x="2091" y="28"/>
                  <a:pt x="2087" y="28"/>
                </a:cubicBezTo>
                <a:cubicBezTo>
                  <a:pt x="2082" y="28"/>
                  <a:pt x="2080" y="42"/>
                  <a:pt x="2080" y="42"/>
                </a:cubicBezTo>
                <a:cubicBezTo>
                  <a:pt x="2083" y="44"/>
                  <a:pt x="2083" y="44"/>
                  <a:pt x="2083" y="44"/>
                </a:cubicBezTo>
                <a:cubicBezTo>
                  <a:pt x="2087" y="43"/>
                  <a:pt x="2092" y="40"/>
                  <a:pt x="2092" y="40"/>
                </a:cubicBezTo>
                <a:close/>
                <a:moveTo>
                  <a:pt x="2377" y="71"/>
                </a:moveTo>
                <a:cubicBezTo>
                  <a:pt x="2379" y="67"/>
                  <a:pt x="2379" y="67"/>
                  <a:pt x="2379" y="67"/>
                </a:cubicBezTo>
                <a:cubicBezTo>
                  <a:pt x="2379" y="67"/>
                  <a:pt x="2384" y="67"/>
                  <a:pt x="2386" y="67"/>
                </a:cubicBezTo>
                <a:cubicBezTo>
                  <a:pt x="2388" y="67"/>
                  <a:pt x="2395" y="67"/>
                  <a:pt x="2395" y="67"/>
                </a:cubicBezTo>
                <a:cubicBezTo>
                  <a:pt x="2386" y="62"/>
                  <a:pt x="2386" y="62"/>
                  <a:pt x="2386" y="62"/>
                </a:cubicBezTo>
                <a:cubicBezTo>
                  <a:pt x="2388" y="59"/>
                  <a:pt x="2388" y="59"/>
                  <a:pt x="2388" y="59"/>
                </a:cubicBezTo>
                <a:cubicBezTo>
                  <a:pt x="2375" y="57"/>
                  <a:pt x="2375" y="57"/>
                  <a:pt x="2375" y="57"/>
                </a:cubicBezTo>
                <a:cubicBezTo>
                  <a:pt x="2377" y="61"/>
                  <a:pt x="2377" y="61"/>
                  <a:pt x="2377" y="61"/>
                </a:cubicBezTo>
                <a:cubicBezTo>
                  <a:pt x="2377" y="61"/>
                  <a:pt x="2352" y="52"/>
                  <a:pt x="2352" y="59"/>
                </a:cubicBezTo>
                <a:cubicBezTo>
                  <a:pt x="2352" y="65"/>
                  <a:pt x="2377" y="71"/>
                  <a:pt x="2377" y="71"/>
                </a:cubicBezTo>
                <a:close/>
                <a:moveTo>
                  <a:pt x="2349" y="62"/>
                </a:moveTo>
                <a:cubicBezTo>
                  <a:pt x="2341" y="59"/>
                  <a:pt x="2341" y="59"/>
                  <a:pt x="2341" y="59"/>
                </a:cubicBezTo>
                <a:cubicBezTo>
                  <a:pt x="2344" y="64"/>
                  <a:pt x="2344" y="64"/>
                  <a:pt x="2344" y="64"/>
                </a:cubicBezTo>
                <a:cubicBezTo>
                  <a:pt x="2349" y="62"/>
                  <a:pt x="2349" y="62"/>
                  <a:pt x="2349" y="62"/>
                </a:cubicBezTo>
                <a:cubicBezTo>
                  <a:pt x="2349" y="62"/>
                  <a:pt x="2349" y="62"/>
                  <a:pt x="2349" y="62"/>
                </a:cubicBezTo>
                <a:close/>
                <a:moveTo>
                  <a:pt x="2195" y="73"/>
                </a:moveTo>
                <a:cubicBezTo>
                  <a:pt x="2201" y="74"/>
                  <a:pt x="2201" y="74"/>
                  <a:pt x="2201" y="74"/>
                </a:cubicBezTo>
                <a:cubicBezTo>
                  <a:pt x="2206" y="75"/>
                  <a:pt x="2210" y="72"/>
                  <a:pt x="2203" y="71"/>
                </a:cubicBezTo>
                <a:cubicBezTo>
                  <a:pt x="2197" y="70"/>
                  <a:pt x="2195" y="73"/>
                  <a:pt x="2195" y="73"/>
                </a:cubicBezTo>
                <a:close/>
                <a:moveTo>
                  <a:pt x="1988" y="85"/>
                </a:moveTo>
                <a:cubicBezTo>
                  <a:pt x="1983" y="81"/>
                  <a:pt x="1984" y="86"/>
                  <a:pt x="1984" y="86"/>
                </a:cubicBezTo>
                <a:cubicBezTo>
                  <a:pt x="1989" y="88"/>
                  <a:pt x="1993" y="88"/>
                  <a:pt x="1988" y="85"/>
                </a:cubicBezTo>
                <a:close/>
                <a:moveTo>
                  <a:pt x="1718" y="483"/>
                </a:moveTo>
                <a:cubicBezTo>
                  <a:pt x="1719" y="486"/>
                  <a:pt x="1724" y="489"/>
                  <a:pt x="1726" y="489"/>
                </a:cubicBezTo>
                <a:cubicBezTo>
                  <a:pt x="1727" y="488"/>
                  <a:pt x="1731" y="485"/>
                  <a:pt x="1731" y="485"/>
                </a:cubicBezTo>
                <a:cubicBezTo>
                  <a:pt x="1731" y="485"/>
                  <a:pt x="1734" y="486"/>
                  <a:pt x="1735" y="485"/>
                </a:cubicBezTo>
                <a:cubicBezTo>
                  <a:pt x="1736" y="484"/>
                  <a:pt x="1734" y="482"/>
                  <a:pt x="1734" y="482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3" y="480"/>
                  <a:pt x="1733" y="480"/>
                  <a:pt x="1733" y="480"/>
                </a:cubicBezTo>
                <a:cubicBezTo>
                  <a:pt x="1733" y="480"/>
                  <a:pt x="1728" y="479"/>
                  <a:pt x="1726" y="480"/>
                </a:cubicBezTo>
                <a:cubicBezTo>
                  <a:pt x="1724" y="480"/>
                  <a:pt x="1725" y="482"/>
                  <a:pt x="1725" y="482"/>
                </a:cubicBezTo>
                <a:cubicBezTo>
                  <a:pt x="1725" y="482"/>
                  <a:pt x="1718" y="481"/>
                  <a:pt x="1718" y="483"/>
                </a:cubicBezTo>
                <a:close/>
                <a:moveTo>
                  <a:pt x="1649" y="430"/>
                </a:moveTo>
                <a:cubicBezTo>
                  <a:pt x="1652" y="430"/>
                  <a:pt x="1652" y="430"/>
                  <a:pt x="1652" y="430"/>
                </a:cubicBezTo>
                <a:cubicBezTo>
                  <a:pt x="1653" y="428"/>
                  <a:pt x="1653" y="428"/>
                  <a:pt x="1653" y="428"/>
                </a:cubicBezTo>
                <a:cubicBezTo>
                  <a:pt x="1648" y="428"/>
                  <a:pt x="1648" y="428"/>
                  <a:pt x="1648" y="428"/>
                </a:cubicBezTo>
                <a:cubicBezTo>
                  <a:pt x="1649" y="430"/>
                  <a:pt x="1649" y="430"/>
                  <a:pt x="1649" y="430"/>
                </a:cubicBezTo>
                <a:cubicBezTo>
                  <a:pt x="1649" y="430"/>
                  <a:pt x="1649" y="430"/>
                  <a:pt x="1649" y="430"/>
                </a:cubicBezTo>
                <a:close/>
                <a:moveTo>
                  <a:pt x="1654" y="426"/>
                </a:moveTo>
                <a:cubicBezTo>
                  <a:pt x="1655" y="428"/>
                  <a:pt x="1657" y="429"/>
                  <a:pt x="1657" y="426"/>
                </a:cubicBezTo>
                <a:cubicBezTo>
                  <a:pt x="1656" y="422"/>
                  <a:pt x="1654" y="426"/>
                  <a:pt x="1654" y="426"/>
                </a:cubicBezTo>
                <a:close/>
                <a:moveTo>
                  <a:pt x="1924" y="84"/>
                </a:moveTo>
                <a:cubicBezTo>
                  <a:pt x="1931" y="82"/>
                  <a:pt x="1929" y="80"/>
                  <a:pt x="1927" y="79"/>
                </a:cubicBezTo>
                <a:cubicBezTo>
                  <a:pt x="1926" y="78"/>
                  <a:pt x="1919" y="79"/>
                  <a:pt x="1919" y="79"/>
                </a:cubicBezTo>
                <a:cubicBezTo>
                  <a:pt x="1919" y="79"/>
                  <a:pt x="1921" y="85"/>
                  <a:pt x="1924" y="84"/>
                </a:cubicBezTo>
                <a:close/>
                <a:moveTo>
                  <a:pt x="1982" y="89"/>
                </a:moveTo>
                <a:cubicBezTo>
                  <a:pt x="1978" y="88"/>
                  <a:pt x="1978" y="88"/>
                  <a:pt x="1978" y="88"/>
                </a:cubicBezTo>
                <a:cubicBezTo>
                  <a:pt x="1974" y="90"/>
                  <a:pt x="1974" y="90"/>
                  <a:pt x="1974" y="90"/>
                </a:cubicBezTo>
                <a:cubicBezTo>
                  <a:pt x="1980" y="92"/>
                  <a:pt x="1980" y="92"/>
                  <a:pt x="1980" y="92"/>
                </a:cubicBezTo>
                <a:cubicBezTo>
                  <a:pt x="1982" y="89"/>
                  <a:pt x="1982" y="89"/>
                  <a:pt x="1982" y="89"/>
                </a:cubicBezTo>
                <a:cubicBezTo>
                  <a:pt x="1982" y="89"/>
                  <a:pt x="1982" y="89"/>
                  <a:pt x="1982" y="89"/>
                </a:cubicBezTo>
                <a:close/>
                <a:moveTo>
                  <a:pt x="1662" y="423"/>
                </a:moveTo>
                <a:cubicBezTo>
                  <a:pt x="1658" y="423"/>
                  <a:pt x="1658" y="423"/>
                  <a:pt x="1658" y="423"/>
                </a:cubicBezTo>
                <a:cubicBezTo>
                  <a:pt x="1658" y="427"/>
                  <a:pt x="1658" y="427"/>
                  <a:pt x="1658" y="427"/>
                </a:cubicBezTo>
                <a:cubicBezTo>
                  <a:pt x="1659" y="425"/>
                  <a:pt x="1659" y="425"/>
                  <a:pt x="1659" y="425"/>
                </a:cubicBezTo>
                <a:cubicBezTo>
                  <a:pt x="1662" y="423"/>
                  <a:pt x="1662" y="423"/>
                  <a:pt x="1662" y="423"/>
                </a:cubicBezTo>
                <a:cubicBezTo>
                  <a:pt x="1662" y="423"/>
                  <a:pt x="1662" y="423"/>
                  <a:pt x="1662" y="423"/>
                </a:cubicBezTo>
                <a:close/>
                <a:moveTo>
                  <a:pt x="2399" y="65"/>
                </a:moveTo>
                <a:cubicBezTo>
                  <a:pt x="2407" y="66"/>
                  <a:pt x="2407" y="66"/>
                  <a:pt x="2407" y="66"/>
                </a:cubicBezTo>
                <a:cubicBezTo>
                  <a:pt x="2409" y="64"/>
                  <a:pt x="2408" y="62"/>
                  <a:pt x="2405" y="62"/>
                </a:cubicBezTo>
                <a:cubicBezTo>
                  <a:pt x="2401" y="62"/>
                  <a:pt x="2388" y="59"/>
                  <a:pt x="2390" y="61"/>
                </a:cubicBezTo>
                <a:cubicBezTo>
                  <a:pt x="2392" y="64"/>
                  <a:pt x="2399" y="65"/>
                  <a:pt x="2399" y="65"/>
                </a:cubicBezTo>
                <a:close/>
                <a:moveTo>
                  <a:pt x="2652" y="116"/>
                </a:moveTo>
                <a:cubicBezTo>
                  <a:pt x="2654" y="114"/>
                  <a:pt x="2639" y="112"/>
                  <a:pt x="2639" y="112"/>
                </a:cubicBezTo>
                <a:cubicBezTo>
                  <a:pt x="2639" y="113"/>
                  <a:pt x="2651" y="118"/>
                  <a:pt x="2652" y="116"/>
                </a:cubicBezTo>
                <a:close/>
                <a:moveTo>
                  <a:pt x="2390" y="73"/>
                </a:moveTo>
                <a:cubicBezTo>
                  <a:pt x="2385" y="78"/>
                  <a:pt x="2397" y="78"/>
                  <a:pt x="2398" y="76"/>
                </a:cubicBezTo>
                <a:cubicBezTo>
                  <a:pt x="2400" y="74"/>
                  <a:pt x="2392" y="71"/>
                  <a:pt x="2390" y="73"/>
                </a:cubicBezTo>
                <a:close/>
                <a:moveTo>
                  <a:pt x="2760" y="352"/>
                </a:moveTo>
                <a:cubicBezTo>
                  <a:pt x="2761" y="348"/>
                  <a:pt x="2761" y="348"/>
                  <a:pt x="2761" y="348"/>
                </a:cubicBezTo>
                <a:cubicBezTo>
                  <a:pt x="2759" y="352"/>
                  <a:pt x="2759" y="352"/>
                  <a:pt x="2759" y="352"/>
                </a:cubicBezTo>
                <a:cubicBezTo>
                  <a:pt x="2760" y="352"/>
                  <a:pt x="2760" y="352"/>
                  <a:pt x="2760" y="352"/>
                </a:cubicBezTo>
                <a:cubicBezTo>
                  <a:pt x="2760" y="352"/>
                  <a:pt x="2760" y="352"/>
                  <a:pt x="2760" y="352"/>
                </a:cubicBezTo>
                <a:close/>
                <a:moveTo>
                  <a:pt x="2760" y="339"/>
                </a:moveTo>
                <a:cubicBezTo>
                  <a:pt x="2763" y="339"/>
                  <a:pt x="2763" y="339"/>
                  <a:pt x="2763" y="339"/>
                </a:cubicBezTo>
                <a:cubicBezTo>
                  <a:pt x="2760" y="336"/>
                  <a:pt x="2760" y="336"/>
                  <a:pt x="2760" y="336"/>
                </a:cubicBezTo>
                <a:cubicBezTo>
                  <a:pt x="2760" y="339"/>
                  <a:pt x="2760" y="339"/>
                  <a:pt x="2760" y="339"/>
                </a:cubicBezTo>
                <a:cubicBezTo>
                  <a:pt x="2760" y="339"/>
                  <a:pt x="2760" y="339"/>
                  <a:pt x="2760" y="339"/>
                </a:cubicBezTo>
                <a:close/>
                <a:moveTo>
                  <a:pt x="2495" y="653"/>
                </a:moveTo>
                <a:cubicBezTo>
                  <a:pt x="2492" y="651"/>
                  <a:pt x="2482" y="652"/>
                  <a:pt x="2482" y="652"/>
                </a:cubicBezTo>
                <a:cubicBezTo>
                  <a:pt x="2481" y="655"/>
                  <a:pt x="2481" y="655"/>
                  <a:pt x="2481" y="655"/>
                </a:cubicBezTo>
                <a:cubicBezTo>
                  <a:pt x="2479" y="653"/>
                  <a:pt x="2479" y="653"/>
                  <a:pt x="2479" y="653"/>
                </a:cubicBezTo>
                <a:cubicBezTo>
                  <a:pt x="2478" y="657"/>
                  <a:pt x="2478" y="657"/>
                  <a:pt x="2478" y="657"/>
                </a:cubicBezTo>
                <a:cubicBezTo>
                  <a:pt x="2478" y="657"/>
                  <a:pt x="2471" y="662"/>
                  <a:pt x="2475" y="667"/>
                </a:cubicBezTo>
                <a:cubicBezTo>
                  <a:pt x="2479" y="672"/>
                  <a:pt x="2482" y="672"/>
                  <a:pt x="2482" y="672"/>
                </a:cubicBezTo>
                <a:cubicBezTo>
                  <a:pt x="2494" y="671"/>
                  <a:pt x="2493" y="668"/>
                  <a:pt x="2493" y="666"/>
                </a:cubicBezTo>
                <a:cubicBezTo>
                  <a:pt x="2494" y="665"/>
                  <a:pt x="2493" y="662"/>
                  <a:pt x="2493" y="662"/>
                </a:cubicBezTo>
                <a:cubicBezTo>
                  <a:pt x="2493" y="662"/>
                  <a:pt x="2498" y="655"/>
                  <a:pt x="2495" y="653"/>
                </a:cubicBezTo>
                <a:close/>
                <a:moveTo>
                  <a:pt x="2505" y="689"/>
                </a:moveTo>
                <a:cubicBezTo>
                  <a:pt x="2502" y="689"/>
                  <a:pt x="2504" y="692"/>
                  <a:pt x="2504" y="692"/>
                </a:cubicBezTo>
                <a:cubicBezTo>
                  <a:pt x="2507" y="692"/>
                  <a:pt x="2509" y="689"/>
                  <a:pt x="2505" y="689"/>
                </a:cubicBezTo>
                <a:close/>
                <a:moveTo>
                  <a:pt x="2726" y="469"/>
                </a:moveTo>
                <a:cubicBezTo>
                  <a:pt x="2726" y="466"/>
                  <a:pt x="2726" y="460"/>
                  <a:pt x="2725" y="458"/>
                </a:cubicBezTo>
                <a:cubicBezTo>
                  <a:pt x="2724" y="455"/>
                  <a:pt x="2719" y="452"/>
                  <a:pt x="2719" y="448"/>
                </a:cubicBezTo>
                <a:cubicBezTo>
                  <a:pt x="2720" y="445"/>
                  <a:pt x="2723" y="446"/>
                  <a:pt x="2723" y="446"/>
                </a:cubicBezTo>
                <a:cubicBezTo>
                  <a:pt x="2723" y="440"/>
                  <a:pt x="2723" y="440"/>
                  <a:pt x="2723" y="440"/>
                </a:cubicBezTo>
                <a:cubicBezTo>
                  <a:pt x="2721" y="439"/>
                  <a:pt x="2721" y="439"/>
                  <a:pt x="2721" y="439"/>
                </a:cubicBezTo>
                <a:cubicBezTo>
                  <a:pt x="2723" y="437"/>
                  <a:pt x="2723" y="437"/>
                  <a:pt x="2723" y="437"/>
                </a:cubicBezTo>
                <a:cubicBezTo>
                  <a:pt x="2723" y="437"/>
                  <a:pt x="2722" y="434"/>
                  <a:pt x="2721" y="432"/>
                </a:cubicBezTo>
                <a:cubicBezTo>
                  <a:pt x="2720" y="429"/>
                  <a:pt x="2717" y="428"/>
                  <a:pt x="2717" y="428"/>
                </a:cubicBezTo>
                <a:cubicBezTo>
                  <a:pt x="2717" y="425"/>
                  <a:pt x="2717" y="425"/>
                  <a:pt x="2717" y="425"/>
                </a:cubicBezTo>
                <a:cubicBezTo>
                  <a:pt x="2717" y="425"/>
                  <a:pt x="2714" y="424"/>
                  <a:pt x="2712" y="422"/>
                </a:cubicBezTo>
                <a:cubicBezTo>
                  <a:pt x="2710" y="421"/>
                  <a:pt x="2707" y="417"/>
                  <a:pt x="2707" y="415"/>
                </a:cubicBezTo>
                <a:cubicBezTo>
                  <a:pt x="2707" y="414"/>
                  <a:pt x="2706" y="413"/>
                  <a:pt x="2706" y="413"/>
                </a:cubicBezTo>
                <a:cubicBezTo>
                  <a:pt x="2706" y="413"/>
                  <a:pt x="2701" y="409"/>
                  <a:pt x="2701" y="412"/>
                </a:cubicBezTo>
                <a:cubicBezTo>
                  <a:pt x="2700" y="414"/>
                  <a:pt x="2702" y="415"/>
                  <a:pt x="2702" y="415"/>
                </a:cubicBezTo>
                <a:cubicBezTo>
                  <a:pt x="2704" y="414"/>
                  <a:pt x="2704" y="414"/>
                  <a:pt x="2704" y="414"/>
                </a:cubicBezTo>
                <a:cubicBezTo>
                  <a:pt x="2704" y="414"/>
                  <a:pt x="2706" y="418"/>
                  <a:pt x="2705" y="418"/>
                </a:cubicBezTo>
                <a:cubicBezTo>
                  <a:pt x="2704" y="418"/>
                  <a:pt x="2703" y="416"/>
                  <a:pt x="2703" y="416"/>
                </a:cubicBezTo>
                <a:cubicBezTo>
                  <a:pt x="2701" y="418"/>
                  <a:pt x="2701" y="418"/>
                  <a:pt x="2701" y="418"/>
                </a:cubicBezTo>
                <a:cubicBezTo>
                  <a:pt x="2698" y="414"/>
                  <a:pt x="2698" y="414"/>
                  <a:pt x="2698" y="414"/>
                </a:cubicBezTo>
                <a:cubicBezTo>
                  <a:pt x="2696" y="414"/>
                  <a:pt x="2696" y="414"/>
                  <a:pt x="2696" y="414"/>
                </a:cubicBezTo>
                <a:cubicBezTo>
                  <a:pt x="2699" y="419"/>
                  <a:pt x="2699" y="419"/>
                  <a:pt x="2699" y="419"/>
                </a:cubicBezTo>
                <a:cubicBezTo>
                  <a:pt x="2696" y="420"/>
                  <a:pt x="2696" y="420"/>
                  <a:pt x="2696" y="420"/>
                </a:cubicBezTo>
                <a:cubicBezTo>
                  <a:pt x="2700" y="426"/>
                  <a:pt x="2700" y="426"/>
                  <a:pt x="2700" y="426"/>
                </a:cubicBezTo>
                <a:cubicBezTo>
                  <a:pt x="2699" y="428"/>
                  <a:pt x="2699" y="428"/>
                  <a:pt x="2699" y="428"/>
                </a:cubicBezTo>
                <a:cubicBezTo>
                  <a:pt x="2699" y="428"/>
                  <a:pt x="2706" y="432"/>
                  <a:pt x="2706" y="435"/>
                </a:cubicBezTo>
                <a:cubicBezTo>
                  <a:pt x="2705" y="438"/>
                  <a:pt x="2704" y="442"/>
                  <a:pt x="2704" y="442"/>
                </a:cubicBezTo>
                <a:cubicBezTo>
                  <a:pt x="2704" y="446"/>
                  <a:pt x="2704" y="446"/>
                  <a:pt x="2704" y="446"/>
                </a:cubicBezTo>
                <a:cubicBezTo>
                  <a:pt x="2704" y="446"/>
                  <a:pt x="2708" y="449"/>
                  <a:pt x="2706" y="450"/>
                </a:cubicBezTo>
                <a:cubicBezTo>
                  <a:pt x="2704" y="452"/>
                  <a:pt x="2702" y="451"/>
                  <a:pt x="2702" y="451"/>
                </a:cubicBezTo>
                <a:cubicBezTo>
                  <a:pt x="2702" y="451"/>
                  <a:pt x="2704" y="457"/>
                  <a:pt x="2701" y="459"/>
                </a:cubicBezTo>
                <a:cubicBezTo>
                  <a:pt x="2699" y="460"/>
                  <a:pt x="2694" y="461"/>
                  <a:pt x="2694" y="461"/>
                </a:cubicBezTo>
                <a:cubicBezTo>
                  <a:pt x="2694" y="463"/>
                  <a:pt x="2694" y="463"/>
                  <a:pt x="2694" y="463"/>
                </a:cubicBezTo>
                <a:cubicBezTo>
                  <a:pt x="2694" y="463"/>
                  <a:pt x="2692" y="464"/>
                  <a:pt x="2690" y="462"/>
                </a:cubicBezTo>
                <a:cubicBezTo>
                  <a:pt x="2688" y="460"/>
                  <a:pt x="2689" y="458"/>
                  <a:pt x="2689" y="458"/>
                </a:cubicBezTo>
                <a:cubicBezTo>
                  <a:pt x="2689" y="455"/>
                  <a:pt x="2689" y="455"/>
                  <a:pt x="2689" y="455"/>
                </a:cubicBezTo>
                <a:cubicBezTo>
                  <a:pt x="2689" y="455"/>
                  <a:pt x="2684" y="456"/>
                  <a:pt x="2685" y="459"/>
                </a:cubicBezTo>
                <a:cubicBezTo>
                  <a:pt x="2686" y="461"/>
                  <a:pt x="2688" y="464"/>
                  <a:pt x="2688" y="465"/>
                </a:cubicBezTo>
                <a:cubicBezTo>
                  <a:pt x="2688" y="466"/>
                  <a:pt x="2685" y="470"/>
                  <a:pt x="2685" y="472"/>
                </a:cubicBezTo>
                <a:cubicBezTo>
                  <a:pt x="2686" y="474"/>
                  <a:pt x="2689" y="477"/>
                  <a:pt x="2687" y="477"/>
                </a:cubicBezTo>
                <a:cubicBezTo>
                  <a:pt x="2685" y="478"/>
                  <a:pt x="2679" y="475"/>
                  <a:pt x="2678" y="475"/>
                </a:cubicBezTo>
                <a:cubicBezTo>
                  <a:pt x="2676" y="475"/>
                  <a:pt x="2667" y="479"/>
                  <a:pt x="2667" y="479"/>
                </a:cubicBezTo>
                <a:cubicBezTo>
                  <a:pt x="2666" y="479"/>
                  <a:pt x="2663" y="479"/>
                  <a:pt x="2663" y="479"/>
                </a:cubicBezTo>
                <a:cubicBezTo>
                  <a:pt x="2661" y="477"/>
                  <a:pt x="2661" y="477"/>
                  <a:pt x="2661" y="477"/>
                </a:cubicBezTo>
                <a:cubicBezTo>
                  <a:pt x="2657" y="481"/>
                  <a:pt x="2657" y="481"/>
                  <a:pt x="2657" y="481"/>
                </a:cubicBezTo>
                <a:cubicBezTo>
                  <a:pt x="2657" y="481"/>
                  <a:pt x="2651" y="490"/>
                  <a:pt x="2650" y="490"/>
                </a:cubicBezTo>
                <a:cubicBezTo>
                  <a:pt x="2649" y="490"/>
                  <a:pt x="2646" y="490"/>
                  <a:pt x="2646" y="490"/>
                </a:cubicBezTo>
                <a:cubicBezTo>
                  <a:pt x="2646" y="490"/>
                  <a:pt x="2647" y="495"/>
                  <a:pt x="2649" y="495"/>
                </a:cubicBezTo>
                <a:cubicBezTo>
                  <a:pt x="2650" y="495"/>
                  <a:pt x="2653" y="494"/>
                  <a:pt x="2653" y="494"/>
                </a:cubicBezTo>
                <a:cubicBezTo>
                  <a:pt x="2653" y="494"/>
                  <a:pt x="2657" y="497"/>
                  <a:pt x="2658" y="496"/>
                </a:cubicBezTo>
                <a:cubicBezTo>
                  <a:pt x="2659" y="496"/>
                  <a:pt x="2659" y="491"/>
                  <a:pt x="2659" y="491"/>
                </a:cubicBezTo>
                <a:cubicBezTo>
                  <a:pt x="2662" y="493"/>
                  <a:pt x="2662" y="493"/>
                  <a:pt x="2662" y="493"/>
                </a:cubicBezTo>
                <a:cubicBezTo>
                  <a:pt x="2662" y="493"/>
                  <a:pt x="2669" y="490"/>
                  <a:pt x="2670" y="489"/>
                </a:cubicBezTo>
                <a:cubicBezTo>
                  <a:pt x="2671" y="488"/>
                  <a:pt x="2674" y="490"/>
                  <a:pt x="2676" y="490"/>
                </a:cubicBezTo>
                <a:cubicBezTo>
                  <a:pt x="2678" y="490"/>
                  <a:pt x="2674" y="487"/>
                  <a:pt x="2678" y="487"/>
                </a:cubicBezTo>
                <a:cubicBezTo>
                  <a:pt x="2681" y="487"/>
                  <a:pt x="2682" y="488"/>
                  <a:pt x="2682" y="488"/>
                </a:cubicBezTo>
                <a:cubicBezTo>
                  <a:pt x="2682" y="488"/>
                  <a:pt x="2687" y="486"/>
                  <a:pt x="2687" y="487"/>
                </a:cubicBezTo>
                <a:cubicBezTo>
                  <a:pt x="2688" y="489"/>
                  <a:pt x="2685" y="493"/>
                  <a:pt x="2685" y="493"/>
                </a:cubicBezTo>
                <a:cubicBezTo>
                  <a:pt x="2685" y="493"/>
                  <a:pt x="2690" y="501"/>
                  <a:pt x="2694" y="501"/>
                </a:cubicBezTo>
                <a:cubicBezTo>
                  <a:pt x="2698" y="501"/>
                  <a:pt x="2698" y="493"/>
                  <a:pt x="2698" y="493"/>
                </a:cubicBezTo>
                <a:cubicBezTo>
                  <a:pt x="2702" y="492"/>
                  <a:pt x="2702" y="492"/>
                  <a:pt x="2702" y="492"/>
                </a:cubicBezTo>
                <a:cubicBezTo>
                  <a:pt x="2702" y="492"/>
                  <a:pt x="2699" y="488"/>
                  <a:pt x="2698" y="488"/>
                </a:cubicBezTo>
                <a:cubicBezTo>
                  <a:pt x="2697" y="488"/>
                  <a:pt x="2696" y="486"/>
                  <a:pt x="2696" y="486"/>
                </a:cubicBezTo>
                <a:cubicBezTo>
                  <a:pt x="2698" y="483"/>
                  <a:pt x="2698" y="483"/>
                  <a:pt x="2698" y="483"/>
                </a:cubicBezTo>
                <a:cubicBezTo>
                  <a:pt x="2700" y="483"/>
                  <a:pt x="2698" y="486"/>
                  <a:pt x="2701" y="486"/>
                </a:cubicBezTo>
                <a:cubicBezTo>
                  <a:pt x="2703" y="486"/>
                  <a:pt x="2703" y="489"/>
                  <a:pt x="2703" y="489"/>
                </a:cubicBezTo>
                <a:cubicBezTo>
                  <a:pt x="2706" y="487"/>
                  <a:pt x="2706" y="487"/>
                  <a:pt x="2706" y="487"/>
                </a:cubicBezTo>
                <a:cubicBezTo>
                  <a:pt x="2706" y="487"/>
                  <a:pt x="2709" y="488"/>
                  <a:pt x="2712" y="488"/>
                </a:cubicBezTo>
                <a:cubicBezTo>
                  <a:pt x="2715" y="487"/>
                  <a:pt x="2711" y="482"/>
                  <a:pt x="2715" y="483"/>
                </a:cubicBezTo>
                <a:cubicBezTo>
                  <a:pt x="2719" y="483"/>
                  <a:pt x="2717" y="489"/>
                  <a:pt x="2719" y="488"/>
                </a:cubicBezTo>
                <a:cubicBezTo>
                  <a:pt x="2721" y="487"/>
                  <a:pt x="2717" y="482"/>
                  <a:pt x="2719" y="481"/>
                </a:cubicBezTo>
                <a:cubicBezTo>
                  <a:pt x="2721" y="480"/>
                  <a:pt x="2722" y="480"/>
                  <a:pt x="2722" y="480"/>
                </a:cubicBezTo>
                <a:cubicBezTo>
                  <a:pt x="2722" y="480"/>
                  <a:pt x="2722" y="474"/>
                  <a:pt x="2725" y="476"/>
                </a:cubicBezTo>
                <a:cubicBezTo>
                  <a:pt x="2727" y="479"/>
                  <a:pt x="2723" y="484"/>
                  <a:pt x="2728" y="484"/>
                </a:cubicBezTo>
                <a:cubicBezTo>
                  <a:pt x="2732" y="483"/>
                  <a:pt x="2730" y="477"/>
                  <a:pt x="2730" y="477"/>
                </a:cubicBezTo>
                <a:cubicBezTo>
                  <a:pt x="2732" y="475"/>
                  <a:pt x="2732" y="475"/>
                  <a:pt x="2732" y="475"/>
                </a:cubicBezTo>
                <a:cubicBezTo>
                  <a:pt x="2732" y="475"/>
                  <a:pt x="2726" y="472"/>
                  <a:pt x="2726" y="469"/>
                </a:cubicBezTo>
                <a:close/>
                <a:moveTo>
                  <a:pt x="2763" y="327"/>
                </a:moveTo>
                <a:cubicBezTo>
                  <a:pt x="2766" y="324"/>
                  <a:pt x="2766" y="324"/>
                  <a:pt x="2766" y="324"/>
                </a:cubicBezTo>
                <a:cubicBezTo>
                  <a:pt x="2762" y="321"/>
                  <a:pt x="2762" y="321"/>
                  <a:pt x="2762" y="321"/>
                </a:cubicBezTo>
                <a:cubicBezTo>
                  <a:pt x="2763" y="327"/>
                  <a:pt x="2763" y="327"/>
                  <a:pt x="2763" y="327"/>
                </a:cubicBezTo>
                <a:cubicBezTo>
                  <a:pt x="2763" y="327"/>
                  <a:pt x="2763" y="327"/>
                  <a:pt x="2763" y="327"/>
                </a:cubicBezTo>
                <a:close/>
                <a:moveTo>
                  <a:pt x="2749" y="365"/>
                </a:moveTo>
                <a:cubicBezTo>
                  <a:pt x="2752" y="366"/>
                  <a:pt x="2754" y="361"/>
                  <a:pt x="2752" y="360"/>
                </a:cubicBezTo>
                <a:cubicBezTo>
                  <a:pt x="2750" y="360"/>
                  <a:pt x="2748" y="365"/>
                  <a:pt x="2749" y="365"/>
                </a:cubicBezTo>
                <a:close/>
                <a:moveTo>
                  <a:pt x="2448" y="70"/>
                </a:moveTo>
                <a:cubicBezTo>
                  <a:pt x="2454" y="67"/>
                  <a:pt x="2434" y="67"/>
                  <a:pt x="2434" y="67"/>
                </a:cubicBezTo>
                <a:cubicBezTo>
                  <a:pt x="2434" y="67"/>
                  <a:pt x="2430" y="63"/>
                  <a:pt x="2428" y="63"/>
                </a:cubicBezTo>
                <a:cubicBezTo>
                  <a:pt x="2426" y="63"/>
                  <a:pt x="2421" y="64"/>
                  <a:pt x="2421" y="64"/>
                </a:cubicBezTo>
                <a:cubicBezTo>
                  <a:pt x="2416" y="63"/>
                  <a:pt x="2416" y="63"/>
                  <a:pt x="2416" y="63"/>
                </a:cubicBezTo>
                <a:cubicBezTo>
                  <a:pt x="2421" y="67"/>
                  <a:pt x="2421" y="67"/>
                  <a:pt x="2421" y="67"/>
                </a:cubicBezTo>
                <a:cubicBezTo>
                  <a:pt x="2421" y="67"/>
                  <a:pt x="2442" y="72"/>
                  <a:pt x="2448" y="70"/>
                </a:cubicBezTo>
                <a:close/>
                <a:moveTo>
                  <a:pt x="1662" y="443"/>
                </a:moveTo>
                <a:cubicBezTo>
                  <a:pt x="1662" y="442"/>
                  <a:pt x="1661" y="447"/>
                  <a:pt x="1662" y="449"/>
                </a:cubicBezTo>
                <a:cubicBezTo>
                  <a:pt x="1663" y="451"/>
                  <a:pt x="1665" y="447"/>
                  <a:pt x="1665" y="446"/>
                </a:cubicBezTo>
                <a:cubicBezTo>
                  <a:pt x="1666" y="445"/>
                  <a:pt x="1663" y="444"/>
                  <a:pt x="1662" y="443"/>
                </a:cubicBezTo>
                <a:close/>
                <a:moveTo>
                  <a:pt x="2509" y="683"/>
                </a:moveTo>
                <a:cubicBezTo>
                  <a:pt x="2508" y="685"/>
                  <a:pt x="2512" y="687"/>
                  <a:pt x="2512" y="687"/>
                </a:cubicBezTo>
                <a:cubicBezTo>
                  <a:pt x="2514" y="686"/>
                  <a:pt x="2514" y="686"/>
                  <a:pt x="2514" y="686"/>
                </a:cubicBezTo>
                <a:cubicBezTo>
                  <a:pt x="2514" y="686"/>
                  <a:pt x="2511" y="682"/>
                  <a:pt x="2509" y="683"/>
                </a:cubicBezTo>
                <a:close/>
                <a:moveTo>
                  <a:pt x="2398" y="82"/>
                </a:moveTo>
                <a:cubicBezTo>
                  <a:pt x="2408" y="80"/>
                  <a:pt x="2408" y="80"/>
                  <a:pt x="2408" y="80"/>
                </a:cubicBezTo>
                <a:cubicBezTo>
                  <a:pt x="2424" y="83"/>
                  <a:pt x="2424" y="83"/>
                  <a:pt x="2424" y="83"/>
                </a:cubicBezTo>
                <a:cubicBezTo>
                  <a:pt x="2424" y="83"/>
                  <a:pt x="2419" y="77"/>
                  <a:pt x="2416" y="77"/>
                </a:cubicBezTo>
                <a:cubicBezTo>
                  <a:pt x="2412" y="76"/>
                  <a:pt x="2401" y="77"/>
                  <a:pt x="2401" y="77"/>
                </a:cubicBezTo>
                <a:cubicBezTo>
                  <a:pt x="2398" y="82"/>
                  <a:pt x="2398" y="82"/>
                  <a:pt x="2398" y="82"/>
                </a:cubicBezTo>
                <a:cubicBezTo>
                  <a:pt x="2398" y="82"/>
                  <a:pt x="2398" y="82"/>
                  <a:pt x="2398" y="82"/>
                </a:cubicBezTo>
                <a:close/>
                <a:moveTo>
                  <a:pt x="2744" y="227"/>
                </a:moveTo>
                <a:cubicBezTo>
                  <a:pt x="2749" y="222"/>
                  <a:pt x="2749" y="222"/>
                  <a:pt x="2749" y="222"/>
                </a:cubicBezTo>
                <a:cubicBezTo>
                  <a:pt x="2747" y="219"/>
                  <a:pt x="2747" y="219"/>
                  <a:pt x="2747" y="219"/>
                </a:cubicBezTo>
                <a:cubicBezTo>
                  <a:pt x="2742" y="222"/>
                  <a:pt x="2742" y="222"/>
                  <a:pt x="2742" y="222"/>
                </a:cubicBezTo>
                <a:cubicBezTo>
                  <a:pt x="2744" y="227"/>
                  <a:pt x="2744" y="227"/>
                  <a:pt x="2744" y="227"/>
                </a:cubicBezTo>
                <a:cubicBezTo>
                  <a:pt x="2744" y="227"/>
                  <a:pt x="2744" y="227"/>
                  <a:pt x="2744" y="227"/>
                </a:cubicBezTo>
                <a:close/>
                <a:moveTo>
                  <a:pt x="2706" y="105"/>
                </a:moveTo>
                <a:cubicBezTo>
                  <a:pt x="2709" y="104"/>
                  <a:pt x="2713" y="104"/>
                  <a:pt x="2718" y="104"/>
                </a:cubicBezTo>
                <a:cubicBezTo>
                  <a:pt x="2724" y="104"/>
                  <a:pt x="2724" y="101"/>
                  <a:pt x="2721" y="100"/>
                </a:cubicBezTo>
                <a:cubicBezTo>
                  <a:pt x="2717" y="100"/>
                  <a:pt x="2710" y="97"/>
                  <a:pt x="2708" y="97"/>
                </a:cubicBezTo>
                <a:cubicBezTo>
                  <a:pt x="2705" y="97"/>
                  <a:pt x="2699" y="97"/>
                  <a:pt x="2699" y="102"/>
                </a:cubicBezTo>
                <a:cubicBezTo>
                  <a:pt x="2699" y="107"/>
                  <a:pt x="2704" y="106"/>
                  <a:pt x="2706" y="105"/>
                </a:cubicBezTo>
                <a:close/>
                <a:moveTo>
                  <a:pt x="2761" y="318"/>
                </a:moveTo>
                <a:cubicBezTo>
                  <a:pt x="2764" y="317"/>
                  <a:pt x="2764" y="317"/>
                  <a:pt x="2764" y="317"/>
                </a:cubicBezTo>
                <a:cubicBezTo>
                  <a:pt x="2766" y="315"/>
                  <a:pt x="2766" y="315"/>
                  <a:pt x="2766" y="315"/>
                </a:cubicBezTo>
                <a:cubicBezTo>
                  <a:pt x="2764" y="311"/>
                  <a:pt x="2764" y="311"/>
                  <a:pt x="2764" y="311"/>
                </a:cubicBezTo>
                <a:cubicBezTo>
                  <a:pt x="2766" y="310"/>
                  <a:pt x="2766" y="310"/>
                  <a:pt x="2766" y="310"/>
                </a:cubicBezTo>
                <a:cubicBezTo>
                  <a:pt x="2764" y="308"/>
                  <a:pt x="2764" y="308"/>
                  <a:pt x="2764" y="308"/>
                </a:cubicBezTo>
                <a:cubicBezTo>
                  <a:pt x="2762" y="310"/>
                  <a:pt x="2762" y="310"/>
                  <a:pt x="2762" y="310"/>
                </a:cubicBezTo>
                <a:cubicBezTo>
                  <a:pt x="2764" y="313"/>
                  <a:pt x="2764" y="313"/>
                  <a:pt x="2764" y="313"/>
                </a:cubicBezTo>
                <a:cubicBezTo>
                  <a:pt x="2761" y="313"/>
                  <a:pt x="2761" y="313"/>
                  <a:pt x="2761" y="313"/>
                </a:cubicBezTo>
                <a:cubicBezTo>
                  <a:pt x="2761" y="318"/>
                  <a:pt x="2761" y="318"/>
                  <a:pt x="2761" y="318"/>
                </a:cubicBezTo>
                <a:cubicBezTo>
                  <a:pt x="2761" y="318"/>
                  <a:pt x="2761" y="318"/>
                  <a:pt x="2761" y="318"/>
                </a:cubicBezTo>
                <a:close/>
                <a:moveTo>
                  <a:pt x="2587" y="592"/>
                </a:moveTo>
                <a:cubicBezTo>
                  <a:pt x="2583" y="597"/>
                  <a:pt x="2583" y="597"/>
                  <a:pt x="2583" y="597"/>
                </a:cubicBezTo>
                <a:cubicBezTo>
                  <a:pt x="2583" y="597"/>
                  <a:pt x="2575" y="614"/>
                  <a:pt x="2577" y="616"/>
                </a:cubicBezTo>
                <a:cubicBezTo>
                  <a:pt x="2579" y="619"/>
                  <a:pt x="2582" y="623"/>
                  <a:pt x="2582" y="623"/>
                </a:cubicBezTo>
                <a:cubicBezTo>
                  <a:pt x="2582" y="623"/>
                  <a:pt x="2585" y="630"/>
                  <a:pt x="2588" y="630"/>
                </a:cubicBezTo>
                <a:cubicBezTo>
                  <a:pt x="2588" y="623"/>
                  <a:pt x="2588" y="623"/>
                  <a:pt x="2588" y="623"/>
                </a:cubicBezTo>
                <a:cubicBezTo>
                  <a:pt x="2588" y="623"/>
                  <a:pt x="2591" y="622"/>
                  <a:pt x="2591" y="617"/>
                </a:cubicBezTo>
                <a:cubicBezTo>
                  <a:pt x="2591" y="613"/>
                  <a:pt x="2591" y="607"/>
                  <a:pt x="2591" y="607"/>
                </a:cubicBezTo>
                <a:cubicBezTo>
                  <a:pt x="2591" y="607"/>
                  <a:pt x="2593" y="604"/>
                  <a:pt x="2593" y="601"/>
                </a:cubicBezTo>
                <a:cubicBezTo>
                  <a:pt x="2593" y="599"/>
                  <a:pt x="2593" y="596"/>
                  <a:pt x="2593" y="596"/>
                </a:cubicBezTo>
                <a:cubicBezTo>
                  <a:pt x="2587" y="592"/>
                  <a:pt x="2587" y="592"/>
                  <a:pt x="2587" y="592"/>
                </a:cubicBezTo>
                <a:cubicBezTo>
                  <a:pt x="2587" y="592"/>
                  <a:pt x="2587" y="592"/>
                  <a:pt x="2587" y="592"/>
                </a:cubicBezTo>
                <a:close/>
                <a:moveTo>
                  <a:pt x="2647" y="509"/>
                </a:moveTo>
                <a:cubicBezTo>
                  <a:pt x="2645" y="515"/>
                  <a:pt x="2645" y="515"/>
                  <a:pt x="2645" y="515"/>
                </a:cubicBezTo>
                <a:cubicBezTo>
                  <a:pt x="2647" y="514"/>
                  <a:pt x="2647" y="514"/>
                  <a:pt x="2647" y="514"/>
                </a:cubicBezTo>
                <a:cubicBezTo>
                  <a:pt x="2647" y="509"/>
                  <a:pt x="2647" y="509"/>
                  <a:pt x="2647" y="509"/>
                </a:cubicBezTo>
                <a:cubicBezTo>
                  <a:pt x="2647" y="509"/>
                  <a:pt x="2647" y="509"/>
                  <a:pt x="2647" y="509"/>
                </a:cubicBezTo>
                <a:close/>
                <a:moveTo>
                  <a:pt x="2674" y="501"/>
                </a:moveTo>
                <a:cubicBezTo>
                  <a:pt x="2678" y="499"/>
                  <a:pt x="2682" y="505"/>
                  <a:pt x="2682" y="505"/>
                </a:cubicBezTo>
                <a:cubicBezTo>
                  <a:pt x="2682" y="505"/>
                  <a:pt x="2683" y="500"/>
                  <a:pt x="2684" y="498"/>
                </a:cubicBezTo>
                <a:cubicBezTo>
                  <a:pt x="2684" y="495"/>
                  <a:pt x="2682" y="493"/>
                  <a:pt x="2682" y="493"/>
                </a:cubicBezTo>
                <a:cubicBezTo>
                  <a:pt x="2679" y="494"/>
                  <a:pt x="2679" y="494"/>
                  <a:pt x="2679" y="494"/>
                </a:cubicBezTo>
                <a:cubicBezTo>
                  <a:pt x="2679" y="494"/>
                  <a:pt x="2676" y="491"/>
                  <a:pt x="2674" y="491"/>
                </a:cubicBezTo>
                <a:cubicBezTo>
                  <a:pt x="2670" y="492"/>
                  <a:pt x="2671" y="496"/>
                  <a:pt x="2671" y="496"/>
                </a:cubicBezTo>
                <a:cubicBezTo>
                  <a:pt x="2671" y="496"/>
                  <a:pt x="2668" y="495"/>
                  <a:pt x="2666" y="495"/>
                </a:cubicBezTo>
                <a:cubicBezTo>
                  <a:pt x="2663" y="495"/>
                  <a:pt x="2665" y="500"/>
                  <a:pt x="2665" y="500"/>
                </a:cubicBezTo>
                <a:cubicBezTo>
                  <a:pt x="2662" y="502"/>
                  <a:pt x="2662" y="502"/>
                  <a:pt x="2662" y="502"/>
                </a:cubicBezTo>
                <a:cubicBezTo>
                  <a:pt x="2662" y="502"/>
                  <a:pt x="2665" y="504"/>
                  <a:pt x="2666" y="505"/>
                </a:cubicBezTo>
                <a:cubicBezTo>
                  <a:pt x="2668" y="507"/>
                  <a:pt x="2672" y="510"/>
                  <a:pt x="2672" y="510"/>
                </a:cubicBezTo>
                <a:cubicBezTo>
                  <a:pt x="2672" y="510"/>
                  <a:pt x="2671" y="503"/>
                  <a:pt x="2674" y="501"/>
                </a:cubicBezTo>
                <a:close/>
                <a:moveTo>
                  <a:pt x="2653" y="564"/>
                </a:moveTo>
                <a:cubicBezTo>
                  <a:pt x="2651" y="564"/>
                  <a:pt x="2652" y="565"/>
                  <a:pt x="2652" y="565"/>
                </a:cubicBezTo>
                <a:cubicBezTo>
                  <a:pt x="2655" y="567"/>
                  <a:pt x="2656" y="565"/>
                  <a:pt x="2653" y="564"/>
                </a:cubicBezTo>
                <a:close/>
                <a:moveTo>
                  <a:pt x="2656" y="560"/>
                </a:moveTo>
                <a:cubicBezTo>
                  <a:pt x="2656" y="560"/>
                  <a:pt x="2659" y="560"/>
                  <a:pt x="2657" y="557"/>
                </a:cubicBezTo>
                <a:cubicBezTo>
                  <a:pt x="2656" y="555"/>
                  <a:pt x="2652" y="558"/>
                  <a:pt x="2652" y="560"/>
                </a:cubicBezTo>
                <a:cubicBezTo>
                  <a:pt x="2653" y="561"/>
                  <a:pt x="2653" y="561"/>
                  <a:pt x="2653" y="561"/>
                </a:cubicBezTo>
                <a:cubicBezTo>
                  <a:pt x="2656" y="562"/>
                  <a:pt x="2656" y="560"/>
                  <a:pt x="2656" y="560"/>
                </a:cubicBezTo>
                <a:close/>
                <a:moveTo>
                  <a:pt x="1844" y="312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1"/>
                  <a:pt x="1844" y="311"/>
                  <a:pt x="1844" y="311"/>
                </a:cubicBezTo>
                <a:cubicBezTo>
                  <a:pt x="1844" y="312"/>
                  <a:pt x="1844" y="312"/>
                  <a:pt x="1844" y="312"/>
                </a:cubicBezTo>
                <a:close/>
                <a:moveTo>
                  <a:pt x="2657" y="534"/>
                </a:moveTo>
                <a:cubicBezTo>
                  <a:pt x="2657" y="535"/>
                  <a:pt x="2654" y="536"/>
                  <a:pt x="2654" y="536"/>
                </a:cubicBezTo>
                <a:cubicBezTo>
                  <a:pt x="2658" y="538"/>
                  <a:pt x="2658" y="538"/>
                  <a:pt x="2658" y="538"/>
                </a:cubicBezTo>
                <a:cubicBezTo>
                  <a:pt x="2658" y="538"/>
                  <a:pt x="2657" y="533"/>
                  <a:pt x="2657" y="534"/>
                </a:cubicBezTo>
                <a:close/>
                <a:moveTo>
                  <a:pt x="2661" y="530"/>
                </a:moveTo>
                <a:cubicBezTo>
                  <a:pt x="2661" y="531"/>
                  <a:pt x="2661" y="533"/>
                  <a:pt x="2661" y="533"/>
                </a:cubicBezTo>
                <a:cubicBezTo>
                  <a:pt x="2662" y="537"/>
                  <a:pt x="2662" y="537"/>
                  <a:pt x="2662" y="537"/>
                </a:cubicBezTo>
                <a:cubicBezTo>
                  <a:pt x="2663" y="535"/>
                  <a:pt x="2663" y="535"/>
                  <a:pt x="2663" y="535"/>
                </a:cubicBezTo>
                <a:cubicBezTo>
                  <a:pt x="2663" y="535"/>
                  <a:pt x="2661" y="529"/>
                  <a:pt x="2661" y="530"/>
                </a:cubicBezTo>
                <a:close/>
                <a:moveTo>
                  <a:pt x="2221" y="785"/>
                </a:moveTo>
                <a:cubicBezTo>
                  <a:pt x="2218" y="786"/>
                  <a:pt x="2218" y="786"/>
                  <a:pt x="2218" y="786"/>
                </a:cubicBezTo>
                <a:cubicBezTo>
                  <a:pt x="2219" y="781"/>
                  <a:pt x="2219" y="781"/>
                  <a:pt x="2219" y="781"/>
                </a:cubicBezTo>
                <a:cubicBezTo>
                  <a:pt x="2219" y="781"/>
                  <a:pt x="2216" y="778"/>
                  <a:pt x="2212" y="774"/>
                </a:cubicBezTo>
                <a:cubicBezTo>
                  <a:pt x="2209" y="769"/>
                  <a:pt x="2207" y="768"/>
                  <a:pt x="2203" y="770"/>
                </a:cubicBezTo>
                <a:cubicBezTo>
                  <a:pt x="2203" y="774"/>
                  <a:pt x="2203" y="774"/>
                  <a:pt x="2203" y="774"/>
                </a:cubicBezTo>
                <a:cubicBezTo>
                  <a:pt x="2201" y="774"/>
                  <a:pt x="2201" y="774"/>
                  <a:pt x="2201" y="774"/>
                </a:cubicBezTo>
                <a:cubicBezTo>
                  <a:pt x="2205" y="780"/>
                  <a:pt x="2205" y="780"/>
                  <a:pt x="2205" y="780"/>
                </a:cubicBezTo>
                <a:cubicBezTo>
                  <a:pt x="2205" y="780"/>
                  <a:pt x="2204" y="787"/>
                  <a:pt x="2202" y="788"/>
                </a:cubicBezTo>
                <a:cubicBezTo>
                  <a:pt x="2199" y="790"/>
                  <a:pt x="2200" y="801"/>
                  <a:pt x="2203" y="808"/>
                </a:cubicBezTo>
                <a:cubicBezTo>
                  <a:pt x="2207" y="815"/>
                  <a:pt x="2215" y="810"/>
                  <a:pt x="2221" y="807"/>
                </a:cubicBezTo>
                <a:cubicBezTo>
                  <a:pt x="2228" y="804"/>
                  <a:pt x="2221" y="793"/>
                  <a:pt x="2221" y="793"/>
                </a:cubicBezTo>
                <a:cubicBezTo>
                  <a:pt x="2221" y="785"/>
                  <a:pt x="2221" y="785"/>
                  <a:pt x="2221" y="785"/>
                </a:cubicBezTo>
                <a:cubicBezTo>
                  <a:pt x="2221" y="785"/>
                  <a:pt x="2221" y="785"/>
                  <a:pt x="2221" y="785"/>
                </a:cubicBezTo>
                <a:close/>
                <a:moveTo>
                  <a:pt x="2326" y="756"/>
                </a:moveTo>
                <a:cubicBezTo>
                  <a:pt x="2323" y="756"/>
                  <a:pt x="2326" y="763"/>
                  <a:pt x="2326" y="763"/>
                </a:cubicBezTo>
                <a:cubicBezTo>
                  <a:pt x="2326" y="763"/>
                  <a:pt x="2329" y="756"/>
                  <a:pt x="2326" y="756"/>
                </a:cubicBezTo>
                <a:close/>
                <a:moveTo>
                  <a:pt x="2514" y="690"/>
                </a:moveTo>
                <a:cubicBezTo>
                  <a:pt x="2516" y="692"/>
                  <a:pt x="2518" y="689"/>
                  <a:pt x="2517" y="688"/>
                </a:cubicBezTo>
                <a:cubicBezTo>
                  <a:pt x="2516" y="687"/>
                  <a:pt x="2513" y="690"/>
                  <a:pt x="2514" y="690"/>
                </a:cubicBezTo>
                <a:close/>
                <a:moveTo>
                  <a:pt x="2340" y="795"/>
                </a:moveTo>
                <a:cubicBezTo>
                  <a:pt x="2338" y="795"/>
                  <a:pt x="2339" y="802"/>
                  <a:pt x="2342" y="802"/>
                </a:cubicBezTo>
                <a:cubicBezTo>
                  <a:pt x="2342" y="802"/>
                  <a:pt x="2341" y="795"/>
                  <a:pt x="2340" y="795"/>
                </a:cubicBezTo>
                <a:close/>
                <a:moveTo>
                  <a:pt x="2566" y="260"/>
                </a:moveTo>
                <a:cubicBezTo>
                  <a:pt x="2565" y="262"/>
                  <a:pt x="2567" y="268"/>
                  <a:pt x="2572" y="268"/>
                </a:cubicBezTo>
                <a:cubicBezTo>
                  <a:pt x="2575" y="269"/>
                  <a:pt x="2567" y="259"/>
                  <a:pt x="2566" y="260"/>
                </a:cubicBezTo>
                <a:close/>
                <a:moveTo>
                  <a:pt x="2328" y="722"/>
                </a:moveTo>
                <a:cubicBezTo>
                  <a:pt x="2324" y="723"/>
                  <a:pt x="2325" y="735"/>
                  <a:pt x="2325" y="735"/>
                </a:cubicBezTo>
                <a:cubicBezTo>
                  <a:pt x="2325" y="749"/>
                  <a:pt x="2325" y="749"/>
                  <a:pt x="2325" y="749"/>
                </a:cubicBezTo>
                <a:cubicBezTo>
                  <a:pt x="2328" y="745"/>
                  <a:pt x="2328" y="745"/>
                  <a:pt x="2328" y="745"/>
                </a:cubicBezTo>
                <a:cubicBezTo>
                  <a:pt x="2328" y="731"/>
                  <a:pt x="2328" y="731"/>
                  <a:pt x="2328" y="731"/>
                </a:cubicBezTo>
                <a:cubicBezTo>
                  <a:pt x="2328" y="731"/>
                  <a:pt x="2331" y="722"/>
                  <a:pt x="2328" y="722"/>
                </a:cubicBezTo>
                <a:close/>
                <a:moveTo>
                  <a:pt x="2736" y="373"/>
                </a:moveTo>
                <a:cubicBezTo>
                  <a:pt x="2743" y="369"/>
                  <a:pt x="2743" y="369"/>
                  <a:pt x="2743" y="369"/>
                </a:cubicBezTo>
                <a:cubicBezTo>
                  <a:pt x="2741" y="366"/>
                  <a:pt x="2741" y="366"/>
                  <a:pt x="2741" y="366"/>
                </a:cubicBezTo>
                <a:cubicBezTo>
                  <a:pt x="2741" y="368"/>
                  <a:pt x="2741" y="368"/>
                  <a:pt x="2741" y="368"/>
                </a:cubicBezTo>
                <a:cubicBezTo>
                  <a:pt x="2735" y="368"/>
                  <a:pt x="2735" y="368"/>
                  <a:pt x="2735" y="368"/>
                </a:cubicBezTo>
                <a:cubicBezTo>
                  <a:pt x="2732" y="377"/>
                  <a:pt x="2732" y="377"/>
                  <a:pt x="2732" y="377"/>
                </a:cubicBezTo>
                <a:cubicBezTo>
                  <a:pt x="2734" y="378"/>
                  <a:pt x="2734" y="378"/>
                  <a:pt x="2734" y="378"/>
                </a:cubicBezTo>
                <a:cubicBezTo>
                  <a:pt x="2736" y="373"/>
                  <a:pt x="2736" y="373"/>
                  <a:pt x="2736" y="373"/>
                </a:cubicBezTo>
                <a:cubicBezTo>
                  <a:pt x="2736" y="373"/>
                  <a:pt x="2736" y="373"/>
                  <a:pt x="2736" y="373"/>
                </a:cubicBezTo>
                <a:close/>
                <a:moveTo>
                  <a:pt x="2624" y="279"/>
                </a:moveTo>
                <a:cubicBezTo>
                  <a:pt x="2623" y="280"/>
                  <a:pt x="2620" y="276"/>
                  <a:pt x="2620" y="280"/>
                </a:cubicBezTo>
                <a:cubicBezTo>
                  <a:pt x="2619" y="283"/>
                  <a:pt x="2625" y="289"/>
                  <a:pt x="2625" y="289"/>
                </a:cubicBezTo>
                <a:cubicBezTo>
                  <a:pt x="2625" y="289"/>
                  <a:pt x="2626" y="293"/>
                  <a:pt x="2628" y="294"/>
                </a:cubicBezTo>
                <a:cubicBezTo>
                  <a:pt x="2629" y="296"/>
                  <a:pt x="2639" y="302"/>
                  <a:pt x="2642" y="305"/>
                </a:cubicBezTo>
                <a:cubicBezTo>
                  <a:pt x="2644" y="308"/>
                  <a:pt x="2644" y="312"/>
                  <a:pt x="2646" y="315"/>
                </a:cubicBezTo>
                <a:cubicBezTo>
                  <a:pt x="2649" y="317"/>
                  <a:pt x="2656" y="329"/>
                  <a:pt x="2656" y="329"/>
                </a:cubicBezTo>
                <a:cubicBezTo>
                  <a:pt x="2656" y="329"/>
                  <a:pt x="2657" y="334"/>
                  <a:pt x="2659" y="334"/>
                </a:cubicBezTo>
                <a:cubicBezTo>
                  <a:pt x="2660" y="334"/>
                  <a:pt x="2663" y="336"/>
                  <a:pt x="2664" y="338"/>
                </a:cubicBezTo>
                <a:cubicBezTo>
                  <a:pt x="2666" y="340"/>
                  <a:pt x="2666" y="344"/>
                  <a:pt x="2666" y="344"/>
                </a:cubicBezTo>
                <a:cubicBezTo>
                  <a:pt x="2672" y="349"/>
                  <a:pt x="2672" y="349"/>
                  <a:pt x="2672" y="349"/>
                </a:cubicBezTo>
                <a:cubicBezTo>
                  <a:pt x="2674" y="356"/>
                  <a:pt x="2674" y="356"/>
                  <a:pt x="2674" y="356"/>
                </a:cubicBezTo>
                <a:cubicBezTo>
                  <a:pt x="2679" y="362"/>
                  <a:pt x="2679" y="362"/>
                  <a:pt x="2679" y="362"/>
                </a:cubicBezTo>
                <a:cubicBezTo>
                  <a:pt x="2679" y="362"/>
                  <a:pt x="2676" y="354"/>
                  <a:pt x="2678" y="353"/>
                </a:cubicBezTo>
                <a:cubicBezTo>
                  <a:pt x="2680" y="353"/>
                  <a:pt x="2681" y="355"/>
                  <a:pt x="2681" y="355"/>
                </a:cubicBezTo>
                <a:cubicBezTo>
                  <a:pt x="2685" y="355"/>
                  <a:pt x="2685" y="355"/>
                  <a:pt x="2685" y="355"/>
                </a:cubicBezTo>
                <a:cubicBezTo>
                  <a:pt x="2690" y="360"/>
                  <a:pt x="2690" y="360"/>
                  <a:pt x="2690" y="360"/>
                </a:cubicBezTo>
                <a:cubicBezTo>
                  <a:pt x="2690" y="357"/>
                  <a:pt x="2690" y="357"/>
                  <a:pt x="2690" y="357"/>
                </a:cubicBezTo>
                <a:cubicBezTo>
                  <a:pt x="2686" y="352"/>
                  <a:pt x="2686" y="352"/>
                  <a:pt x="2686" y="352"/>
                </a:cubicBezTo>
                <a:cubicBezTo>
                  <a:pt x="2682" y="352"/>
                  <a:pt x="2682" y="352"/>
                  <a:pt x="2682" y="352"/>
                </a:cubicBezTo>
                <a:cubicBezTo>
                  <a:pt x="2678" y="347"/>
                  <a:pt x="2678" y="347"/>
                  <a:pt x="2678" y="347"/>
                </a:cubicBezTo>
                <a:cubicBezTo>
                  <a:pt x="2678" y="347"/>
                  <a:pt x="2673" y="346"/>
                  <a:pt x="2670" y="342"/>
                </a:cubicBezTo>
                <a:cubicBezTo>
                  <a:pt x="2668" y="338"/>
                  <a:pt x="2666" y="330"/>
                  <a:pt x="2666" y="330"/>
                </a:cubicBezTo>
                <a:cubicBezTo>
                  <a:pt x="2666" y="330"/>
                  <a:pt x="2661" y="327"/>
                  <a:pt x="2664" y="325"/>
                </a:cubicBezTo>
                <a:cubicBezTo>
                  <a:pt x="2666" y="324"/>
                  <a:pt x="2682" y="332"/>
                  <a:pt x="2682" y="332"/>
                </a:cubicBezTo>
                <a:cubicBezTo>
                  <a:pt x="2672" y="324"/>
                  <a:pt x="2672" y="324"/>
                  <a:pt x="2672" y="324"/>
                </a:cubicBezTo>
                <a:cubicBezTo>
                  <a:pt x="2672" y="324"/>
                  <a:pt x="2668" y="318"/>
                  <a:pt x="2666" y="316"/>
                </a:cubicBezTo>
                <a:cubicBezTo>
                  <a:pt x="2664" y="315"/>
                  <a:pt x="2661" y="313"/>
                  <a:pt x="2661" y="313"/>
                </a:cubicBezTo>
                <a:cubicBezTo>
                  <a:pt x="2650" y="301"/>
                  <a:pt x="2650" y="301"/>
                  <a:pt x="2650" y="301"/>
                </a:cubicBezTo>
                <a:cubicBezTo>
                  <a:pt x="2646" y="301"/>
                  <a:pt x="2646" y="301"/>
                  <a:pt x="2646" y="301"/>
                </a:cubicBezTo>
                <a:cubicBezTo>
                  <a:pt x="2645" y="297"/>
                  <a:pt x="2645" y="297"/>
                  <a:pt x="2645" y="297"/>
                </a:cubicBezTo>
                <a:cubicBezTo>
                  <a:pt x="2645" y="297"/>
                  <a:pt x="2643" y="298"/>
                  <a:pt x="2640" y="295"/>
                </a:cubicBezTo>
                <a:cubicBezTo>
                  <a:pt x="2638" y="292"/>
                  <a:pt x="2638" y="289"/>
                  <a:pt x="2638" y="289"/>
                </a:cubicBezTo>
                <a:cubicBezTo>
                  <a:pt x="2634" y="284"/>
                  <a:pt x="2634" y="284"/>
                  <a:pt x="2634" y="284"/>
                </a:cubicBezTo>
                <a:cubicBezTo>
                  <a:pt x="2631" y="284"/>
                  <a:pt x="2631" y="284"/>
                  <a:pt x="2631" y="284"/>
                </a:cubicBezTo>
                <a:cubicBezTo>
                  <a:pt x="2629" y="280"/>
                  <a:pt x="2629" y="280"/>
                  <a:pt x="2629" y="280"/>
                </a:cubicBezTo>
                <a:cubicBezTo>
                  <a:pt x="2624" y="276"/>
                  <a:pt x="2624" y="276"/>
                  <a:pt x="2624" y="276"/>
                </a:cubicBezTo>
                <a:cubicBezTo>
                  <a:pt x="2622" y="273"/>
                  <a:pt x="2622" y="273"/>
                  <a:pt x="2622" y="273"/>
                </a:cubicBezTo>
                <a:cubicBezTo>
                  <a:pt x="2622" y="273"/>
                  <a:pt x="2618" y="270"/>
                  <a:pt x="2617" y="271"/>
                </a:cubicBezTo>
                <a:cubicBezTo>
                  <a:pt x="2615" y="272"/>
                  <a:pt x="2625" y="279"/>
                  <a:pt x="2624" y="279"/>
                </a:cubicBezTo>
                <a:close/>
                <a:moveTo>
                  <a:pt x="2611" y="605"/>
                </a:moveTo>
                <a:cubicBezTo>
                  <a:pt x="2613" y="606"/>
                  <a:pt x="2615" y="602"/>
                  <a:pt x="2612" y="602"/>
                </a:cubicBezTo>
                <a:cubicBezTo>
                  <a:pt x="2609" y="601"/>
                  <a:pt x="2611" y="605"/>
                  <a:pt x="2611" y="605"/>
                </a:cubicBezTo>
                <a:close/>
                <a:moveTo>
                  <a:pt x="2633" y="581"/>
                </a:moveTo>
                <a:cubicBezTo>
                  <a:pt x="2633" y="582"/>
                  <a:pt x="2636" y="582"/>
                  <a:pt x="2636" y="582"/>
                </a:cubicBezTo>
                <a:cubicBezTo>
                  <a:pt x="2637" y="580"/>
                  <a:pt x="2633" y="579"/>
                  <a:pt x="2633" y="581"/>
                </a:cubicBezTo>
                <a:close/>
                <a:moveTo>
                  <a:pt x="2628" y="600"/>
                </a:moveTo>
                <a:cubicBezTo>
                  <a:pt x="2629" y="598"/>
                  <a:pt x="2626" y="598"/>
                  <a:pt x="2626" y="598"/>
                </a:cubicBezTo>
                <a:cubicBezTo>
                  <a:pt x="2624" y="595"/>
                  <a:pt x="2624" y="595"/>
                  <a:pt x="2624" y="595"/>
                </a:cubicBezTo>
                <a:cubicBezTo>
                  <a:pt x="2624" y="597"/>
                  <a:pt x="2624" y="597"/>
                  <a:pt x="2624" y="597"/>
                </a:cubicBezTo>
                <a:cubicBezTo>
                  <a:pt x="2623" y="600"/>
                  <a:pt x="2626" y="601"/>
                  <a:pt x="2628" y="600"/>
                </a:cubicBezTo>
                <a:close/>
                <a:moveTo>
                  <a:pt x="2620" y="603"/>
                </a:moveTo>
                <a:cubicBezTo>
                  <a:pt x="2616" y="601"/>
                  <a:pt x="2616" y="601"/>
                  <a:pt x="2616" y="601"/>
                </a:cubicBezTo>
                <a:cubicBezTo>
                  <a:pt x="2616" y="601"/>
                  <a:pt x="2615" y="604"/>
                  <a:pt x="2615" y="604"/>
                </a:cubicBezTo>
                <a:cubicBezTo>
                  <a:pt x="2616" y="604"/>
                  <a:pt x="2620" y="603"/>
                  <a:pt x="2620" y="603"/>
                </a:cubicBezTo>
                <a:close/>
                <a:moveTo>
                  <a:pt x="2609" y="500"/>
                </a:moveTo>
                <a:cubicBezTo>
                  <a:pt x="2604" y="502"/>
                  <a:pt x="2606" y="504"/>
                  <a:pt x="2609" y="504"/>
                </a:cubicBezTo>
                <a:cubicBezTo>
                  <a:pt x="2613" y="504"/>
                  <a:pt x="2614" y="499"/>
                  <a:pt x="2609" y="500"/>
                </a:cubicBezTo>
                <a:close/>
                <a:moveTo>
                  <a:pt x="2361" y="681"/>
                </a:moveTo>
                <a:cubicBezTo>
                  <a:pt x="2363" y="680"/>
                  <a:pt x="2366" y="686"/>
                  <a:pt x="2366" y="686"/>
                </a:cubicBezTo>
                <a:cubicBezTo>
                  <a:pt x="2366" y="690"/>
                  <a:pt x="2366" y="690"/>
                  <a:pt x="2366" y="690"/>
                </a:cubicBezTo>
                <a:cubicBezTo>
                  <a:pt x="2366" y="690"/>
                  <a:pt x="2370" y="690"/>
                  <a:pt x="2370" y="694"/>
                </a:cubicBezTo>
                <a:cubicBezTo>
                  <a:pt x="2370" y="697"/>
                  <a:pt x="2372" y="700"/>
                  <a:pt x="2372" y="703"/>
                </a:cubicBezTo>
                <a:cubicBezTo>
                  <a:pt x="2373" y="705"/>
                  <a:pt x="2373" y="712"/>
                  <a:pt x="2373" y="712"/>
                </a:cubicBezTo>
                <a:cubicBezTo>
                  <a:pt x="2373" y="712"/>
                  <a:pt x="2374" y="715"/>
                  <a:pt x="2375" y="717"/>
                </a:cubicBezTo>
                <a:cubicBezTo>
                  <a:pt x="2377" y="719"/>
                  <a:pt x="2377" y="721"/>
                  <a:pt x="2377" y="721"/>
                </a:cubicBezTo>
                <a:cubicBezTo>
                  <a:pt x="2383" y="734"/>
                  <a:pt x="2383" y="734"/>
                  <a:pt x="2383" y="734"/>
                </a:cubicBezTo>
                <a:cubicBezTo>
                  <a:pt x="2385" y="740"/>
                  <a:pt x="2385" y="740"/>
                  <a:pt x="2385" y="740"/>
                </a:cubicBezTo>
                <a:cubicBezTo>
                  <a:pt x="2385" y="740"/>
                  <a:pt x="2382" y="740"/>
                  <a:pt x="2382" y="741"/>
                </a:cubicBezTo>
                <a:cubicBezTo>
                  <a:pt x="2382" y="743"/>
                  <a:pt x="2380" y="749"/>
                  <a:pt x="2380" y="749"/>
                </a:cubicBezTo>
                <a:cubicBezTo>
                  <a:pt x="2387" y="746"/>
                  <a:pt x="2387" y="746"/>
                  <a:pt x="2387" y="746"/>
                </a:cubicBezTo>
                <a:cubicBezTo>
                  <a:pt x="2385" y="754"/>
                  <a:pt x="2385" y="754"/>
                  <a:pt x="2385" y="754"/>
                </a:cubicBezTo>
                <a:cubicBezTo>
                  <a:pt x="2385" y="754"/>
                  <a:pt x="2384" y="757"/>
                  <a:pt x="2384" y="759"/>
                </a:cubicBezTo>
                <a:cubicBezTo>
                  <a:pt x="2384" y="762"/>
                  <a:pt x="2386" y="766"/>
                  <a:pt x="2386" y="766"/>
                </a:cubicBezTo>
                <a:cubicBezTo>
                  <a:pt x="2386" y="766"/>
                  <a:pt x="2383" y="773"/>
                  <a:pt x="2383" y="776"/>
                </a:cubicBezTo>
                <a:cubicBezTo>
                  <a:pt x="2383" y="779"/>
                  <a:pt x="2383" y="789"/>
                  <a:pt x="2383" y="789"/>
                </a:cubicBezTo>
                <a:cubicBezTo>
                  <a:pt x="2383" y="789"/>
                  <a:pt x="2385" y="791"/>
                  <a:pt x="2385" y="789"/>
                </a:cubicBezTo>
                <a:cubicBezTo>
                  <a:pt x="2386" y="787"/>
                  <a:pt x="2386" y="782"/>
                  <a:pt x="2387" y="784"/>
                </a:cubicBezTo>
                <a:cubicBezTo>
                  <a:pt x="2387" y="786"/>
                  <a:pt x="2385" y="786"/>
                  <a:pt x="2388" y="787"/>
                </a:cubicBezTo>
                <a:cubicBezTo>
                  <a:pt x="2391" y="787"/>
                  <a:pt x="2393" y="793"/>
                  <a:pt x="2393" y="793"/>
                </a:cubicBezTo>
                <a:cubicBezTo>
                  <a:pt x="2398" y="798"/>
                  <a:pt x="2398" y="798"/>
                  <a:pt x="2398" y="798"/>
                </a:cubicBezTo>
                <a:cubicBezTo>
                  <a:pt x="2398" y="798"/>
                  <a:pt x="2397" y="800"/>
                  <a:pt x="2399" y="803"/>
                </a:cubicBezTo>
                <a:cubicBezTo>
                  <a:pt x="2400" y="805"/>
                  <a:pt x="2402" y="807"/>
                  <a:pt x="2402" y="808"/>
                </a:cubicBezTo>
                <a:cubicBezTo>
                  <a:pt x="2403" y="808"/>
                  <a:pt x="2403" y="808"/>
                  <a:pt x="2403" y="808"/>
                </a:cubicBezTo>
                <a:cubicBezTo>
                  <a:pt x="2404" y="821"/>
                  <a:pt x="2404" y="821"/>
                  <a:pt x="2404" y="821"/>
                </a:cubicBezTo>
                <a:cubicBezTo>
                  <a:pt x="2404" y="821"/>
                  <a:pt x="2410" y="818"/>
                  <a:pt x="2410" y="822"/>
                </a:cubicBezTo>
                <a:cubicBezTo>
                  <a:pt x="2410" y="826"/>
                  <a:pt x="2408" y="831"/>
                  <a:pt x="2411" y="834"/>
                </a:cubicBezTo>
                <a:cubicBezTo>
                  <a:pt x="2413" y="836"/>
                  <a:pt x="2415" y="834"/>
                  <a:pt x="2415" y="834"/>
                </a:cubicBezTo>
                <a:cubicBezTo>
                  <a:pt x="2415" y="834"/>
                  <a:pt x="2414" y="842"/>
                  <a:pt x="2416" y="844"/>
                </a:cubicBezTo>
                <a:cubicBezTo>
                  <a:pt x="2418" y="846"/>
                  <a:pt x="2426" y="851"/>
                  <a:pt x="2426" y="851"/>
                </a:cubicBezTo>
                <a:cubicBezTo>
                  <a:pt x="2426" y="851"/>
                  <a:pt x="2427" y="855"/>
                  <a:pt x="2428" y="856"/>
                </a:cubicBezTo>
                <a:cubicBezTo>
                  <a:pt x="2429" y="856"/>
                  <a:pt x="2434" y="858"/>
                  <a:pt x="2434" y="858"/>
                </a:cubicBezTo>
                <a:cubicBezTo>
                  <a:pt x="2438" y="863"/>
                  <a:pt x="2438" y="863"/>
                  <a:pt x="2438" y="863"/>
                </a:cubicBezTo>
                <a:cubicBezTo>
                  <a:pt x="2445" y="862"/>
                  <a:pt x="2445" y="862"/>
                  <a:pt x="2445" y="862"/>
                </a:cubicBezTo>
                <a:cubicBezTo>
                  <a:pt x="2445" y="862"/>
                  <a:pt x="2446" y="858"/>
                  <a:pt x="2445" y="854"/>
                </a:cubicBezTo>
                <a:cubicBezTo>
                  <a:pt x="2445" y="851"/>
                  <a:pt x="2439" y="847"/>
                  <a:pt x="2438" y="845"/>
                </a:cubicBezTo>
                <a:cubicBezTo>
                  <a:pt x="2438" y="844"/>
                  <a:pt x="2439" y="842"/>
                  <a:pt x="2438" y="840"/>
                </a:cubicBezTo>
                <a:cubicBezTo>
                  <a:pt x="2436" y="838"/>
                  <a:pt x="2438" y="838"/>
                  <a:pt x="2438" y="835"/>
                </a:cubicBezTo>
                <a:cubicBezTo>
                  <a:pt x="2438" y="832"/>
                  <a:pt x="2438" y="824"/>
                  <a:pt x="2437" y="820"/>
                </a:cubicBezTo>
                <a:cubicBezTo>
                  <a:pt x="2437" y="815"/>
                  <a:pt x="2428" y="812"/>
                  <a:pt x="2426" y="810"/>
                </a:cubicBezTo>
                <a:cubicBezTo>
                  <a:pt x="2426" y="809"/>
                  <a:pt x="2425" y="809"/>
                  <a:pt x="2424" y="808"/>
                </a:cubicBezTo>
                <a:cubicBezTo>
                  <a:pt x="2424" y="808"/>
                  <a:pt x="2424" y="808"/>
                  <a:pt x="2424" y="808"/>
                </a:cubicBezTo>
                <a:cubicBezTo>
                  <a:pt x="2422" y="807"/>
                  <a:pt x="2420" y="805"/>
                  <a:pt x="2420" y="805"/>
                </a:cubicBezTo>
                <a:cubicBezTo>
                  <a:pt x="2420" y="805"/>
                  <a:pt x="2419" y="800"/>
                  <a:pt x="2418" y="798"/>
                </a:cubicBezTo>
                <a:cubicBezTo>
                  <a:pt x="2418" y="796"/>
                  <a:pt x="2412" y="800"/>
                  <a:pt x="2410" y="799"/>
                </a:cubicBezTo>
                <a:cubicBezTo>
                  <a:pt x="2409" y="799"/>
                  <a:pt x="2407" y="791"/>
                  <a:pt x="2406" y="791"/>
                </a:cubicBezTo>
                <a:cubicBezTo>
                  <a:pt x="2405" y="792"/>
                  <a:pt x="2406" y="795"/>
                  <a:pt x="2405" y="795"/>
                </a:cubicBezTo>
                <a:cubicBezTo>
                  <a:pt x="2404" y="795"/>
                  <a:pt x="2401" y="790"/>
                  <a:pt x="2402" y="789"/>
                </a:cubicBezTo>
                <a:cubicBezTo>
                  <a:pt x="2404" y="787"/>
                  <a:pt x="2403" y="790"/>
                  <a:pt x="2405" y="789"/>
                </a:cubicBezTo>
                <a:cubicBezTo>
                  <a:pt x="2407" y="789"/>
                  <a:pt x="2403" y="782"/>
                  <a:pt x="2403" y="781"/>
                </a:cubicBezTo>
                <a:cubicBezTo>
                  <a:pt x="2402" y="780"/>
                  <a:pt x="2400" y="780"/>
                  <a:pt x="2400" y="780"/>
                </a:cubicBezTo>
                <a:cubicBezTo>
                  <a:pt x="2400" y="772"/>
                  <a:pt x="2400" y="772"/>
                  <a:pt x="2400" y="772"/>
                </a:cubicBezTo>
                <a:cubicBezTo>
                  <a:pt x="2393" y="775"/>
                  <a:pt x="2393" y="775"/>
                  <a:pt x="2393" y="775"/>
                </a:cubicBezTo>
                <a:cubicBezTo>
                  <a:pt x="2393" y="775"/>
                  <a:pt x="2392" y="762"/>
                  <a:pt x="2392" y="761"/>
                </a:cubicBezTo>
                <a:cubicBezTo>
                  <a:pt x="2392" y="759"/>
                  <a:pt x="2390" y="757"/>
                  <a:pt x="2390" y="757"/>
                </a:cubicBezTo>
                <a:cubicBezTo>
                  <a:pt x="2390" y="757"/>
                  <a:pt x="2394" y="755"/>
                  <a:pt x="2394" y="752"/>
                </a:cubicBezTo>
                <a:cubicBezTo>
                  <a:pt x="2394" y="748"/>
                  <a:pt x="2394" y="743"/>
                  <a:pt x="2394" y="743"/>
                </a:cubicBezTo>
                <a:cubicBezTo>
                  <a:pt x="2394" y="743"/>
                  <a:pt x="2397" y="741"/>
                  <a:pt x="2397" y="736"/>
                </a:cubicBezTo>
                <a:cubicBezTo>
                  <a:pt x="2398" y="731"/>
                  <a:pt x="2396" y="730"/>
                  <a:pt x="2396" y="730"/>
                </a:cubicBezTo>
                <a:cubicBezTo>
                  <a:pt x="2397" y="726"/>
                  <a:pt x="2397" y="726"/>
                  <a:pt x="2397" y="726"/>
                </a:cubicBezTo>
                <a:cubicBezTo>
                  <a:pt x="2398" y="726"/>
                  <a:pt x="2398" y="726"/>
                  <a:pt x="2398" y="726"/>
                </a:cubicBezTo>
                <a:cubicBezTo>
                  <a:pt x="2398" y="726"/>
                  <a:pt x="2399" y="724"/>
                  <a:pt x="2401" y="724"/>
                </a:cubicBezTo>
                <a:cubicBezTo>
                  <a:pt x="2403" y="724"/>
                  <a:pt x="2407" y="727"/>
                  <a:pt x="2407" y="727"/>
                </a:cubicBezTo>
                <a:cubicBezTo>
                  <a:pt x="2406" y="728"/>
                  <a:pt x="2406" y="728"/>
                  <a:pt x="2406" y="728"/>
                </a:cubicBezTo>
                <a:cubicBezTo>
                  <a:pt x="2406" y="728"/>
                  <a:pt x="2405" y="735"/>
                  <a:pt x="2407" y="735"/>
                </a:cubicBezTo>
                <a:cubicBezTo>
                  <a:pt x="2410" y="735"/>
                  <a:pt x="2417" y="732"/>
                  <a:pt x="2417" y="732"/>
                </a:cubicBezTo>
                <a:cubicBezTo>
                  <a:pt x="2421" y="743"/>
                  <a:pt x="2421" y="743"/>
                  <a:pt x="2421" y="743"/>
                </a:cubicBezTo>
                <a:cubicBezTo>
                  <a:pt x="2421" y="743"/>
                  <a:pt x="2422" y="740"/>
                  <a:pt x="2425" y="741"/>
                </a:cubicBezTo>
                <a:cubicBezTo>
                  <a:pt x="2425" y="742"/>
                  <a:pt x="2426" y="742"/>
                  <a:pt x="2427" y="743"/>
                </a:cubicBezTo>
                <a:cubicBezTo>
                  <a:pt x="2430" y="746"/>
                  <a:pt x="2427" y="749"/>
                  <a:pt x="2427" y="749"/>
                </a:cubicBezTo>
                <a:cubicBezTo>
                  <a:pt x="2427" y="749"/>
                  <a:pt x="2429" y="753"/>
                  <a:pt x="2431" y="754"/>
                </a:cubicBezTo>
                <a:cubicBezTo>
                  <a:pt x="2433" y="754"/>
                  <a:pt x="2434" y="751"/>
                  <a:pt x="2434" y="751"/>
                </a:cubicBezTo>
                <a:cubicBezTo>
                  <a:pt x="2434" y="751"/>
                  <a:pt x="2433" y="756"/>
                  <a:pt x="2435" y="756"/>
                </a:cubicBezTo>
                <a:cubicBezTo>
                  <a:pt x="2438" y="757"/>
                  <a:pt x="2440" y="755"/>
                  <a:pt x="2440" y="757"/>
                </a:cubicBezTo>
                <a:cubicBezTo>
                  <a:pt x="2440" y="758"/>
                  <a:pt x="2441" y="759"/>
                  <a:pt x="2442" y="760"/>
                </a:cubicBezTo>
                <a:cubicBezTo>
                  <a:pt x="2444" y="761"/>
                  <a:pt x="2444" y="761"/>
                  <a:pt x="2444" y="761"/>
                </a:cubicBezTo>
                <a:cubicBezTo>
                  <a:pt x="2444" y="761"/>
                  <a:pt x="2444" y="761"/>
                  <a:pt x="2444" y="762"/>
                </a:cubicBezTo>
                <a:cubicBezTo>
                  <a:pt x="2446" y="763"/>
                  <a:pt x="2451" y="766"/>
                  <a:pt x="2451" y="766"/>
                </a:cubicBezTo>
                <a:cubicBezTo>
                  <a:pt x="2448" y="768"/>
                  <a:pt x="2448" y="768"/>
                  <a:pt x="2448" y="768"/>
                </a:cubicBezTo>
                <a:cubicBezTo>
                  <a:pt x="2448" y="768"/>
                  <a:pt x="2451" y="776"/>
                  <a:pt x="2449" y="777"/>
                </a:cubicBezTo>
                <a:cubicBezTo>
                  <a:pt x="2448" y="777"/>
                  <a:pt x="2448" y="779"/>
                  <a:pt x="2447" y="780"/>
                </a:cubicBezTo>
                <a:cubicBezTo>
                  <a:pt x="2448" y="780"/>
                  <a:pt x="2448" y="780"/>
                  <a:pt x="2448" y="780"/>
                </a:cubicBezTo>
                <a:cubicBezTo>
                  <a:pt x="2449" y="781"/>
                  <a:pt x="2452" y="781"/>
                  <a:pt x="2454" y="778"/>
                </a:cubicBezTo>
                <a:cubicBezTo>
                  <a:pt x="2457" y="776"/>
                  <a:pt x="2460" y="775"/>
                  <a:pt x="2460" y="775"/>
                </a:cubicBezTo>
                <a:cubicBezTo>
                  <a:pt x="2460" y="772"/>
                  <a:pt x="2460" y="772"/>
                  <a:pt x="2460" y="772"/>
                </a:cubicBezTo>
                <a:cubicBezTo>
                  <a:pt x="2460" y="769"/>
                  <a:pt x="2460" y="769"/>
                  <a:pt x="2460" y="769"/>
                </a:cubicBezTo>
                <a:cubicBezTo>
                  <a:pt x="2460" y="769"/>
                  <a:pt x="2465" y="771"/>
                  <a:pt x="2466" y="768"/>
                </a:cubicBezTo>
                <a:cubicBezTo>
                  <a:pt x="2467" y="766"/>
                  <a:pt x="2463" y="763"/>
                  <a:pt x="2464" y="763"/>
                </a:cubicBezTo>
                <a:cubicBezTo>
                  <a:pt x="2465" y="762"/>
                  <a:pt x="2470" y="760"/>
                  <a:pt x="2470" y="760"/>
                </a:cubicBezTo>
                <a:cubicBezTo>
                  <a:pt x="2470" y="760"/>
                  <a:pt x="2472" y="762"/>
                  <a:pt x="2477" y="759"/>
                </a:cubicBezTo>
                <a:cubicBezTo>
                  <a:pt x="2481" y="757"/>
                  <a:pt x="2488" y="752"/>
                  <a:pt x="2489" y="748"/>
                </a:cubicBezTo>
                <a:cubicBezTo>
                  <a:pt x="2489" y="745"/>
                  <a:pt x="2492" y="735"/>
                  <a:pt x="2492" y="733"/>
                </a:cubicBezTo>
                <a:cubicBezTo>
                  <a:pt x="2491" y="731"/>
                  <a:pt x="2487" y="727"/>
                  <a:pt x="2487" y="727"/>
                </a:cubicBezTo>
                <a:cubicBezTo>
                  <a:pt x="2489" y="727"/>
                  <a:pt x="2489" y="727"/>
                  <a:pt x="2489" y="727"/>
                </a:cubicBezTo>
                <a:cubicBezTo>
                  <a:pt x="2489" y="727"/>
                  <a:pt x="2489" y="719"/>
                  <a:pt x="2488" y="716"/>
                </a:cubicBezTo>
                <a:cubicBezTo>
                  <a:pt x="2487" y="713"/>
                  <a:pt x="2484" y="708"/>
                  <a:pt x="2484" y="708"/>
                </a:cubicBezTo>
                <a:cubicBezTo>
                  <a:pt x="2484" y="708"/>
                  <a:pt x="2486" y="705"/>
                  <a:pt x="2483" y="702"/>
                </a:cubicBezTo>
                <a:cubicBezTo>
                  <a:pt x="2479" y="699"/>
                  <a:pt x="2470" y="690"/>
                  <a:pt x="2467" y="689"/>
                </a:cubicBezTo>
                <a:cubicBezTo>
                  <a:pt x="2464" y="687"/>
                  <a:pt x="2461" y="686"/>
                  <a:pt x="2460" y="684"/>
                </a:cubicBezTo>
                <a:cubicBezTo>
                  <a:pt x="2460" y="683"/>
                  <a:pt x="2461" y="681"/>
                  <a:pt x="2460" y="679"/>
                </a:cubicBezTo>
                <a:cubicBezTo>
                  <a:pt x="2459" y="677"/>
                  <a:pt x="2449" y="669"/>
                  <a:pt x="2447" y="664"/>
                </a:cubicBezTo>
                <a:cubicBezTo>
                  <a:pt x="2446" y="659"/>
                  <a:pt x="2445" y="653"/>
                  <a:pt x="2446" y="652"/>
                </a:cubicBezTo>
                <a:cubicBezTo>
                  <a:pt x="2448" y="651"/>
                  <a:pt x="2448" y="648"/>
                  <a:pt x="2448" y="648"/>
                </a:cubicBezTo>
                <a:cubicBezTo>
                  <a:pt x="2448" y="648"/>
                  <a:pt x="2452" y="645"/>
                  <a:pt x="2453" y="645"/>
                </a:cubicBezTo>
                <a:cubicBezTo>
                  <a:pt x="2454" y="644"/>
                  <a:pt x="2455" y="642"/>
                  <a:pt x="2455" y="642"/>
                </a:cubicBezTo>
                <a:cubicBezTo>
                  <a:pt x="2455" y="642"/>
                  <a:pt x="2459" y="642"/>
                  <a:pt x="2460" y="641"/>
                </a:cubicBezTo>
                <a:cubicBezTo>
                  <a:pt x="2461" y="640"/>
                  <a:pt x="2461" y="636"/>
                  <a:pt x="2461" y="636"/>
                </a:cubicBezTo>
                <a:cubicBezTo>
                  <a:pt x="2462" y="635"/>
                  <a:pt x="2462" y="635"/>
                  <a:pt x="2462" y="635"/>
                </a:cubicBezTo>
                <a:cubicBezTo>
                  <a:pt x="2469" y="631"/>
                  <a:pt x="2469" y="631"/>
                  <a:pt x="2469" y="631"/>
                </a:cubicBezTo>
                <a:cubicBezTo>
                  <a:pt x="2471" y="632"/>
                  <a:pt x="2471" y="632"/>
                  <a:pt x="2471" y="632"/>
                </a:cubicBezTo>
                <a:cubicBezTo>
                  <a:pt x="2471" y="632"/>
                  <a:pt x="2480" y="632"/>
                  <a:pt x="2482" y="635"/>
                </a:cubicBezTo>
                <a:cubicBezTo>
                  <a:pt x="2483" y="637"/>
                  <a:pt x="2480" y="642"/>
                  <a:pt x="2481" y="644"/>
                </a:cubicBezTo>
                <a:cubicBezTo>
                  <a:pt x="2483" y="646"/>
                  <a:pt x="2487" y="649"/>
                  <a:pt x="2487" y="649"/>
                </a:cubicBezTo>
                <a:cubicBezTo>
                  <a:pt x="2490" y="649"/>
                  <a:pt x="2490" y="649"/>
                  <a:pt x="2490" y="649"/>
                </a:cubicBezTo>
                <a:cubicBezTo>
                  <a:pt x="2490" y="646"/>
                  <a:pt x="2490" y="646"/>
                  <a:pt x="2490" y="646"/>
                </a:cubicBezTo>
                <a:cubicBezTo>
                  <a:pt x="2490" y="646"/>
                  <a:pt x="2488" y="640"/>
                  <a:pt x="2491" y="636"/>
                </a:cubicBezTo>
                <a:cubicBezTo>
                  <a:pt x="2493" y="633"/>
                  <a:pt x="2499" y="633"/>
                  <a:pt x="2502" y="633"/>
                </a:cubicBezTo>
                <a:cubicBezTo>
                  <a:pt x="2504" y="632"/>
                  <a:pt x="2513" y="630"/>
                  <a:pt x="2513" y="628"/>
                </a:cubicBezTo>
                <a:cubicBezTo>
                  <a:pt x="2514" y="626"/>
                  <a:pt x="2514" y="620"/>
                  <a:pt x="2516" y="619"/>
                </a:cubicBezTo>
                <a:cubicBezTo>
                  <a:pt x="2517" y="619"/>
                  <a:pt x="2519" y="626"/>
                  <a:pt x="2521" y="625"/>
                </a:cubicBezTo>
                <a:cubicBezTo>
                  <a:pt x="2523" y="624"/>
                  <a:pt x="2527" y="618"/>
                  <a:pt x="2527" y="618"/>
                </a:cubicBezTo>
                <a:cubicBezTo>
                  <a:pt x="2529" y="620"/>
                  <a:pt x="2529" y="620"/>
                  <a:pt x="2529" y="620"/>
                </a:cubicBezTo>
                <a:cubicBezTo>
                  <a:pt x="2534" y="619"/>
                  <a:pt x="2534" y="619"/>
                  <a:pt x="2534" y="619"/>
                </a:cubicBezTo>
                <a:cubicBezTo>
                  <a:pt x="2534" y="619"/>
                  <a:pt x="2539" y="620"/>
                  <a:pt x="2542" y="619"/>
                </a:cubicBezTo>
                <a:cubicBezTo>
                  <a:pt x="2544" y="617"/>
                  <a:pt x="2546" y="617"/>
                  <a:pt x="2547" y="615"/>
                </a:cubicBezTo>
                <a:cubicBezTo>
                  <a:pt x="2548" y="614"/>
                  <a:pt x="2554" y="609"/>
                  <a:pt x="2555" y="607"/>
                </a:cubicBezTo>
                <a:cubicBezTo>
                  <a:pt x="2556" y="605"/>
                  <a:pt x="2553" y="601"/>
                  <a:pt x="2553" y="601"/>
                </a:cubicBezTo>
                <a:cubicBezTo>
                  <a:pt x="2556" y="601"/>
                  <a:pt x="2556" y="601"/>
                  <a:pt x="2556" y="601"/>
                </a:cubicBezTo>
                <a:cubicBezTo>
                  <a:pt x="2557" y="597"/>
                  <a:pt x="2557" y="597"/>
                  <a:pt x="2557" y="597"/>
                </a:cubicBezTo>
                <a:cubicBezTo>
                  <a:pt x="2561" y="597"/>
                  <a:pt x="2561" y="597"/>
                  <a:pt x="2561" y="597"/>
                </a:cubicBezTo>
                <a:cubicBezTo>
                  <a:pt x="2562" y="592"/>
                  <a:pt x="2562" y="592"/>
                  <a:pt x="2562" y="592"/>
                </a:cubicBezTo>
                <a:cubicBezTo>
                  <a:pt x="2564" y="592"/>
                  <a:pt x="2564" y="592"/>
                  <a:pt x="2564" y="592"/>
                </a:cubicBezTo>
                <a:cubicBezTo>
                  <a:pt x="2565" y="586"/>
                  <a:pt x="2565" y="586"/>
                  <a:pt x="2565" y="586"/>
                </a:cubicBezTo>
                <a:cubicBezTo>
                  <a:pt x="2565" y="586"/>
                  <a:pt x="2567" y="587"/>
                  <a:pt x="2567" y="582"/>
                </a:cubicBezTo>
                <a:cubicBezTo>
                  <a:pt x="2567" y="578"/>
                  <a:pt x="2565" y="578"/>
                  <a:pt x="2566" y="577"/>
                </a:cubicBezTo>
                <a:cubicBezTo>
                  <a:pt x="2567" y="575"/>
                  <a:pt x="2571" y="576"/>
                  <a:pt x="2571" y="572"/>
                </a:cubicBezTo>
                <a:cubicBezTo>
                  <a:pt x="2571" y="568"/>
                  <a:pt x="2568" y="568"/>
                  <a:pt x="2569" y="567"/>
                </a:cubicBezTo>
                <a:cubicBezTo>
                  <a:pt x="2569" y="565"/>
                  <a:pt x="2571" y="564"/>
                  <a:pt x="2571" y="564"/>
                </a:cubicBezTo>
                <a:cubicBezTo>
                  <a:pt x="2571" y="559"/>
                  <a:pt x="2571" y="559"/>
                  <a:pt x="2571" y="559"/>
                </a:cubicBezTo>
                <a:cubicBezTo>
                  <a:pt x="2571" y="559"/>
                  <a:pt x="2577" y="557"/>
                  <a:pt x="2578" y="554"/>
                </a:cubicBezTo>
                <a:cubicBezTo>
                  <a:pt x="2580" y="551"/>
                  <a:pt x="2576" y="550"/>
                  <a:pt x="2576" y="550"/>
                </a:cubicBezTo>
                <a:cubicBezTo>
                  <a:pt x="2576" y="550"/>
                  <a:pt x="2583" y="549"/>
                  <a:pt x="2583" y="547"/>
                </a:cubicBezTo>
                <a:cubicBezTo>
                  <a:pt x="2583" y="546"/>
                  <a:pt x="2579" y="545"/>
                  <a:pt x="2579" y="545"/>
                </a:cubicBezTo>
                <a:cubicBezTo>
                  <a:pt x="2579" y="545"/>
                  <a:pt x="2587" y="537"/>
                  <a:pt x="2583" y="535"/>
                </a:cubicBezTo>
                <a:cubicBezTo>
                  <a:pt x="2580" y="533"/>
                  <a:pt x="2563" y="538"/>
                  <a:pt x="2563" y="538"/>
                </a:cubicBezTo>
                <a:cubicBezTo>
                  <a:pt x="2561" y="536"/>
                  <a:pt x="2561" y="536"/>
                  <a:pt x="2561" y="536"/>
                </a:cubicBezTo>
                <a:cubicBezTo>
                  <a:pt x="2566" y="536"/>
                  <a:pt x="2566" y="536"/>
                  <a:pt x="2566" y="536"/>
                </a:cubicBezTo>
                <a:cubicBezTo>
                  <a:pt x="2566" y="536"/>
                  <a:pt x="2566" y="532"/>
                  <a:pt x="2568" y="532"/>
                </a:cubicBezTo>
                <a:cubicBezTo>
                  <a:pt x="2570" y="531"/>
                  <a:pt x="2574" y="530"/>
                  <a:pt x="2574" y="530"/>
                </a:cubicBezTo>
                <a:cubicBezTo>
                  <a:pt x="2574" y="530"/>
                  <a:pt x="2572" y="525"/>
                  <a:pt x="2571" y="525"/>
                </a:cubicBezTo>
                <a:cubicBezTo>
                  <a:pt x="2570" y="525"/>
                  <a:pt x="2565" y="524"/>
                  <a:pt x="2565" y="524"/>
                </a:cubicBezTo>
                <a:cubicBezTo>
                  <a:pt x="2563" y="521"/>
                  <a:pt x="2563" y="521"/>
                  <a:pt x="2563" y="521"/>
                </a:cubicBezTo>
                <a:cubicBezTo>
                  <a:pt x="2562" y="522"/>
                  <a:pt x="2562" y="522"/>
                  <a:pt x="2562" y="522"/>
                </a:cubicBezTo>
                <a:cubicBezTo>
                  <a:pt x="2562" y="522"/>
                  <a:pt x="2560" y="519"/>
                  <a:pt x="2558" y="519"/>
                </a:cubicBezTo>
                <a:cubicBezTo>
                  <a:pt x="2557" y="519"/>
                  <a:pt x="2553" y="520"/>
                  <a:pt x="2553" y="520"/>
                </a:cubicBezTo>
                <a:cubicBezTo>
                  <a:pt x="2548" y="513"/>
                  <a:pt x="2548" y="513"/>
                  <a:pt x="2548" y="513"/>
                </a:cubicBezTo>
                <a:cubicBezTo>
                  <a:pt x="2548" y="513"/>
                  <a:pt x="2553" y="518"/>
                  <a:pt x="2554" y="517"/>
                </a:cubicBezTo>
                <a:cubicBezTo>
                  <a:pt x="2555" y="517"/>
                  <a:pt x="2557" y="516"/>
                  <a:pt x="2557" y="516"/>
                </a:cubicBezTo>
                <a:cubicBezTo>
                  <a:pt x="2561" y="517"/>
                  <a:pt x="2561" y="517"/>
                  <a:pt x="2561" y="517"/>
                </a:cubicBezTo>
                <a:cubicBezTo>
                  <a:pt x="2563" y="519"/>
                  <a:pt x="2563" y="519"/>
                  <a:pt x="2563" y="519"/>
                </a:cubicBezTo>
                <a:cubicBezTo>
                  <a:pt x="2565" y="519"/>
                  <a:pt x="2565" y="519"/>
                  <a:pt x="2565" y="519"/>
                </a:cubicBezTo>
                <a:cubicBezTo>
                  <a:pt x="2571" y="521"/>
                  <a:pt x="2571" y="521"/>
                  <a:pt x="2571" y="521"/>
                </a:cubicBezTo>
                <a:cubicBezTo>
                  <a:pt x="2568" y="517"/>
                  <a:pt x="2568" y="517"/>
                  <a:pt x="2568" y="517"/>
                </a:cubicBezTo>
                <a:cubicBezTo>
                  <a:pt x="2566" y="517"/>
                  <a:pt x="2566" y="517"/>
                  <a:pt x="2566" y="517"/>
                </a:cubicBezTo>
                <a:cubicBezTo>
                  <a:pt x="2566" y="517"/>
                  <a:pt x="2566" y="512"/>
                  <a:pt x="2564" y="512"/>
                </a:cubicBezTo>
                <a:cubicBezTo>
                  <a:pt x="2562" y="512"/>
                  <a:pt x="2560" y="511"/>
                  <a:pt x="2559" y="510"/>
                </a:cubicBezTo>
                <a:cubicBezTo>
                  <a:pt x="2558" y="509"/>
                  <a:pt x="2557" y="505"/>
                  <a:pt x="2557" y="505"/>
                </a:cubicBezTo>
                <a:cubicBezTo>
                  <a:pt x="2546" y="492"/>
                  <a:pt x="2546" y="492"/>
                  <a:pt x="2546" y="492"/>
                </a:cubicBezTo>
                <a:cubicBezTo>
                  <a:pt x="2542" y="490"/>
                  <a:pt x="2542" y="490"/>
                  <a:pt x="2542" y="490"/>
                </a:cubicBezTo>
                <a:cubicBezTo>
                  <a:pt x="2537" y="487"/>
                  <a:pt x="2537" y="487"/>
                  <a:pt x="2537" y="487"/>
                </a:cubicBezTo>
                <a:cubicBezTo>
                  <a:pt x="2534" y="487"/>
                  <a:pt x="2534" y="487"/>
                  <a:pt x="2534" y="487"/>
                </a:cubicBezTo>
                <a:cubicBezTo>
                  <a:pt x="2534" y="487"/>
                  <a:pt x="2531" y="482"/>
                  <a:pt x="2532" y="481"/>
                </a:cubicBezTo>
                <a:cubicBezTo>
                  <a:pt x="2533" y="480"/>
                  <a:pt x="2537" y="478"/>
                  <a:pt x="2537" y="476"/>
                </a:cubicBezTo>
                <a:cubicBezTo>
                  <a:pt x="2537" y="474"/>
                  <a:pt x="2536" y="470"/>
                  <a:pt x="2536" y="470"/>
                </a:cubicBezTo>
                <a:cubicBezTo>
                  <a:pt x="2536" y="470"/>
                  <a:pt x="2539" y="474"/>
                  <a:pt x="2541" y="472"/>
                </a:cubicBezTo>
                <a:cubicBezTo>
                  <a:pt x="2543" y="471"/>
                  <a:pt x="2541" y="465"/>
                  <a:pt x="2541" y="465"/>
                </a:cubicBezTo>
                <a:cubicBezTo>
                  <a:pt x="2544" y="466"/>
                  <a:pt x="2544" y="466"/>
                  <a:pt x="2544" y="466"/>
                </a:cubicBezTo>
                <a:cubicBezTo>
                  <a:pt x="2549" y="462"/>
                  <a:pt x="2549" y="462"/>
                  <a:pt x="2549" y="462"/>
                </a:cubicBezTo>
                <a:cubicBezTo>
                  <a:pt x="2549" y="462"/>
                  <a:pt x="2553" y="463"/>
                  <a:pt x="2554" y="463"/>
                </a:cubicBezTo>
                <a:cubicBezTo>
                  <a:pt x="2555" y="463"/>
                  <a:pt x="2553" y="460"/>
                  <a:pt x="2553" y="460"/>
                </a:cubicBezTo>
                <a:cubicBezTo>
                  <a:pt x="2554" y="456"/>
                  <a:pt x="2554" y="456"/>
                  <a:pt x="2554" y="456"/>
                </a:cubicBezTo>
                <a:cubicBezTo>
                  <a:pt x="2550" y="456"/>
                  <a:pt x="2550" y="456"/>
                  <a:pt x="2550" y="456"/>
                </a:cubicBezTo>
                <a:cubicBezTo>
                  <a:pt x="2548" y="455"/>
                  <a:pt x="2548" y="455"/>
                  <a:pt x="2548" y="455"/>
                </a:cubicBezTo>
                <a:cubicBezTo>
                  <a:pt x="2547" y="456"/>
                  <a:pt x="2547" y="456"/>
                  <a:pt x="2547" y="456"/>
                </a:cubicBezTo>
                <a:cubicBezTo>
                  <a:pt x="2543" y="456"/>
                  <a:pt x="2543" y="456"/>
                  <a:pt x="2543" y="456"/>
                </a:cubicBezTo>
                <a:cubicBezTo>
                  <a:pt x="2543" y="456"/>
                  <a:pt x="2539" y="452"/>
                  <a:pt x="2537" y="452"/>
                </a:cubicBezTo>
                <a:cubicBezTo>
                  <a:pt x="2534" y="452"/>
                  <a:pt x="2530" y="457"/>
                  <a:pt x="2530" y="458"/>
                </a:cubicBezTo>
                <a:cubicBezTo>
                  <a:pt x="2530" y="459"/>
                  <a:pt x="2529" y="461"/>
                  <a:pt x="2527" y="460"/>
                </a:cubicBezTo>
                <a:cubicBezTo>
                  <a:pt x="2525" y="460"/>
                  <a:pt x="2520" y="459"/>
                  <a:pt x="2520" y="456"/>
                </a:cubicBezTo>
                <a:cubicBezTo>
                  <a:pt x="2519" y="453"/>
                  <a:pt x="2517" y="449"/>
                  <a:pt x="2516" y="449"/>
                </a:cubicBezTo>
                <a:cubicBezTo>
                  <a:pt x="2515" y="448"/>
                  <a:pt x="2514" y="449"/>
                  <a:pt x="2514" y="449"/>
                </a:cubicBezTo>
                <a:cubicBezTo>
                  <a:pt x="2514" y="451"/>
                  <a:pt x="2514" y="451"/>
                  <a:pt x="2514" y="451"/>
                </a:cubicBezTo>
                <a:cubicBezTo>
                  <a:pt x="2512" y="449"/>
                  <a:pt x="2512" y="449"/>
                  <a:pt x="2512" y="449"/>
                </a:cubicBezTo>
                <a:cubicBezTo>
                  <a:pt x="2512" y="449"/>
                  <a:pt x="2507" y="449"/>
                  <a:pt x="2505" y="447"/>
                </a:cubicBezTo>
                <a:cubicBezTo>
                  <a:pt x="2503" y="445"/>
                  <a:pt x="2501" y="441"/>
                  <a:pt x="2501" y="440"/>
                </a:cubicBezTo>
                <a:cubicBezTo>
                  <a:pt x="2502" y="439"/>
                  <a:pt x="2502" y="437"/>
                  <a:pt x="2502" y="437"/>
                </a:cubicBezTo>
                <a:cubicBezTo>
                  <a:pt x="2504" y="437"/>
                  <a:pt x="2504" y="437"/>
                  <a:pt x="2504" y="437"/>
                </a:cubicBezTo>
                <a:cubicBezTo>
                  <a:pt x="2504" y="437"/>
                  <a:pt x="2505" y="438"/>
                  <a:pt x="2506" y="438"/>
                </a:cubicBezTo>
                <a:cubicBezTo>
                  <a:pt x="2507" y="438"/>
                  <a:pt x="2508" y="436"/>
                  <a:pt x="2508" y="436"/>
                </a:cubicBezTo>
                <a:cubicBezTo>
                  <a:pt x="2508" y="436"/>
                  <a:pt x="2511" y="438"/>
                  <a:pt x="2513" y="436"/>
                </a:cubicBezTo>
                <a:cubicBezTo>
                  <a:pt x="2515" y="435"/>
                  <a:pt x="2513" y="433"/>
                  <a:pt x="2513" y="433"/>
                </a:cubicBezTo>
                <a:cubicBezTo>
                  <a:pt x="2513" y="433"/>
                  <a:pt x="2513" y="428"/>
                  <a:pt x="2514" y="427"/>
                </a:cubicBezTo>
                <a:cubicBezTo>
                  <a:pt x="2515" y="426"/>
                  <a:pt x="2519" y="428"/>
                  <a:pt x="2520" y="426"/>
                </a:cubicBezTo>
                <a:cubicBezTo>
                  <a:pt x="2521" y="423"/>
                  <a:pt x="2521" y="421"/>
                  <a:pt x="2521" y="421"/>
                </a:cubicBezTo>
                <a:cubicBezTo>
                  <a:pt x="2524" y="419"/>
                  <a:pt x="2524" y="419"/>
                  <a:pt x="2524" y="419"/>
                </a:cubicBezTo>
                <a:cubicBezTo>
                  <a:pt x="2522" y="418"/>
                  <a:pt x="2522" y="418"/>
                  <a:pt x="2522" y="418"/>
                </a:cubicBezTo>
                <a:cubicBezTo>
                  <a:pt x="2528" y="419"/>
                  <a:pt x="2528" y="419"/>
                  <a:pt x="2528" y="419"/>
                </a:cubicBezTo>
                <a:cubicBezTo>
                  <a:pt x="2530" y="417"/>
                  <a:pt x="2530" y="417"/>
                  <a:pt x="2530" y="417"/>
                </a:cubicBezTo>
                <a:cubicBezTo>
                  <a:pt x="2530" y="417"/>
                  <a:pt x="2536" y="422"/>
                  <a:pt x="2536" y="425"/>
                </a:cubicBezTo>
                <a:cubicBezTo>
                  <a:pt x="2535" y="428"/>
                  <a:pt x="2532" y="428"/>
                  <a:pt x="2531" y="430"/>
                </a:cubicBezTo>
                <a:cubicBezTo>
                  <a:pt x="2531" y="432"/>
                  <a:pt x="2532" y="435"/>
                  <a:pt x="2534" y="435"/>
                </a:cubicBezTo>
                <a:cubicBezTo>
                  <a:pt x="2535" y="435"/>
                  <a:pt x="2537" y="434"/>
                  <a:pt x="2537" y="434"/>
                </a:cubicBezTo>
                <a:cubicBezTo>
                  <a:pt x="2536" y="438"/>
                  <a:pt x="2536" y="438"/>
                  <a:pt x="2536" y="438"/>
                </a:cubicBezTo>
                <a:cubicBezTo>
                  <a:pt x="2536" y="438"/>
                  <a:pt x="2532" y="442"/>
                  <a:pt x="2534" y="442"/>
                </a:cubicBezTo>
                <a:cubicBezTo>
                  <a:pt x="2536" y="443"/>
                  <a:pt x="2539" y="440"/>
                  <a:pt x="2539" y="440"/>
                </a:cubicBezTo>
                <a:cubicBezTo>
                  <a:pt x="2539" y="440"/>
                  <a:pt x="2540" y="440"/>
                  <a:pt x="2541" y="439"/>
                </a:cubicBezTo>
                <a:cubicBezTo>
                  <a:pt x="2542" y="438"/>
                  <a:pt x="2542" y="435"/>
                  <a:pt x="2542" y="435"/>
                </a:cubicBezTo>
                <a:cubicBezTo>
                  <a:pt x="2542" y="435"/>
                  <a:pt x="2550" y="430"/>
                  <a:pt x="2551" y="430"/>
                </a:cubicBezTo>
                <a:cubicBezTo>
                  <a:pt x="2552" y="429"/>
                  <a:pt x="2556" y="429"/>
                  <a:pt x="2556" y="429"/>
                </a:cubicBezTo>
                <a:cubicBezTo>
                  <a:pt x="2558" y="427"/>
                  <a:pt x="2558" y="427"/>
                  <a:pt x="2558" y="427"/>
                </a:cubicBezTo>
                <a:cubicBezTo>
                  <a:pt x="2559" y="430"/>
                  <a:pt x="2559" y="430"/>
                  <a:pt x="2559" y="430"/>
                </a:cubicBezTo>
                <a:cubicBezTo>
                  <a:pt x="2562" y="433"/>
                  <a:pt x="2562" y="433"/>
                  <a:pt x="2562" y="433"/>
                </a:cubicBezTo>
                <a:cubicBezTo>
                  <a:pt x="2563" y="430"/>
                  <a:pt x="2563" y="430"/>
                  <a:pt x="2563" y="430"/>
                </a:cubicBezTo>
                <a:cubicBezTo>
                  <a:pt x="2563" y="430"/>
                  <a:pt x="2565" y="433"/>
                  <a:pt x="2566" y="433"/>
                </a:cubicBezTo>
                <a:cubicBezTo>
                  <a:pt x="2567" y="433"/>
                  <a:pt x="2569" y="432"/>
                  <a:pt x="2570" y="433"/>
                </a:cubicBezTo>
                <a:cubicBezTo>
                  <a:pt x="2570" y="434"/>
                  <a:pt x="2570" y="442"/>
                  <a:pt x="2570" y="442"/>
                </a:cubicBezTo>
                <a:cubicBezTo>
                  <a:pt x="2576" y="442"/>
                  <a:pt x="2576" y="442"/>
                  <a:pt x="2576" y="442"/>
                </a:cubicBezTo>
                <a:cubicBezTo>
                  <a:pt x="2576" y="444"/>
                  <a:pt x="2576" y="444"/>
                  <a:pt x="2576" y="444"/>
                </a:cubicBezTo>
                <a:cubicBezTo>
                  <a:pt x="2576" y="444"/>
                  <a:pt x="2571" y="441"/>
                  <a:pt x="2571" y="444"/>
                </a:cubicBezTo>
                <a:cubicBezTo>
                  <a:pt x="2570" y="447"/>
                  <a:pt x="2573" y="450"/>
                  <a:pt x="2573" y="450"/>
                </a:cubicBezTo>
                <a:cubicBezTo>
                  <a:pt x="2574" y="452"/>
                  <a:pt x="2574" y="452"/>
                  <a:pt x="2574" y="452"/>
                </a:cubicBezTo>
                <a:cubicBezTo>
                  <a:pt x="2578" y="451"/>
                  <a:pt x="2578" y="451"/>
                  <a:pt x="2578" y="451"/>
                </a:cubicBezTo>
                <a:cubicBezTo>
                  <a:pt x="2578" y="451"/>
                  <a:pt x="2583" y="454"/>
                  <a:pt x="2584" y="453"/>
                </a:cubicBezTo>
                <a:cubicBezTo>
                  <a:pt x="2586" y="453"/>
                  <a:pt x="2588" y="452"/>
                  <a:pt x="2588" y="452"/>
                </a:cubicBezTo>
                <a:cubicBezTo>
                  <a:pt x="2588" y="452"/>
                  <a:pt x="2588" y="455"/>
                  <a:pt x="2590" y="456"/>
                </a:cubicBezTo>
                <a:cubicBezTo>
                  <a:pt x="2591" y="457"/>
                  <a:pt x="2594" y="458"/>
                  <a:pt x="2594" y="458"/>
                </a:cubicBezTo>
                <a:cubicBezTo>
                  <a:pt x="2597" y="463"/>
                  <a:pt x="2597" y="463"/>
                  <a:pt x="2597" y="463"/>
                </a:cubicBezTo>
                <a:cubicBezTo>
                  <a:pt x="2597" y="463"/>
                  <a:pt x="2590" y="460"/>
                  <a:pt x="2589" y="461"/>
                </a:cubicBezTo>
                <a:cubicBezTo>
                  <a:pt x="2589" y="463"/>
                  <a:pt x="2594" y="466"/>
                  <a:pt x="2594" y="466"/>
                </a:cubicBezTo>
                <a:cubicBezTo>
                  <a:pt x="2596" y="472"/>
                  <a:pt x="2596" y="472"/>
                  <a:pt x="2596" y="472"/>
                </a:cubicBezTo>
                <a:cubicBezTo>
                  <a:pt x="2601" y="472"/>
                  <a:pt x="2601" y="472"/>
                  <a:pt x="2601" y="472"/>
                </a:cubicBezTo>
                <a:cubicBezTo>
                  <a:pt x="2601" y="476"/>
                  <a:pt x="2601" y="476"/>
                  <a:pt x="2601" y="476"/>
                </a:cubicBezTo>
                <a:cubicBezTo>
                  <a:pt x="2601" y="476"/>
                  <a:pt x="2598" y="478"/>
                  <a:pt x="2599" y="482"/>
                </a:cubicBezTo>
                <a:cubicBezTo>
                  <a:pt x="2601" y="486"/>
                  <a:pt x="2604" y="486"/>
                  <a:pt x="2604" y="486"/>
                </a:cubicBezTo>
                <a:cubicBezTo>
                  <a:pt x="2604" y="486"/>
                  <a:pt x="2601" y="491"/>
                  <a:pt x="2605" y="491"/>
                </a:cubicBezTo>
                <a:cubicBezTo>
                  <a:pt x="2609" y="490"/>
                  <a:pt x="2609" y="487"/>
                  <a:pt x="2609" y="487"/>
                </a:cubicBezTo>
                <a:cubicBezTo>
                  <a:pt x="2616" y="484"/>
                  <a:pt x="2616" y="484"/>
                  <a:pt x="2616" y="484"/>
                </a:cubicBezTo>
                <a:cubicBezTo>
                  <a:pt x="2620" y="485"/>
                  <a:pt x="2620" y="485"/>
                  <a:pt x="2620" y="485"/>
                </a:cubicBezTo>
                <a:cubicBezTo>
                  <a:pt x="2621" y="482"/>
                  <a:pt x="2621" y="482"/>
                  <a:pt x="2621" y="482"/>
                </a:cubicBezTo>
                <a:cubicBezTo>
                  <a:pt x="2621" y="482"/>
                  <a:pt x="2628" y="483"/>
                  <a:pt x="2627" y="479"/>
                </a:cubicBezTo>
                <a:cubicBezTo>
                  <a:pt x="2626" y="475"/>
                  <a:pt x="2623" y="472"/>
                  <a:pt x="2623" y="472"/>
                </a:cubicBezTo>
                <a:cubicBezTo>
                  <a:pt x="2623" y="472"/>
                  <a:pt x="2624" y="468"/>
                  <a:pt x="2622" y="465"/>
                </a:cubicBezTo>
                <a:cubicBezTo>
                  <a:pt x="2620" y="463"/>
                  <a:pt x="2611" y="455"/>
                  <a:pt x="2611" y="455"/>
                </a:cubicBezTo>
                <a:cubicBezTo>
                  <a:pt x="2609" y="454"/>
                  <a:pt x="2609" y="454"/>
                  <a:pt x="2609" y="454"/>
                </a:cubicBezTo>
                <a:cubicBezTo>
                  <a:pt x="2609" y="454"/>
                  <a:pt x="2608" y="451"/>
                  <a:pt x="2605" y="449"/>
                </a:cubicBezTo>
                <a:cubicBezTo>
                  <a:pt x="2604" y="447"/>
                  <a:pt x="2603" y="446"/>
                  <a:pt x="2602" y="444"/>
                </a:cubicBezTo>
                <a:cubicBezTo>
                  <a:pt x="2601" y="443"/>
                  <a:pt x="2600" y="442"/>
                  <a:pt x="2600" y="442"/>
                </a:cubicBezTo>
                <a:cubicBezTo>
                  <a:pt x="2593" y="438"/>
                  <a:pt x="2593" y="438"/>
                  <a:pt x="2593" y="438"/>
                </a:cubicBezTo>
                <a:cubicBezTo>
                  <a:pt x="2593" y="438"/>
                  <a:pt x="2589" y="440"/>
                  <a:pt x="2590" y="437"/>
                </a:cubicBezTo>
                <a:cubicBezTo>
                  <a:pt x="2592" y="434"/>
                  <a:pt x="2592" y="434"/>
                  <a:pt x="2592" y="434"/>
                </a:cubicBezTo>
                <a:cubicBezTo>
                  <a:pt x="2592" y="434"/>
                  <a:pt x="2586" y="432"/>
                  <a:pt x="2588" y="430"/>
                </a:cubicBezTo>
                <a:cubicBezTo>
                  <a:pt x="2590" y="428"/>
                  <a:pt x="2595" y="428"/>
                  <a:pt x="2596" y="425"/>
                </a:cubicBezTo>
                <a:cubicBezTo>
                  <a:pt x="2597" y="423"/>
                  <a:pt x="2598" y="419"/>
                  <a:pt x="2598" y="419"/>
                </a:cubicBezTo>
                <a:cubicBezTo>
                  <a:pt x="2601" y="418"/>
                  <a:pt x="2601" y="418"/>
                  <a:pt x="2601" y="418"/>
                </a:cubicBezTo>
                <a:cubicBezTo>
                  <a:pt x="2600" y="413"/>
                  <a:pt x="2600" y="413"/>
                  <a:pt x="2600" y="413"/>
                </a:cubicBezTo>
                <a:cubicBezTo>
                  <a:pt x="2600" y="413"/>
                  <a:pt x="2597" y="411"/>
                  <a:pt x="2597" y="407"/>
                </a:cubicBezTo>
                <a:cubicBezTo>
                  <a:pt x="2597" y="404"/>
                  <a:pt x="2602" y="403"/>
                  <a:pt x="2602" y="403"/>
                </a:cubicBezTo>
                <a:cubicBezTo>
                  <a:pt x="2600" y="400"/>
                  <a:pt x="2600" y="400"/>
                  <a:pt x="2600" y="400"/>
                </a:cubicBezTo>
                <a:cubicBezTo>
                  <a:pt x="2605" y="400"/>
                  <a:pt x="2605" y="400"/>
                  <a:pt x="2605" y="400"/>
                </a:cubicBezTo>
                <a:cubicBezTo>
                  <a:pt x="2605" y="400"/>
                  <a:pt x="2604" y="391"/>
                  <a:pt x="2606" y="391"/>
                </a:cubicBezTo>
                <a:cubicBezTo>
                  <a:pt x="2608" y="390"/>
                  <a:pt x="2609" y="392"/>
                  <a:pt x="2609" y="392"/>
                </a:cubicBezTo>
                <a:cubicBezTo>
                  <a:pt x="2611" y="391"/>
                  <a:pt x="2611" y="391"/>
                  <a:pt x="2611" y="391"/>
                </a:cubicBezTo>
                <a:cubicBezTo>
                  <a:pt x="2611" y="391"/>
                  <a:pt x="2614" y="397"/>
                  <a:pt x="2616" y="397"/>
                </a:cubicBezTo>
                <a:cubicBezTo>
                  <a:pt x="2618" y="397"/>
                  <a:pt x="2622" y="395"/>
                  <a:pt x="2622" y="395"/>
                </a:cubicBezTo>
                <a:cubicBezTo>
                  <a:pt x="2622" y="398"/>
                  <a:pt x="2622" y="398"/>
                  <a:pt x="2622" y="398"/>
                </a:cubicBezTo>
                <a:cubicBezTo>
                  <a:pt x="2622" y="398"/>
                  <a:pt x="2633" y="394"/>
                  <a:pt x="2634" y="389"/>
                </a:cubicBezTo>
                <a:cubicBezTo>
                  <a:pt x="2634" y="385"/>
                  <a:pt x="2635" y="379"/>
                  <a:pt x="2635" y="379"/>
                </a:cubicBezTo>
                <a:cubicBezTo>
                  <a:pt x="2638" y="378"/>
                  <a:pt x="2638" y="378"/>
                  <a:pt x="2638" y="378"/>
                </a:cubicBezTo>
                <a:cubicBezTo>
                  <a:pt x="2638" y="378"/>
                  <a:pt x="2637" y="369"/>
                  <a:pt x="2639" y="368"/>
                </a:cubicBezTo>
                <a:cubicBezTo>
                  <a:pt x="2641" y="366"/>
                  <a:pt x="2641" y="361"/>
                  <a:pt x="2642" y="358"/>
                </a:cubicBezTo>
                <a:cubicBezTo>
                  <a:pt x="2642" y="354"/>
                  <a:pt x="2640" y="349"/>
                  <a:pt x="2640" y="349"/>
                </a:cubicBezTo>
                <a:cubicBezTo>
                  <a:pt x="2640" y="349"/>
                  <a:pt x="2643" y="344"/>
                  <a:pt x="2643" y="343"/>
                </a:cubicBezTo>
                <a:cubicBezTo>
                  <a:pt x="2643" y="342"/>
                  <a:pt x="2641" y="340"/>
                  <a:pt x="2641" y="340"/>
                </a:cubicBezTo>
                <a:cubicBezTo>
                  <a:pt x="2641" y="340"/>
                  <a:pt x="2645" y="335"/>
                  <a:pt x="2644" y="333"/>
                </a:cubicBezTo>
                <a:cubicBezTo>
                  <a:pt x="2643" y="331"/>
                  <a:pt x="2640" y="325"/>
                  <a:pt x="2640" y="325"/>
                </a:cubicBezTo>
                <a:cubicBezTo>
                  <a:pt x="2640" y="325"/>
                  <a:pt x="2639" y="320"/>
                  <a:pt x="2637" y="319"/>
                </a:cubicBezTo>
                <a:cubicBezTo>
                  <a:pt x="2636" y="318"/>
                  <a:pt x="2635" y="318"/>
                  <a:pt x="2635" y="318"/>
                </a:cubicBezTo>
                <a:cubicBezTo>
                  <a:pt x="2636" y="316"/>
                  <a:pt x="2636" y="316"/>
                  <a:pt x="2636" y="316"/>
                </a:cubicBezTo>
                <a:cubicBezTo>
                  <a:pt x="2636" y="316"/>
                  <a:pt x="2632" y="314"/>
                  <a:pt x="2630" y="311"/>
                </a:cubicBezTo>
                <a:cubicBezTo>
                  <a:pt x="2629" y="308"/>
                  <a:pt x="2629" y="306"/>
                  <a:pt x="2629" y="306"/>
                </a:cubicBezTo>
                <a:cubicBezTo>
                  <a:pt x="2627" y="304"/>
                  <a:pt x="2627" y="304"/>
                  <a:pt x="2627" y="304"/>
                </a:cubicBezTo>
                <a:cubicBezTo>
                  <a:pt x="2627" y="304"/>
                  <a:pt x="2628" y="298"/>
                  <a:pt x="2627" y="296"/>
                </a:cubicBezTo>
                <a:cubicBezTo>
                  <a:pt x="2625" y="294"/>
                  <a:pt x="2624" y="293"/>
                  <a:pt x="2624" y="293"/>
                </a:cubicBezTo>
                <a:cubicBezTo>
                  <a:pt x="2622" y="292"/>
                  <a:pt x="2622" y="292"/>
                  <a:pt x="2622" y="292"/>
                </a:cubicBezTo>
                <a:cubicBezTo>
                  <a:pt x="2622" y="292"/>
                  <a:pt x="2621" y="289"/>
                  <a:pt x="2620" y="288"/>
                </a:cubicBezTo>
                <a:cubicBezTo>
                  <a:pt x="2618" y="287"/>
                  <a:pt x="2615" y="285"/>
                  <a:pt x="2615" y="285"/>
                </a:cubicBezTo>
                <a:cubicBezTo>
                  <a:pt x="2612" y="284"/>
                  <a:pt x="2612" y="284"/>
                  <a:pt x="2612" y="284"/>
                </a:cubicBezTo>
                <a:cubicBezTo>
                  <a:pt x="2611" y="283"/>
                  <a:pt x="2611" y="283"/>
                  <a:pt x="2611" y="283"/>
                </a:cubicBezTo>
                <a:cubicBezTo>
                  <a:pt x="2611" y="283"/>
                  <a:pt x="2617" y="285"/>
                  <a:pt x="2617" y="284"/>
                </a:cubicBezTo>
                <a:cubicBezTo>
                  <a:pt x="2618" y="283"/>
                  <a:pt x="2614" y="282"/>
                  <a:pt x="2614" y="282"/>
                </a:cubicBezTo>
                <a:cubicBezTo>
                  <a:pt x="2602" y="276"/>
                  <a:pt x="2602" y="276"/>
                  <a:pt x="2602" y="276"/>
                </a:cubicBezTo>
                <a:cubicBezTo>
                  <a:pt x="2602" y="276"/>
                  <a:pt x="2596" y="273"/>
                  <a:pt x="2595" y="271"/>
                </a:cubicBezTo>
                <a:cubicBezTo>
                  <a:pt x="2593" y="270"/>
                  <a:pt x="2590" y="273"/>
                  <a:pt x="2590" y="273"/>
                </a:cubicBezTo>
                <a:cubicBezTo>
                  <a:pt x="2585" y="271"/>
                  <a:pt x="2585" y="271"/>
                  <a:pt x="2585" y="271"/>
                </a:cubicBezTo>
                <a:cubicBezTo>
                  <a:pt x="2590" y="277"/>
                  <a:pt x="2590" y="277"/>
                  <a:pt x="2590" y="277"/>
                </a:cubicBezTo>
                <a:cubicBezTo>
                  <a:pt x="2589" y="280"/>
                  <a:pt x="2589" y="280"/>
                  <a:pt x="2589" y="280"/>
                </a:cubicBezTo>
                <a:cubicBezTo>
                  <a:pt x="2587" y="280"/>
                  <a:pt x="2587" y="280"/>
                  <a:pt x="2587" y="280"/>
                </a:cubicBezTo>
                <a:cubicBezTo>
                  <a:pt x="2587" y="276"/>
                  <a:pt x="2587" y="276"/>
                  <a:pt x="2587" y="276"/>
                </a:cubicBezTo>
                <a:cubicBezTo>
                  <a:pt x="2585" y="274"/>
                  <a:pt x="2585" y="274"/>
                  <a:pt x="2585" y="274"/>
                </a:cubicBezTo>
                <a:cubicBezTo>
                  <a:pt x="2585" y="278"/>
                  <a:pt x="2585" y="278"/>
                  <a:pt x="2585" y="278"/>
                </a:cubicBezTo>
                <a:cubicBezTo>
                  <a:pt x="2579" y="279"/>
                  <a:pt x="2579" y="279"/>
                  <a:pt x="2579" y="279"/>
                </a:cubicBezTo>
                <a:cubicBezTo>
                  <a:pt x="2579" y="279"/>
                  <a:pt x="2580" y="277"/>
                  <a:pt x="2579" y="275"/>
                </a:cubicBezTo>
                <a:cubicBezTo>
                  <a:pt x="2578" y="274"/>
                  <a:pt x="2575" y="275"/>
                  <a:pt x="2575" y="275"/>
                </a:cubicBezTo>
                <a:cubicBezTo>
                  <a:pt x="2574" y="276"/>
                  <a:pt x="2574" y="276"/>
                  <a:pt x="2574" y="276"/>
                </a:cubicBezTo>
                <a:cubicBezTo>
                  <a:pt x="2571" y="276"/>
                  <a:pt x="2571" y="276"/>
                  <a:pt x="2571" y="276"/>
                </a:cubicBezTo>
                <a:cubicBezTo>
                  <a:pt x="2569" y="271"/>
                  <a:pt x="2569" y="271"/>
                  <a:pt x="2569" y="271"/>
                </a:cubicBezTo>
                <a:cubicBezTo>
                  <a:pt x="2568" y="271"/>
                  <a:pt x="2568" y="271"/>
                  <a:pt x="2568" y="271"/>
                </a:cubicBezTo>
                <a:cubicBezTo>
                  <a:pt x="2567" y="268"/>
                  <a:pt x="2567" y="268"/>
                  <a:pt x="2567" y="268"/>
                </a:cubicBezTo>
                <a:cubicBezTo>
                  <a:pt x="2557" y="269"/>
                  <a:pt x="2557" y="269"/>
                  <a:pt x="2557" y="269"/>
                </a:cubicBezTo>
                <a:cubicBezTo>
                  <a:pt x="2555" y="267"/>
                  <a:pt x="2555" y="267"/>
                  <a:pt x="2555" y="267"/>
                </a:cubicBezTo>
                <a:cubicBezTo>
                  <a:pt x="2555" y="267"/>
                  <a:pt x="2550" y="268"/>
                  <a:pt x="2550" y="265"/>
                </a:cubicBezTo>
                <a:cubicBezTo>
                  <a:pt x="2550" y="261"/>
                  <a:pt x="2554" y="261"/>
                  <a:pt x="2554" y="261"/>
                </a:cubicBezTo>
                <a:cubicBezTo>
                  <a:pt x="2554" y="257"/>
                  <a:pt x="2554" y="257"/>
                  <a:pt x="2554" y="257"/>
                </a:cubicBezTo>
                <a:cubicBezTo>
                  <a:pt x="2554" y="257"/>
                  <a:pt x="2558" y="257"/>
                  <a:pt x="2559" y="255"/>
                </a:cubicBezTo>
                <a:cubicBezTo>
                  <a:pt x="2559" y="252"/>
                  <a:pt x="2561" y="249"/>
                  <a:pt x="2561" y="249"/>
                </a:cubicBezTo>
                <a:cubicBezTo>
                  <a:pt x="2559" y="247"/>
                  <a:pt x="2559" y="247"/>
                  <a:pt x="2559" y="247"/>
                </a:cubicBezTo>
                <a:cubicBezTo>
                  <a:pt x="2560" y="245"/>
                  <a:pt x="2560" y="245"/>
                  <a:pt x="2560" y="245"/>
                </a:cubicBezTo>
                <a:cubicBezTo>
                  <a:pt x="2559" y="243"/>
                  <a:pt x="2559" y="243"/>
                  <a:pt x="2559" y="243"/>
                </a:cubicBezTo>
                <a:cubicBezTo>
                  <a:pt x="2562" y="240"/>
                  <a:pt x="2562" y="240"/>
                  <a:pt x="2562" y="240"/>
                </a:cubicBezTo>
                <a:cubicBezTo>
                  <a:pt x="2565" y="240"/>
                  <a:pt x="2565" y="240"/>
                  <a:pt x="2565" y="240"/>
                </a:cubicBezTo>
                <a:cubicBezTo>
                  <a:pt x="2563" y="235"/>
                  <a:pt x="2563" y="235"/>
                  <a:pt x="2563" y="235"/>
                </a:cubicBezTo>
                <a:cubicBezTo>
                  <a:pt x="2567" y="234"/>
                  <a:pt x="2567" y="234"/>
                  <a:pt x="2567" y="234"/>
                </a:cubicBezTo>
                <a:cubicBezTo>
                  <a:pt x="2563" y="229"/>
                  <a:pt x="2563" y="229"/>
                  <a:pt x="2563" y="229"/>
                </a:cubicBezTo>
                <a:cubicBezTo>
                  <a:pt x="2567" y="227"/>
                  <a:pt x="2567" y="227"/>
                  <a:pt x="2567" y="227"/>
                </a:cubicBezTo>
                <a:cubicBezTo>
                  <a:pt x="2567" y="227"/>
                  <a:pt x="2566" y="221"/>
                  <a:pt x="2569" y="219"/>
                </a:cubicBezTo>
                <a:cubicBezTo>
                  <a:pt x="2573" y="217"/>
                  <a:pt x="2574" y="217"/>
                  <a:pt x="2574" y="217"/>
                </a:cubicBezTo>
                <a:cubicBezTo>
                  <a:pt x="2574" y="217"/>
                  <a:pt x="2579" y="217"/>
                  <a:pt x="2582" y="217"/>
                </a:cubicBezTo>
                <a:cubicBezTo>
                  <a:pt x="2584" y="217"/>
                  <a:pt x="2595" y="218"/>
                  <a:pt x="2595" y="218"/>
                </a:cubicBezTo>
                <a:cubicBezTo>
                  <a:pt x="2597" y="220"/>
                  <a:pt x="2597" y="220"/>
                  <a:pt x="2597" y="220"/>
                </a:cubicBezTo>
                <a:cubicBezTo>
                  <a:pt x="2600" y="219"/>
                  <a:pt x="2600" y="219"/>
                  <a:pt x="2600" y="219"/>
                </a:cubicBezTo>
                <a:cubicBezTo>
                  <a:pt x="2599" y="217"/>
                  <a:pt x="2599" y="217"/>
                  <a:pt x="2599" y="217"/>
                </a:cubicBezTo>
                <a:cubicBezTo>
                  <a:pt x="2610" y="219"/>
                  <a:pt x="2610" y="219"/>
                  <a:pt x="2610" y="219"/>
                </a:cubicBezTo>
                <a:cubicBezTo>
                  <a:pt x="2614" y="217"/>
                  <a:pt x="2614" y="217"/>
                  <a:pt x="2614" y="217"/>
                </a:cubicBezTo>
                <a:cubicBezTo>
                  <a:pt x="2618" y="220"/>
                  <a:pt x="2618" y="220"/>
                  <a:pt x="2618" y="220"/>
                </a:cubicBezTo>
                <a:cubicBezTo>
                  <a:pt x="2619" y="215"/>
                  <a:pt x="2619" y="215"/>
                  <a:pt x="2619" y="215"/>
                </a:cubicBezTo>
                <a:cubicBezTo>
                  <a:pt x="2619" y="215"/>
                  <a:pt x="2624" y="215"/>
                  <a:pt x="2627" y="215"/>
                </a:cubicBezTo>
                <a:cubicBezTo>
                  <a:pt x="2630" y="215"/>
                  <a:pt x="2631" y="218"/>
                  <a:pt x="2633" y="217"/>
                </a:cubicBezTo>
                <a:cubicBezTo>
                  <a:pt x="2634" y="217"/>
                  <a:pt x="2638" y="215"/>
                  <a:pt x="2638" y="215"/>
                </a:cubicBezTo>
                <a:cubicBezTo>
                  <a:pt x="2641" y="218"/>
                  <a:pt x="2641" y="218"/>
                  <a:pt x="2641" y="218"/>
                </a:cubicBezTo>
                <a:cubicBezTo>
                  <a:pt x="2647" y="219"/>
                  <a:pt x="2647" y="219"/>
                  <a:pt x="2647" y="219"/>
                </a:cubicBezTo>
                <a:cubicBezTo>
                  <a:pt x="2639" y="220"/>
                  <a:pt x="2639" y="220"/>
                  <a:pt x="2639" y="220"/>
                </a:cubicBezTo>
                <a:cubicBezTo>
                  <a:pt x="2639" y="220"/>
                  <a:pt x="2642" y="225"/>
                  <a:pt x="2644" y="224"/>
                </a:cubicBezTo>
                <a:cubicBezTo>
                  <a:pt x="2646" y="223"/>
                  <a:pt x="2651" y="221"/>
                  <a:pt x="2651" y="221"/>
                </a:cubicBezTo>
                <a:cubicBezTo>
                  <a:pt x="2654" y="223"/>
                  <a:pt x="2654" y="223"/>
                  <a:pt x="2654" y="223"/>
                </a:cubicBezTo>
                <a:cubicBezTo>
                  <a:pt x="2657" y="220"/>
                  <a:pt x="2657" y="220"/>
                  <a:pt x="2657" y="220"/>
                </a:cubicBezTo>
                <a:cubicBezTo>
                  <a:pt x="2657" y="220"/>
                  <a:pt x="2663" y="222"/>
                  <a:pt x="2665" y="221"/>
                </a:cubicBezTo>
                <a:cubicBezTo>
                  <a:pt x="2666" y="220"/>
                  <a:pt x="2665" y="219"/>
                  <a:pt x="2665" y="219"/>
                </a:cubicBezTo>
                <a:cubicBezTo>
                  <a:pt x="2670" y="219"/>
                  <a:pt x="2670" y="219"/>
                  <a:pt x="2670" y="219"/>
                </a:cubicBezTo>
                <a:cubicBezTo>
                  <a:pt x="2663" y="215"/>
                  <a:pt x="2663" y="215"/>
                  <a:pt x="2663" y="215"/>
                </a:cubicBezTo>
                <a:cubicBezTo>
                  <a:pt x="2660" y="217"/>
                  <a:pt x="2660" y="217"/>
                  <a:pt x="2660" y="217"/>
                </a:cubicBezTo>
                <a:cubicBezTo>
                  <a:pt x="2658" y="214"/>
                  <a:pt x="2658" y="214"/>
                  <a:pt x="2658" y="214"/>
                </a:cubicBezTo>
                <a:cubicBezTo>
                  <a:pt x="2658" y="214"/>
                  <a:pt x="2655" y="210"/>
                  <a:pt x="2656" y="208"/>
                </a:cubicBezTo>
                <a:cubicBezTo>
                  <a:pt x="2656" y="207"/>
                  <a:pt x="2660" y="205"/>
                  <a:pt x="2660" y="205"/>
                </a:cubicBezTo>
                <a:cubicBezTo>
                  <a:pt x="2659" y="200"/>
                  <a:pt x="2659" y="200"/>
                  <a:pt x="2659" y="200"/>
                </a:cubicBezTo>
                <a:cubicBezTo>
                  <a:pt x="2661" y="199"/>
                  <a:pt x="2661" y="199"/>
                  <a:pt x="2661" y="199"/>
                </a:cubicBezTo>
                <a:cubicBezTo>
                  <a:pt x="2661" y="199"/>
                  <a:pt x="2655" y="196"/>
                  <a:pt x="2659" y="194"/>
                </a:cubicBezTo>
                <a:cubicBezTo>
                  <a:pt x="2662" y="191"/>
                  <a:pt x="2670" y="194"/>
                  <a:pt x="2670" y="194"/>
                </a:cubicBezTo>
                <a:cubicBezTo>
                  <a:pt x="2673" y="191"/>
                  <a:pt x="2673" y="191"/>
                  <a:pt x="2673" y="191"/>
                </a:cubicBezTo>
                <a:cubicBezTo>
                  <a:pt x="2678" y="195"/>
                  <a:pt x="2678" y="195"/>
                  <a:pt x="2678" y="195"/>
                </a:cubicBezTo>
                <a:cubicBezTo>
                  <a:pt x="2681" y="192"/>
                  <a:pt x="2681" y="192"/>
                  <a:pt x="2681" y="192"/>
                </a:cubicBezTo>
                <a:cubicBezTo>
                  <a:pt x="2681" y="192"/>
                  <a:pt x="2684" y="199"/>
                  <a:pt x="2686" y="200"/>
                </a:cubicBezTo>
                <a:cubicBezTo>
                  <a:pt x="2687" y="201"/>
                  <a:pt x="2692" y="200"/>
                  <a:pt x="2692" y="200"/>
                </a:cubicBezTo>
                <a:cubicBezTo>
                  <a:pt x="2692" y="200"/>
                  <a:pt x="2692" y="206"/>
                  <a:pt x="2694" y="205"/>
                </a:cubicBezTo>
                <a:cubicBezTo>
                  <a:pt x="2696" y="205"/>
                  <a:pt x="2699" y="196"/>
                  <a:pt x="2699" y="196"/>
                </a:cubicBezTo>
                <a:cubicBezTo>
                  <a:pt x="2703" y="194"/>
                  <a:pt x="2703" y="194"/>
                  <a:pt x="2703" y="194"/>
                </a:cubicBezTo>
                <a:cubicBezTo>
                  <a:pt x="2707" y="196"/>
                  <a:pt x="2707" y="196"/>
                  <a:pt x="2707" y="196"/>
                </a:cubicBezTo>
                <a:cubicBezTo>
                  <a:pt x="2707" y="194"/>
                  <a:pt x="2707" y="194"/>
                  <a:pt x="2707" y="194"/>
                </a:cubicBezTo>
                <a:cubicBezTo>
                  <a:pt x="2703" y="192"/>
                  <a:pt x="2703" y="192"/>
                  <a:pt x="2703" y="192"/>
                </a:cubicBezTo>
                <a:cubicBezTo>
                  <a:pt x="2703" y="192"/>
                  <a:pt x="2693" y="185"/>
                  <a:pt x="2695" y="184"/>
                </a:cubicBezTo>
                <a:cubicBezTo>
                  <a:pt x="2697" y="184"/>
                  <a:pt x="2709" y="185"/>
                  <a:pt x="2709" y="185"/>
                </a:cubicBezTo>
                <a:cubicBezTo>
                  <a:pt x="2716" y="185"/>
                  <a:pt x="2716" y="185"/>
                  <a:pt x="2716" y="185"/>
                </a:cubicBezTo>
                <a:cubicBezTo>
                  <a:pt x="2716" y="185"/>
                  <a:pt x="2716" y="188"/>
                  <a:pt x="2716" y="187"/>
                </a:cubicBezTo>
                <a:cubicBezTo>
                  <a:pt x="2715" y="187"/>
                  <a:pt x="2707" y="185"/>
                  <a:pt x="2707" y="188"/>
                </a:cubicBezTo>
                <a:cubicBezTo>
                  <a:pt x="2707" y="190"/>
                  <a:pt x="2712" y="193"/>
                  <a:pt x="2712" y="193"/>
                </a:cubicBezTo>
                <a:cubicBezTo>
                  <a:pt x="2713" y="197"/>
                  <a:pt x="2713" y="197"/>
                  <a:pt x="2713" y="197"/>
                </a:cubicBezTo>
                <a:cubicBezTo>
                  <a:pt x="2717" y="197"/>
                  <a:pt x="2717" y="197"/>
                  <a:pt x="2717" y="197"/>
                </a:cubicBezTo>
                <a:cubicBezTo>
                  <a:pt x="2716" y="200"/>
                  <a:pt x="2716" y="200"/>
                  <a:pt x="2716" y="200"/>
                </a:cubicBezTo>
                <a:cubicBezTo>
                  <a:pt x="2719" y="202"/>
                  <a:pt x="2719" y="202"/>
                  <a:pt x="2719" y="202"/>
                </a:cubicBezTo>
                <a:cubicBezTo>
                  <a:pt x="2715" y="203"/>
                  <a:pt x="2715" y="203"/>
                  <a:pt x="2715" y="203"/>
                </a:cubicBezTo>
                <a:cubicBezTo>
                  <a:pt x="2714" y="205"/>
                  <a:pt x="2714" y="205"/>
                  <a:pt x="2714" y="205"/>
                </a:cubicBezTo>
                <a:cubicBezTo>
                  <a:pt x="2711" y="206"/>
                  <a:pt x="2711" y="206"/>
                  <a:pt x="2711" y="206"/>
                </a:cubicBezTo>
                <a:cubicBezTo>
                  <a:pt x="2711" y="206"/>
                  <a:pt x="2714" y="211"/>
                  <a:pt x="2713" y="213"/>
                </a:cubicBezTo>
                <a:cubicBezTo>
                  <a:pt x="2711" y="216"/>
                  <a:pt x="2709" y="220"/>
                  <a:pt x="2709" y="221"/>
                </a:cubicBezTo>
                <a:cubicBezTo>
                  <a:pt x="2709" y="223"/>
                  <a:pt x="2713" y="224"/>
                  <a:pt x="2710" y="228"/>
                </a:cubicBezTo>
                <a:cubicBezTo>
                  <a:pt x="2707" y="231"/>
                  <a:pt x="2703" y="232"/>
                  <a:pt x="2703" y="232"/>
                </a:cubicBezTo>
                <a:cubicBezTo>
                  <a:pt x="2703" y="235"/>
                  <a:pt x="2703" y="235"/>
                  <a:pt x="2703" y="235"/>
                </a:cubicBezTo>
                <a:cubicBezTo>
                  <a:pt x="2701" y="235"/>
                  <a:pt x="2701" y="235"/>
                  <a:pt x="2701" y="235"/>
                </a:cubicBezTo>
                <a:cubicBezTo>
                  <a:pt x="2701" y="235"/>
                  <a:pt x="2706" y="237"/>
                  <a:pt x="2705" y="240"/>
                </a:cubicBezTo>
                <a:cubicBezTo>
                  <a:pt x="2705" y="244"/>
                  <a:pt x="2703" y="246"/>
                  <a:pt x="2705" y="250"/>
                </a:cubicBezTo>
                <a:cubicBezTo>
                  <a:pt x="2706" y="253"/>
                  <a:pt x="2720" y="265"/>
                  <a:pt x="2720" y="265"/>
                </a:cubicBezTo>
                <a:cubicBezTo>
                  <a:pt x="2728" y="273"/>
                  <a:pt x="2728" y="273"/>
                  <a:pt x="2728" y="273"/>
                </a:cubicBezTo>
                <a:cubicBezTo>
                  <a:pt x="2730" y="273"/>
                  <a:pt x="2730" y="273"/>
                  <a:pt x="2730" y="273"/>
                </a:cubicBezTo>
                <a:cubicBezTo>
                  <a:pt x="2741" y="286"/>
                  <a:pt x="2741" y="286"/>
                  <a:pt x="2741" y="286"/>
                </a:cubicBezTo>
                <a:cubicBezTo>
                  <a:pt x="2748" y="288"/>
                  <a:pt x="2748" y="288"/>
                  <a:pt x="2748" y="288"/>
                </a:cubicBezTo>
                <a:cubicBezTo>
                  <a:pt x="2752" y="292"/>
                  <a:pt x="2752" y="292"/>
                  <a:pt x="2752" y="292"/>
                </a:cubicBezTo>
                <a:cubicBezTo>
                  <a:pt x="2752" y="292"/>
                  <a:pt x="2760" y="302"/>
                  <a:pt x="2761" y="303"/>
                </a:cubicBezTo>
                <a:cubicBezTo>
                  <a:pt x="2763" y="304"/>
                  <a:pt x="2765" y="304"/>
                  <a:pt x="2765" y="304"/>
                </a:cubicBezTo>
                <a:cubicBezTo>
                  <a:pt x="2765" y="304"/>
                  <a:pt x="2764" y="308"/>
                  <a:pt x="2767" y="306"/>
                </a:cubicBezTo>
                <a:cubicBezTo>
                  <a:pt x="2770" y="305"/>
                  <a:pt x="2770" y="302"/>
                  <a:pt x="2770" y="302"/>
                </a:cubicBezTo>
                <a:cubicBezTo>
                  <a:pt x="2768" y="301"/>
                  <a:pt x="2768" y="301"/>
                  <a:pt x="2768" y="301"/>
                </a:cubicBezTo>
                <a:cubicBezTo>
                  <a:pt x="2768" y="301"/>
                  <a:pt x="2771" y="297"/>
                  <a:pt x="2771" y="295"/>
                </a:cubicBezTo>
                <a:cubicBezTo>
                  <a:pt x="2770" y="293"/>
                  <a:pt x="2764" y="289"/>
                  <a:pt x="2765" y="287"/>
                </a:cubicBezTo>
                <a:cubicBezTo>
                  <a:pt x="2766" y="284"/>
                  <a:pt x="2768" y="282"/>
                  <a:pt x="2769" y="282"/>
                </a:cubicBezTo>
                <a:cubicBezTo>
                  <a:pt x="2770" y="282"/>
                  <a:pt x="2774" y="283"/>
                  <a:pt x="2774" y="283"/>
                </a:cubicBezTo>
                <a:cubicBezTo>
                  <a:pt x="2774" y="283"/>
                  <a:pt x="2769" y="278"/>
                  <a:pt x="2768" y="277"/>
                </a:cubicBezTo>
                <a:cubicBezTo>
                  <a:pt x="2767" y="276"/>
                  <a:pt x="2764" y="275"/>
                  <a:pt x="2764" y="272"/>
                </a:cubicBezTo>
                <a:cubicBezTo>
                  <a:pt x="2765" y="269"/>
                  <a:pt x="2769" y="268"/>
                  <a:pt x="2769" y="268"/>
                </a:cubicBezTo>
                <a:cubicBezTo>
                  <a:pt x="2769" y="268"/>
                  <a:pt x="2775" y="270"/>
                  <a:pt x="2774" y="267"/>
                </a:cubicBezTo>
                <a:cubicBezTo>
                  <a:pt x="2774" y="264"/>
                  <a:pt x="2771" y="263"/>
                  <a:pt x="2768" y="261"/>
                </a:cubicBezTo>
                <a:cubicBezTo>
                  <a:pt x="2764" y="260"/>
                  <a:pt x="2761" y="256"/>
                  <a:pt x="2761" y="253"/>
                </a:cubicBezTo>
                <a:cubicBezTo>
                  <a:pt x="2761" y="251"/>
                  <a:pt x="2760" y="249"/>
                  <a:pt x="2760" y="249"/>
                </a:cubicBezTo>
                <a:cubicBezTo>
                  <a:pt x="2761" y="248"/>
                  <a:pt x="2761" y="248"/>
                  <a:pt x="2761" y="248"/>
                </a:cubicBezTo>
                <a:cubicBezTo>
                  <a:pt x="2761" y="248"/>
                  <a:pt x="2767" y="253"/>
                  <a:pt x="2768" y="252"/>
                </a:cubicBezTo>
                <a:cubicBezTo>
                  <a:pt x="2769" y="251"/>
                  <a:pt x="2764" y="246"/>
                  <a:pt x="2764" y="246"/>
                </a:cubicBezTo>
                <a:cubicBezTo>
                  <a:pt x="2759" y="245"/>
                  <a:pt x="2759" y="245"/>
                  <a:pt x="2759" y="245"/>
                </a:cubicBezTo>
                <a:cubicBezTo>
                  <a:pt x="2752" y="239"/>
                  <a:pt x="2752" y="239"/>
                  <a:pt x="2752" y="239"/>
                </a:cubicBezTo>
                <a:cubicBezTo>
                  <a:pt x="2752" y="239"/>
                  <a:pt x="2753" y="235"/>
                  <a:pt x="2750" y="233"/>
                </a:cubicBezTo>
                <a:cubicBezTo>
                  <a:pt x="2747" y="232"/>
                  <a:pt x="2744" y="232"/>
                  <a:pt x="2744" y="232"/>
                </a:cubicBezTo>
                <a:cubicBezTo>
                  <a:pt x="2744" y="234"/>
                  <a:pt x="2744" y="234"/>
                  <a:pt x="2744" y="234"/>
                </a:cubicBezTo>
                <a:cubicBezTo>
                  <a:pt x="2744" y="234"/>
                  <a:pt x="2735" y="232"/>
                  <a:pt x="2735" y="229"/>
                </a:cubicBezTo>
                <a:cubicBezTo>
                  <a:pt x="2735" y="225"/>
                  <a:pt x="2736" y="223"/>
                  <a:pt x="2735" y="220"/>
                </a:cubicBezTo>
                <a:cubicBezTo>
                  <a:pt x="2733" y="217"/>
                  <a:pt x="2730" y="215"/>
                  <a:pt x="2730" y="215"/>
                </a:cubicBezTo>
                <a:cubicBezTo>
                  <a:pt x="2730" y="215"/>
                  <a:pt x="2730" y="212"/>
                  <a:pt x="2731" y="211"/>
                </a:cubicBezTo>
                <a:cubicBezTo>
                  <a:pt x="2732" y="211"/>
                  <a:pt x="2734" y="212"/>
                  <a:pt x="2734" y="212"/>
                </a:cubicBezTo>
                <a:cubicBezTo>
                  <a:pt x="2735" y="210"/>
                  <a:pt x="2735" y="210"/>
                  <a:pt x="2735" y="210"/>
                </a:cubicBezTo>
                <a:cubicBezTo>
                  <a:pt x="2741" y="214"/>
                  <a:pt x="2741" y="214"/>
                  <a:pt x="2741" y="214"/>
                </a:cubicBezTo>
                <a:cubicBezTo>
                  <a:pt x="2742" y="213"/>
                  <a:pt x="2742" y="213"/>
                  <a:pt x="2742" y="213"/>
                </a:cubicBezTo>
                <a:cubicBezTo>
                  <a:pt x="2740" y="211"/>
                  <a:pt x="2740" y="211"/>
                  <a:pt x="2740" y="211"/>
                </a:cubicBezTo>
                <a:cubicBezTo>
                  <a:pt x="2740" y="211"/>
                  <a:pt x="2741" y="205"/>
                  <a:pt x="2744" y="206"/>
                </a:cubicBezTo>
                <a:cubicBezTo>
                  <a:pt x="2746" y="207"/>
                  <a:pt x="2752" y="214"/>
                  <a:pt x="2752" y="214"/>
                </a:cubicBezTo>
                <a:cubicBezTo>
                  <a:pt x="2753" y="207"/>
                  <a:pt x="2753" y="207"/>
                  <a:pt x="2753" y="207"/>
                </a:cubicBezTo>
                <a:cubicBezTo>
                  <a:pt x="2753" y="207"/>
                  <a:pt x="2765" y="206"/>
                  <a:pt x="2767" y="206"/>
                </a:cubicBezTo>
                <a:cubicBezTo>
                  <a:pt x="2769" y="206"/>
                  <a:pt x="2776" y="210"/>
                  <a:pt x="2776" y="210"/>
                </a:cubicBezTo>
                <a:cubicBezTo>
                  <a:pt x="2782" y="212"/>
                  <a:pt x="2782" y="212"/>
                  <a:pt x="2782" y="212"/>
                </a:cubicBezTo>
                <a:cubicBezTo>
                  <a:pt x="2778" y="204"/>
                  <a:pt x="2778" y="204"/>
                  <a:pt x="2778" y="204"/>
                </a:cubicBezTo>
                <a:cubicBezTo>
                  <a:pt x="2778" y="204"/>
                  <a:pt x="2785" y="204"/>
                  <a:pt x="2785" y="202"/>
                </a:cubicBezTo>
                <a:cubicBezTo>
                  <a:pt x="2786" y="199"/>
                  <a:pt x="2784" y="196"/>
                  <a:pt x="2784" y="196"/>
                </a:cubicBezTo>
                <a:cubicBezTo>
                  <a:pt x="2786" y="196"/>
                  <a:pt x="2786" y="196"/>
                  <a:pt x="2786" y="196"/>
                </a:cubicBezTo>
                <a:cubicBezTo>
                  <a:pt x="2787" y="193"/>
                  <a:pt x="2787" y="193"/>
                  <a:pt x="2787" y="193"/>
                </a:cubicBezTo>
                <a:cubicBezTo>
                  <a:pt x="2787" y="193"/>
                  <a:pt x="2795" y="194"/>
                  <a:pt x="2796" y="191"/>
                </a:cubicBezTo>
                <a:cubicBezTo>
                  <a:pt x="2798" y="188"/>
                  <a:pt x="2802" y="186"/>
                  <a:pt x="2802" y="186"/>
                </a:cubicBezTo>
                <a:cubicBezTo>
                  <a:pt x="2799" y="182"/>
                  <a:pt x="2799" y="182"/>
                  <a:pt x="2799" y="182"/>
                </a:cubicBezTo>
                <a:cubicBezTo>
                  <a:pt x="2803" y="183"/>
                  <a:pt x="2803" y="183"/>
                  <a:pt x="2803" y="183"/>
                </a:cubicBezTo>
                <a:cubicBezTo>
                  <a:pt x="2804" y="185"/>
                  <a:pt x="2804" y="185"/>
                  <a:pt x="2804" y="185"/>
                </a:cubicBezTo>
                <a:cubicBezTo>
                  <a:pt x="2812" y="186"/>
                  <a:pt x="2812" y="186"/>
                  <a:pt x="2812" y="186"/>
                </a:cubicBezTo>
                <a:cubicBezTo>
                  <a:pt x="2812" y="186"/>
                  <a:pt x="2821" y="188"/>
                  <a:pt x="2821" y="187"/>
                </a:cubicBezTo>
                <a:cubicBezTo>
                  <a:pt x="2821" y="185"/>
                  <a:pt x="2820" y="183"/>
                  <a:pt x="2820" y="183"/>
                </a:cubicBezTo>
                <a:cubicBezTo>
                  <a:pt x="2815" y="182"/>
                  <a:pt x="2815" y="182"/>
                  <a:pt x="2815" y="182"/>
                </a:cubicBezTo>
                <a:cubicBezTo>
                  <a:pt x="2814" y="179"/>
                  <a:pt x="2814" y="179"/>
                  <a:pt x="2814" y="179"/>
                </a:cubicBezTo>
                <a:cubicBezTo>
                  <a:pt x="2814" y="179"/>
                  <a:pt x="2807" y="176"/>
                  <a:pt x="2804" y="176"/>
                </a:cubicBezTo>
                <a:cubicBezTo>
                  <a:pt x="2802" y="175"/>
                  <a:pt x="2800" y="176"/>
                  <a:pt x="2800" y="176"/>
                </a:cubicBezTo>
                <a:cubicBezTo>
                  <a:pt x="2801" y="174"/>
                  <a:pt x="2801" y="174"/>
                  <a:pt x="2801" y="174"/>
                </a:cubicBezTo>
                <a:cubicBezTo>
                  <a:pt x="2790" y="166"/>
                  <a:pt x="2790" y="166"/>
                  <a:pt x="2790" y="166"/>
                </a:cubicBezTo>
                <a:cubicBezTo>
                  <a:pt x="2788" y="169"/>
                  <a:pt x="2788" y="169"/>
                  <a:pt x="2788" y="169"/>
                </a:cubicBezTo>
                <a:cubicBezTo>
                  <a:pt x="2788" y="169"/>
                  <a:pt x="2784" y="168"/>
                  <a:pt x="2782" y="167"/>
                </a:cubicBezTo>
                <a:cubicBezTo>
                  <a:pt x="2781" y="166"/>
                  <a:pt x="2778" y="165"/>
                  <a:pt x="2778" y="165"/>
                </a:cubicBezTo>
                <a:cubicBezTo>
                  <a:pt x="2774" y="166"/>
                  <a:pt x="2774" y="166"/>
                  <a:pt x="2774" y="166"/>
                </a:cubicBezTo>
                <a:cubicBezTo>
                  <a:pt x="2770" y="165"/>
                  <a:pt x="2770" y="165"/>
                  <a:pt x="2770" y="165"/>
                </a:cubicBezTo>
                <a:cubicBezTo>
                  <a:pt x="2770" y="165"/>
                  <a:pt x="2763" y="161"/>
                  <a:pt x="2766" y="161"/>
                </a:cubicBezTo>
                <a:cubicBezTo>
                  <a:pt x="2768" y="160"/>
                  <a:pt x="2771" y="162"/>
                  <a:pt x="2772" y="162"/>
                </a:cubicBezTo>
                <a:cubicBezTo>
                  <a:pt x="2774" y="162"/>
                  <a:pt x="2784" y="164"/>
                  <a:pt x="2784" y="164"/>
                </a:cubicBezTo>
                <a:cubicBezTo>
                  <a:pt x="2784" y="164"/>
                  <a:pt x="2794" y="161"/>
                  <a:pt x="2794" y="159"/>
                </a:cubicBezTo>
                <a:cubicBezTo>
                  <a:pt x="2794" y="158"/>
                  <a:pt x="2788" y="154"/>
                  <a:pt x="2788" y="154"/>
                </a:cubicBezTo>
                <a:cubicBezTo>
                  <a:pt x="2787" y="154"/>
                  <a:pt x="2777" y="150"/>
                  <a:pt x="2780" y="148"/>
                </a:cubicBezTo>
                <a:cubicBezTo>
                  <a:pt x="2783" y="146"/>
                  <a:pt x="2788" y="151"/>
                  <a:pt x="2788" y="151"/>
                </a:cubicBezTo>
                <a:cubicBezTo>
                  <a:pt x="2788" y="151"/>
                  <a:pt x="2798" y="157"/>
                  <a:pt x="2801" y="156"/>
                </a:cubicBezTo>
                <a:cubicBezTo>
                  <a:pt x="2804" y="156"/>
                  <a:pt x="2805" y="153"/>
                  <a:pt x="2813" y="156"/>
                </a:cubicBezTo>
                <a:cubicBezTo>
                  <a:pt x="2821" y="158"/>
                  <a:pt x="2828" y="161"/>
                  <a:pt x="2831" y="162"/>
                </a:cubicBezTo>
                <a:cubicBezTo>
                  <a:pt x="2833" y="162"/>
                  <a:pt x="2842" y="165"/>
                  <a:pt x="2842" y="165"/>
                </a:cubicBezTo>
                <a:cubicBezTo>
                  <a:pt x="2842" y="165"/>
                  <a:pt x="2854" y="172"/>
                  <a:pt x="2853" y="168"/>
                </a:cubicBezTo>
                <a:cubicBezTo>
                  <a:pt x="2853" y="164"/>
                  <a:pt x="2848" y="162"/>
                  <a:pt x="2848" y="162"/>
                </a:cubicBezTo>
                <a:cubicBezTo>
                  <a:pt x="2851" y="160"/>
                  <a:pt x="2851" y="160"/>
                  <a:pt x="2851" y="160"/>
                </a:cubicBezTo>
                <a:cubicBezTo>
                  <a:pt x="2845" y="157"/>
                  <a:pt x="2845" y="157"/>
                  <a:pt x="2845" y="157"/>
                </a:cubicBezTo>
                <a:cubicBezTo>
                  <a:pt x="2846" y="157"/>
                  <a:pt x="2846" y="157"/>
                  <a:pt x="2846" y="157"/>
                </a:cubicBezTo>
                <a:cubicBezTo>
                  <a:pt x="2839" y="153"/>
                  <a:pt x="2839" y="153"/>
                  <a:pt x="2839" y="153"/>
                </a:cubicBezTo>
                <a:cubicBezTo>
                  <a:pt x="2847" y="154"/>
                  <a:pt x="2847" y="154"/>
                  <a:pt x="2847" y="154"/>
                </a:cubicBezTo>
                <a:cubicBezTo>
                  <a:pt x="2846" y="152"/>
                  <a:pt x="2846" y="152"/>
                  <a:pt x="2846" y="152"/>
                </a:cubicBezTo>
                <a:cubicBezTo>
                  <a:pt x="2846" y="152"/>
                  <a:pt x="2856" y="154"/>
                  <a:pt x="2854" y="151"/>
                </a:cubicBezTo>
                <a:cubicBezTo>
                  <a:pt x="2852" y="148"/>
                  <a:pt x="2846" y="147"/>
                  <a:pt x="2846" y="147"/>
                </a:cubicBezTo>
                <a:cubicBezTo>
                  <a:pt x="2839" y="144"/>
                  <a:pt x="2839" y="144"/>
                  <a:pt x="2839" y="144"/>
                </a:cubicBezTo>
                <a:cubicBezTo>
                  <a:pt x="2833" y="145"/>
                  <a:pt x="2833" y="145"/>
                  <a:pt x="2833" y="145"/>
                </a:cubicBezTo>
                <a:cubicBezTo>
                  <a:pt x="2829" y="142"/>
                  <a:pt x="2829" y="142"/>
                  <a:pt x="2829" y="142"/>
                </a:cubicBezTo>
                <a:cubicBezTo>
                  <a:pt x="2816" y="141"/>
                  <a:pt x="2816" y="141"/>
                  <a:pt x="2816" y="141"/>
                </a:cubicBezTo>
                <a:cubicBezTo>
                  <a:pt x="2811" y="139"/>
                  <a:pt x="2811" y="139"/>
                  <a:pt x="2811" y="139"/>
                </a:cubicBezTo>
                <a:cubicBezTo>
                  <a:pt x="2806" y="139"/>
                  <a:pt x="2806" y="139"/>
                  <a:pt x="2806" y="139"/>
                </a:cubicBezTo>
                <a:cubicBezTo>
                  <a:pt x="2813" y="144"/>
                  <a:pt x="2813" y="144"/>
                  <a:pt x="2813" y="144"/>
                </a:cubicBezTo>
                <a:cubicBezTo>
                  <a:pt x="2821" y="148"/>
                  <a:pt x="2821" y="148"/>
                  <a:pt x="2821" y="148"/>
                </a:cubicBezTo>
                <a:cubicBezTo>
                  <a:pt x="2821" y="148"/>
                  <a:pt x="2812" y="149"/>
                  <a:pt x="2810" y="147"/>
                </a:cubicBezTo>
                <a:cubicBezTo>
                  <a:pt x="2807" y="145"/>
                  <a:pt x="2807" y="140"/>
                  <a:pt x="2796" y="136"/>
                </a:cubicBezTo>
                <a:cubicBezTo>
                  <a:pt x="2785" y="133"/>
                  <a:pt x="2781" y="131"/>
                  <a:pt x="2770" y="129"/>
                </a:cubicBezTo>
                <a:cubicBezTo>
                  <a:pt x="2759" y="127"/>
                  <a:pt x="2735" y="122"/>
                  <a:pt x="2724" y="119"/>
                </a:cubicBezTo>
                <a:cubicBezTo>
                  <a:pt x="2713" y="116"/>
                  <a:pt x="2700" y="115"/>
                  <a:pt x="2700" y="115"/>
                </a:cubicBezTo>
                <a:cubicBezTo>
                  <a:pt x="2674" y="115"/>
                  <a:pt x="2674" y="115"/>
                  <a:pt x="2674" y="115"/>
                </a:cubicBezTo>
                <a:cubicBezTo>
                  <a:pt x="2672" y="112"/>
                  <a:pt x="2672" y="112"/>
                  <a:pt x="2672" y="112"/>
                </a:cubicBezTo>
                <a:cubicBezTo>
                  <a:pt x="2666" y="113"/>
                  <a:pt x="2666" y="113"/>
                  <a:pt x="2666" y="113"/>
                </a:cubicBezTo>
                <a:cubicBezTo>
                  <a:pt x="2664" y="111"/>
                  <a:pt x="2664" y="111"/>
                  <a:pt x="2664" y="111"/>
                </a:cubicBezTo>
                <a:cubicBezTo>
                  <a:pt x="2656" y="111"/>
                  <a:pt x="2656" y="111"/>
                  <a:pt x="2656" y="111"/>
                </a:cubicBezTo>
                <a:cubicBezTo>
                  <a:pt x="2660" y="113"/>
                  <a:pt x="2660" y="113"/>
                  <a:pt x="2660" y="113"/>
                </a:cubicBezTo>
                <a:cubicBezTo>
                  <a:pt x="2659" y="116"/>
                  <a:pt x="2659" y="116"/>
                  <a:pt x="2659" y="116"/>
                </a:cubicBezTo>
                <a:cubicBezTo>
                  <a:pt x="2659" y="116"/>
                  <a:pt x="2679" y="121"/>
                  <a:pt x="2673" y="124"/>
                </a:cubicBezTo>
                <a:cubicBezTo>
                  <a:pt x="2667" y="127"/>
                  <a:pt x="2663" y="123"/>
                  <a:pt x="2663" y="123"/>
                </a:cubicBezTo>
                <a:cubicBezTo>
                  <a:pt x="2660" y="120"/>
                  <a:pt x="2660" y="120"/>
                  <a:pt x="2660" y="120"/>
                </a:cubicBezTo>
                <a:cubicBezTo>
                  <a:pt x="2651" y="120"/>
                  <a:pt x="2651" y="120"/>
                  <a:pt x="2651" y="120"/>
                </a:cubicBezTo>
                <a:cubicBezTo>
                  <a:pt x="2643" y="115"/>
                  <a:pt x="2643" y="115"/>
                  <a:pt x="2643" y="115"/>
                </a:cubicBezTo>
                <a:cubicBezTo>
                  <a:pt x="2643" y="115"/>
                  <a:pt x="2639" y="116"/>
                  <a:pt x="2638" y="117"/>
                </a:cubicBezTo>
                <a:cubicBezTo>
                  <a:pt x="2637" y="117"/>
                  <a:pt x="2631" y="117"/>
                  <a:pt x="2631" y="117"/>
                </a:cubicBezTo>
                <a:cubicBezTo>
                  <a:pt x="2630" y="116"/>
                  <a:pt x="2630" y="116"/>
                  <a:pt x="2630" y="116"/>
                </a:cubicBezTo>
                <a:cubicBezTo>
                  <a:pt x="2617" y="116"/>
                  <a:pt x="2617" y="116"/>
                  <a:pt x="2617" y="116"/>
                </a:cubicBezTo>
                <a:cubicBezTo>
                  <a:pt x="2613" y="114"/>
                  <a:pt x="2613" y="114"/>
                  <a:pt x="2613" y="114"/>
                </a:cubicBezTo>
                <a:cubicBezTo>
                  <a:pt x="2612" y="115"/>
                  <a:pt x="2612" y="115"/>
                  <a:pt x="2612" y="115"/>
                </a:cubicBezTo>
                <a:cubicBezTo>
                  <a:pt x="2612" y="115"/>
                  <a:pt x="2596" y="113"/>
                  <a:pt x="2597" y="116"/>
                </a:cubicBezTo>
                <a:cubicBezTo>
                  <a:pt x="2598" y="118"/>
                  <a:pt x="2604" y="123"/>
                  <a:pt x="2604" y="123"/>
                </a:cubicBezTo>
                <a:cubicBezTo>
                  <a:pt x="2604" y="123"/>
                  <a:pt x="2597" y="118"/>
                  <a:pt x="2596" y="117"/>
                </a:cubicBezTo>
                <a:cubicBezTo>
                  <a:pt x="2595" y="116"/>
                  <a:pt x="2581" y="115"/>
                  <a:pt x="2581" y="115"/>
                </a:cubicBezTo>
                <a:cubicBezTo>
                  <a:pt x="2581" y="115"/>
                  <a:pt x="2579" y="111"/>
                  <a:pt x="2574" y="108"/>
                </a:cubicBezTo>
                <a:cubicBezTo>
                  <a:pt x="2568" y="105"/>
                  <a:pt x="2560" y="104"/>
                  <a:pt x="2557" y="104"/>
                </a:cubicBezTo>
                <a:cubicBezTo>
                  <a:pt x="2553" y="104"/>
                  <a:pt x="2546" y="103"/>
                  <a:pt x="2546" y="103"/>
                </a:cubicBezTo>
                <a:cubicBezTo>
                  <a:pt x="2539" y="101"/>
                  <a:pt x="2539" y="101"/>
                  <a:pt x="2539" y="101"/>
                </a:cubicBezTo>
                <a:cubicBezTo>
                  <a:pt x="2537" y="102"/>
                  <a:pt x="2537" y="102"/>
                  <a:pt x="2537" y="102"/>
                </a:cubicBezTo>
                <a:cubicBezTo>
                  <a:pt x="2529" y="102"/>
                  <a:pt x="2529" y="102"/>
                  <a:pt x="2529" y="102"/>
                </a:cubicBezTo>
                <a:cubicBezTo>
                  <a:pt x="2529" y="102"/>
                  <a:pt x="2528" y="106"/>
                  <a:pt x="2523" y="105"/>
                </a:cubicBezTo>
                <a:cubicBezTo>
                  <a:pt x="2518" y="105"/>
                  <a:pt x="2512" y="104"/>
                  <a:pt x="2512" y="104"/>
                </a:cubicBezTo>
                <a:cubicBezTo>
                  <a:pt x="2512" y="104"/>
                  <a:pt x="2506" y="100"/>
                  <a:pt x="2502" y="100"/>
                </a:cubicBezTo>
                <a:cubicBezTo>
                  <a:pt x="2499" y="100"/>
                  <a:pt x="2497" y="100"/>
                  <a:pt x="2497" y="100"/>
                </a:cubicBezTo>
                <a:cubicBezTo>
                  <a:pt x="2496" y="98"/>
                  <a:pt x="2496" y="98"/>
                  <a:pt x="2496" y="98"/>
                </a:cubicBezTo>
                <a:cubicBezTo>
                  <a:pt x="2490" y="98"/>
                  <a:pt x="2490" y="98"/>
                  <a:pt x="2490" y="98"/>
                </a:cubicBezTo>
                <a:cubicBezTo>
                  <a:pt x="2481" y="97"/>
                  <a:pt x="2481" y="97"/>
                  <a:pt x="2481" y="97"/>
                </a:cubicBezTo>
                <a:cubicBezTo>
                  <a:pt x="2487" y="95"/>
                  <a:pt x="2487" y="95"/>
                  <a:pt x="2487" y="95"/>
                </a:cubicBezTo>
                <a:cubicBezTo>
                  <a:pt x="2481" y="92"/>
                  <a:pt x="2481" y="92"/>
                  <a:pt x="2481" y="92"/>
                </a:cubicBezTo>
                <a:cubicBezTo>
                  <a:pt x="2481" y="92"/>
                  <a:pt x="2462" y="90"/>
                  <a:pt x="2461" y="91"/>
                </a:cubicBezTo>
                <a:cubicBezTo>
                  <a:pt x="2460" y="92"/>
                  <a:pt x="2463" y="96"/>
                  <a:pt x="2460" y="96"/>
                </a:cubicBezTo>
                <a:cubicBezTo>
                  <a:pt x="2457" y="97"/>
                  <a:pt x="2452" y="96"/>
                  <a:pt x="2452" y="96"/>
                </a:cubicBezTo>
                <a:cubicBezTo>
                  <a:pt x="2455" y="94"/>
                  <a:pt x="2455" y="94"/>
                  <a:pt x="2455" y="94"/>
                </a:cubicBezTo>
                <a:cubicBezTo>
                  <a:pt x="2453" y="92"/>
                  <a:pt x="2453" y="92"/>
                  <a:pt x="2453" y="92"/>
                </a:cubicBezTo>
                <a:cubicBezTo>
                  <a:pt x="2453" y="92"/>
                  <a:pt x="2452" y="92"/>
                  <a:pt x="2449" y="92"/>
                </a:cubicBezTo>
                <a:cubicBezTo>
                  <a:pt x="2446" y="93"/>
                  <a:pt x="2443" y="92"/>
                  <a:pt x="2443" y="92"/>
                </a:cubicBezTo>
                <a:cubicBezTo>
                  <a:pt x="2445" y="91"/>
                  <a:pt x="2445" y="91"/>
                  <a:pt x="2445" y="91"/>
                </a:cubicBezTo>
                <a:cubicBezTo>
                  <a:pt x="2451" y="90"/>
                  <a:pt x="2451" y="90"/>
                  <a:pt x="2451" y="90"/>
                </a:cubicBezTo>
                <a:cubicBezTo>
                  <a:pt x="2459" y="95"/>
                  <a:pt x="2459" y="95"/>
                  <a:pt x="2459" y="95"/>
                </a:cubicBezTo>
                <a:cubicBezTo>
                  <a:pt x="2460" y="91"/>
                  <a:pt x="2460" y="91"/>
                  <a:pt x="2460" y="91"/>
                </a:cubicBezTo>
                <a:cubicBezTo>
                  <a:pt x="2452" y="88"/>
                  <a:pt x="2452" y="88"/>
                  <a:pt x="2452" y="88"/>
                </a:cubicBezTo>
                <a:cubicBezTo>
                  <a:pt x="2436" y="89"/>
                  <a:pt x="2436" y="89"/>
                  <a:pt x="2436" y="89"/>
                </a:cubicBezTo>
                <a:cubicBezTo>
                  <a:pt x="2436" y="87"/>
                  <a:pt x="2436" y="87"/>
                  <a:pt x="2436" y="87"/>
                </a:cubicBezTo>
                <a:cubicBezTo>
                  <a:pt x="2419" y="88"/>
                  <a:pt x="2419" y="88"/>
                  <a:pt x="2419" y="88"/>
                </a:cubicBezTo>
                <a:cubicBezTo>
                  <a:pt x="2413" y="85"/>
                  <a:pt x="2413" y="85"/>
                  <a:pt x="2413" y="85"/>
                </a:cubicBezTo>
                <a:cubicBezTo>
                  <a:pt x="2410" y="85"/>
                  <a:pt x="2410" y="85"/>
                  <a:pt x="2410" y="85"/>
                </a:cubicBezTo>
                <a:cubicBezTo>
                  <a:pt x="2415" y="89"/>
                  <a:pt x="2415" y="89"/>
                  <a:pt x="2415" y="89"/>
                </a:cubicBezTo>
                <a:cubicBezTo>
                  <a:pt x="2415" y="89"/>
                  <a:pt x="2404" y="89"/>
                  <a:pt x="2406" y="90"/>
                </a:cubicBezTo>
                <a:cubicBezTo>
                  <a:pt x="2408" y="92"/>
                  <a:pt x="2410" y="93"/>
                  <a:pt x="2410" y="93"/>
                </a:cubicBezTo>
                <a:cubicBezTo>
                  <a:pt x="2414" y="93"/>
                  <a:pt x="2414" y="93"/>
                  <a:pt x="2414" y="93"/>
                </a:cubicBezTo>
                <a:cubicBezTo>
                  <a:pt x="2414" y="94"/>
                  <a:pt x="2414" y="94"/>
                  <a:pt x="2414" y="94"/>
                </a:cubicBezTo>
                <a:cubicBezTo>
                  <a:pt x="2422" y="99"/>
                  <a:pt x="2422" y="99"/>
                  <a:pt x="2422" y="99"/>
                </a:cubicBezTo>
                <a:cubicBezTo>
                  <a:pt x="2422" y="99"/>
                  <a:pt x="2421" y="99"/>
                  <a:pt x="2418" y="99"/>
                </a:cubicBezTo>
                <a:cubicBezTo>
                  <a:pt x="2415" y="99"/>
                  <a:pt x="2411" y="96"/>
                  <a:pt x="2410" y="97"/>
                </a:cubicBezTo>
                <a:cubicBezTo>
                  <a:pt x="2408" y="98"/>
                  <a:pt x="2408" y="98"/>
                  <a:pt x="2408" y="98"/>
                </a:cubicBezTo>
                <a:cubicBezTo>
                  <a:pt x="2411" y="101"/>
                  <a:pt x="2411" y="101"/>
                  <a:pt x="2411" y="101"/>
                </a:cubicBezTo>
                <a:cubicBezTo>
                  <a:pt x="2404" y="100"/>
                  <a:pt x="2404" y="100"/>
                  <a:pt x="2404" y="100"/>
                </a:cubicBezTo>
                <a:cubicBezTo>
                  <a:pt x="2404" y="100"/>
                  <a:pt x="2393" y="97"/>
                  <a:pt x="2392" y="97"/>
                </a:cubicBezTo>
                <a:cubicBezTo>
                  <a:pt x="2390" y="97"/>
                  <a:pt x="2384" y="100"/>
                  <a:pt x="2384" y="100"/>
                </a:cubicBezTo>
                <a:cubicBezTo>
                  <a:pt x="2375" y="99"/>
                  <a:pt x="2375" y="99"/>
                  <a:pt x="2375" y="99"/>
                </a:cubicBezTo>
                <a:cubicBezTo>
                  <a:pt x="2375" y="99"/>
                  <a:pt x="2367" y="95"/>
                  <a:pt x="2366" y="94"/>
                </a:cubicBezTo>
                <a:cubicBezTo>
                  <a:pt x="2366" y="94"/>
                  <a:pt x="2364" y="96"/>
                  <a:pt x="2365" y="97"/>
                </a:cubicBezTo>
                <a:cubicBezTo>
                  <a:pt x="2365" y="99"/>
                  <a:pt x="2371" y="105"/>
                  <a:pt x="2368" y="105"/>
                </a:cubicBezTo>
                <a:cubicBezTo>
                  <a:pt x="2364" y="105"/>
                  <a:pt x="2348" y="99"/>
                  <a:pt x="2347" y="99"/>
                </a:cubicBezTo>
                <a:cubicBezTo>
                  <a:pt x="2347" y="98"/>
                  <a:pt x="2343" y="95"/>
                  <a:pt x="2343" y="95"/>
                </a:cubicBezTo>
                <a:cubicBezTo>
                  <a:pt x="2342" y="97"/>
                  <a:pt x="2342" y="97"/>
                  <a:pt x="2342" y="97"/>
                </a:cubicBezTo>
                <a:cubicBezTo>
                  <a:pt x="2334" y="95"/>
                  <a:pt x="2334" y="95"/>
                  <a:pt x="2334" y="95"/>
                </a:cubicBezTo>
                <a:cubicBezTo>
                  <a:pt x="2331" y="92"/>
                  <a:pt x="2331" y="92"/>
                  <a:pt x="2331" y="92"/>
                </a:cubicBezTo>
                <a:cubicBezTo>
                  <a:pt x="2331" y="92"/>
                  <a:pt x="2339" y="94"/>
                  <a:pt x="2340" y="93"/>
                </a:cubicBezTo>
                <a:cubicBezTo>
                  <a:pt x="2341" y="92"/>
                  <a:pt x="2335" y="89"/>
                  <a:pt x="2335" y="89"/>
                </a:cubicBezTo>
                <a:cubicBezTo>
                  <a:pt x="2330" y="89"/>
                  <a:pt x="2330" y="89"/>
                  <a:pt x="2330" y="89"/>
                </a:cubicBezTo>
                <a:cubicBezTo>
                  <a:pt x="2330" y="89"/>
                  <a:pt x="2333" y="88"/>
                  <a:pt x="2331" y="87"/>
                </a:cubicBezTo>
                <a:cubicBezTo>
                  <a:pt x="2330" y="86"/>
                  <a:pt x="2326" y="86"/>
                  <a:pt x="2326" y="86"/>
                </a:cubicBezTo>
                <a:cubicBezTo>
                  <a:pt x="2327" y="84"/>
                  <a:pt x="2327" y="84"/>
                  <a:pt x="2327" y="84"/>
                </a:cubicBezTo>
                <a:cubicBezTo>
                  <a:pt x="2327" y="84"/>
                  <a:pt x="2321" y="82"/>
                  <a:pt x="2320" y="82"/>
                </a:cubicBezTo>
                <a:cubicBezTo>
                  <a:pt x="2319" y="82"/>
                  <a:pt x="2316" y="80"/>
                  <a:pt x="2316" y="80"/>
                </a:cubicBezTo>
                <a:cubicBezTo>
                  <a:pt x="2309" y="80"/>
                  <a:pt x="2309" y="80"/>
                  <a:pt x="2309" y="80"/>
                </a:cubicBezTo>
                <a:cubicBezTo>
                  <a:pt x="2309" y="80"/>
                  <a:pt x="2311" y="81"/>
                  <a:pt x="2306" y="81"/>
                </a:cubicBezTo>
                <a:cubicBezTo>
                  <a:pt x="2302" y="81"/>
                  <a:pt x="2298" y="79"/>
                  <a:pt x="2298" y="79"/>
                </a:cubicBezTo>
                <a:cubicBezTo>
                  <a:pt x="2295" y="81"/>
                  <a:pt x="2295" y="81"/>
                  <a:pt x="2295" y="81"/>
                </a:cubicBezTo>
                <a:cubicBezTo>
                  <a:pt x="2295" y="79"/>
                  <a:pt x="2295" y="79"/>
                  <a:pt x="2295" y="79"/>
                </a:cubicBezTo>
                <a:cubicBezTo>
                  <a:pt x="2288" y="77"/>
                  <a:pt x="2288" y="77"/>
                  <a:pt x="2288" y="77"/>
                </a:cubicBezTo>
                <a:cubicBezTo>
                  <a:pt x="2287" y="76"/>
                  <a:pt x="2287" y="76"/>
                  <a:pt x="2287" y="76"/>
                </a:cubicBezTo>
                <a:cubicBezTo>
                  <a:pt x="2286" y="79"/>
                  <a:pt x="2286" y="79"/>
                  <a:pt x="2286" y="79"/>
                </a:cubicBezTo>
                <a:cubicBezTo>
                  <a:pt x="2284" y="79"/>
                  <a:pt x="2284" y="79"/>
                  <a:pt x="2284" y="79"/>
                </a:cubicBezTo>
                <a:cubicBezTo>
                  <a:pt x="2288" y="82"/>
                  <a:pt x="2288" y="82"/>
                  <a:pt x="2288" y="82"/>
                </a:cubicBezTo>
                <a:cubicBezTo>
                  <a:pt x="2291" y="86"/>
                  <a:pt x="2291" y="86"/>
                  <a:pt x="2291" y="86"/>
                </a:cubicBezTo>
                <a:cubicBezTo>
                  <a:pt x="2284" y="86"/>
                  <a:pt x="2284" y="86"/>
                  <a:pt x="2284" y="86"/>
                </a:cubicBezTo>
                <a:cubicBezTo>
                  <a:pt x="2283" y="84"/>
                  <a:pt x="2283" y="84"/>
                  <a:pt x="2283" y="84"/>
                </a:cubicBezTo>
                <a:cubicBezTo>
                  <a:pt x="2274" y="85"/>
                  <a:pt x="2274" y="85"/>
                  <a:pt x="2274" y="85"/>
                </a:cubicBezTo>
                <a:cubicBezTo>
                  <a:pt x="2272" y="86"/>
                  <a:pt x="2272" y="86"/>
                  <a:pt x="2272" y="86"/>
                </a:cubicBezTo>
                <a:cubicBezTo>
                  <a:pt x="2272" y="84"/>
                  <a:pt x="2272" y="84"/>
                  <a:pt x="2272" y="84"/>
                </a:cubicBezTo>
                <a:cubicBezTo>
                  <a:pt x="2266" y="85"/>
                  <a:pt x="2266" y="85"/>
                  <a:pt x="2266" y="85"/>
                </a:cubicBezTo>
                <a:cubicBezTo>
                  <a:pt x="2265" y="84"/>
                  <a:pt x="2265" y="84"/>
                  <a:pt x="2265" y="84"/>
                </a:cubicBezTo>
                <a:cubicBezTo>
                  <a:pt x="2257" y="84"/>
                  <a:pt x="2257" y="84"/>
                  <a:pt x="2257" y="84"/>
                </a:cubicBezTo>
                <a:cubicBezTo>
                  <a:pt x="2252" y="83"/>
                  <a:pt x="2252" y="83"/>
                  <a:pt x="2252" y="83"/>
                </a:cubicBezTo>
                <a:cubicBezTo>
                  <a:pt x="2254" y="80"/>
                  <a:pt x="2254" y="80"/>
                  <a:pt x="2254" y="80"/>
                </a:cubicBezTo>
                <a:cubicBezTo>
                  <a:pt x="2236" y="79"/>
                  <a:pt x="2236" y="79"/>
                  <a:pt x="2236" y="79"/>
                </a:cubicBezTo>
                <a:cubicBezTo>
                  <a:pt x="2235" y="78"/>
                  <a:pt x="2235" y="78"/>
                  <a:pt x="2235" y="78"/>
                </a:cubicBezTo>
                <a:cubicBezTo>
                  <a:pt x="2234" y="79"/>
                  <a:pt x="2234" y="79"/>
                  <a:pt x="2234" y="79"/>
                </a:cubicBezTo>
                <a:cubicBezTo>
                  <a:pt x="2233" y="78"/>
                  <a:pt x="2233" y="78"/>
                  <a:pt x="2233" y="78"/>
                </a:cubicBezTo>
                <a:cubicBezTo>
                  <a:pt x="2226" y="78"/>
                  <a:pt x="2226" y="78"/>
                  <a:pt x="2226" y="78"/>
                </a:cubicBezTo>
                <a:cubicBezTo>
                  <a:pt x="2226" y="80"/>
                  <a:pt x="2226" y="80"/>
                  <a:pt x="2226" y="80"/>
                </a:cubicBezTo>
                <a:cubicBezTo>
                  <a:pt x="2219" y="79"/>
                  <a:pt x="2219" y="79"/>
                  <a:pt x="2219" y="79"/>
                </a:cubicBezTo>
                <a:cubicBezTo>
                  <a:pt x="2217" y="80"/>
                  <a:pt x="2217" y="80"/>
                  <a:pt x="2217" y="80"/>
                </a:cubicBezTo>
                <a:cubicBezTo>
                  <a:pt x="2221" y="82"/>
                  <a:pt x="2221" y="82"/>
                  <a:pt x="2221" y="82"/>
                </a:cubicBezTo>
                <a:cubicBezTo>
                  <a:pt x="2215" y="81"/>
                  <a:pt x="2215" y="81"/>
                  <a:pt x="2215" y="81"/>
                </a:cubicBezTo>
                <a:cubicBezTo>
                  <a:pt x="2215" y="79"/>
                  <a:pt x="2215" y="79"/>
                  <a:pt x="2215" y="79"/>
                </a:cubicBezTo>
                <a:cubicBezTo>
                  <a:pt x="2211" y="76"/>
                  <a:pt x="2211" y="76"/>
                  <a:pt x="2211" y="76"/>
                </a:cubicBezTo>
                <a:cubicBezTo>
                  <a:pt x="2208" y="76"/>
                  <a:pt x="2208" y="76"/>
                  <a:pt x="2208" y="76"/>
                </a:cubicBezTo>
                <a:cubicBezTo>
                  <a:pt x="2210" y="79"/>
                  <a:pt x="2210" y="79"/>
                  <a:pt x="2210" y="79"/>
                </a:cubicBezTo>
                <a:cubicBezTo>
                  <a:pt x="2202" y="79"/>
                  <a:pt x="2202" y="79"/>
                  <a:pt x="2202" y="79"/>
                </a:cubicBezTo>
                <a:cubicBezTo>
                  <a:pt x="2202" y="78"/>
                  <a:pt x="2202" y="78"/>
                  <a:pt x="2202" y="78"/>
                </a:cubicBezTo>
                <a:cubicBezTo>
                  <a:pt x="2200" y="78"/>
                  <a:pt x="2200" y="78"/>
                  <a:pt x="2200" y="78"/>
                </a:cubicBezTo>
                <a:cubicBezTo>
                  <a:pt x="2199" y="76"/>
                  <a:pt x="2199" y="76"/>
                  <a:pt x="2199" y="76"/>
                </a:cubicBezTo>
                <a:cubicBezTo>
                  <a:pt x="2197" y="76"/>
                  <a:pt x="2197" y="76"/>
                  <a:pt x="2197" y="76"/>
                </a:cubicBezTo>
                <a:cubicBezTo>
                  <a:pt x="2195" y="76"/>
                  <a:pt x="2195" y="76"/>
                  <a:pt x="2195" y="76"/>
                </a:cubicBezTo>
                <a:cubicBezTo>
                  <a:pt x="2191" y="75"/>
                  <a:pt x="2191" y="75"/>
                  <a:pt x="2191" y="75"/>
                </a:cubicBezTo>
                <a:cubicBezTo>
                  <a:pt x="2187" y="78"/>
                  <a:pt x="2187" y="78"/>
                  <a:pt x="2187" y="78"/>
                </a:cubicBezTo>
                <a:cubicBezTo>
                  <a:pt x="2195" y="79"/>
                  <a:pt x="2195" y="79"/>
                  <a:pt x="2195" y="79"/>
                </a:cubicBezTo>
                <a:cubicBezTo>
                  <a:pt x="2196" y="79"/>
                  <a:pt x="2196" y="79"/>
                  <a:pt x="2196" y="79"/>
                </a:cubicBezTo>
                <a:cubicBezTo>
                  <a:pt x="2196" y="79"/>
                  <a:pt x="2194" y="81"/>
                  <a:pt x="2192" y="81"/>
                </a:cubicBezTo>
                <a:cubicBezTo>
                  <a:pt x="2191" y="81"/>
                  <a:pt x="2190" y="81"/>
                  <a:pt x="2188" y="81"/>
                </a:cubicBezTo>
                <a:cubicBezTo>
                  <a:pt x="2187" y="82"/>
                  <a:pt x="2187" y="83"/>
                  <a:pt x="2186" y="83"/>
                </a:cubicBezTo>
                <a:cubicBezTo>
                  <a:pt x="2185" y="83"/>
                  <a:pt x="2175" y="83"/>
                  <a:pt x="2175" y="83"/>
                </a:cubicBezTo>
                <a:cubicBezTo>
                  <a:pt x="2171" y="84"/>
                  <a:pt x="2171" y="84"/>
                  <a:pt x="2171" y="84"/>
                </a:cubicBezTo>
                <a:cubicBezTo>
                  <a:pt x="2169" y="87"/>
                  <a:pt x="2169" y="87"/>
                  <a:pt x="2169" y="87"/>
                </a:cubicBezTo>
                <a:cubicBezTo>
                  <a:pt x="2165" y="86"/>
                  <a:pt x="2165" y="86"/>
                  <a:pt x="2165" y="86"/>
                </a:cubicBezTo>
                <a:cubicBezTo>
                  <a:pt x="2165" y="86"/>
                  <a:pt x="2166" y="83"/>
                  <a:pt x="2168" y="82"/>
                </a:cubicBezTo>
                <a:cubicBezTo>
                  <a:pt x="2169" y="81"/>
                  <a:pt x="2172" y="81"/>
                  <a:pt x="2172" y="81"/>
                </a:cubicBezTo>
                <a:cubicBezTo>
                  <a:pt x="2173" y="79"/>
                  <a:pt x="2173" y="79"/>
                  <a:pt x="2173" y="79"/>
                </a:cubicBezTo>
                <a:cubicBezTo>
                  <a:pt x="2179" y="79"/>
                  <a:pt x="2179" y="79"/>
                  <a:pt x="2179" y="79"/>
                </a:cubicBezTo>
                <a:cubicBezTo>
                  <a:pt x="2185" y="74"/>
                  <a:pt x="2185" y="74"/>
                  <a:pt x="2185" y="74"/>
                </a:cubicBezTo>
                <a:cubicBezTo>
                  <a:pt x="2185" y="74"/>
                  <a:pt x="2185" y="71"/>
                  <a:pt x="2187" y="70"/>
                </a:cubicBezTo>
                <a:cubicBezTo>
                  <a:pt x="2190" y="69"/>
                  <a:pt x="2200" y="69"/>
                  <a:pt x="2200" y="66"/>
                </a:cubicBezTo>
                <a:cubicBezTo>
                  <a:pt x="2199" y="62"/>
                  <a:pt x="2196" y="61"/>
                  <a:pt x="2196" y="61"/>
                </a:cubicBezTo>
                <a:cubicBezTo>
                  <a:pt x="2190" y="61"/>
                  <a:pt x="2190" y="61"/>
                  <a:pt x="2190" y="61"/>
                </a:cubicBezTo>
                <a:cubicBezTo>
                  <a:pt x="2195" y="59"/>
                  <a:pt x="2195" y="59"/>
                  <a:pt x="2195" y="59"/>
                </a:cubicBezTo>
                <a:cubicBezTo>
                  <a:pt x="2195" y="59"/>
                  <a:pt x="2191" y="56"/>
                  <a:pt x="2190" y="56"/>
                </a:cubicBezTo>
                <a:cubicBezTo>
                  <a:pt x="2189" y="57"/>
                  <a:pt x="2185" y="57"/>
                  <a:pt x="2185" y="57"/>
                </a:cubicBezTo>
                <a:cubicBezTo>
                  <a:pt x="2185" y="57"/>
                  <a:pt x="2184" y="53"/>
                  <a:pt x="2181" y="53"/>
                </a:cubicBezTo>
                <a:cubicBezTo>
                  <a:pt x="2179" y="53"/>
                  <a:pt x="2176" y="54"/>
                  <a:pt x="2176" y="54"/>
                </a:cubicBezTo>
                <a:cubicBezTo>
                  <a:pt x="2168" y="53"/>
                  <a:pt x="2168" y="53"/>
                  <a:pt x="2168" y="53"/>
                </a:cubicBezTo>
                <a:cubicBezTo>
                  <a:pt x="2149" y="52"/>
                  <a:pt x="2149" y="52"/>
                  <a:pt x="2149" y="52"/>
                </a:cubicBezTo>
                <a:cubicBezTo>
                  <a:pt x="2149" y="54"/>
                  <a:pt x="2149" y="54"/>
                  <a:pt x="2149" y="54"/>
                </a:cubicBezTo>
                <a:cubicBezTo>
                  <a:pt x="2140" y="54"/>
                  <a:pt x="2140" y="54"/>
                  <a:pt x="2140" y="54"/>
                </a:cubicBezTo>
                <a:cubicBezTo>
                  <a:pt x="2140" y="54"/>
                  <a:pt x="2144" y="51"/>
                  <a:pt x="2141" y="50"/>
                </a:cubicBezTo>
                <a:cubicBezTo>
                  <a:pt x="2139" y="49"/>
                  <a:pt x="2128" y="50"/>
                  <a:pt x="2128" y="50"/>
                </a:cubicBezTo>
                <a:cubicBezTo>
                  <a:pt x="2120" y="49"/>
                  <a:pt x="2120" y="49"/>
                  <a:pt x="2120" y="49"/>
                </a:cubicBezTo>
                <a:cubicBezTo>
                  <a:pt x="2120" y="49"/>
                  <a:pt x="2129" y="49"/>
                  <a:pt x="2128" y="47"/>
                </a:cubicBezTo>
                <a:cubicBezTo>
                  <a:pt x="2127" y="45"/>
                  <a:pt x="2117" y="45"/>
                  <a:pt x="2117" y="45"/>
                </a:cubicBezTo>
                <a:cubicBezTo>
                  <a:pt x="2111" y="44"/>
                  <a:pt x="2111" y="44"/>
                  <a:pt x="2111" y="44"/>
                </a:cubicBezTo>
                <a:cubicBezTo>
                  <a:pt x="2111" y="46"/>
                  <a:pt x="2111" y="46"/>
                  <a:pt x="2111" y="46"/>
                </a:cubicBezTo>
                <a:cubicBezTo>
                  <a:pt x="2111" y="46"/>
                  <a:pt x="2100" y="46"/>
                  <a:pt x="2101" y="49"/>
                </a:cubicBezTo>
                <a:cubicBezTo>
                  <a:pt x="2102" y="52"/>
                  <a:pt x="2112" y="55"/>
                  <a:pt x="2112" y="55"/>
                </a:cubicBezTo>
                <a:cubicBezTo>
                  <a:pt x="2092" y="53"/>
                  <a:pt x="2092" y="53"/>
                  <a:pt x="2092" y="53"/>
                </a:cubicBezTo>
                <a:cubicBezTo>
                  <a:pt x="2099" y="56"/>
                  <a:pt x="2099" y="56"/>
                  <a:pt x="2099" y="56"/>
                </a:cubicBezTo>
                <a:cubicBezTo>
                  <a:pt x="2091" y="57"/>
                  <a:pt x="2091" y="57"/>
                  <a:pt x="2091" y="57"/>
                </a:cubicBezTo>
                <a:cubicBezTo>
                  <a:pt x="2091" y="57"/>
                  <a:pt x="2079" y="61"/>
                  <a:pt x="2077" y="60"/>
                </a:cubicBezTo>
                <a:cubicBezTo>
                  <a:pt x="2075" y="59"/>
                  <a:pt x="2078" y="56"/>
                  <a:pt x="2078" y="56"/>
                </a:cubicBezTo>
                <a:cubicBezTo>
                  <a:pt x="2078" y="56"/>
                  <a:pt x="2068" y="56"/>
                  <a:pt x="2066" y="57"/>
                </a:cubicBezTo>
                <a:cubicBezTo>
                  <a:pt x="2065" y="57"/>
                  <a:pt x="2062" y="59"/>
                  <a:pt x="2062" y="59"/>
                </a:cubicBezTo>
                <a:cubicBezTo>
                  <a:pt x="2062" y="59"/>
                  <a:pt x="2048" y="61"/>
                  <a:pt x="2045" y="61"/>
                </a:cubicBezTo>
                <a:cubicBezTo>
                  <a:pt x="2042" y="62"/>
                  <a:pt x="2035" y="63"/>
                  <a:pt x="2035" y="63"/>
                </a:cubicBezTo>
                <a:cubicBezTo>
                  <a:pt x="2029" y="68"/>
                  <a:pt x="2029" y="68"/>
                  <a:pt x="2029" y="68"/>
                </a:cubicBezTo>
                <a:cubicBezTo>
                  <a:pt x="2029" y="68"/>
                  <a:pt x="2022" y="68"/>
                  <a:pt x="2025" y="71"/>
                </a:cubicBezTo>
                <a:cubicBezTo>
                  <a:pt x="2028" y="74"/>
                  <a:pt x="2034" y="76"/>
                  <a:pt x="2034" y="76"/>
                </a:cubicBezTo>
                <a:cubicBezTo>
                  <a:pt x="2027" y="77"/>
                  <a:pt x="2027" y="77"/>
                  <a:pt x="2027" y="77"/>
                </a:cubicBezTo>
                <a:cubicBezTo>
                  <a:pt x="2024" y="79"/>
                  <a:pt x="2024" y="79"/>
                  <a:pt x="2024" y="79"/>
                </a:cubicBezTo>
                <a:cubicBezTo>
                  <a:pt x="2010" y="78"/>
                  <a:pt x="2010" y="78"/>
                  <a:pt x="2010" y="78"/>
                </a:cubicBezTo>
                <a:cubicBezTo>
                  <a:pt x="2009" y="79"/>
                  <a:pt x="2009" y="79"/>
                  <a:pt x="2009" y="79"/>
                </a:cubicBezTo>
                <a:cubicBezTo>
                  <a:pt x="2004" y="77"/>
                  <a:pt x="2004" y="77"/>
                  <a:pt x="2004" y="77"/>
                </a:cubicBezTo>
                <a:cubicBezTo>
                  <a:pt x="2002" y="79"/>
                  <a:pt x="2002" y="79"/>
                  <a:pt x="2002" y="79"/>
                </a:cubicBezTo>
                <a:cubicBezTo>
                  <a:pt x="2002" y="79"/>
                  <a:pt x="1994" y="78"/>
                  <a:pt x="1993" y="80"/>
                </a:cubicBezTo>
                <a:cubicBezTo>
                  <a:pt x="1993" y="81"/>
                  <a:pt x="1993" y="85"/>
                  <a:pt x="1995" y="85"/>
                </a:cubicBezTo>
                <a:cubicBezTo>
                  <a:pt x="1998" y="85"/>
                  <a:pt x="1999" y="89"/>
                  <a:pt x="1999" y="89"/>
                </a:cubicBezTo>
                <a:cubicBezTo>
                  <a:pt x="1999" y="89"/>
                  <a:pt x="2006" y="91"/>
                  <a:pt x="2008" y="91"/>
                </a:cubicBezTo>
                <a:cubicBezTo>
                  <a:pt x="2010" y="91"/>
                  <a:pt x="2014" y="92"/>
                  <a:pt x="2016" y="93"/>
                </a:cubicBezTo>
                <a:cubicBezTo>
                  <a:pt x="2017" y="93"/>
                  <a:pt x="2020" y="97"/>
                  <a:pt x="2018" y="97"/>
                </a:cubicBezTo>
                <a:cubicBezTo>
                  <a:pt x="2016" y="97"/>
                  <a:pt x="2011" y="97"/>
                  <a:pt x="2011" y="97"/>
                </a:cubicBezTo>
                <a:cubicBezTo>
                  <a:pt x="2011" y="97"/>
                  <a:pt x="2001" y="93"/>
                  <a:pt x="1998" y="92"/>
                </a:cubicBezTo>
                <a:cubicBezTo>
                  <a:pt x="1994" y="91"/>
                  <a:pt x="1989" y="90"/>
                  <a:pt x="1988" y="90"/>
                </a:cubicBezTo>
                <a:cubicBezTo>
                  <a:pt x="1986" y="90"/>
                  <a:pt x="1982" y="90"/>
                  <a:pt x="1982" y="92"/>
                </a:cubicBezTo>
                <a:cubicBezTo>
                  <a:pt x="1983" y="93"/>
                  <a:pt x="1988" y="95"/>
                  <a:pt x="1984" y="96"/>
                </a:cubicBezTo>
                <a:cubicBezTo>
                  <a:pt x="1981" y="96"/>
                  <a:pt x="1980" y="93"/>
                  <a:pt x="1977" y="93"/>
                </a:cubicBezTo>
                <a:cubicBezTo>
                  <a:pt x="1975" y="93"/>
                  <a:pt x="1972" y="91"/>
                  <a:pt x="1972" y="94"/>
                </a:cubicBezTo>
                <a:cubicBezTo>
                  <a:pt x="1972" y="97"/>
                  <a:pt x="1975" y="99"/>
                  <a:pt x="1978" y="99"/>
                </a:cubicBezTo>
                <a:cubicBezTo>
                  <a:pt x="1981" y="99"/>
                  <a:pt x="1986" y="101"/>
                  <a:pt x="1988" y="101"/>
                </a:cubicBezTo>
                <a:cubicBezTo>
                  <a:pt x="1990" y="101"/>
                  <a:pt x="1994" y="104"/>
                  <a:pt x="1994" y="104"/>
                </a:cubicBezTo>
                <a:cubicBezTo>
                  <a:pt x="1989" y="104"/>
                  <a:pt x="1989" y="104"/>
                  <a:pt x="1989" y="104"/>
                </a:cubicBezTo>
                <a:cubicBezTo>
                  <a:pt x="1989" y="104"/>
                  <a:pt x="1988" y="102"/>
                  <a:pt x="1985" y="102"/>
                </a:cubicBezTo>
                <a:cubicBezTo>
                  <a:pt x="1982" y="102"/>
                  <a:pt x="1973" y="101"/>
                  <a:pt x="1973" y="101"/>
                </a:cubicBezTo>
                <a:cubicBezTo>
                  <a:pt x="1972" y="100"/>
                  <a:pt x="1972" y="100"/>
                  <a:pt x="1972" y="100"/>
                </a:cubicBezTo>
                <a:cubicBezTo>
                  <a:pt x="1969" y="100"/>
                  <a:pt x="1969" y="100"/>
                  <a:pt x="1969" y="100"/>
                </a:cubicBezTo>
                <a:cubicBezTo>
                  <a:pt x="1968" y="97"/>
                  <a:pt x="1968" y="97"/>
                  <a:pt x="1968" y="97"/>
                </a:cubicBezTo>
                <a:cubicBezTo>
                  <a:pt x="1964" y="95"/>
                  <a:pt x="1964" y="95"/>
                  <a:pt x="1964" y="95"/>
                </a:cubicBezTo>
                <a:cubicBezTo>
                  <a:pt x="1964" y="95"/>
                  <a:pt x="1969" y="93"/>
                  <a:pt x="1967" y="91"/>
                </a:cubicBezTo>
                <a:cubicBezTo>
                  <a:pt x="1965" y="89"/>
                  <a:pt x="1962" y="86"/>
                  <a:pt x="1962" y="86"/>
                </a:cubicBezTo>
                <a:cubicBezTo>
                  <a:pt x="1957" y="86"/>
                  <a:pt x="1957" y="86"/>
                  <a:pt x="1957" y="86"/>
                </a:cubicBezTo>
                <a:cubicBezTo>
                  <a:pt x="1957" y="86"/>
                  <a:pt x="1964" y="90"/>
                  <a:pt x="1962" y="92"/>
                </a:cubicBezTo>
                <a:cubicBezTo>
                  <a:pt x="1960" y="93"/>
                  <a:pt x="1956" y="94"/>
                  <a:pt x="1956" y="94"/>
                </a:cubicBezTo>
                <a:cubicBezTo>
                  <a:pt x="1953" y="99"/>
                  <a:pt x="1953" y="99"/>
                  <a:pt x="1953" y="99"/>
                </a:cubicBezTo>
                <a:cubicBezTo>
                  <a:pt x="1963" y="105"/>
                  <a:pt x="1963" y="105"/>
                  <a:pt x="1963" y="105"/>
                </a:cubicBezTo>
                <a:cubicBezTo>
                  <a:pt x="1963" y="105"/>
                  <a:pt x="1966" y="104"/>
                  <a:pt x="1966" y="105"/>
                </a:cubicBezTo>
                <a:cubicBezTo>
                  <a:pt x="1966" y="106"/>
                  <a:pt x="1965" y="113"/>
                  <a:pt x="1965" y="113"/>
                </a:cubicBezTo>
                <a:cubicBezTo>
                  <a:pt x="1966" y="115"/>
                  <a:pt x="1966" y="115"/>
                  <a:pt x="1966" y="115"/>
                </a:cubicBezTo>
                <a:cubicBezTo>
                  <a:pt x="1971" y="116"/>
                  <a:pt x="1971" y="116"/>
                  <a:pt x="1971" y="116"/>
                </a:cubicBezTo>
                <a:cubicBezTo>
                  <a:pt x="1971" y="120"/>
                  <a:pt x="1971" y="120"/>
                  <a:pt x="1971" y="120"/>
                </a:cubicBezTo>
                <a:cubicBezTo>
                  <a:pt x="1979" y="122"/>
                  <a:pt x="1979" y="122"/>
                  <a:pt x="1979" y="122"/>
                </a:cubicBezTo>
                <a:cubicBezTo>
                  <a:pt x="1979" y="122"/>
                  <a:pt x="1985" y="119"/>
                  <a:pt x="1988" y="119"/>
                </a:cubicBezTo>
                <a:cubicBezTo>
                  <a:pt x="1991" y="120"/>
                  <a:pt x="1995" y="122"/>
                  <a:pt x="1995" y="122"/>
                </a:cubicBezTo>
                <a:cubicBezTo>
                  <a:pt x="1995" y="122"/>
                  <a:pt x="2001" y="123"/>
                  <a:pt x="2004" y="125"/>
                </a:cubicBezTo>
                <a:cubicBezTo>
                  <a:pt x="2007" y="127"/>
                  <a:pt x="2007" y="129"/>
                  <a:pt x="2007" y="129"/>
                </a:cubicBezTo>
                <a:cubicBezTo>
                  <a:pt x="2007" y="129"/>
                  <a:pt x="2000" y="130"/>
                  <a:pt x="2003" y="131"/>
                </a:cubicBezTo>
                <a:cubicBezTo>
                  <a:pt x="2006" y="133"/>
                  <a:pt x="2009" y="135"/>
                  <a:pt x="2009" y="135"/>
                </a:cubicBezTo>
                <a:cubicBezTo>
                  <a:pt x="2015" y="134"/>
                  <a:pt x="2015" y="134"/>
                  <a:pt x="2015" y="134"/>
                </a:cubicBezTo>
                <a:cubicBezTo>
                  <a:pt x="2015" y="134"/>
                  <a:pt x="2011" y="136"/>
                  <a:pt x="2008" y="136"/>
                </a:cubicBezTo>
                <a:cubicBezTo>
                  <a:pt x="2006" y="136"/>
                  <a:pt x="2002" y="134"/>
                  <a:pt x="2002" y="134"/>
                </a:cubicBezTo>
                <a:cubicBezTo>
                  <a:pt x="2002" y="134"/>
                  <a:pt x="2003" y="129"/>
                  <a:pt x="1999" y="128"/>
                </a:cubicBezTo>
                <a:cubicBezTo>
                  <a:pt x="1996" y="126"/>
                  <a:pt x="1994" y="125"/>
                  <a:pt x="1994" y="125"/>
                </a:cubicBezTo>
                <a:cubicBezTo>
                  <a:pt x="1994" y="125"/>
                  <a:pt x="1993" y="121"/>
                  <a:pt x="1990" y="122"/>
                </a:cubicBezTo>
                <a:cubicBezTo>
                  <a:pt x="1988" y="122"/>
                  <a:pt x="1981" y="123"/>
                  <a:pt x="1981" y="123"/>
                </a:cubicBezTo>
                <a:cubicBezTo>
                  <a:pt x="1981" y="123"/>
                  <a:pt x="1977" y="124"/>
                  <a:pt x="1978" y="126"/>
                </a:cubicBezTo>
                <a:cubicBezTo>
                  <a:pt x="1978" y="128"/>
                  <a:pt x="1985" y="132"/>
                  <a:pt x="1985" y="133"/>
                </a:cubicBezTo>
                <a:cubicBezTo>
                  <a:pt x="1985" y="134"/>
                  <a:pt x="1981" y="136"/>
                  <a:pt x="1981" y="136"/>
                </a:cubicBezTo>
                <a:cubicBezTo>
                  <a:pt x="1980" y="142"/>
                  <a:pt x="1980" y="142"/>
                  <a:pt x="1980" y="142"/>
                </a:cubicBezTo>
                <a:cubicBezTo>
                  <a:pt x="1974" y="145"/>
                  <a:pt x="1974" y="145"/>
                  <a:pt x="1974" y="145"/>
                </a:cubicBezTo>
                <a:cubicBezTo>
                  <a:pt x="1974" y="145"/>
                  <a:pt x="1973" y="149"/>
                  <a:pt x="1970" y="148"/>
                </a:cubicBezTo>
                <a:cubicBezTo>
                  <a:pt x="1968" y="147"/>
                  <a:pt x="1962" y="147"/>
                  <a:pt x="1962" y="147"/>
                </a:cubicBezTo>
                <a:cubicBezTo>
                  <a:pt x="1954" y="147"/>
                  <a:pt x="1954" y="147"/>
                  <a:pt x="1954" y="147"/>
                </a:cubicBezTo>
                <a:cubicBezTo>
                  <a:pt x="1954" y="147"/>
                  <a:pt x="1945" y="143"/>
                  <a:pt x="1948" y="143"/>
                </a:cubicBezTo>
                <a:cubicBezTo>
                  <a:pt x="1950" y="143"/>
                  <a:pt x="1955" y="143"/>
                  <a:pt x="1955" y="143"/>
                </a:cubicBezTo>
                <a:cubicBezTo>
                  <a:pt x="1957" y="144"/>
                  <a:pt x="1957" y="144"/>
                  <a:pt x="1957" y="144"/>
                </a:cubicBezTo>
                <a:cubicBezTo>
                  <a:pt x="1961" y="141"/>
                  <a:pt x="1961" y="141"/>
                  <a:pt x="1961" y="141"/>
                </a:cubicBezTo>
                <a:cubicBezTo>
                  <a:pt x="1961" y="141"/>
                  <a:pt x="1968" y="143"/>
                  <a:pt x="1968" y="141"/>
                </a:cubicBezTo>
                <a:cubicBezTo>
                  <a:pt x="1968" y="139"/>
                  <a:pt x="1969" y="135"/>
                  <a:pt x="1969" y="135"/>
                </a:cubicBezTo>
                <a:cubicBezTo>
                  <a:pt x="1972" y="134"/>
                  <a:pt x="1972" y="134"/>
                  <a:pt x="1972" y="134"/>
                </a:cubicBezTo>
                <a:cubicBezTo>
                  <a:pt x="1973" y="131"/>
                  <a:pt x="1973" y="131"/>
                  <a:pt x="1973" y="131"/>
                </a:cubicBezTo>
                <a:cubicBezTo>
                  <a:pt x="1970" y="131"/>
                  <a:pt x="1970" y="131"/>
                  <a:pt x="1970" y="131"/>
                </a:cubicBezTo>
                <a:cubicBezTo>
                  <a:pt x="1970" y="131"/>
                  <a:pt x="1974" y="127"/>
                  <a:pt x="1972" y="126"/>
                </a:cubicBezTo>
                <a:cubicBezTo>
                  <a:pt x="1970" y="125"/>
                  <a:pt x="1961" y="126"/>
                  <a:pt x="1960" y="122"/>
                </a:cubicBezTo>
                <a:cubicBezTo>
                  <a:pt x="1960" y="119"/>
                  <a:pt x="1960" y="115"/>
                  <a:pt x="1958" y="114"/>
                </a:cubicBezTo>
                <a:cubicBezTo>
                  <a:pt x="1956" y="113"/>
                  <a:pt x="1954" y="110"/>
                  <a:pt x="1954" y="110"/>
                </a:cubicBezTo>
                <a:cubicBezTo>
                  <a:pt x="1953" y="104"/>
                  <a:pt x="1953" y="104"/>
                  <a:pt x="1953" y="104"/>
                </a:cubicBezTo>
                <a:cubicBezTo>
                  <a:pt x="1944" y="100"/>
                  <a:pt x="1944" y="100"/>
                  <a:pt x="1944" y="100"/>
                </a:cubicBezTo>
                <a:cubicBezTo>
                  <a:pt x="1944" y="100"/>
                  <a:pt x="1950" y="95"/>
                  <a:pt x="1947" y="91"/>
                </a:cubicBezTo>
                <a:cubicBezTo>
                  <a:pt x="1944" y="87"/>
                  <a:pt x="1937" y="87"/>
                  <a:pt x="1937" y="87"/>
                </a:cubicBezTo>
                <a:cubicBezTo>
                  <a:pt x="1918" y="85"/>
                  <a:pt x="1918" y="85"/>
                  <a:pt x="1918" y="85"/>
                </a:cubicBezTo>
                <a:cubicBezTo>
                  <a:pt x="1917" y="89"/>
                  <a:pt x="1917" y="89"/>
                  <a:pt x="1917" y="89"/>
                </a:cubicBezTo>
                <a:cubicBezTo>
                  <a:pt x="1919" y="92"/>
                  <a:pt x="1919" y="92"/>
                  <a:pt x="1919" y="92"/>
                </a:cubicBezTo>
                <a:cubicBezTo>
                  <a:pt x="1918" y="97"/>
                  <a:pt x="1918" y="97"/>
                  <a:pt x="1918" y="97"/>
                </a:cubicBezTo>
                <a:cubicBezTo>
                  <a:pt x="1910" y="100"/>
                  <a:pt x="1910" y="100"/>
                  <a:pt x="1910" y="100"/>
                </a:cubicBezTo>
                <a:cubicBezTo>
                  <a:pt x="1909" y="104"/>
                  <a:pt x="1909" y="104"/>
                  <a:pt x="1909" y="104"/>
                </a:cubicBezTo>
                <a:cubicBezTo>
                  <a:pt x="1913" y="104"/>
                  <a:pt x="1913" y="104"/>
                  <a:pt x="1913" y="104"/>
                </a:cubicBezTo>
                <a:cubicBezTo>
                  <a:pt x="1918" y="112"/>
                  <a:pt x="1918" y="112"/>
                  <a:pt x="1918" y="112"/>
                </a:cubicBezTo>
                <a:cubicBezTo>
                  <a:pt x="1916" y="114"/>
                  <a:pt x="1916" y="114"/>
                  <a:pt x="1916" y="114"/>
                </a:cubicBezTo>
                <a:cubicBezTo>
                  <a:pt x="1920" y="117"/>
                  <a:pt x="1920" y="117"/>
                  <a:pt x="1920" y="117"/>
                </a:cubicBezTo>
                <a:cubicBezTo>
                  <a:pt x="1925" y="116"/>
                  <a:pt x="1925" y="116"/>
                  <a:pt x="1925" y="116"/>
                </a:cubicBezTo>
                <a:cubicBezTo>
                  <a:pt x="1925" y="116"/>
                  <a:pt x="1929" y="120"/>
                  <a:pt x="1932" y="121"/>
                </a:cubicBezTo>
                <a:cubicBezTo>
                  <a:pt x="1934" y="122"/>
                  <a:pt x="1937" y="122"/>
                  <a:pt x="1937" y="122"/>
                </a:cubicBezTo>
                <a:cubicBezTo>
                  <a:pt x="1936" y="129"/>
                  <a:pt x="1936" y="129"/>
                  <a:pt x="1936" y="129"/>
                </a:cubicBezTo>
                <a:cubicBezTo>
                  <a:pt x="1934" y="126"/>
                  <a:pt x="1934" y="126"/>
                  <a:pt x="1934" y="126"/>
                </a:cubicBezTo>
                <a:cubicBezTo>
                  <a:pt x="1932" y="128"/>
                  <a:pt x="1932" y="128"/>
                  <a:pt x="1932" y="128"/>
                </a:cubicBezTo>
                <a:cubicBezTo>
                  <a:pt x="1932" y="128"/>
                  <a:pt x="1928" y="126"/>
                  <a:pt x="1924" y="124"/>
                </a:cubicBezTo>
                <a:cubicBezTo>
                  <a:pt x="1922" y="123"/>
                  <a:pt x="1919" y="122"/>
                  <a:pt x="1917" y="121"/>
                </a:cubicBezTo>
                <a:cubicBezTo>
                  <a:pt x="1914" y="121"/>
                  <a:pt x="1909" y="121"/>
                  <a:pt x="1909" y="121"/>
                </a:cubicBezTo>
                <a:cubicBezTo>
                  <a:pt x="1907" y="119"/>
                  <a:pt x="1907" y="119"/>
                  <a:pt x="1907" y="119"/>
                </a:cubicBezTo>
                <a:cubicBezTo>
                  <a:pt x="1905" y="122"/>
                  <a:pt x="1905" y="122"/>
                  <a:pt x="1905" y="122"/>
                </a:cubicBezTo>
                <a:cubicBezTo>
                  <a:pt x="1902" y="118"/>
                  <a:pt x="1902" y="118"/>
                  <a:pt x="1902" y="118"/>
                </a:cubicBezTo>
                <a:cubicBezTo>
                  <a:pt x="1902" y="118"/>
                  <a:pt x="1893" y="115"/>
                  <a:pt x="1892" y="115"/>
                </a:cubicBezTo>
                <a:cubicBezTo>
                  <a:pt x="1890" y="115"/>
                  <a:pt x="1886" y="115"/>
                  <a:pt x="1886" y="115"/>
                </a:cubicBezTo>
                <a:cubicBezTo>
                  <a:pt x="1886" y="115"/>
                  <a:pt x="1876" y="114"/>
                  <a:pt x="1875" y="115"/>
                </a:cubicBezTo>
                <a:cubicBezTo>
                  <a:pt x="1874" y="115"/>
                  <a:pt x="1872" y="115"/>
                  <a:pt x="1872" y="117"/>
                </a:cubicBezTo>
                <a:cubicBezTo>
                  <a:pt x="1872" y="119"/>
                  <a:pt x="1877" y="121"/>
                  <a:pt x="1877" y="121"/>
                </a:cubicBezTo>
                <a:cubicBezTo>
                  <a:pt x="1875" y="126"/>
                  <a:pt x="1875" y="126"/>
                  <a:pt x="1875" y="126"/>
                </a:cubicBezTo>
                <a:cubicBezTo>
                  <a:pt x="1873" y="124"/>
                  <a:pt x="1873" y="124"/>
                  <a:pt x="1873" y="124"/>
                </a:cubicBezTo>
                <a:cubicBezTo>
                  <a:pt x="1873" y="128"/>
                  <a:pt x="1873" y="128"/>
                  <a:pt x="1873" y="128"/>
                </a:cubicBezTo>
                <a:cubicBezTo>
                  <a:pt x="1873" y="128"/>
                  <a:pt x="1868" y="128"/>
                  <a:pt x="1868" y="126"/>
                </a:cubicBezTo>
                <a:cubicBezTo>
                  <a:pt x="1868" y="125"/>
                  <a:pt x="1869" y="121"/>
                  <a:pt x="1866" y="121"/>
                </a:cubicBezTo>
                <a:cubicBezTo>
                  <a:pt x="1863" y="121"/>
                  <a:pt x="1856" y="126"/>
                  <a:pt x="1854" y="127"/>
                </a:cubicBezTo>
                <a:cubicBezTo>
                  <a:pt x="1853" y="127"/>
                  <a:pt x="1851" y="124"/>
                  <a:pt x="1847" y="125"/>
                </a:cubicBezTo>
                <a:cubicBezTo>
                  <a:pt x="1842" y="125"/>
                  <a:pt x="1837" y="128"/>
                  <a:pt x="1837" y="129"/>
                </a:cubicBezTo>
                <a:cubicBezTo>
                  <a:pt x="1836" y="131"/>
                  <a:pt x="1827" y="130"/>
                  <a:pt x="1827" y="130"/>
                </a:cubicBezTo>
                <a:cubicBezTo>
                  <a:pt x="1828" y="126"/>
                  <a:pt x="1828" y="126"/>
                  <a:pt x="1828" y="126"/>
                </a:cubicBezTo>
                <a:cubicBezTo>
                  <a:pt x="1828" y="121"/>
                  <a:pt x="1828" y="121"/>
                  <a:pt x="1828" y="121"/>
                </a:cubicBezTo>
                <a:cubicBezTo>
                  <a:pt x="1828" y="121"/>
                  <a:pt x="1819" y="123"/>
                  <a:pt x="1819" y="125"/>
                </a:cubicBezTo>
                <a:cubicBezTo>
                  <a:pt x="1819" y="127"/>
                  <a:pt x="1820" y="128"/>
                  <a:pt x="1820" y="128"/>
                </a:cubicBezTo>
                <a:cubicBezTo>
                  <a:pt x="1816" y="129"/>
                  <a:pt x="1816" y="129"/>
                  <a:pt x="1816" y="129"/>
                </a:cubicBezTo>
                <a:cubicBezTo>
                  <a:pt x="1816" y="125"/>
                  <a:pt x="1816" y="125"/>
                  <a:pt x="1816" y="125"/>
                </a:cubicBezTo>
                <a:cubicBezTo>
                  <a:pt x="1813" y="126"/>
                  <a:pt x="1813" y="126"/>
                  <a:pt x="1813" y="126"/>
                </a:cubicBezTo>
                <a:cubicBezTo>
                  <a:pt x="1806" y="127"/>
                  <a:pt x="1806" y="127"/>
                  <a:pt x="1806" y="127"/>
                </a:cubicBezTo>
                <a:cubicBezTo>
                  <a:pt x="1800" y="131"/>
                  <a:pt x="1800" y="131"/>
                  <a:pt x="1800" y="131"/>
                </a:cubicBezTo>
                <a:cubicBezTo>
                  <a:pt x="1793" y="132"/>
                  <a:pt x="1793" y="132"/>
                  <a:pt x="1793" y="132"/>
                </a:cubicBezTo>
                <a:cubicBezTo>
                  <a:pt x="1795" y="135"/>
                  <a:pt x="1795" y="135"/>
                  <a:pt x="1795" y="135"/>
                </a:cubicBezTo>
                <a:cubicBezTo>
                  <a:pt x="1795" y="135"/>
                  <a:pt x="1789" y="133"/>
                  <a:pt x="1789" y="136"/>
                </a:cubicBezTo>
                <a:cubicBezTo>
                  <a:pt x="1788" y="138"/>
                  <a:pt x="1789" y="141"/>
                  <a:pt x="1789" y="141"/>
                </a:cubicBezTo>
                <a:cubicBezTo>
                  <a:pt x="1778" y="142"/>
                  <a:pt x="1778" y="142"/>
                  <a:pt x="1778" y="142"/>
                </a:cubicBezTo>
                <a:cubicBezTo>
                  <a:pt x="1778" y="142"/>
                  <a:pt x="1775" y="140"/>
                  <a:pt x="1774" y="140"/>
                </a:cubicBezTo>
                <a:cubicBezTo>
                  <a:pt x="1773" y="140"/>
                  <a:pt x="1768" y="141"/>
                  <a:pt x="1768" y="138"/>
                </a:cubicBezTo>
                <a:cubicBezTo>
                  <a:pt x="1768" y="135"/>
                  <a:pt x="1768" y="131"/>
                  <a:pt x="1772" y="133"/>
                </a:cubicBezTo>
                <a:cubicBezTo>
                  <a:pt x="1775" y="134"/>
                  <a:pt x="1780" y="133"/>
                  <a:pt x="1780" y="133"/>
                </a:cubicBezTo>
                <a:cubicBezTo>
                  <a:pt x="1780" y="133"/>
                  <a:pt x="1772" y="126"/>
                  <a:pt x="1770" y="126"/>
                </a:cubicBezTo>
                <a:cubicBezTo>
                  <a:pt x="1769" y="125"/>
                  <a:pt x="1753" y="125"/>
                  <a:pt x="1753" y="125"/>
                </a:cubicBezTo>
                <a:cubicBezTo>
                  <a:pt x="1755" y="127"/>
                  <a:pt x="1755" y="127"/>
                  <a:pt x="1755" y="127"/>
                </a:cubicBezTo>
                <a:cubicBezTo>
                  <a:pt x="1755" y="127"/>
                  <a:pt x="1761" y="126"/>
                  <a:pt x="1760" y="130"/>
                </a:cubicBezTo>
                <a:cubicBezTo>
                  <a:pt x="1759" y="134"/>
                  <a:pt x="1757" y="140"/>
                  <a:pt x="1758" y="140"/>
                </a:cubicBezTo>
                <a:cubicBezTo>
                  <a:pt x="1760" y="140"/>
                  <a:pt x="1765" y="142"/>
                  <a:pt x="1765" y="142"/>
                </a:cubicBezTo>
                <a:cubicBezTo>
                  <a:pt x="1765" y="147"/>
                  <a:pt x="1765" y="147"/>
                  <a:pt x="1765" y="147"/>
                </a:cubicBezTo>
                <a:cubicBezTo>
                  <a:pt x="1766" y="151"/>
                  <a:pt x="1766" y="151"/>
                  <a:pt x="1766" y="151"/>
                </a:cubicBezTo>
                <a:cubicBezTo>
                  <a:pt x="1762" y="148"/>
                  <a:pt x="1762" y="148"/>
                  <a:pt x="1762" y="148"/>
                </a:cubicBezTo>
                <a:cubicBezTo>
                  <a:pt x="1759" y="152"/>
                  <a:pt x="1759" y="152"/>
                  <a:pt x="1759" y="152"/>
                </a:cubicBezTo>
                <a:cubicBezTo>
                  <a:pt x="1758" y="147"/>
                  <a:pt x="1758" y="147"/>
                  <a:pt x="1758" y="147"/>
                </a:cubicBezTo>
                <a:cubicBezTo>
                  <a:pt x="1748" y="145"/>
                  <a:pt x="1748" y="145"/>
                  <a:pt x="1748" y="145"/>
                </a:cubicBezTo>
                <a:cubicBezTo>
                  <a:pt x="1744" y="150"/>
                  <a:pt x="1744" y="150"/>
                  <a:pt x="1744" y="150"/>
                </a:cubicBezTo>
                <a:cubicBezTo>
                  <a:pt x="1740" y="150"/>
                  <a:pt x="1740" y="150"/>
                  <a:pt x="1740" y="150"/>
                </a:cubicBezTo>
                <a:cubicBezTo>
                  <a:pt x="1740" y="150"/>
                  <a:pt x="1739" y="152"/>
                  <a:pt x="1737" y="153"/>
                </a:cubicBezTo>
                <a:cubicBezTo>
                  <a:pt x="1735" y="154"/>
                  <a:pt x="1731" y="155"/>
                  <a:pt x="1733" y="156"/>
                </a:cubicBezTo>
                <a:cubicBezTo>
                  <a:pt x="1734" y="158"/>
                  <a:pt x="1741" y="163"/>
                  <a:pt x="1741" y="163"/>
                </a:cubicBezTo>
                <a:cubicBezTo>
                  <a:pt x="1743" y="166"/>
                  <a:pt x="1743" y="166"/>
                  <a:pt x="1743" y="166"/>
                </a:cubicBezTo>
                <a:cubicBezTo>
                  <a:pt x="1739" y="164"/>
                  <a:pt x="1739" y="164"/>
                  <a:pt x="1739" y="164"/>
                </a:cubicBezTo>
                <a:cubicBezTo>
                  <a:pt x="1739" y="164"/>
                  <a:pt x="1735" y="166"/>
                  <a:pt x="1733" y="165"/>
                </a:cubicBezTo>
                <a:cubicBezTo>
                  <a:pt x="1730" y="164"/>
                  <a:pt x="1721" y="162"/>
                  <a:pt x="1721" y="162"/>
                </a:cubicBezTo>
                <a:cubicBezTo>
                  <a:pt x="1721" y="162"/>
                  <a:pt x="1720" y="157"/>
                  <a:pt x="1717" y="159"/>
                </a:cubicBezTo>
                <a:cubicBezTo>
                  <a:pt x="1713" y="160"/>
                  <a:pt x="1712" y="161"/>
                  <a:pt x="1712" y="161"/>
                </a:cubicBezTo>
                <a:cubicBezTo>
                  <a:pt x="1709" y="161"/>
                  <a:pt x="1709" y="161"/>
                  <a:pt x="1709" y="161"/>
                </a:cubicBezTo>
                <a:cubicBezTo>
                  <a:pt x="1716" y="167"/>
                  <a:pt x="1716" y="167"/>
                  <a:pt x="1716" y="167"/>
                </a:cubicBezTo>
                <a:cubicBezTo>
                  <a:pt x="1716" y="167"/>
                  <a:pt x="1724" y="167"/>
                  <a:pt x="1724" y="169"/>
                </a:cubicBezTo>
                <a:cubicBezTo>
                  <a:pt x="1724" y="170"/>
                  <a:pt x="1720" y="172"/>
                  <a:pt x="1720" y="172"/>
                </a:cubicBezTo>
                <a:cubicBezTo>
                  <a:pt x="1711" y="170"/>
                  <a:pt x="1711" y="170"/>
                  <a:pt x="1711" y="170"/>
                </a:cubicBezTo>
                <a:cubicBezTo>
                  <a:pt x="1711" y="170"/>
                  <a:pt x="1708" y="167"/>
                  <a:pt x="1706" y="167"/>
                </a:cubicBezTo>
                <a:cubicBezTo>
                  <a:pt x="1704" y="167"/>
                  <a:pt x="1699" y="169"/>
                  <a:pt x="1698" y="166"/>
                </a:cubicBezTo>
                <a:cubicBezTo>
                  <a:pt x="1698" y="163"/>
                  <a:pt x="1698" y="160"/>
                  <a:pt x="1698" y="160"/>
                </a:cubicBezTo>
                <a:cubicBezTo>
                  <a:pt x="1695" y="158"/>
                  <a:pt x="1695" y="158"/>
                  <a:pt x="1695" y="158"/>
                </a:cubicBezTo>
                <a:cubicBezTo>
                  <a:pt x="1695" y="158"/>
                  <a:pt x="1700" y="154"/>
                  <a:pt x="1698" y="153"/>
                </a:cubicBezTo>
                <a:cubicBezTo>
                  <a:pt x="1696" y="151"/>
                  <a:pt x="1685" y="148"/>
                  <a:pt x="1685" y="148"/>
                </a:cubicBezTo>
                <a:cubicBezTo>
                  <a:pt x="1680" y="144"/>
                  <a:pt x="1680" y="144"/>
                  <a:pt x="1680" y="144"/>
                </a:cubicBezTo>
                <a:cubicBezTo>
                  <a:pt x="1677" y="142"/>
                  <a:pt x="1677" y="142"/>
                  <a:pt x="1677" y="142"/>
                </a:cubicBezTo>
                <a:cubicBezTo>
                  <a:pt x="1675" y="140"/>
                  <a:pt x="1675" y="140"/>
                  <a:pt x="1675" y="140"/>
                </a:cubicBezTo>
                <a:cubicBezTo>
                  <a:pt x="1680" y="140"/>
                  <a:pt x="1680" y="140"/>
                  <a:pt x="1680" y="140"/>
                </a:cubicBezTo>
                <a:cubicBezTo>
                  <a:pt x="1680" y="140"/>
                  <a:pt x="1679" y="142"/>
                  <a:pt x="1683" y="143"/>
                </a:cubicBezTo>
                <a:cubicBezTo>
                  <a:pt x="1687" y="143"/>
                  <a:pt x="1693" y="143"/>
                  <a:pt x="1693" y="143"/>
                </a:cubicBezTo>
                <a:cubicBezTo>
                  <a:pt x="1693" y="143"/>
                  <a:pt x="1696" y="147"/>
                  <a:pt x="1698" y="147"/>
                </a:cubicBezTo>
                <a:cubicBezTo>
                  <a:pt x="1701" y="147"/>
                  <a:pt x="1712" y="148"/>
                  <a:pt x="1712" y="148"/>
                </a:cubicBezTo>
                <a:cubicBezTo>
                  <a:pt x="1712" y="148"/>
                  <a:pt x="1720" y="152"/>
                  <a:pt x="1729" y="149"/>
                </a:cubicBezTo>
                <a:cubicBezTo>
                  <a:pt x="1738" y="147"/>
                  <a:pt x="1747" y="144"/>
                  <a:pt x="1742" y="140"/>
                </a:cubicBezTo>
                <a:cubicBezTo>
                  <a:pt x="1738" y="136"/>
                  <a:pt x="1737" y="133"/>
                  <a:pt x="1731" y="132"/>
                </a:cubicBezTo>
                <a:cubicBezTo>
                  <a:pt x="1725" y="130"/>
                  <a:pt x="1717" y="127"/>
                  <a:pt x="1713" y="126"/>
                </a:cubicBezTo>
                <a:cubicBezTo>
                  <a:pt x="1709" y="124"/>
                  <a:pt x="1702" y="121"/>
                  <a:pt x="1698" y="121"/>
                </a:cubicBezTo>
                <a:cubicBezTo>
                  <a:pt x="1693" y="120"/>
                  <a:pt x="1689" y="120"/>
                  <a:pt x="1687" y="120"/>
                </a:cubicBezTo>
                <a:cubicBezTo>
                  <a:pt x="1684" y="120"/>
                  <a:pt x="1680" y="120"/>
                  <a:pt x="1680" y="120"/>
                </a:cubicBezTo>
                <a:cubicBezTo>
                  <a:pt x="1678" y="118"/>
                  <a:pt x="1678" y="118"/>
                  <a:pt x="1678" y="118"/>
                </a:cubicBezTo>
                <a:cubicBezTo>
                  <a:pt x="1674" y="119"/>
                  <a:pt x="1674" y="119"/>
                  <a:pt x="1674" y="119"/>
                </a:cubicBezTo>
                <a:cubicBezTo>
                  <a:pt x="1670" y="117"/>
                  <a:pt x="1670" y="117"/>
                  <a:pt x="1670" y="117"/>
                </a:cubicBezTo>
                <a:cubicBezTo>
                  <a:pt x="1674" y="116"/>
                  <a:pt x="1674" y="116"/>
                  <a:pt x="1674" y="116"/>
                </a:cubicBezTo>
                <a:cubicBezTo>
                  <a:pt x="1677" y="114"/>
                  <a:pt x="1677" y="114"/>
                  <a:pt x="1677" y="114"/>
                </a:cubicBezTo>
                <a:cubicBezTo>
                  <a:pt x="1677" y="114"/>
                  <a:pt x="1668" y="111"/>
                  <a:pt x="1666" y="112"/>
                </a:cubicBezTo>
                <a:cubicBezTo>
                  <a:pt x="1665" y="113"/>
                  <a:pt x="1665" y="115"/>
                  <a:pt x="1665" y="115"/>
                </a:cubicBezTo>
                <a:cubicBezTo>
                  <a:pt x="1661" y="115"/>
                  <a:pt x="1661" y="115"/>
                  <a:pt x="1661" y="115"/>
                </a:cubicBezTo>
                <a:cubicBezTo>
                  <a:pt x="1657" y="116"/>
                  <a:pt x="1657" y="116"/>
                  <a:pt x="1657" y="116"/>
                </a:cubicBezTo>
                <a:cubicBezTo>
                  <a:pt x="1652" y="114"/>
                  <a:pt x="1652" y="114"/>
                  <a:pt x="1652" y="114"/>
                </a:cubicBezTo>
                <a:cubicBezTo>
                  <a:pt x="1647" y="112"/>
                  <a:pt x="1647" y="112"/>
                  <a:pt x="1647" y="112"/>
                </a:cubicBezTo>
                <a:cubicBezTo>
                  <a:pt x="1647" y="112"/>
                  <a:pt x="1653" y="113"/>
                  <a:pt x="1655" y="112"/>
                </a:cubicBezTo>
                <a:cubicBezTo>
                  <a:pt x="1657" y="111"/>
                  <a:pt x="1661" y="109"/>
                  <a:pt x="1661" y="109"/>
                </a:cubicBezTo>
                <a:cubicBezTo>
                  <a:pt x="1661" y="109"/>
                  <a:pt x="1656" y="106"/>
                  <a:pt x="1653" y="106"/>
                </a:cubicBezTo>
                <a:cubicBezTo>
                  <a:pt x="1650" y="106"/>
                  <a:pt x="1645" y="104"/>
                  <a:pt x="1645" y="104"/>
                </a:cubicBezTo>
                <a:cubicBezTo>
                  <a:pt x="1645" y="104"/>
                  <a:pt x="1644" y="109"/>
                  <a:pt x="1640" y="109"/>
                </a:cubicBezTo>
                <a:cubicBezTo>
                  <a:pt x="1637" y="108"/>
                  <a:pt x="1643" y="104"/>
                  <a:pt x="1643" y="104"/>
                </a:cubicBezTo>
                <a:cubicBezTo>
                  <a:pt x="1634" y="101"/>
                  <a:pt x="1634" y="101"/>
                  <a:pt x="1634" y="101"/>
                </a:cubicBezTo>
                <a:cubicBezTo>
                  <a:pt x="1634" y="101"/>
                  <a:pt x="1632" y="111"/>
                  <a:pt x="1629" y="110"/>
                </a:cubicBezTo>
                <a:cubicBezTo>
                  <a:pt x="1626" y="109"/>
                  <a:pt x="1629" y="103"/>
                  <a:pt x="1629" y="103"/>
                </a:cubicBezTo>
                <a:cubicBezTo>
                  <a:pt x="1629" y="103"/>
                  <a:pt x="1621" y="113"/>
                  <a:pt x="1618" y="111"/>
                </a:cubicBezTo>
                <a:cubicBezTo>
                  <a:pt x="1616" y="110"/>
                  <a:pt x="1626" y="102"/>
                  <a:pt x="1626" y="102"/>
                </a:cubicBezTo>
                <a:cubicBezTo>
                  <a:pt x="1621" y="102"/>
                  <a:pt x="1621" y="102"/>
                  <a:pt x="1621" y="102"/>
                </a:cubicBezTo>
                <a:cubicBezTo>
                  <a:pt x="1619" y="104"/>
                  <a:pt x="1619" y="104"/>
                  <a:pt x="1619" y="104"/>
                </a:cubicBezTo>
                <a:cubicBezTo>
                  <a:pt x="1615" y="103"/>
                  <a:pt x="1615" y="103"/>
                  <a:pt x="1615" y="103"/>
                </a:cubicBezTo>
                <a:cubicBezTo>
                  <a:pt x="1609" y="107"/>
                  <a:pt x="1609" y="107"/>
                  <a:pt x="1609" y="107"/>
                </a:cubicBezTo>
                <a:cubicBezTo>
                  <a:pt x="1606" y="107"/>
                  <a:pt x="1606" y="107"/>
                  <a:pt x="1606" y="107"/>
                </a:cubicBezTo>
                <a:cubicBezTo>
                  <a:pt x="1605" y="112"/>
                  <a:pt x="1605" y="112"/>
                  <a:pt x="1605" y="112"/>
                </a:cubicBezTo>
                <a:cubicBezTo>
                  <a:pt x="1600" y="110"/>
                  <a:pt x="1600" y="110"/>
                  <a:pt x="1600" y="110"/>
                </a:cubicBezTo>
                <a:cubicBezTo>
                  <a:pt x="1595" y="111"/>
                  <a:pt x="1595" y="111"/>
                  <a:pt x="1595" y="111"/>
                </a:cubicBezTo>
                <a:cubicBezTo>
                  <a:pt x="1597" y="115"/>
                  <a:pt x="1597" y="115"/>
                  <a:pt x="1597" y="115"/>
                </a:cubicBezTo>
                <a:cubicBezTo>
                  <a:pt x="1590" y="113"/>
                  <a:pt x="1590" y="113"/>
                  <a:pt x="1590" y="113"/>
                </a:cubicBezTo>
                <a:cubicBezTo>
                  <a:pt x="1588" y="114"/>
                  <a:pt x="1588" y="114"/>
                  <a:pt x="1588" y="114"/>
                </a:cubicBezTo>
                <a:cubicBezTo>
                  <a:pt x="1588" y="117"/>
                  <a:pt x="1588" y="117"/>
                  <a:pt x="1588" y="117"/>
                </a:cubicBezTo>
                <a:cubicBezTo>
                  <a:pt x="1582" y="119"/>
                  <a:pt x="1582" y="119"/>
                  <a:pt x="1582" y="119"/>
                </a:cubicBezTo>
                <a:cubicBezTo>
                  <a:pt x="1583" y="114"/>
                  <a:pt x="1583" y="114"/>
                  <a:pt x="1583" y="114"/>
                </a:cubicBezTo>
                <a:cubicBezTo>
                  <a:pt x="1579" y="114"/>
                  <a:pt x="1579" y="114"/>
                  <a:pt x="1579" y="114"/>
                </a:cubicBezTo>
                <a:cubicBezTo>
                  <a:pt x="1580" y="117"/>
                  <a:pt x="1580" y="117"/>
                  <a:pt x="1580" y="117"/>
                </a:cubicBezTo>
                <a:cubicBezTo>
                  <a:pt x="1576" y="115"/>
                  <a:pt x="1576" y="115"/>
                  <a:pt x="1576" y="115"/>
                </a:cubicBezTo>
                <a:cubicBezTo>
                  <a:pt x="1577" y="119"/>
                  <a:pt x="1577" y="119"/>
                  <a:pt x="1577" y="119"/>
                </a:cubicBezTo>
                <a:cubicBezTo>
                  <a:pt x="1573" y="119"/>
                  <a:pt x="1573" y="119"/>
                  <a:pt x="1573" y="119"/>
                </a:cubicBezTo>
                <a:cubicBezTo>
                  <a:pt x="1573" y="119"/>
                  <a:pt x="1573" y="116"/>
                  <a:pt x="1573" y="115"/>
                </a:cubicBezTo>
                <a:cubicBezTo>
                  <a:pt x="1574" y="115"/>
                  <a:pt x="1576" y="113"/>
                  <a:pt x="1576" y="113"/>
                </a:cubicBezTo>
                <a:cubicBezTo>
                  <a:pt x="1571" y="112"/>
                  <a:pt x="1571" y="112"/>
                  <a:pt x="1571" y="112"/>
                </a:cubicBezTo>
                <a:cubicBezTo>
                  <a:pt x="1570" y="118"/>
                  <a:pt x="1570" y="118"/>
                  <a:pt x="1570" y="118"/>
                </a:cubicBezTo>
                <a:cubicBezTo>
                  <a:pt x="1567" y="120"/>
                  <a:pt x="1567" y="120"/>
                  <a:pt x="1567" y="120"/>
                </a:cubicBezTo>
                <a:cubicBezTo>
                  <a:pt x="1569" y="122"/>
                  <a:pt x="1569" y="122"/>
                  <a:pt x="1569" y="122"/>
                </a:cubicBezTo>
                <a:cubicBezTo>
                  <a:pt x="1564" y="122"/>
                  <a:pt x="1564" y="122"/>
                  <a:pt x="1564" y="122"/>
                </a:cubicBezTo>
                <a:cubicBezTo>
                  <a:pt x="1566" y="124"/>
                  <a:pt x="1566" y="124"/>
                  <a:pt x="1566" y="124"/>
                </a:cubicBezTo>
                <a:cubicBezTo>
                  <a:pt x="1560" y="124"/>
                  <a:pt x="1560" y="124"/>
                  <a:pt x="1560" y="124"/>
                </a:cubicBezTo>
                <a:cubicBezTo>
                  <a:pt x="1560" y="126"/>
                  <a:pt x="1560" y="126"/>
                  <a:pt x="1560" y="126"/>
                </a:cubicBezTo>
                <a:cubicBezTo>
                  <a:pt x="1564" y="127"/>
                  <a:pt x="1564" y="127"/>
                  <a:pt x="1564" y="127"/>
                </a:cubicBezTo>
                <a:cubicBezTo>
                  <a:pt x="1563" y="129"/>
                  <a:pt x="1563" y="129"/>
                  <a:pt x="1563" y="129"/>
                </a:cubicBezTo>
                <a:cubicBezTo>
                  <a:pt x="1558" y="127"/>
                  <a:pt x="1558" y="127"/>
                  <a:pt x="1558" y="127"/>
                </a:cubicBezTo>
                <a:cubicBezTo>
                  <a:pt x="1556" y="127"/>
                  <a:pt x="1556" y="127"/>
                  <a:pt x="1556" y="127"/>
                </a:cubicBezTo>
                <a:cubicBezTo>
                  <a:pt x="1559" y="129"/>
                  <a:pt x="1559" y="129"/>
                  <a:pt x="1559" y="129"/>
                </a:cubicBezTo>
                <a:cubicBezTo>
                  <a:pt x="1556" y="131"/>
                  <a:pt x="1556" y="131"/>
                  <a:pt x="1556" y="131"/>
                </a:cubicBezTo>
                <a:cubicBezTo>
                  <a:pt x="1554" y="129"/>
                  <a:pt x="1554" y="129"/>
                  <a:pt x="1554" y="129"/>
                </a:cubicBezTo>
                <a:cubicBezTo>
                  <a:pt x="1552" y="130"/>
                  <a:pt x="1552" y="130"/>
                  <a:pt x="1552" y="130"/>
                </a:cubicBezTo>
                <a:cubicBezTo>
                  <a:pt x="1553" y="131"/>
                  <a:pt x="1553" y="131"/>
                  <a:pt x="1553" y="131"/>
                </a:cubicBezTo>
                <a:cubicBezTo>
                  <a:pt x="1548" y="131"/>
                  <a:pt x="1548" y="131"/>
                  <a:pt x="1548" y="131"/>
                </a:cubicBezTo>
                <a:cubicBezTo>
                  <a:pt x="1547" y="133"/>
                  <a:pt x="1547" y="133"/>
                  <a:pt x="1547" y="133"/>
                </a:cubicBezTo>
                <a:cubicBezTo>
                  <a:pt x="1551" y="135"/>
                  <a:pt x="1551" y="135"/>
                  <a:pt x="1551" y="135"/>
                </a:cubicBezTo>
                <a:cubicBezTo>
                  <a:pt x="1550" y="137"/>
                  <a:pt x="1550" y="137"/>
                  <a:pt x="1550" y="137"/>
                </a:cubicBezTo>
                <a:cubicBezTo>
                  <a:pt x="1546" y="135"/>
                  <a:pt x="1546" y="135"/>
                  <a:pt x="1546" y="135"/>
                </a:cubicBezTo>
                <a:cubicBezTo>
                  <a:pt x="1545" y="138"/>
                  <a:pt x="1545" y="138"/>
                  <a:pt x="1545" y="138"/>
                </a:cubicBezTo>
                <a:cubicBezTo>
                  <a:pt x="1549" y="139"/>
                  <a:pt x="1549" y="139"/>
                  <a:pt x="1549" y="139"/>
                </a:cubicBezTo>
                <a:cubicBezTo>
                  <a:pt x="1549" y="139"/>
                  <a:pt x="1544" y="139"/>
                  <a:pt x="1543" y="139"/>
                </a:cubicBezTo>
                <a:cubicBezTo>
                  <a:pt x="1541" y="139"/>
                  <a:pt x="1542" y="141"/>
                  <a:pt x="1542" y="141"/>
                </a:cubicBezTo>
                <a:cubicBezTo>
                  <a:pt x="1542" y="141"/>
                  <a:pt x="1540" y="140"/>
                  <a:pt x="1538" y="141"/>
                </a:cubicBezTo>
                <a:cubicBezTo>
                  <a:pt x="1536" y="142"/>
                  <a:pt x="1535" y="143"/>
                  <a:pt x="1536" y="144"/>
                </a:cubicBezTo>
                <a:cubicBezTo>
                  <a:pt x="1537" y="145"/>
                  <a:pt x="1535" y="146"/>
                  <a:pt x="1535" y="146"/>
                </a:cubicBezTo>
                <a:cubicBezTo>
                  <a:pt x="1535" y="146"/>
                  <a:pt x="1533" y="148"/>
                  <a:pt x="1534" y="148"/>
                </a:cubicBezTo>
                <a:cubicBezTo>
                  <a:pt x="1534" y="148"/>
                  <a:pt x="1539" y="148"/>
                  <a:pt x="1539" y="148"/>
                </a:cubicBezTo>
                <a:cubicBezTo>
                  <a:pt x="1537" y="150"/>
                  <a:pt x="1537" y="150"/>
                  <a:pt x="1537" y="150"/>
                </a:cubicBezTo>
                <a:cubicBezTo>
                  <a:pt x="1532" y="149"/>
                  <a:pt x="1532" y="149"/>
                  <a:pt x="1532" y="149"/>
                </a:cubicBezTo>
                <a:cubicBezTo>
                  <a:pt x="1532" y="149"/>
                  <a:pt x="1530" y="150"/>
                  <a:pt x="1530" y="151"/>
                </a:cubicBezTo>
                <a:cubicBezTo>
                  <a:pt x="1530" y="153"/>
                  <a:pt x="1532" y="154"/>
                  <a:pt x="1531" y="155"/>
                </a:cubicBezTo>
                <a:cubicBezTo>
                  <a:pt x="1530" y="156"/>
                  <a:pt x="1529" y="156"/>
                  <a:pt x="1528" y="156"/>
                </a:cubicBezTo>
                <a:cubicBezTo>
                  <a:pt x="1527" y="156"/>
                  <a:pt x="1526" y="156"/>
                  <a:pt x="1526" y="157"/>
                </a:cubicBezTo>
                <a:cubicBezTo>
                  <a:pt x="1527" y="159"/>
                  <a:pt x="1528" y="160"/>
                  <a:pt x="1528" y="160"/>
                </a:cubicBezTo>
                <a:cubicBezTo>
                  <a:pt x="1528" y="160"/>
                  <a:pt x="1530" y="162"/>
                  <a:pt x="1528" y="162"/>
                </a:cubicBezTo>
                <a:cubicBezTo>
                  <a:pt x="1527" y="162"/>
                  <a:pt x="1525" y="162"/>
                  <a:pt x="1525" y="162"/>
                </a:cubicBezTo>
                <a:cubicBezTo>
                  <a:pt x="1524" y="162"/>
                  <a:pt x="1523" y="162"/>
                  <a:pt x="1523" y="163"/>
                </a:cubicBezTo>
                <a:cubicBezTo>
                  <a:pt x="1522" y="164"/>
                  <a:pt x="1522" y="165"/>
                  <a:pt x="1522" y="165"/>
                </a:cubicBezTo>
                <a:cubicBezTo>
                  <a:pt x="1522" y="165"/>
                  <a:pt x="1522" y="167"/>
                  <a:pt x="1521" y="167"/>
                </a:cubicBezTo>
                <a:cubicBezTo>
                  <a:pt x="1520" y="167"/>
                  <a:pt x="1519" y="165"/>
                  <a:pt x="1518" y="166"/>
                </a:cubicBezTo>
                <a:cubicBezTo>
                  <a:pt x="1516" y="166"/>
                  <a:pt x="1517" y="166"/>
                  <a:pt x="1516" y="167"/>
                </a:cubicBezTo>
                <a:cubicBezTo>
                  <a:pt x="1515" y="167"/>
                  <a:pt x="1515" y="168"/>
                  <a:pt x="1514" y="169"/>
                </a:cubicBezTo>
                <a:cubicBezTo>
                  <a:pt x="1513" y="169"/>
                  <a:pt x="1512" y="169"/>
                  <a:pt x="1512" y="169"/>
                </a:cubicBezTo>
                <a:cubicBezTo>
                  <a:pt x="1512" y="169"/>
                  <a:pt x="1511" y="170"/>
                  <a:pt x="1510" y="171"/>
                </a:cubicBezTo>
                <a:cubicBezTo>
                  <a:pt x="1509" y="172"/>
                  <a:pt x="1511" y="173"/>
                  <a:pt x="1510" y="174"/>
                </a:cubicBezTo>
                <a:cubicBezTo>
                  <a:pt x="1509" y="174"/>
                  <a:pt x="1509" y="175"/>
                  <a:pt x="1508" y="175"/>
                </a:cubicBezTo>
                <a:cubicBezTo>
                  <a:pt x="1507" y="175"/>
                  <a:pt x="1505" y="174"/>
                  <a:pt x="1504" y="174"/>
                </a:cubicBezTo>
                <a:cubicBezTo>
                  <a:pt x="1504" y="174"/>
                  <a:pt x="1505" y="172"/>
                  <a:pt x="1503" y="173"/>
                </a:cubicBezTo>
                <a:cubicBezTo>
                  <a:pt x="1500" y="175"/>
                  <a:pt x="1500" y="175"/>
                  <a:pt x="1499" y="175"/>
                </a:cubicBezTo>
                <a:cubicBezTo>
                  <a:pt x="1498" y="175"/>
                  <a:pt x="1497" y="174"/>
                  <a:pt x="1497" y="176"/>
                </a:cubicBezTo>
                <a:cubicBezTo>
                  <a:pt x="1497" y="178"/>
                  <a:pt x="1499" y="178"/>
                  <a:pt x="1499" y="179"/>
                </a:cubicBezTo>
                <a:cubicBezTo>
                  <a:pt x="1499" y="179"/>
                  <a:pt x="1500" y="181"/>
                  <a:pt x="1498" y="180"/>
                </a:cubicBezTo>
                <a:cubicBezTo>
                  <a:pt x="1496" y="179"/>
                  <a:pt x="1496" y="178"/>
                  <a:pt x="1495" y="178"/>
                </a:cubicBezTo>
                <a:cubicBezTo>
                  <a:pt x="1494" y="179"/>
                  <a:pt x="1493" y="180"/>
                  <a:pt x="1494" y="181"/>
                </a:cubicBezTo>
                <a:cubicBezTo>
                  <a:pt x="1495" y="181"/>
                  <a:pt x="1498" y="181"/>
                  <a:pt x="1497" y="182"/>
                </a:cubicBezTo>
                <a:cubicBezTo>
                  <a:pt x="1497" y="183"/>
                  <a:pt x="1499" y="184"/>
                  <a:pt x="1496" y="183"/>
                </a:cubicBezTo>
                <a:cubicBezTo>
                  <a:pt x="1493" y="183"/>
                  <a:pt x="1492" y="183"/>
                  <a:pt x="1492" y="183"/>
                </a:cubicBezTo>
                <a:cubicBezTo>
                  <a:pt x="1492" y="183"/>
                  <a:pt x="1492" y="182"/>
                  <a:pt x="1491" y="183"/>
                </a:cubicBezTo>
                <a:cubicBezTo>
                  <a:pt x="1490" y="184"/>
                  <a:pt x="1490" y="186"/>
                  <a:pt x="1490" y="186"/>
                </a:cubicBezTo>
                <a:cubicBezTo>
                  <a:pt x="1490" y="186"/>
                  <a:pt x="1484" y="183"/>
                  <a:pt x="1485" y="185"/>
                </a:cubicBezTo>
                <a:cubicBezTo>
                  <a:pt x="1486" y="186"/>
                  <a:pt x="1490" y="187"/>
                  <a:pt x="1490" y="187"/>
                </a:cubicBezTo>
                <a:cubicBezTo>
                  <a:pt x="1488" y="190"/>
                  <a:pt x="1488" y="190"/>
                  <a:pt x="1488" y="190"/>
                </a:cubicBezTo>
                <a:cubicBezTo>
                  <a:pt x="1488" y="190"/>
                  <a:pt x="1488" y="188"/>
                  <a:pt x="1486" y="188"/>
                </a:cubicBezTo>
                <a:cubicBezTo>
                  <a:pt x="1485" y="188"/>
                  <a:pt x="1484" y="189"/>
                  <a:pt x="1484" y="189"/>
                </a:cubicBezTo>
                <a:cubicBezTo>
                  <a:pt x="1481" y="187"/>
                  <a:pt x="1481" y="187"/>
                  <a:pt x="1481" y="187"/>
                </a:cubicBezTo>
                <a:cubicBezTo>
                  <a:pt x="1480" y="189"/>
                  <a:pt x="1480" y="189"/>
                  <a:pt x="1480" y="189"/>
                </a:cubicBezTo>
                <a:cubicBezTo>
                  <a:pt x="1481" y="190"/>
                  <a:pt x="1481" y="190"/>
                  <a:pt x="1481" y="190"/>
                </a:cubicBezTo>
                <a:cubicBezTo>
                  <a:pt x="1477" y="189"/>
                  <a:pt x="1477" y="189"/>
                  <a:pt x="1477" y="189"/>
                </a:cubicBezTo>
                <a:cubicBezTo>
                  <a:pt x="1476" y="191"/>
                  <a:pt x="1476" y="191"/>
                  <a:pt x="1476" y="191"/>
                </a:cubicBezTo>
                <a:cubicBezTo>
                  <a:pt x="1483" y="192"/>
                  <a:pt x="1483" y="192"/>
                  <a:pt x="1483" y="192"/>
                </a:cubicBezTo>
                <a:cubicBezTo>
                  <a:pt x="1480" y="193"/>
                  <a:pt x="1480" y="193"/>
                  <a:pt x="1480" y="193"/>
                </a:cubicBezTo>
                <a:cubicBezTo>
                  <a:pt x="1475" y="192"/>
                  <a:pt x="1475" y="192"/>
                  <a:pt x="1475" y="192"/>
                </a:cubicBezTo>
                <a:cubicBezTo>
                  <a:pt x="1475" y="192"/>
                  <a:pt x="1473" y="193"/>
                  <a:pt x="1473" y="194"/>
                </a:cubicBezTo>
                <a:cubicBezTo>
                  <a:pt x="1473" y="196"/>
                  <a:pt x="1477" y="196"/>
                  <a:pt x="1477" y="196"/>
                </a:cubicBezTo>
                <a:cubicBezTo>
                  <a:pt x="1475" y="197"/>
                  <a:pt x="1475" y="197"/>
                  <a:pt x="1475" y="197"/>
                </a:cubicBezTo>
                <a:cubicBezTo>
                  <a:pt x="1475" y="197"/>
                  <a:pt x="1473" y="198"/>
                  <a:pt x="1475" y="198"/>
                </a:cubicBezTo>
                <a:cubicBezTo>
                  <a:pt x="1476" y="199"/>
                  <a:pt x="1481" y="199"/>
                  <a:pt x="1481" y="199"/>
                </a:cubicBezTo>
                <a:cubicBezTo>
                  <a:pt x="1483" y="200"/>
                  <a:pt x="1483" y="200"/>
                  <a:pt x="1483" y="200"/>
                </a:cubicBezTo>
                <a:cubicBezTo>
                  <a:pt x="1486" y="198"/>
                  <a:pt x="1486" y="198"/>
                  <a:pt x="1486" y="198"/>
                </a:cubicBezTo>
                <a:cubicBezTo>
                  <a:pt x="1487" y="200"/>
                  <a:pt x="1487" y="200"/>
                  <a:pt x="1487" y="200"/>
                </a:cubicBezTo>
                <a:cubicBezTo>
                  <a:pt x="1491" y="198"/>
                  <a:pt x="1491" y="198"/>
                  <a:pt x="1491" y="198"/>
                </a:cubicBezTo>
                <a:cubicBezTo>
                  <a:pt x="1491" y="198"/>
                  <a:pt x="1490" y="201"/>
                  <a:pt x="1489" y="201"/>
                </a:cubicBezTo>
                <a:cubicBezTo>
                  <a:pt x="1488" y="201"/>
                  <a:pt x="1485" y="201"/>
                  <a:pt x="1485" y="201"/>
                </a:cubicBezTo>
                <a:cubicBezTo>
                  <a:pt x="1482" y="201"/>
                  <a:pt x="1482" y="201"/>
                  <a:pt x="1482" y="201"/>
                </a:cubicBezTo>
                <a:cubicBezTo>
                  <a:pt x="1482" y="201"/>
                  <a:pt x="1478" y="200"/>
                  <a:pt x="1478" y="200"/>
                </a:cubicBezTo>
                <a:cubicBezTo>
                  <a:pt x="1477" y="200"/>
                  <a:pt x="1472" y="201"/>
                  <a:pt x="1472" y="201"/>
                </a:cubicBezTo>
                <a:cubicBezTo>
                  <a:pt x="1472" y="201"/>
                  <a:pt x="1473" y="203"/>
                  <a:pt x="1474" y="204"/>
                </a:cubicBezTo>
                <a:cubicBezTo>
                  <a:pt x="1475" y="204"/>
                  <a:pt x="1477" y="204"/>
                  <a:pt x="1477" y="204"/>
                </a:cubicBezTo>
                <a:cubicBezTo>
                  <a:pt x="1477" y="204"/>
                  <a:pt x="1474" y="206"/>
                  <a:pt x="1475" y="208"/>
                </a:cubicBezTo>
                <a:cubicBezTo>
                  <a:pt x="1476" y="209"/>
                  <a:pt x="1479" y="209"/>
                  <a:pt x="1479" y="209"/>
                </a:cubicBezTo>
                <a:cubicBezTo>
                  <a:pt x="1482" y="207"/>
                  <a:pt x="1482" y="207"/>
                  <a:pt x="1482" y="207"/>
                </a:cubicBezTo>
                <a:cubicBezTo>
                  <a:pt x="1486" y="206"/>
                  <a:pt x="1486" y="206"/>
                  <a:pt x="1486" y="206"/>
                </a:cubicBezTo>
                <a:cubicBezTo>
                  <a:pt x="1485" y="209"/>
                  <a:pt x="1485" y="209"/>
                  <a:pt x="1485" y="209"/>
                </a:cubicBezTo>
                <a:cubicBezTo>
                  <a:pt x="1483" y="208"/>
                  <a:pt x="1483" y="208"/>
                  <a:pt x="1483" y="208"/>
                </a:cubicBezTo>
                <a:cubicBezTo>
                  <a:pt x="1481" y="211"/>
                  <a:pt x="1481" y="211"/>
                  <a:pt x="1481" y="211"/>
                </a:cubicBezTo>
                <a:cubicBezTo>
                  <a:pt x="1481" y="211"/>
                  <a:pt x="1475" y="210"/>
                  <a:pt x="1476" y="211"/>
                </a:cubicBezTo>
                <a:cubicBezTo>
                  <a:pt x="1477" y="213"/>
                  <a:pt x="1479" y="213"/>
                  <a:pt x="1479" y="213"/>
                </a:cubicBezTo>
                <a:cubicBezTo>
                  <a:pt x="1475" y="215"/>
                  <a:pt x="1475" y="215"/>
                  <a:pt x="1475" y="215"/>
                </a:cubicBezTo>
                <a:cubicBezTo>
                  <a:pt x="1473" y="215"/>
                  <a:pt x="1473" y="215"/>
                  <a:pt x="1473" y="215"/>
                </a:cubicBezTo>
                <a:cubicBezTo>
                  <a:pt x="1473" y="215"/>
                  <a:pt x="1473" y="217"/>
                  <a:pt x="1474" y="217"/>
                </a:cubicBezTo>
                <a:cubicBezTo>
                  <a:pt x="1475" y="217"/>
                  <a:pt x="1481" y="218"/>
                  <a:pt x="1481" y="218"/>
                </a:cubicBezTo>
                <a:cubicBezTo>
                  <a:pt x="1479" y="221"/>
                  <a:pt x="1479" y="221"/>
                  <a:pt x="1479" y="221"/>
                </a:cubicBezTo>
                <a:cubicBezTo>
                  <a:pt x="1481" y="221"/>
                  <a:pt x="1481" y="221"/>
                  <a:pt x="1481" y="221"/>
                </a:cubicBezTo>
                <a:cubicBezTo>
                  <a:pt x="1480" y="224"/>
                  <a:pt x="1480" y="224"/>
                  <a:pt x="1480" y="224"/>
                </a:cubicBezTo>
                <a:cubicBezTo>
                  <a:pt x="1480" y="224"/>
                  <a:pt x="1475" y="221"/>
                  <a:pt x="1475" y="223"/>
                </a:cubicBezTo>
                <a:cubicBezTo>
                  <a:pt x="1475" y="224"/>
                  <a:pt x="1477" y="226"/>
                  <a:pt x="1477" y="226"/>
                </a:cubicBezTo>
                <a:cubicBezTo>
                  <a:pt x="1484" y="229"/>
                  <a:pt x="1484" y="229"/>
                  <a:pt x="1484" y="229"/>
                </a:cubicBezTo>
                <a:cubicBezTo>
                  <a:pt x="1484" y="229"/>
                  <a:pt x="1482" y="230"/>
                  <a:pt x="1484" y="231"/>
                </a:cubicBezTo>
                <a:cubicBezTo>
                  <a:pt x="1485" y="232"/>
                  <a:pt x="1490" y="231"/>
                  <a:pt x="1490" y="231"/>
                </a:cubicBezTo>
                <a:cubicBezTo>
                  <a:pt x="1490" y="231"/>
                  <a:pt x="1490" y="233"/>
                  <a:pt x="1494" y="231"/>
                </a:cubicBezTo>
                <a:cubicBezTo>
                  <a:pt x="1498" y="230"/>
                  <a:pt x="1503" y="225"/>
                  <a:pt x="1503" y="225"/>
                </a:cubicBezTo>
                <a:cubicBezTo>
                  <a:pt x="1508" y="221"/>
                  <a:pt x="1508" y="221"/>
                  <a:pt x="1508" y="221"/>
                </a:cubicBezTo>
                <a:cubicBezTo>
                  <a:pt x="1508" y="221"/>
                  <a:pt x="1511" y="222"/>
                  <a:pt x="1513" y="220"/>
                </a:cubicBezTo>
                <a:cubicBezTo>
                  <a:pt x="1515" y="218"/>
                  <a:pt x="1513" y="214"/>
                  <a:pt x="1513" y="214"/>
                </a:cubicBezTo>
                <a:cubicBezTo>
                  <a:pt x="1515" y="214"/>
                  <a:pt x="1515" y="214"/>
                  <a:pt x="1515" y="214"/>
                </a:cubicBezTo>
                <a:cubicBezTo>
                  <a:pt x="1515" y="214"/>
                  <a:pt x="1513" y="217"/>
                  <a:pt x="1516" y="218"/>
                </a:cubicBezTo>
                <a:cubicBezTo>
                  <a:pt x="1519" y="219"/>
                  <a:pt x="1521" y="220"/>
                  <a:pt x="1521" y="220"/>
                </a:cubicBezTo>
                <a:cubicBezTo>
                  <a:pt x="1522" y="228"/>
                  <a:pt x="1522" y="228"/>
                  <a:pt x="1522" y="228"/>
                </a:cubicBezTo>
                <a:cubicBezTo>
                  <a:pt x="1522" y="228"/>
                  <a:pt x="1525" y="226"/>
                  <a:pt x="1526" y="229"/>
                </a:cubicBezTo>
                <a:cubicBezTo>
                  <a:pt x="1527" y="231"/>
                  <a:pt x="1525" y="229"/>
                  <a:pt x="1525" y="229"/>
                </a:cubicBezTo>
                <a:cubicBezTo>
                  <a:pt x="1525" y="229"/>
                  <a:pt x="1524" y="237"/>
                  <a:pt x="1525" y="237"/>
                </a:cubicBezTo>
                <a:cubicBezTo>
                  <a:pt x="1526" y="238"/>
                  <a:pt x="1528" y="239"/>
                  <a:pt x="1528" y="239"/>
                </a:cubicBezTo>
                <a:cubicBezTo>
                  <a:pt x="1528" y="239"/>
                  <a:pt x="1530" y="243"/>
                  <a:pt x="1531" y="244"/>
                </a:cubicBezTo>
                <a:cubicBezTo>
                  <a:pt x="1533" y="246"/>
                  <a:pt x="1535" y="247"/>
                  <a:pt x="1535" y="247"/>
                </a:cubicBezTo>
                <a:cubicBezTo>
                  <a:pt x="1535" y="248"/>
                  <a:pt x="1535" y="248"/>
                  <a:pt x="1535" y="248"/>
                </a:cubicBezTo>
                <a:cubicBezTo>
                  <a:pt x="1532" y="249"/>
                  <a:pt x="1532" y="249"/>
                  <a:pt x="1532" y="249"/>
                </a:cubicBezTo>
                <a:cubicBezTo>
                  <a:pt x="1532" y="249"/>
                  <a:pt x="1532" y="250"/>
                  <a:pt x="1532" y="252"/>
                </a:cubicBezTo>
                <a:cubicBezTo>
                  <a:pt x="1532" y="253"/>
                  <a:pt x="1535" y="256"/>
                  <a:pt x="1535" y="256"/>
                </a:cubicBezTo>
                <a:cubicBezTo>
                  <a:pt x="1535" y="256"/>
                  <a:pt x="1535" y="258"/>
                  <a:pt x="1536" y="259"/>
                </a:cubicBezTo>
                <a:cubicBezTo>
                  <a:pt x="1537" y="260"/>
                  <a:pt x="1541" y="259"/>
                  <a:pt x="1541" y="259"/>
                </a:cubicBezTo>
                <a:cubicBezTo>
                  <a:pt x="1541" y="259"/>
                  <a:pt x="1547" y="261"/>
                  <a:pt x="1547" y="259"/>
                </a:cubicBezTo>
                <a:cubicBezTo>
                  <a:pt x="1546" y="257"/>
                  <a:pt x="1546" y="254"/>
                  <a:pt x="1546" y="254"/>
                </a:cubicBezTo>
                <a:cubicBezTo>
                  <a:pt x="1549" y="252"/>
                  <a:pt x="1549" y="252"/>
                  <a:pt x="1549" y="252"/>
                </a:cubicBezTo>
                <a:cubicBezTo>
                  <a:pt x="1549" y="250"/>
                  <a:pt x="1549" y="250"/>
                  <a:pt x="1549" y="250"/>
                </a:cubicBezTo>
                <a:cubicBezTo>
                  <a:pt x="1558" y="251"/>
                  <a:pt x="1558" y="251"/>
                  <a:pt x="1558" y="251"/>
                </a:cubicBezTo>
                <a:cubicBezTo>
                  <a:pt x="1560" y="252"/>
                  <a:pt x="1560" y="252"/>
                  <a:pt x="1560" y="252"/>
                </a:cubicBezTo>
                <a:cubicBezTo>
                  <a:pt x="1563" y="243"/>
                  <a:pt x="1563" y="243"/>
                  <a:pt x="1563" y="243"/>
                </a:cubicBezTo>
                <a:cubicBezTo>
                  <a:pt x="1563" y="243"/>
                  <a:pt x="1565" y="238"/>
                  <a:pt x="1564" y="237"/>
                </a:cubicBezTo>
                <a:cubicBezTo>
                  <a:pt x="1564" y="235"/>
                  <a:pt x="1563" y="233"/>
                  <a:pt x="1563" y="233"/>
                </a:cubicBezTo>
                <a:cubicBezTo>
                  <a:pt x="1563" y="233"/>
                  <a:pt x="1567" y="232"/>
                  <a:pt x="1567" y="230"/>
                </a:cubicBezTo>
                <a:cubicBezTo>
                  <a:pt x="1566" y="228"/>
                  <a:pt x="1562" y="228"/>
                  <a:pt x="1562" y="228"/>
                </a:cubicBezTo>
                <a:cubicBezTo>
                  <a:pt x="1565" y="227"/>
                  <a:pt x="1565" y="227"/>
                  <a:pt x="1565" y="227"/>
                </a:cubicBezTo>
                <a:cubicBezTo>
                  <a:pt x="1563" y="226"/>
                  <a:pt x="1563" y="226"/>
                  <a:pt x="1563" y="226"/>
                </a:cubicBezTo>
                <a:cubicBezTo>
                  <a:pt x="1563" y="226"/>
                  <a:pt x="1570" y="226"/>
                  <a:pt x="1571" y="224"/>
                </a:cubicBezTo>
                <a:cubicBezTo>
                  <a:pt x="1571" y="222"/>
                  <a:pt x="1572" y="220"/>
                  <a:pt x="1572" y="220"/>
                </a:cubicBezTo>
                <a:cubicBezTo>
                  <a:pt x="1572" y="220"/>
                  <a:pt x="1575" y="224"/>
                  <a:pt x="1577" y="222"/>
                </a:cubicBezTo>
                <a:cubicBezTo>
                  <a:pt x="1579" y="219"/>
                  <a:pt x="1578" y="217"/>
                  <a:pt x="1578" y="217"/>
                </a:cubicBezTo>
                <a:cubicBezTo>
                  <a:pt x="1578" y="217"/>
                  <a:pt x="1583" y="216"/>
                  <a:pt x="1582" y="213"/>
                </a:cubicBezTo>
                <a:cubicBezTo>
                  <a:pt x="1580" y="210"/>
                  <a:pt x="1578" y="210"/>
                  <a:pt x="1578" y="210"/>
                </a:cubicBezTo>
                <a:cubicBezTo>
                  <a:pt x="1578" y="207"/>
                  <a:pt x="1578" y="207"/>
                  <a:pt x="1578" y="207"/>
                </a:cubicBezTo>
                <a:cubicBezTo>
                  <a:pt x="1573" y="205"/>
                  <a:pt x="1573" y="205"/>
                  <a:pt x="1573" y="205"/>
                </a:cubicBezTo>
                <a:cubicBezTo>
                  <a:pt x="1573" y="205"/>
                  <a:pt x="1571" y="207"/>
                  <a:pt x="1569" y="205"/>
                </a:cubicBezTo>
                <a:cubicBezTo>
                  <a:pt x="1567" y="204"/>
                  <a:pt x="1567" y="195"/>
                  <a:pt x="1567" y="195"/>
                </a:cubicBezTo>
                <a:cubicBezTo>
                  <a:pt x="1567" y="195"/>
                  <a:pt x="1569" y="193"/>
                  <a:pt x="1569" y="190"/>
                </a:cubicBezTo>
                <a:cubicBezTo>
                  <a:pt x="1569" y="188"/>
                  <a:pt x="1567" y="186"/>
                  <a:pt x="1567" y="186"/>
                </a:cubicBezTo>
                <a:cubicBezTo>
                  <a:pt x="1567" y="186"/>
                  <a:pt x="1570" y="187"/>
                  <a:pt x="1571" y="185"/>
                </a:cubicBezTo>
                <a:cubicBezTo>
                  <a:pt x="1572" y="183"/>
                  <a:pt x="1570" y="181"/>
                  <a:pt x="1570" y="181"/>
                </a:cubicBezTo>
                <a:cubicBezTo>
                  <a:pt x="1570" y="181"/>
                  <a:pt x="1573" y="183"/>
                  <a:pt x="1574" y="182"/>
                </a:cubicBezTo>
                <a:cubicBezTo>
                  <a:pt x="1575" y="181"/>
                  <a:pt x="1578" y="178"/>
                  <a:pt x="1578" y="178"/>
                </a:cubicBezTo>
                <a:cubicBezTo>
                  <a:pt x="1582" y="179"/>
                  <a:pt x="1582" y="179"/>
                  <a:pt x="1582" y="179"/>
                </a:cubicBezTo>
                <a:cubicBezTo>
                  <a:pt x="1584" y="176"/>
                  <a:pt x="1584" y="176"/>
                  <a:pt x="1584" y="176"/>
                </a:cubicBezTo>
                <a:cubicBezTo>
                  <a:pt x="1584" y="176"/>
                  <a:pt x="1590" y="176"/>
                  <a:pt x="1592" y="174"/>
                </a:cubicBezTo>
                <a:cubicBezTo>
                  <a:pt x="1594" y="172"/>
                  <a:pt x="1597" y="166"/>
                  <a:pt x="1597" y="166"/>
                </a:cubicBezTo>
                <a:cubicBezTo>
                  <a:pt x="1595" y="163"/>
                  <a:pt x="1595" y="163"/>
                  <a:pt x="1595" y="163"/>
                </a:cubicBezTo>
                <a:cubicBezTo>
                  <a:pt x="1599" y="158"/>
                  <a:pt x="1599" y="158"/>
                  <a:pt x="1599" y="158"/>
                </a:cubicBezTo>
                <a:cubicBezTo>
                  <a:pt x="1597" y="156"/>
                  <a:pt x="1597" y="156"/>
                  <a:pt x="1597" y="156"/>
                </a:cubicBezTo>
                <a:cubicBezTo>
                  <a:pt x="1602" y="154"/>
                  <a:pt x="1602" y="154"/>
                  <a:pt x="1602" y="154"/>
                </a:cubicBezTo>
                <a:cubicBezTo>
                  <a:pt x="1604" y="152"/>
                  <a:pt x="1604" y="152"/>
                  <a:pt x="1604" y="152"/>
                </a:cubicBezTo>
                <a:cubicBezTo>
                  <a:pt x="1615" y="152"/>
                  <a:pt x="1615" y="152"/>
                  <a:pt x="1615" y="152"/>
                </a:cubicBezTo>
                <a:cubicBezTo>
                  <a:pt x="1617" y="155"/>
                  <a:pt x="1617" y="155"/>
                  <a:pt x="1617" y="155"/>
                </a:cubicBezTo>
                <a:cubicBezTo>
                  <a:pt x="1617" y="154"/>
                  <a:pt x="1617" y="154"/>
                  <a:pt x="1617" y="154"/>
                </a:cubicBezTo>
                <a:cubicBezTo>
                  <a:pt x="1619" y="153"/>
                  <a:pt x="1619" y="153"/>
                  <a:pt x="1619" y="153"/>
                </a:cubicBezTo>
                <a:cubicBezTo>
                  <a:pt x="1619" y="153"/>
                  <a:pt x="1625" y="155"/>
                  <a:pt x="1626" y="157"/>
                </a:cubicBezTo>
                <a:cubicBezTo>
                  <a:pt x="1626" y="160"/>
                  <a:pt x="1626" y="162"/>
                  <a:pt x="1626" y="162"/>
                </a:cubicBezTo>
                <a:cubicBezTo>
                  <a:pt x="1626" y="162"/>
                  <a:pt x="1624" y="161"/>
                  <a:pt x="1623" y="161"/>
                </a:cubicBezTo>
                <a:cubicBezTo>
                  <a:pt x="1623" y="161"/>
                  <a:pt x="1618" y="166"/>
                  <a:pt x="1618" y="166"/>
                </a:cubicBezTo>
                <a:cubicBezTo>
                  <a:pt x="1613" y="171"/>
                  <a:pt x="1613" y="171"/>
                  <a:pt x="1613" y="171"/>
                </a:cubicBezTo>
                <a:cubicBezTo>
                  <a:pt x="1608" y="172"/>
                  <a:pt x="1608" y="172"/>
                  <a:pt x="1608" y="172"/>
                </a:cubicBezTo>
                <a:cubicBezTo>
                  <a:pt x="1608" y="172"/>
                  <a:pt x="1605" y="175"/>
                  <a:pt x="1605" y="176"/>
                </a:cubicBezTo>
                <a:cubicBezTo>
                  <a:pt x="1605" y="178"/>
                  <a:pt x="1601" y="178"/>
                  <a:pt x="1601" y="178"/>
                </a:cubicBezTo>
                <a:cubicBezTo>
                  <a:pt x="1598" y="182"/>
                  <a:pt x="1598" y="182"/>
                  <a:pt x="1598" y="182"/>
                </a:cubicBezTo>
                <a:cubicBezTo>
                  <a:pt x="1598" y="182"/>
                  <a:pt x="1597" y="185"/>
                  <a:pt x="1597" y="185"/>
                </a:cubicBezTo>
                <a:cubicBezTo>
                  <a:pt x="1598" y="186"/>
                  <a:pt x="1599" y="188"/>
                  <a:pt x="1599" y="188"/>
                </a:cubicBezTo>
                <a:cubicBezTo>
                  <a:pt x="1598" y="191"/>
                  <a:pt x="1598" y="191"/>
                  <a:pt x="1598" y="191"/>
                </a:cubicBezTo>
                <a:cubicBezTo>
                  <a:pt x="1601" y="194"/>
                  <a:pt x="1601" y="194"/>
                  <a:pt x="1601" y="194"/>
                </a:cubicBezTo>
                <a:cubicBezTo>
                  <a:pt x="1601" y="194"/>
                  <a:pt x="1599" y="201"/>
                  <a:pt x="1600" y="203"/>
                </a:cubicBezTo>
                <a:cubicBezTo>
                  <a:pt x="1601" y="205"/>
                  <a:pt x="1603" y="206"/>
                  <a:pt x="1603" y="206"/>
                </a:cubicBezTo>
                <a:cubicBezTo>
                  <a:pt x="1606" y="209"/>
                  <a:pt x="1606" y="209"/>
                  <a:pt x="1606" y="209"/>
                </a:cubicBezTo>
                <a:cubicBezTo>
                  <a:pt x="1612" y="208"/>
                  <a:pt x="1612" y="208"/>
                  <a:pt x="1612" y="208"/>
                </a:cubicBezTo>
                <a:cubicBezTo>
                  <a:pt x="1612" y="208"/>
                  <a:pt x="1610" y="211"/>
                  <a:pt x="1615" y="212"/>
                </a:cubicBezTo>
                <a:cubicBezTo>
                  <a:pt x="1619" y="212"/>
                  <a:pt x="1626" y="211"/>
                  <a:pt x="1626" y="211"/>
                </a:cubicBezTo>
                <a:cubicBezTo>
                  <a:pt x="1630" y="209"/>
                  <a:pt x="1630" y="209"/>
                  <a:pt x="1630" y="209"/>
                </a:cubicBezTo>
                <a:cubicBezTo>
                  <a:pt x="1635" y="209"/>
                  <a:pt x="1635" y="209"/>
                  <a:pt x="1635" y="209"/>
                </a:cubicBezTo>
                <a:cubicBezTo>
                  <a:pt x="1642" y="206"/>
                  <a:pt x="1642" y="206"/>
                  <a:pt x="1642" y="206"/>
                </a:cubicBezTo>
                <a:cubicBezTo>
                  <a:pt x="1652" y="206"/>
                  <a:pt x="1652" y="206"/>
                  <a:pt x="1652" y="206"/>
                </a:cubicBezTo>
                <a:cubicBezTo>
                  <a:pt x="1653" y="206"/>
                  <a:pt x="1653" y="206"/>
                  <a:pt x="1653" y="206"/>
                </a:cubicBezTo>
                <a:cubicBezTo>
                  <a:pt x="1657" y="203"/>
                  <a:pt x="1657" y="203"/>
                  <a:pt x="1657" y="203"/>
                </a:cubicBezTo>
                <a:cubicBezTo>
                  <a:pt x="1658" y="206"/>
                  <a:pt x="1658" y="206"/>
                  <a:pt x="1658" y="206"/>
                </a:cubicBezTo>
                <a:cubicBezTo>
                  <a:pt x="1658" y="206"/>
                  <a:pt x="1660" y="208"/>
                  <a:pt x="1662" y="209"/>
                </a:cubicBezTo>
                <a:cubicBezTo>
                  <a:pt x="1663" y="210"/>
                  <a:pt x="1668" y="210"/>
                  <a:pt x="1668" y="210"/>
                </a:cubicBezTo>
                <a:cubicBezTo>
                  <a:pt x="1670" y="212"/>
                  <a:pt x="1670" y="212"/>
                  <a:pt x="1670" y="212"/>
                </a:cubicBezTo>
                <a:cubicBezTo>
                  <a:pt x="1670" y="212"/>
                  <a:pt x="1662" y="210"/>
                  <a:pt x="1662" y="211"/>
                </a:cubicBezTo>
                <a:cubicBezTo>
                  <a:pt x="1661" y="213"/>
                  <a:pt x="1661" y="214"/>
                  <a:pt x="1661" y="214"/>
                </a:cubicBezTo>
                <a:cubicBezTo>
                  <a:pt x="1656" y="214"/>
                  <a:pt x="1656" y="214"/>
                  <a:pt x="1656" y="214"/>
                </a:cubicBezTo>
                <a:cubicBezTo>
                  <a:pt x="1655" y="217"/>
                  <a:pt x="1655" y="217"/>
                  <a:pt x="1655" y="217"/>
                </a:cubicBezTo>
                <a:cubicBezTo>
                  <a:pt x="1655" y="217"/>
                  <a:pt x="1654" y="217"/>
                  <a:pt x="1653" y="217"/>
                </a:cubicBezTo>
                <a:cubicBezTo>
                  <a:pt x="1650" y="216"/>
                  <a:pt x="1643" y="215"/>
                  <a:pt x="1641" y="215"/>
                </a:cubicBezTo>
                <a:cubicBezTo>
                  <a:pt x="1638" y="215"/>
                  <a:pt x="1628" y="216"/>
                  <a:pt x="1628" y="216"/>
                </a:cubicBezTo>
                <a:cubicBezTo>
                  <a:pt x="1628" y="216"/>
                  <a:pt x="1618" y="220"/>
                  <a:pt x="1618" y="221"/>
                </a:cubicBezTo>
                <a:cubicBezTo>
                  <a:pt x="1618" y="223"/>
                  <a:pt x="1619" y="226"/>
                  <a:pt x="1619" y="226"/>
                </a:cubicBezTo>
                <a:cubicBezTo>
                  <a:pt x="1627" y="228"/>
                  <a:pt x="1627" y="228"/>
                  <a:pt x="1627" y="228"/>
                </a:cubicBezTo>
                <a:cubicBezTo>
                  <a:pt x="1625" y="233"/>
                  <a:pt x="1625" y="233"/>
                  <a:pt x="1625" y="233"/>
                </a:cubicBezTo>
                <a:cubicBezTo>
                  <a:pt x="1625" y="233"/>
                  <a:pt x="1629" y="242"/>
                  <a:pt x="1626" y="242"/>
                </a:cubicBezTo>
                <a:cubicBezTo>
                  <a:pt x="1624" y="242"/>
                  <a:pt x="1618" y="241"/>
                  <a:pt x="1618" y="241"/>
                </a:cubicBezTo>
                <a:cubicBezTo>
                  <a:pt x="1617" y="238"/>
                  <a:pt x="1617" y="238"/>
                  <a:pt x="1617" y="238"/>
                </a:cubicBezTo>
                <a:cubicBezTo>
                  <a:pt x="1612" y="234"/>
                  <a:pt x="1612" y="234"/>
                  <a:pt x="1612" y="234"/>
                </a:cubicBezTo>
                <a:cubicBezTo>
                  <a:pt x="1612" y="234"/>
                  <a:pt x="1606" y="235"/>
                  <a:pt x="1605" y="237"/>
                </a:cubicBezTo>
                <a:cubicBezTo>
                  <a:pt x="1604" y="238"/>
                  <a:pt x="1604" y="240"/>
                  <a:pt x="1604" y="240"/>
                </a:cubicBezTo>
                <a:cubicBezTo>
                  <a:pt x="1604" y="240"/>
                  <a:pt x="1600" y="244"/>
                  <a:pt x="1600" y="245"/>
                </a:cubicBezTo>
                <a:cubicBezTo>
                  <a:pt x="1600" y="246"/>
                  <a:pt x="1602" y="252"/>
                  <a:pt x="1602" y="252"/>
                </a:cubicBezTo>
                <a:cubicBezTo>
                  <a:pt x="1602" y="252"/>
                  <a:pt x="1602" y="260"/>
                  <a:pt x="1604" y="260"/>
                </a:cubicBezTo>
                <a:cubicBezTo>
                  <a:pt x="1604" y="260"/>
                  <a:pt x="1604" y="260"/>
                  <a:pt x="1604" y="261"/>
                </a:cubicBezTo>
                <a:cubicBezTo>
                  <a:pt x="1604" y="262"/>
                  <a:pt x="1603" y="264"/>
                  <a:pt x="1603" y="264"/>
                </a:cubicBezTo>
                <a:cubicBezTo>
                  <a:pt x="1603" y="264"/>
                  <a:pt x="1594" y="263"/>
                  <a:pt x="1593" y="264"/>
                </a:cubicBezTo>
                <a:cubicBezTo>
                  <a:pt x="1592" y="266"/>
                  <a:pt x="1594" y="267"/>
                  <a:pt x="1594" y="267"/>
                </a:cubicBezTo>
                <a:cubicBezTo>
                  <a:pt x="1593" y="269"/>
                  <a:pt x="1593" y="269"/>
                  <a:pt x="1593" y="269"/>
                </a:cubicBezTo>
                <a:cubicBezTo>
                  <a:pt x="1593" y="269"/>
                  <a:pt x="1586" y="270"/>
                  <a:pt x="1585" y="270"/>
                </a:cubicBezTo>
                <a:cubicBezTo>
                  <a:pt x="1583" y="270"/>
                  <a:pt x="1582" y="266"/>
                  <a:pt x="1582" y="266"/>
                </a:cubicBezTo>
                <a:cubicBezTo>
                  <a:pt x="1582" y="266"/>
                  <a:pt x="1579" y="265"/>
                  <a:pt x="1576" y="265"/>
                </a:cubicBezTo>
                <a:cubicBezTo>
                  <a:pt x="1573" y="265"/>
                  <a:pt x="1565" y="269"/>
                  <a:pt x="1565" y="269"/>
                </a:cubicBezTo>
                <a:cubicBezTo>
                  <a:pt x="1562" y="271"/>
                  <a:pt x="1562" y="271"/>
                  <a:pt x="1562" y="271"/>
                </a:cubicBezTo>
                <a:cubicBezTo>
                  <a:pt x="1554" y="272"/>
                  <a:pt x="1554" y="272"/>
                  <a:pt x="1554" y="272"/>
                </a:cubicBezTo>
                <a:cubicBezTo>
                  <a:pt x="1554" y="272"/>
                  <a:pt x="1547" y="275"/>
                  <a:pt x="1548" y="275"/>
                </a:cubicBezTo>
                <a:cubicBezTo>
                  <a:pt x="1548" y="276"/>
                  <a:pt x="1548" y="278"/>
                  <a:pt x="1548" y="278"/>
                </a:cubicBezTo>
                <a:cubicBezTo>
                  <a:pt x="1547" y="278"/>
                  <a:pt x="1547" y="278"/>
                  <a:pt x="1547" y="278"/>
                </a:cubicBezTo>
                <a:cubicBezTo>
                  <a:pt x="1546" y="277"/>
                  <a:pt x="1546" y="277"/>
                  <a:pt x="1546" y="277"/>
                </a:cubicBezTo>
                <a:cubicBezTo>
                  <a:pt x="1543" y="276"/>
                  <a:pt x="1543" y="276"/>
                  <a:pt x="1543" y="276"/>
                </a:cubicBezTo>
                <a:cubicBezTo>
                  <a:pt x="1543" y="276"/>
                  <a:pt x="1543" y="275"/>
                  <a:pt x="1542" y="274"/>
                </a:cubicBezTo>
                <a:cubicBezTo>
                  <a:pt x="1541" y="273"/>
                  <a:pt x="1539" y="273"/>
                  <a:pt x="1539" y="273"/>
                </a:cubicBezTo>
                <a:cubicBezTo>
                  <a:pt x="1538" y="272"/>
                  <a:pt x="1538" y="272"/>
                  <a:pt x="1538" y="272"/>
                </a:cubicBezTo>
                <a:cubicBezTo>
                  <a:pt x="1538" y="272"/>
                  <a:pt x="1532" y="269"/>
                  <a:pt x="1531" y="270"/>
                </a:cubicBezTo>
                <a:cubicBezTo>
                  <a:pt x="1530" y="271"/>
                  <a:pt x="1529" y="272"/>
                  <a:pt x="1529" y="272"/>
                </a:cubicBezTo>
                <a:cubicBezTo>
                  <a:pt x="1523" y="272"/>
                  <a:pt x="1523" y="272"/>
                  <a:pt x="1523" y="272"/>
                </a:cubicBezTo>
                <a:cubicBezTo>
                  <a:pt x="1523" y="274"/>
                  <a:pt x="1523" y="274"/>
                  <a:pt x="1523" y="274"/>
                </a:cubicBezTo>
                <a:cubicBezTo>
                  <a:pt x="1518" y="274"/>
                  <a:pt x="1518" y="274"/>
                  <a:pt x="1518" y="274"/>
                </a:cubicBezTo>
                <a:cubicBezTo>
                  <a:pt x="1518" y="274"/>
                  <a:pt x="1517" y="273"/>
                  <a:pt x="1518" y="272"/>
                </a:cubicBezTo>
                <a:cubicBezTo>
                  <a:pt x="1519" y="271"/>
                  <a:pt x="1520" y="269"/>
                  <a:pt x="1520" y="269"/>
                </a:cubicBezTo>
                <a:cubicBezTo>
                  <a:pt x="1517" y="270"/>
                  <a:pt x="1517" y="270"/>
                  <a:pt x="1517" y="270"/>
                </a:cubicBezTo>
                <a:cubicBezTo>
                  <a:pt x="1511" y="269"/>
                  <a:pt x="1511" y="269"/>
                  <a:pt x="1511" y="269"/>
                </a:cubicBezTo>
                <a:cubicBezTo>
                  <a:pt x="1511" y="269"/>
                  <a:pt x="1509" y="267"/>
                  <a:pt x="1508" y="265"/>
                </a:cubicBezTo>
                <a:cubicBezTo>
                  <a:pt x="1508" y="265"/>
                  <a:pt x="1508" y="265"/>
                  <a:pt x="1508" y="265"/>
                </a:cubicBezTo>
                <a:cubicBezTo>
                  <a:pt x="1508" y="263"/>
                  <a:pt x="1507" y="262"/>
                  <a:pt x="1507" y="262"/>
                </a:cubicBezTo>
                <a:cubicBezTo>
                  <a:pt x="1509" y="259"/>
                  <a:pt x="1509" y="259"/>
                  <a:pt x="1509" y="259"/>
                </a:cubicBezTo>
                <a:cubicBezTo>
                  <a:pt x="1509" y="259"/>
                  <a:pt x="1506" y="256"/>
                  <a:pt x="1508" y="256"/>
                </a:cubicBezTo>
                <a:cubicBezTo>
                  <a:pt x="1510" y="255"/>
                  <a:pt x="1511" y="254"/>
                  <a:pt x="1511" y="254"/>
                </a:cubicBezTo>
                <a:cubicBezTo>
                  <a:pt x="1512" y="250"/>
                  <a:pt x="1512" y="250"/>
                  <a:pt x="1512" y="250"/>
                </a:cubicBezTo>
                <a:cubicBezTo>
                  <a:pt x="1515" y="250"/>
                  <a:pt x="1515" y="250"/>
                  <a:pt x="1515" y="250"/>
                </a:cubicBezTo>
                <a:cubicBezTo>
                  <a:pt x="1516" y="247"/>
                  <a:pt x="1516" y="247"/>
                  <a:pt x="1516" y="247"/>
                </a:cubicBezTo>
                <a:cubicBezTo>
                  <a:pt x="1511" y="247"/>
                  <a:pt x="1511" y="247"/>
                  <a:pt x="1511" y="247"/>
                </a:cubicBezTo>
                <a:cubicBezTo>
                  <a:pt x="1511" y="247"/>
                  <a:pt x="1511" y="243"/>
                  <a:pt x="1511" y="243"/>
                </a:cubicBezTo>
                <a:cubicBezTo>
                  <a:pt x="1512" y="242"/>
                  <a:pt x="1515" y="239"/>
                  <a:pt x="1514" y="238"/>
                </a:cubicBezTo>
                <a:cubicBezTo>
                  <a:pt x="1514" y="237"/>
                  <a:pt x="1513" y="236"/>
                  <a:pt x="1513" y="236"/>
                </a:cubicBezTo>
                <a:cubicBezTo>
                  <a:pt x="1513" y="236"/>
                  <a:pt x="1509" y="235"/>
                  <a:pt x="1509" y="236"/>
                </a:cubicBezTo>
                <a:cubicBezTo>
                  <a:pt x="1509" y="237"/>
                  <a:pt x="1504" y="242"/>
                  <a:pt x="1504" y="243"/>
                </a:cubicBezTo>
                <a:cubicBezTo>
                  <a:pt x="1504" y="244"/>
                  <a:pt x="1505" y="246"/>
                  <a:pt x="1505" y="246"/>
                </a:cubicBezTo>
                <a:cubicBezTo>
                  <a:pt x="1502" y="244"/>
                  <a:pt x="1502" y="244"/>
                  <a:pt x="1502" y="244"/>
                </a:cubicBezTo>
                <a:cubicBezTo>
                  <a:pt x="1501" y="240"/>
                  <a:pt x="1501" y="240"/>
                  <a:pt x="1501" y="240"/>
                </a:cubicBezTo>
                <a:cubicBezTo>
                  <a:pt x="1501" y="240"/>
                  <a:pt x="1496" y="243"/>
                  <a:pt x="1496" y="244"/>
                </a:cubicBezTo>
                <a:cubicBezTo>
                  <a:pt x="1496" y="244"/>
                  <a:pt x="1499" y="244"/>
                  <a:pt x="1499" y="244"/>
                </a:cubicBezTo>
                <a:cubicBezTo>
                  <a:pt x="1499" y="245"/>
                  <a:pt x="1501" y="248"/>
                  <a:pt x="1501" y="248"/>
                </a:cubicBezTo>
                <a:cubicBezTo>
                  <a:pt x="1497" y="247"/>
                  <a:pt x="1497" y="247"/>
                  <a:pt x="1497" y="247"/>
                </a:cubicBezTo>
                <a:cubicBezTo>
                  <a:pt x="1497" y="247"/>
                  <a:pt x="1494" y="250"/>
                  <a:pt x="1494" y="252"/>
                </a:cubicBezTo>
                <a:cubicBezTo>
                  <a:pt x="1494" y="254"/>
                  <a:pt x="1498" y="254"/>
                  <a:pt x="1498" y="254"/>
                </a:cubicBezTo>
                <a:cubicBezTo>
                  <a:pt x="1498" y="254"/>
                  <a:pt x="1495" y="257"/>
                  <a:pt x="1495" y="258"/>
                </a:cubicBezTo>
                <a:cubicBezTo>
                  <a:pt x="1496" y="258"/>
                  <a:pt x="1499" y="258"/>
                  <a:pt x="1499" y="258"/>
                </a:cubicBezTo>
                <a:cubicBezTo>
                  <a:pt x="1499" y="261"/>
                  <a:pt x="1499" y="261"/>
                  <a:pt x="1499" y="261"/>
                </a:cubicBezTo>
                <a:cubicBezTo>
                  <a:pt x="1497" y="264"/>
                  <a:pt x="1497" y="264"/>
                  <a:pt x="1497" y="264"/>
                </a:cubicBezTo>
                <a:cubicBezTo>
                  <a:pt x="1499" y="265"/>
                  <a:pt x="1499" y="265"/>
                  <a:pt x="1499" y="265"/>
                </a:cubicBezTo>
                <a:cubicBezTo>
                  <a:pt x="1502" y="269"/>
                  <a:pt x="1502" y="269"/>
                  <a:pt x="1502" y="269"/>
                </a:cubicBezTo>
                <a:cubicBezTo>
                  <a:pt x="1500" y="271"/>
                  <a:pt x="1500" y="271"/>
                  <a:pt x="1500" y="271"/>
                </a:cubicBezTo>
                <a:cubicBezTo>
                  <a:pt x="1503" y="275"/>
                  <a:pt x="1503" y="275"/>
                  <a:pt x="1503" y="275"/>
                </a:cubicBezTo>
                <a:cubicBezTo>
                  <a:pt x="1506" y="277"/>
                  <a:pt x="1506" y="277"/>
                  <a:pt x="1506" y="277"/>
                </a:cubicBezTo>
                <a:cubicBezTo>
                  <a:pt x="1502" y="275"/>
                  <a:pt x="1502" y="275"/>
                  <a:pt x="1502" y="275"/>
                </a:cubicBezTo>
                <a:cubicBezTo>
                  <a:pt x="1498" y="276"/>
                  <a:pt x="1498" y="276"/>
                  <a:pt x="1498" y="276"/>
                </a:cubicBezTo>
                <a:cubicBezTo>
                  <a:pt x="1498" y="276"/>
                  <a:pt x="1499" y="279"/>
                  <a:pt x="1498" y="280"/>
                </a:cubicBezTo>
                <a:cubicBezTo>
                  <a:pt x="1496" y="280"/>
                  <a:pt x="1494" y="280"/>
                  <a:pt x="1494" y="280"/>
                </a:cubicBezTo>
                <a:cubicBezTo>
                  <a:pt x="1493" y="278"/>
                  <a:pt x="1493" y="278"/>
                  <a:pt x="1493" y="278"/>
                </a:cubicBezTo>
                <a:cubicBezTo>
                  <a:pt x="1493" y="278"/>
                  <a:pt x="1487" y="277"/>
                  <a:pt x="1487" y="278"/>
                </a:cubicBezTo>
                <a:cubicBezTo>
                  <a:pt x="1487" y="279"/>
                  <a:pt x="1487" y="282"/>
                  <a:pt x="1487" y="282"/>
                </a:cubicBezTo>
                <a:cubicBezTo>
                  <a:pt x="1487" y="282"/>
                  <a:pt x="1484" y="280"/>
                  <a:pt x="1482" y="280"/>
                </a:cubicBezTo>
                <a:cubicBezTo>
                  <a:pt x="1481" y="280"/>
                  <a:pt x="1476" y="280"/>
                  <a:pt x="1476" y="280"/>
                </a:cubicBezTo>
                <a:cubicBezTo>
                  <a:pt x="1476" y="280"/>
                  <a:pt x="1473" y="281"/>
                  <a:pt x="1472" y="282"/>
                </a:cubicBezTo>
                <a:cubicBezTo>
                  <a:pt x="1472" y="283"/>
                  <a:pt x="1472" y="284"/>
                  <a:pt x="1472" y="285"/>
                </a:cubicBezTo>
                <a:cubicBezTo>
                  <a:pt x="1473" y="285"/>
                  <a:pt x="1473" y="287"/>
                  <a:pt x="1473" y="287"/>
                </a:cubicBezTo>
                <a:cubicBezTo>
                  <a:pt x="1473" y="287"/>
                  <a:pt x="1474" y="289"/>
                  <a:pt x="1474" y="289"/>
                </a:cubicBezTo>
                <a:cubicBezTo>
                  <a:pt x="1475" y="289"/>
                  <a:pt x="1476" y="289"/>
                  <a:pt x="1476" y="290"/>
                </a:cubicBezTo>
                <a:cubicBezTo>
                  <a:pt x="1476" y="291"/>
                  <a:pt x="1473" y="293"/>
                  <a:pt x="1472" y="293"/>
                </a:cubicBezTo>
                <a:cubicBezTo>
                  <a:pt x="1471" y="293"/>
                  <a:pt x="1470" y="292"/>
                  <a:pt x="1469" y="291"/>
                </a:cubicBezTo>
                <a:cubicBezTo>
                  <a:pt x="1468" y="290"/>
                  <a:pt x="1470" y="290"/>
                  <a:pt x="1471" y="288"/>
                </a:cubicBezTo>
                <a:cubicBezTo>
                  <a:pt x="1472" y="286"/>
                  <a:pt x="1471" y="285"/>
                  <a:pt x="1471" y="285"/>
                </a:cubicBezTo>
                <a:cubicBezTo>
                  <a:pt x="1471" y="285"/>
                  <a:pt x="1471" y="285"/>
                  <a:pt x="1470" y="284"/>
                </a:cubicBezTo>
                <a:cubicBezTo>
                  <a:pt x="1469" y="285"/>
                  <a:pt x="1467" y="287"/>
                  <a:pt x="1467" y="287"/>
                </a:cubicBezTo>
                <a:cubicBezTo>
                  <a:pt x="1467" y="287"/>
                  <a:pt x="1463" y="289"/>
                  <a:pt x="1463" y="291"/>
                </a:cubicBezTo>
                <a:cubicBezTo>
                  <a:pt x="1463" y="292"/>
                  <a:pt x="1463" y="295"/>
                  <a:pt x="1463" y="295"/>
                </a:cubicBezTo>
                <a:cubicBezTo>
                  <a:pt x="1459" y="299"/>
                  <a:pt x="1459" y="299"/>
                  <a:pt x="1459" y="299"/>
                </a:cubicBezTo>
                <a:cubicBezTo>
                  <a:pt x="1460" y="301"/>
                  <a:pt x="1460" y="301"/>
                  <a:pt x="1460" y="301"/>
                </a:cubicBezTo>
                <a:cubicBezTo>
                  <a:pt x="1457" y="301"/>
                  <a:pt x="1457" y="301"/>
                  <a:pt x="1457" y="301"/>
                </a:cubicBezTo>
                <a:cubicBezTo>
                  <a:pt x="1453" y="302"/>
                  <a:pt x="1453" y="302"/>
                  <a:pt x="1453" y="302"/>
                </a:cubicBezTo>
                <a:cubicBezTo>
                  <a:pt x="1451" y="304"/>
                  <a:pt x="1451" y="304"/>
                  <a:pt x="1451" y="304"/>
                </a:cubicBezTo>
                <a:cubicBezTo>
                  <a:pt x="1449" y="306"/>
                  <a:pt x="1449" y="306"/>
                  <a:pt x="1449" y="306"/>
                </a:cubicBezTo>
                <a:cubicBezTo>
                  <a:pt x="1449" y="306"/>
                  <a:pt x="1445" y="305"/>
                  <a:pt x="1443" y="306"/>
                </a:cubicBezTo>
                <a:cubicBezTo>
                  <a:pt x="1441" y="307"/>
                  <a:pt x="1436" y="306"/>
                  <a:pt x="1437" y="308"/>
                </a:cubicBezTo>
                <a:cubicBezTo>
                  <a:pt x="1438" y="309"/>
                  <a:pt x="1438" y="311"/>
                  <a:pt x="1438" y="311"/>
                </a:cubicBezTo>
                <a:cubicBezTo>
                  <a:pt x="1438" y="311"/>
                  <a:pt x="1440" y="314"/>
                  <a:pt x="1438" y="316"/>
                </a:cubicBezTo>
                <a:cubicBezTo>
                  <a:pt x="1435" y="318"/>
                  <a:pt x="1431" y="318"/>
                  <a:pt x="1431" y="318"/>
                </a:cubicBezTo>
                <a:cubicBezTo>
                  <a:pt x="1425" y="322"/>
                  <a:pt x="1425" y="322"/>
                  <a:pt x="1425" y="322"/>
                </a:cubicBezTo>
                <a:cubicBezTo>
                  <a:pt x="1427" y="323"/>
                  <a:pt x="1427" y="323"/>
                  <a:pt x="1427" y="323"/>
                </a:cubicBezTo>
                <a:cubicBezTo>
                  <a:pt x="1427" y="323"/>
                  <a:pt x="1423" y="326"/>
                  <a:pt x="1420" y="325"/>
                </a:cubicBezTo>
                <a:cubicBezTo>
                  <a:pt x="1417" y="325"/>
                  <a:pt x="1415" y="324"/>
                  <a:pt x="1415" y="324"/>
                </a:cubicBezTo>
                <a:cubicBezTo>
                  <a:pt x="1413" y="321"/>
                  <a:pt x="1413" y="321"/>
                  <a:pt x="1413" y="321"/>
                </a:cubicBezTo>
                <a:cubicBezTo>
                  <a:pt x="1413" y="321"/>
                  <a:pt x="1408" y="319"/>
                  <a:pt x="1408" y="321"/>
                </a:cubicBezTo>
                <a:cubicBezTo>
                  <a:pt x="1409" y="322"/>
                  <a:pt x="1411" y="325"/>
                  <a:pt x="1411" y="325"/>
                </a:cubicBezTo>
                <a:cubicBezTo>
                  <a:pt x="1411" y="325"/>
                  <a:pt x="1414" y="330"/>
                  <a:pt x="1410" y="331"/>
                </a:cubicBezTo>
                <a:cubicBezTo>
                  <a:pt x="1406" y="332"/>
                  <a:pt x="1402" y="331"/>
                  <a:pt x="1402" y="331"/>
                </a:cubicBezTo>
                <a:cubicBezTo>
                  <a:pt x="1401" y="334"/>
                  <a:pt x="1401" y="334"/>
                  <a:pt x="1401" y="334"/>
                </a:cubicBezTo>
                <a:cubicBezTo>
                  <a:pt x="1401" y="334"/>
                  <a:pt x="1397" y="329"/>
                  <a:pt x="1396" y="330"/>
                </a:cubicBezTo>
                <a:cubicBezTo>
                  <a:pt x="1395" y="330"/>
                  <a:pt x="1391" y="331"/>
                  <a:pt x="1391" y="331"/>
                </a:cubicBezTo>
                <a:cubicBezTo>
                  <a:pt x="1391" y="331"/>
                  <a:pt x="1383" y="332"/>
                  <a:pt x="1382" y="334"/>
                </a:cubicBezTo>
                <a:cubicBezTo>
                  <a:pt x="1382" y="335"/>
                  <a:pt x="1386" y="336"/>
                  <a:pt x="1386" y="337"/>
                </a:cubicBezTo>
                <a:cubicBezTo>
                  <a:pt x="1386" y="338"/>
                  <a:pt x="1380" y="337"/>
                  <a:pt x="1381" y="339"/>
                </a:cubicBezTo>
                <a:cubicBezTo>
                  <a:pt x="1382" y="341"/>
                  <a:pt x="1386" y="341"/>
                  <a:pt x="1386" y="341"/>
                </a:cubicBezTo>
                <a:cubicBezTo>
                  <a:pt x="1388" y="340"/>
                  <a:pt x="1388" y="340"/>
                  <a:pt x="1388" y="340"/>
                </a:cubicBezTo>
                <a:cubicBezTo>
                  <a:pt x="1395" y="344"/>
                  <a:pt x="1395" y="344"/>
                  <a:pt x="1395" y="344"/>
                </a:cubicBezTo>
                <a:cubicBezTo>
                  <a:pt x="1399" y="344"/>
                  <a:pt x="1399" y="344"/>
                  <a:pt x="1399" y="344"/>
                </a:cubicBezTo>
                <a:cubicBezTo>
                  <a:pt x="1401" y="346"/>
                  <a:pt x="1401" y="346"/>
                  <a:pt x="1401" y="346"/>
                </a:cubicBezTo>
                <a:cubicBezTo>
                  <a:pt x="1407" y="347"/>
                  <a:pt x="1407" y="347"/>
                  <a:pt x="1407" y="347"/>
                </a:cubicBezTo>
                <a:cubicBezTo>
                  <a:pt x="1403" y="349"/>
                  <a:pt x="1403" y="349"/>
                  <a:pt x="1403" y="349"/>
                </a:cubicBezTo>
                <a:cubicBezTo>
                  <a:pt x="1403" y="349"/>
                  <a:pt x="1407" y="355"/>
                  <a:pt x="1408" y="356"/>
                </a:cubicBezTo>
                <a:cubicBezTo>
                  <a:pt x="1408" y="357"/>
                  <a:pt x="1412" y="357"/>
                  <a:pt x="1412" y="357"/>
                </a:cubicBezTo>
                <a:cubicBezTo>
                  <a:pt x="1412" y="363"/>
                  <a:pt x="1412" y="363"/>
                  <a:pt x="1412" y="363"/>
                </a:cubicBezTo>
                <a:cubicBezTo>
                  <a:pt x="1414" y="367"/>
                  <a:pt x="1414" y="367"/>
                  <a:pt x="1414" y="367"/>
                </a:cubicBezTo>
                <a:cubicBezTo>
                  <a:pt x="1416" y="372"/>
                  <a:pt x="1416" y="372"/>
                  <a:pt x="1416" y="372"/>
                </a:cubicBezTo>
                <a:cubicBezTo>
                  <a:pt x="1412" y="367"/>
                  <a:pt x="1412" y="367"/>
                  <a:pt x="1412" y="367"/>
                </a:cubicBezTo>
                <a:cubicBezTo>
                  <a:pt x="1412" y="367"/>
                  <a:pt x="1411" y="373"/>
                  <a:pt x="1411" y="375"/>
                </a:cubicBezTo>
                <a:cubicBezTo>
                  <a:pt x="1411" y="377"/>
                  <a:pt x="1409" y="385"/>
                  <a:pt x="1408" y="387"/>
                </a:cubicBezTo>
                <a:cubicBezTo>
                  <a:pt x="1407" y="388"/>
                  <a:pt x="1407" y="390"/>
                  <a:pt x="1405" y="391"/>
                </a:cubicBezTo>
                <a:cubicBezTo>
                  <a:pt x="1404" y="391"/>
                  <a:pt x="1404" y="391"/>
                  <a:pt x="1403" y="391"/>
                </a:cubicBezTo>
                <a:cubicBezTo>
                  <a:pt x="1399" y="391"/>
                  <a:pt x="1390" y="389"/>
                  <a:pt x="1390" y="389"/>
                </a:cubicBezTo>
                <a:cubicBezTo>
                  <a:pt x="1385" y="391"/>
                  <a:pt x="1385" y="391"/>
                  <a:pt x="1385" y="391"/>
                </a:cubicBezTo>
                <a:cubicBezTo>
                  <a:pt x="1377" y="390"/>
                  <a:pt x="1377" y="390"/>
                  <a:pt x="1377" y="390"/>
                </a:cubicBezTo>
                <a:cubicBezTo>
                  <a:pt x="1377" y="390"/>
                  <a:pt x="1372" y="387"/>
                  <a:pt x="1369" y="387"/>
                </a:cubicBezTo>
                <a:cubicBezTo>
                  <a:pt x="1366" y="388"/>
                  <a:pt x="1362" y="388"/>
                  <a:pt x="1361" y="388"/>
                </a:cubicBezTo>
                <a:cubicBezTo>
                  <a:pt x="1359" y="388"/>
                  <a:pt x="1356" y="388"/>
                  <a:pt x="1356" y="388"/>
                </a:cubicBezTo>
                <a:cubicBezTo>
                  <a:pt x="1356" y="388"/>
                  <a:pt x="1353" y="386"/>
                  <a:pt x="1352" y="386"/>
                </a:cubicBezTo>
                <a:cubicBezTo>
                  <a:pt x="1351" y="386"/>
                  <a:pt x="1347" y="390"/>
                  <a:pt x="1347" y="390"/>
                </a:cubicBezTo>
                <a:cubicBezTo>
                  <a:pt x="1347" y="390"/>
                  <a:pt x="1337" y="391"/>
                  <a:pt x="1337" y="394"/>
                </a:cubicBezTo>
                <a:cubicBezTo>
                  <a:pt x="1336" y="397"/>
                  <a:pt x="1341" y="400"/>
                  <a:pt x="1341" y="400"/>
                </a:cubicBezTo>
                <a:cubicBezTo>
                  <a:pt x="1339" y="405"/>
                  <a:pt x="1339" y="405"/>
                  <a:pt x="1339" y="405"/>
                </a:cubicBezTo>
                <a:cubicBezTo>
                  <a:pt x="1339" y="405"/>
                  <a:pt x="1339" y="406"/>
                  <a:pt x="1340" y="407"/>
                </a:cubicBezTo>
                <a:cubicBezTo>
                  <a:pt x="1340" y="409"/>
                  <a:pt x="1341" y="413"/>
                  <a:pt x="1341" y="415"/>
                </a:cubicBezTo>
                <a:cubicBezTo>
                  <a:pt x="1340" y="420"/>
                  <a:pt x="1336" y="428"/>
                  <a:pt x="1336" y="428"/>
                </a:cubicBezTo>
                <a:cubicBezTo>
                  <a:pt x="1333" y="435"/>
                  <a:pt x="1333" y="435"/>
                  <a:pt x="1333" y="435"/>
                </a:cubicBezTo>
                <a:cubicBezTo>
                  <a:pt x="1333" y="435"/>
                  <a:pt x="1331" y="441"/>
                  <a:pt x="1332" y="442"/>
                </a:cubicBezTo>
                <a:cubicBezTo>
                  <a:pt x="1334" y="443"/>
                  <a:pt x="1336" y="444"/>
                  <a:pt x="1336" y="444"/>
                </a:cubicBezTo>
                <a:cubicBezTo>
                  <a:pt x="1337" y="452"/>
                  <a:pt x="1337" y="452"/>
                  <a:pt x="1337" y="452"/>
                </a:cubicBezTo>
                <a:cubicBezTo>
                  <a:pt x="1337" y="452"/>
                  <a:pt x="1334" y="461"/>
                  <a:pt x="1335" y="461"/>
                </a:cubicBezTo>
                <a:cubicBezTo>
                  <a:pt x="1336" y="461"/>
                  <a:pt x="1342" y="460"/>
                  <a:pt x="1342" y="460"/>
                </a:cubicBezTo>
                <a:cubicBezTo>
                  <a:pt x="1342" y="460"/>
                  <a:pt x="1343" y="462"/>
                  <a:pt x="1344" y="462"/>
                </a:cubicBezTo>
                <a:cubicBezTo>
                  <a:pt x="1345" y="462"/>
                  <a:pt x="1349" y="460"/>
                  <a:pt x="1349" y="459"/>
                </a:cubicBezTo>
                <a:cubicBezTo>
                  <a:pt x="1349" y="459"/>
                  <a:pt x="1349" y="459"/>
                  <a:pt x="1349" y="459"/>
                </a:cubicBezTo>
                <a:cubicBezTo>
                  <a:pt x="1353" y="459"/>
                  <a:pt x="1353" y="459"/>
                  <a:pt x="1353" y="459"/>
                </a:cubicBezTo>
                <a:cubicBezTo>
                  <a:pt x="1357" y="462"/>
                  <a:pt x="1357" y="462"/>
                  <a:pt x="1357" y="462"/>
                </a:cubicBezTo>
                <a:cubicBezTo>
                  <a:pt x="1359" y="462"/>
                  <a:pt x="1359" y="462"/>
                  <a:pt x="1359" y="462"/>
                </a:cubicBezTo>
                <a:cubicBezTo>
                  <a:pt x="1358" y="466"/>
                  <a:pt x="1358" y="466"/>
                  <a:pt x="1358" y="466"/>
                </a:cubicBezTo>
                <a:cubicBezTo>
                  <a:pt x="1359" y="466"/>
                  <a:pt x="1359" y="466"/>
                  <a:pt x="1359" y="466"/>
                </a:cubicBezTo>
                <a:cubicBezTo>
                  <a:pt x="1359" y="466"/>
                  <a:pt x="1359" y="470"/>
                  <a:pt x="1361" y="471"/>
                </a:cubicBezTo>
                <a:cubicBezTo>
                  <a:pt x="1362" y="472"/>
                  <a:pt x="1365" y="472"/>
                  <a:pt x="1365" y="472"/>
                </a:cubicBezTo>
                <a:cubicBezTo>
                  <a:pt x="1365" y="472"/>
                  <a:pt x="1368" y="470"/>
                  <a:pt x="1369" y="469"/>
                </a:cubicBezTo>
                <a:cubicBezTo>
                  <a:pt x="1370" y="467"/>
                  <a:pt x="1373" y="467"/>
                  <a:pt x="1373" y="467"/>
                </a:cubicBezTo>
                <a:cubicBezTo>
                  <a:pt x="1377" y="465"/>
                  <a:pt x="1377" y="465"/>
                  <a:pt x="1377" y="465"/>
                </a:cubicBezTo>
                <a:cubicBezTo>
                  <a:pt x="1377" y="465"/>
                  <a:pt x="1384" y="465"/>
                  <a:pt x="1386" y="465"/>
                </a:cubicBezTo>
                <a:cubicBezTo>
                  <a:pt x="1387" y="464"/>
                  <a:pt x="1389" y="464"/>
                  <a:pt x="1389" y="464"/>
                </a:cubicBezTo>
                <a:cubicBezTo>
                  <a:pt x="1389" y="464"/>
                  <a:pt x="1391" y="465"/>
                  <a:pt x="1392" y="465"/>
                </a:cubicBezTo>
                <a:cubicBezTo>
                  <a:pt x="1393" y="465"/>
                  <a:pt x="1397" y="463"/>
                  <a:pt x="1397" y="463"/>
                </a:cubicBezTo>
                <a:cubicBezTo>
                  <a:pt x="1397" y="463"/>
                  <a:pt x="1396" y="466"/>
                  <a:pt x="1399" y="464"/>
                </a:cubicBezTo>
                <a:cubicBezTo>
                  <a:pt x="1401" y="463"/>
                  <a:pt x="1401" y="459"/>
                  <a:pt x="1401" y="459"/>
                </a:cubicBezTo>
                <a:cubicBezTo>
                  <a:pt x="1406" y="455"/>
                  <a:pt x="1406" y="455"/>
                  <a:pt x="1406" y="455"/>
                </a:cubicBezTo>
                <a:cubicBezTo>
                  <a:pt x="1411" y="455"/>
                  <a:pt x="1411" y="455"/>
                  <a:pt x="1411" y="455"/>
                </a:cubicBezTo>
                <a:cubicBezTo>
                  <a:pt x="1411" y="452"/>
                  <a:pt x="1411" y="452"/>
                  <a:pt x="1411" y="452"/>
                </a:cubicBezTo>
                <a:cubicBezTo>
                  <a:pt x="1411" y="452"/>
                  <a:pt x="1413" y="446"/>
                  <a:pt x="1414" y="445"/>
                </a:cubicBezTo>
                <a:cubicBezTo>
                  <a:pt x="1414" y="445"/>
                  <a:pt x="1420" y="444"/>
                  <a:pt x="1420" y="442"/>
                </a:cubicBezTo>
                <a:cubicBezTo>
                  <a:pt x="1421" y="441"/>
                  <a:pt x="1416" y="438"/>
                  <a:pt x="1416" y="438"/>
                </a:cubicBezTo>
                <a:cubicBezTo>
                  <a:pt x="1416" y="438"/>
                  <a:pt x="1415" y="433"/>
                  <a:pt x="1417" y="431"/>
                </a:cubicBezTo>
                <a:cubicBezTo>
                  <a:pt x="1419" y="429"/>
                  <a:pt x="1421" y="426"/>
                  <a:pt x="1421" y="426"/>
                </a:cubicBezTo>
                <a:cubicBezTo>
                  <a:pt x="1421" y="426"/>
                  <a:pt x="1425" y="422"/>
                  <a:pt x="1425" y="422"/>
                </a:cubicBezTo>
                <a:cubicBezTo>
                  <a:pt x="1426" y="422"/>
                  <a:pt x="1428" y="420"/>
                  <a:pt x="1428" y="420"/>
                </a:cubicBezTo>
                <a:cubicBezTo>
                  <a:pt x="1427" y="419"/>
                  <a:pt x="1426" y="418"/>
                  <a:pt x="1428" y="416"/>
                </a:cubicBezTo>
                <a:cubicBezTo>
                  <a:pt x="1430" y="415"/>
                  <a:pt x="1435" y="414"/>
                  <a:pt x="1438" y="413"/>
                </a:cubicBezTo>
                <a:cubicBezTo>
                  <a:pt x="1441" y="412"/>
                  <a:pt x="1444" y="410"/>
                  <a:pt x="1444" y="410"/>
                </a:cubicBezTo>
                <a:cubicBezTo>
                  <a:pt x="1444" y="410"/>
                  <a:pt x="1448" y="408"/>
                  <a:pt x="1448" y="407"/>
                </a:cubicBezTo>
                <a:cubicBezTo>
                  <a:pt x="1449" y="406"/>
                  <a:pt x="1448" y="404"/>
                  <a:pt x="1448" y="404"/>
                </a:cubicBezTo>
                <a:cubicBezTo>
                  <a:pt x="1450" y="403"/>
                  <a:pt x="1450" y="403"/>
                  <a:pt x="1450" y="403"/>
                </a:cubicBezTo>
                <a:cubicBezTo>
                  <a:pt x="1450" y="403"/>
                  <a:pt x="1447" y="402"/>
                  <a:pt x="1447" y="400"/>
                </a:cubicBezTo>
                <a:cubicBezTo>
                  <a:pt x="1447" y="400"/>
                  <a:pt x="1447" y="400"/>
                  <a:pt x="1447" y="399"/>
                </a:cubicBezTo>
                <a:cubicBezTo>
                  <a:pt x="1447" y="397"/>
                  <a:pt x="1450" y="392"/>
                  <a:pt x="1451" y="392"/>
                </a:cubicBezTo>
                <a:cubicBezTo>
                  <a:pt x="1453" y="391"/>
                  <a:pt x="1457" y="387"/>
                  <a:pt x="1459" y="388"/>
                </a:cubicBezTo>
                <a:cubicBezTo>
                  <a:pt x="1461" y="389"/>
                  <a:pt x="1463" y="390"/>
                  <a:pt x="1463" y="390"/>
                </a:cubicBezTo>
                <a:cubicBezTo>
                  <a:pt x="1463" y="390"/>
                  <a:pt x="1467" y="389"/>
                  <a:pt x="1468" y="390"/>
                </a:cubicBezTo>
                <a:cubicBezTo>
                  <a:pt x="1470" y="391"/>
                  <a:pt x="1471" y="393"/>
                  <a:pt x="1472" y="393"/>
                </a:cubicBezTo>
                <a:cubicBezTo>
                  <a:pt x="1472" y="393"/>
                  <a:pt x="1477" y="395"/>
                  <a:pt x="1480" y="393"/>
                </a:cubicBezTo>
                <a:cubicBezTo>
                  <a:pt x="1482" y="391"/>
                  <a:pt x="1483" y="387"/>
                  <a:pt x="1484" y="387"/>
                </a:cubicBezTo>
                <a:cubicBezTo>
                  <a:pt x="1485" y="387"/>
                  <a:pt x="1486" y="387"/>
                  <a:pt x="1487" y="386"/>
                </a:cubicBezTo>
                <a:cubicBezTo>
                  <a:pt x="1489" y="386"/>
                  <a:pt x="1491" y="386"/>
                  <a:pt x="1492" y="385"/>
                </a:cubicBezTo>
                <a:cubicBezTo>
                  <a:pt x="1494" y="384"/>
                  <a:pt x="1497" y="379"/>
                  <a:pt x="1499" y="379"/>
                </a:cubicBezTo>
                <a:cubicBezTo>
                  <a:pt x="1502" y="379"/>
                  <a:pt x="1508" y="381"/>
                  <a:pt x="1510" y="383"/>
                </a:cubicBezTo>
                <a:cubicBezTo>
                  <a:pt x="1513" y="385"/>
                  <a:pt x="1513" y="389"/>
                  <a:pt x="1513" y="389"/>
                </a:cubicBezTo>
                <a:cubicBezTo>
                  <a:pt x="1515" y="391"/>
                  <a:pt x="1515" y="391"/>
                  <a:pt x="1515" y="391"/>
                </a:cubicBezTo>
                <a:cubicBezTo>
                  <a:pt x="1515" y="391"/>
                  <a:pt x="1513" y="395"/>
                  <a:pt x="1515" y="396"/>
                </a:cubicBezTo>
                <a:cubicBezTo>
                  <a:pt x="1517" y="397"/>
                  <a:pt x="1520" y="398"/>
                  <a:pt x="1520" y="398"/>
                </a:cubicBezTo>
                <a:cubicBezTo>
                  <a:pt x="1521" y="401"/>
                  <a:pt x="1521" y="401"/>
                  <a:pt x="1521" y="401"/>
                </a:cubicBezTo>
                <a:cubicBezTo>
                  <a:pt x="1525" y="401"/>
                  <a:pt x="1525" y="401"/>
                  <a:pt x="1525" y="401"/>
                </a:cubicBezTo>
                <a:cubicBezTo>
                  <a:pt x="1525" y="401"/>
                  <a:pt x="1532" y="408"/>
                  <a:pt x="1534" y="410"/>
                </a:cubicBezTo>
                <a:cubicBezTo>
                  <a:pt x="1536" y="413"/>
                  <a:pt x="1538" y="414"/>
                  <a:pt x="1538" y="414"/>
                </a:cubicBezTo>
                <a:cubicBezTo>
                  <a:pt x="1543" y="415"/>
                  <a:pt x="1543" y="415"/>
                  <a:pt x="1543" y="415"/>
                </a:cubicBezTo>
                <a:cubicBezTo>
                  <a:pt x="1543" y="415"/>
                  <a:pt x="1545" y="418"/>
                  <a:pt x="1548" y="419"/>
                </a:cubicBezTo>
                <a:cubicBezTo>
                  <a:pt x="1551" y="420"/>
                  <a:pt x="1555" y="419"/>
                  <a:pt x="1556" y="420"/>
                </a:cubicBezTo>
                <a:cubicBezTo>
                  <a:pt x="1556" y="422"/>
                  <a:pt x="1557" y="427"/>
                  <a:pt x="1559" y="427"/>
                </a:cubicBezTo>
                <a:cubicBezTo>
                  <a:pt x="1562" y="428"/>
                  <a:pt x="1563" y="427"/>
                  <a:pt x="1563" y="427"/>
                </a:cubicBezTo>
                <a:cubicBezTo>
                  <a:pt x="1563" y="427"/>
                  <a:pt x="1564" y="431"/>
                  <a:pt x="1564" y="434"/>
                </a:cubicBezTo>
                <a:cubicBezTo>
                  <a:pt x="1565" y="437"/>
                  <a:pt x="1567" y="437"/>
                  <a:pt x="1567" y="439"/>
                </a:cubicBezTo>
                <a:cubicBezTo>
                  <a:pt x="1567" y="441"/>
                  <a:pt x="1567" y="442"/>
                  <a:pt x="1567" y="442"/>
                </a:cubicBezTo>
                <a:cubicBezTo>
                  <a:pt x="1565" y="442"/>
                  <a:pt x="1565" y="442"/>
                  <a:pt x="1565" y="442"/>
                </a:cubicBezTo>
                <a:cubicBezTo>
                  <a:pt x="1565" y="445"/>
                  <a:pt x="1565" y="445"/>
                  <a:pt x="1565" y="445"/>
                </a:cubicBezTo>
                <a:cubicBezTo>
                  <a:pt x="1565" y="445"/>
                  <a:pt x="1560" y="451"/>
                  <a:pt x="1563" y="451"/>
                </a:cubicBezTo>
                <a:cubicBezTo>
                  <a:pt x="1565" y="451"/>
                  <a:pt x="1567" y="450"/>
                  <a:pt x="1567" y="450"/>
                </a:cubicBezTo>
                <a:cubicBezTo>
                  <a:pt x="1568" y="447"/>
                  <a:pt x="1568" y="447"/>
                  <a:pt x="1568" y="447"/>
                </a:cubicBezTo>
                <a:cubicBezTo>
                  <a:pt x="1571" y="446"/>
                  <a:pt x="1571" y="446"/>
                  <a:pt x="1571" y="446"/>
                </a:cubicBezTo>
                <a:cubicBezTo>
                  <a:pt x="1571" y="446"/>
                  <a:pt x="1570" y="442"/>
                  <a:pt x="1571" y="441"/>
                </a:cubicBezTo>
                <a:cubicBezTo>
                  <a:pt x="1572" y="441"/>
                  <a:pt x="1576" y="439"/>
                  <a:pt x="1576" y="439"/>
                </a:cubicBezTo>
                <a:cubicBezTo>
                  <a:pt x="1576" y="439"/>
                  <a:pt x="1575" y="435"/>
                  <a:pt x="1575" y="434"/>
                </a:cubicBezTo>
                <a:cubicBezTo>
                  <a:pt x="1574" y="433"/>
                  <a:pt x="1570" y="432"/>
                  <a:pt x="1570" y="431"/>
                </a:cubicBezTo>
                <a:cubicBezTo>
                  <a:pt x="1570" y="429"/>
                  <a:pt x="1573" y="422"/>
                  <a:pt x="1575" y="423"/>
                </a:cubicBezTo>
                <a:cubicBezTo>
                  <a:pt x="1576" y="424"/>
                  <a:pt x="1578" y="424"/>
                  <a:pt x="1578" y="424"/>
                </a:cubicBezTo>
                <a:cubicBezTo>
                  <a:pt x="1582" y="424"/>
                  <a:pt x="1582" y="424"/>
                  <a:pt x="1582" y="424"/>
                </a:cubicBezTo>
                <a:cubicBezTo>
                  <a:pt x="1582" y="424"/>
                  <a:pt x="1583" y="429"/>
                  <a:pt x="1586" y="429"/>
                </a:cubicBezTo>
                <a:cubicBezTo>
                  <a:pt x="1589" y="430"/>
                  <a:pt x="1589" y="427"/>
                  <a:pt x="1588" y="425"/>
                </a:cubicBezTo>
                <a:cubicBezTo>
                  <a:pt x="1586" y="423"/>
                  <a:pt x="1581" y="419"/>
                  <a:pt x="1581" y="419"/>
                </a:cubicBezTo>
                <a:cubicBezTo>
                  <a:pt x="1574" y="416"/>
                  <a:pt x="1574" y="416"/>
                  <a:pt x="1574" y="416"/>
                </a:cubicBezTo>
                <a:cubicBezTo>
                  <a:pt x="1574" y="416"/>
                  <a:pt x="1563" y="413"/>
                  <a:pt x="1564" y="411"/>
                </a:cubicBezTo>
                <a:cubicBezTo>
                  <a:pt x="1565" y="410"/>
                  <a:pt x="1567" y="409"/>
                  <a:pt x="1567" y="408"/>
                </a:cubicBezTo>
                <a:cubicBezTo>
                  <a:pt x="1566" y="406"/>
                  <a:pt x="1556" y="406"/>
                  <a:pt x="1556" y="406"/>
                </a:cubicBezTo>
                <a:cubicBezTo>
                  <a:pt x="1556" y="406"/>
                  <a:pt x="1553" y="405"/>
                  <a:pt x="1550" y="401"/>
                </a:cubicBezTo>
                <a:cubicBezTo>
                  <a:pt x="1546" y="397"/>
                  <a:pt x="1545" y="394"/>
                  <a:pt x="1545" y="394"/>
                </a:cubicBezTo>
                <a:cubicBezTo>
                  <a:pt x="1545" y="394"/>
                  <a:pt x="1544" y="389"/>
                  <a:pt x="1542" y="388"/>
                </a:cubicBezTo>
                <a:cubicBezTo>
                  <a:pt x="1540" y="387"/>
                  <a:pt x="1538" y="384"/>
                  <a:pt x="1538" y="384"/>
                </a:cubicBezTo>
                <a:cubicBezTo>
                  <a:pt x="1532" y="380"/>
                  <a:pt x="1532" y="380"/>
                  <a:pt x="1532" y="380"/>
                </a:cubicBezTo>
                <a:cubicBezTo>
                  <a:pt x="1532" y="380"/>
                  <a:pt x="1529" y="375"/>
                  <a:pt x="1530" y="375"/>
                </a:cubicBezTo>
                <a:cubicBezTo>
                  <a:pt x="1531" y="374"/>
                  <a:pt x="1533" y="374"/>
                  <a:pt x="1533" y="373"/>
                </a:cubicBezTo>
                <a:cubicBezTo>
                  <a:pt x="1533" y="372"/>
                  <a:pt x="1529" y="370"/>
                  <a:pt x="1531" y="368"/>
                </a:cubicBezTo>
                <a:cubicBezTo>
                  <a:pt x="1533" y="366"/>
                  <a:pt x="1538" y="365"/>
                  <a:pt x="1538" y="365"/>
                </a:cubicBezTo>
                <a:cubicBezTo>
                  <a:pt x="1540" y="364"/>
                  <a:pt x="1540" y="364"/>
                  <a:pt x="1540" y="364"/>
                </a:cubicBezTo>
                <a:cubicBezTo>
                  <a:pt x="1540" y="364"/>
                  <a:pt x="1545" y="365"/>
                  <a:pt x="1545" y="365"/>
                </a:cubicBezTo>
                <a:cubicBezTo>
                  <a:pt x="1544" y="366"/>
                  <a:pt x="1544" y="367"/>
                  <a:pt x="1544" y="368"/>
                </a:cubicBezTo>
                <a:cubicBezTo>
                  <a:pt x="1543" y="368"/>
                  <a:pt x="1543" y="369"/>
                  <a:pt x="1543" y="369"/>
                </a:cubicBezTo>
                <a:cubicBezTo>
                  <a:pt x="1543" y="369"/>
                  <a:pt x="1543" y="376"/>
                  <a:pt x="1544" y="374"/>
                </a:cubicBezTo>
                <a:cubicBezTo>
                  <a:pt x="1546" y="372"/>
                  <a:pt x="1548" y="369"/>
                  <a:pt x="1549" y="370"/>
                </a:cubicBezTo>
                <a:cubicBezTo>
                  <a:pt x="1550" y="371"/>
                  <a:pt x="1550" y="374"/>
                  <a:pt x="1550" y="374"/>
                </a:cubicBezTo>
                <a:cubicBezTo>
                  <a:pt x="1554" y="374"/>
                  <a:pt x="1554" y="374"/>
                  <a:pt x="1554" y="374"/>
                </a:cubicBezTo>
                <a:cubicBezTo>
                  <a:pt x="1554" y="374"/>
                  <a:pt x="1553" y="378"/>
                  <a:pt x="1555" y="379"/>
                </a:cubicBezTo>
                <a:cubicBezTo>
                  <a:pt x="1558" y="379"/>
                  <a:pt x="1557" y="381"/>
                  <a:pt x="1557" y="381"/>
                </a:cubicBezTo>
                <a:cubicBezTo>
                  <a:pt x="1563" y="386"/>
                  <a:pt x="1563" y="386"/>
                  <a:pt x="1563" y="386"/>
                </a:cubicBezTo>
                <a:cubicBezTo>
                  <a:pt x="1563" y="389"/>
                  <a:pt x="1563" y="389"/>
                  <a:pt x="1563" y="389"/>
                </a:cubicBezTo>
                <a:cubicBezTo>
                  <a:pt x="1569" y="389"/>
                  <a:pt x="1569" y="389"/>
                  <a:pt x="1569" y="389"/>
                </a:cubicBezTo>
                <a:cubicBezTo>
                  <a:pt x="1569" y="389"/>
                  <a:pt x="1572" y="389"/>
                  <a:pt x="1573" y="391"/>
                </a:cubicBezTo>
                <a:cubicBezTo>
                  <a:pt x="1573" y="391"/>
                  <a:pt x="1572" y="393"/>
                  <a:pt x="1574" y="394"/>
                </a:cubicBezTo>
                <a:cubicBezTo>
                  <a:pt x="1577" y="394"/>
                  <a:pt x="1577" y="394"/>
                  <a:pt x="1577" y="394"/>
                </a:cubicBezTo>
                <a:cubicBezTo>
                  <a:pt x="1579" y="395"/>
                  <a:pt x="1579" y="395"/>
                  <a:pt x="1579" y="395"/>
                </a:cubicBezTo>
                <a:cubicBezTo>
                  <a:pt x="1579" y="395"/>
                  <a:pt x="1584" y="400"/>
                  <a:pt x="1586" y="401"/>
                </a:cubicBezTo>
                <a:cubicBezTo>
                  <a:pt x="1586" y="401"/>
                  <a:pt x="1587" y="401"/>
                  <a:pt x="1587" y="401"/>
                </a:cubicBezTo>
                <a:cubicBezTo>
                  <a:pt x="1588" y="402"/>
                  <a:pt x="1590" y="401"/>
                  <a:pt x="1590" y="401"/>
                </a:cubicBezTo>
                <a:cubicBezTo>
                  <a:pt x="1590" y="403"/>
                  <a:pt x="1590" y="403"/>
                  <a:pt x="1590" y="403"/>
                </a:cubicBezTo>
                <a:cubicBezTo>
                  <a:pt x="1594" y="407"/>
                  <a:pt x="1594" y="407"/>
                  <a:pt x="1594" y="407"/>
                </a:cubicBezTo>
                <a:cubicBezTo>
                  <a:pt x="1595" y="407"/>
                  <a:pt x="1595" y="407"/>
                  <a:pt x="1595" y="407"/>
                </a:cubicBezTo>
                <a:cubicBezTo>
                  <a:pt x="1598" y="407"/>
                  <a:pt x="1598" y="407"/>
                  <a:pt x="1598" y="407"/>
                </a:cubicBezTo>
                <a:cubicBezTo>
                  <a:pt x="1598" y="407"/>
                  <a:pt x="1597" y="416"/>
                  <a:pt x="1597" y="418"/>
                </a:cubicBezTo>
                <a:cubicBezTo>
                  <a:pt x="1597" y="421"/>
                  <a:pt x="1594" y="424"/>
                  <a:pt x="1595" y="425"/>
                </a:cubicBezTo>
                <a:cubicBezTo>
                  <a:pt x="1597" y="426"/>
                  <a:pt x="1600" y="428"/>
                  <a:pt x="1600" y="428"/>
                </a:cubicBezTo>
                <a:cubicBezTo>
                  <a:pt x="1600" y="428"/>
                  <a:pt x="1600" y="432"/>
                  <a:pt x="1600" y="432"/>
                </a:cubicBezTo>
                <a:cubicBezTo>
                  <a:pt x="1601" y="432"/>
                  <a:pt x="1605" y="433"/>
                  <a:pt x="1605" y="433"/>
                </a:cubicBezTo>
                <a:cubicBezTo>
                  <a:pt x="1605" y="433"/>
                  <a:pt x="1604" y="436"/>
                  <a:pt x="1606" y="437"/>
                </a:cubicBezTo>
                <a:cubicBezTo>
                  <a:pt x="1608" y="437"/>
                  <a:pt x="1610" y="441"/>
                  <a:pt x="1610" y="441"/>
                </a:cubicBezTo>
                <a:cubicBezTo>
                  <a:pt x="1610" y="441"/>
                  <a:pt x="1612" y="446"/>
                  <a:pt x="1614" y="446"/>
                </a:cubicBezTo>
                <a:cubicBezTo>
                  <a:pt x="1616" y="446"/>
                  <a:pt x="1620" y="446"/>
                  <a:pt x="1620" y="446"/>
                </a:cubicBezTo>
                <a:cubicBezTo>
                  <a:pt x="1620" y="446"/>
                  <a:pt x="1623" y="445"/>
                  <a:pt x="1625" y="445"/>
                </a:cubicBezTo>
                <a:cubicBezTo>
                  <a:pt x="1626" y="446"/>
                  <a:pt x="1634" y="449"/>
                  <a:pt x="1634" y="449"/>
                </a:cubicBezTo>
                <a:cubicBezTo>
                  <a:pt x="1634" y="449"/>
                  <a:pt x="1638" y="454"/>
                  <a:pt x="1639" y="452"/>
                </a:cubicBezTo>
                <a:cubicBezTo>
                  <a:pt x="1640" y="451"/>
                  <a:pt x="1641" y="449"/>
                  <a:pt x="1639" y="448"/>
                </a:cubicBezTo>
                <a:cubicBezTo>
                  <a:pt x="1637" y="446"/>
                  <a:pt x="1634" y="443"/>
                  <a:pt x="1633" y="443"/>
                </a:cubicBezTo>
                <a:cubicBezTo>
                  <a:pt x="1633" y="443"/>
                  <a:pt x="1629" y="441"/>
                  <a:pt x="1629" y="441"/>
                </a:cubicBezTo>
                <a:cubicBezTo>
                  <a:pt x="1629" y="441"/>
                  <a:pt x="1630" y="440"/>
                  <a:pt x="1631" y="440"/>
                </a:cubicBezTo>
                <a:cubicBezTo>
                  <a:pt x="1632" y="440"/>
                  <a:pt x="1637" y="445"/>
                  <a:pt x="1640" y="446"/>
                </a:cubicBezTo>
                <a:cubicBezTo>
                  <a:pt x="1643" y="446"/>
                  <a:pt x="1644" y="443"/>
                  <a:pt x="1641" y="442"/>
                </a:cubicBezTo>
                <a:cubicBezTo>
                  <a:pt x="1638" y="442"/>
                  <a:pt x="1636" y="441"/>
                  <a:pt x="1636" y="441"/>
                </a:cubicBezTo>
                <a:cubicBezTo>
                  <a:pt x="1636" y="441"/>
                  <a:pt x="1633" y="439"/>
                  <a:pt x="1633" y="438"/>
                </a:cubicBezTo>
                <a:cubicBezTo>
                  <a:pt x="1632" y="436"/>
                  <a:pt x="1630" y="433"/>
                  <a:pt x="1630" y="433"/>
                </a:cubicBezTo>
                <a:cubicBezTo>
                  <a:pt x="1630" y="433"/>
                  <a:pt x="1628" y="429"/>
                  <a:pt x="1627" y="428"/>
                </a:cubicBezTo>
                <a:cubicBezTo>
                  <a:pt x="1626" y="427"/>
                  <a:pt x="1625" y="422"/>
                  <a:pt x="1626" y="422"/>
                </a:cubicBezTo>
                <a:cubicBezTo>
                  <a:pt x="1627" y="421"/>
                  <a:pt x="1628" y="425"/>
                  <a:pt x="1630" y="425"/>
                </a:cubicBezTo>
                <a:cubicBezTo>
                  <a:pt x="1630" y="425"/>
                  <a:pt x="1631" y="425"/>
                  <a:pt x="1631" y="425"/>
                </a:cubicBezTo>
                <a:cubicBezTo>
                  <a:pt x="1632" y="426"/>
                  <a:pt x="1633" y="428"/>
                  <a:pt x="1633" y="428"/>
                </a:cubicBezTo>
                <a:cubicBezTo>
                  <a:pt x="1634" y="429"/>
                  <a:pt x="1635" y="428"/>
                  <a:pt x="1635" y="428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8" y="427"/>
                  <a:pt x="1638" y="427"/>
                  <a:pt x="1638" y="427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7" y="424"/>
                  <a:pt x="1637" y="422"/>
                  <a:pt x="1637" y="420"/>
                </a:cubicBezTo>
                <a:cubicBezTo>
                  <a:pt x="1637" y="419"/>
                  <a:pt x="1640" y="418"/>
                  <a:pt x="1642" y="419"/>
                </a:cubicBezTo>
                <a:cubicBezTo>
                  <a:pt x="1644" y="419"/>
                  <a:pt x="1643" y="422"/>
                  <a:pt x="1645" y="421"/>
                </a:cubicBezTo>
                <a:cubicBezTo>
                  <a:pt x="1647" y="421"/>
                  <a:pt x="1647" y="418"/>
                  <a:pt x="1648" y="417"/>
                </a:cubicBezTo>
                <a:cubicBezTo>
                  <a:pt x="1649" y="417"/>
                  <a:pt x="1658" y="419"/>
                  <a:pt x="1658" y="419"/>
                </a:cubicBezTo>
                <a:cubicBezTo>
                  <a:pt x="1658" y="419"/>
                  <a:pt x="1656" y="422"/>
                  <a:pt x="1659" y="422"/>
                </a:cubicBezTo>
                <a:cubicBezTo>
                  <a:pt x="1662" y="421"/>
                  <a:pt x="1664" y="420"/>
                  <a:pt x="1664" y="420"/>
                </a:cubicBezTo>
                <a:cubicBezTo>
                  <a:pt x="1664" y="420"/>
                  <a:pt x="1663" y="422"/>
                  <a:pt x="1665" y="422"/>
                </a:cubicBezTo>
                <a:cubicBezTo>
                  <a:pt x="1667" y="421"/>
                  <a:pt x="1671" y="417"/>
                  <a:pt x="1671" y="417"/>
                </a:cubicBezTo>
                <a:cubicBezTo>
                  <a:pt x="1671" y="417"/>
                  <a:pt x="1678" y="415"/>
                  <a:pt x="1680" y="416"/>
                </a:cubicBezTo>
                <a:cubicBezTo>
                  <a:pt x="1683" y="418"/>
                  <a:pt x="1690" y="419"/>
                  <a:pt x="1690" y="419"/>
                </a:cubicBezTo>
                <a:cubicBezTo>
                  <a:pt x="1690" y="419"/>
                  <a:pt x="1683" y="420"/>
                  <a:pt x="1683" y="420"/>
                </a:cubicBezTo>
                <a:cubicBezTo>
                  <a:pt x="1683" y="421"/>
                  <a:pt x="1682" y="423"/>
                  <a:pt x="1682" y="423"/>
                </a:cubicBezTo>
                <a:cubicBezTo>
                  <a:pt x="1675" y="423"/>
                  <a:pt x="1675" y="423"/>
                  <a:pt x="1675" y="423"/>
                </a:cubicBezTo>
                <a:cubicBezTo>
                  <a:pt x="1668" y="423"/>
                  <a:pt x="1668" y="423"/>
                  <a:pt x="1668" y="423"/>
                </a:cubicBezTo>
                <a:cubicBezTo>
                  <a:pt x="1668" y="423"/>
                  <a:pt x="1662" y="424"/>
                  <a:pt x="1661" y="425"/>
                </a:cubicBezTo>
                <a:cubicBezTo>
                  <a:pt x="1661" y="427"/>
                  <a:pt x="1659" y="433"/>
                  <a:pt x="1659" y="433"/>
                </a:cubicBezTo>
                <a:cubicBezTo>
                  <a:pt x="1664" y="433"/>
                  <a:pt x="1664" y="433"/>
                  <a:pt x="1664" y="433"/>
                </a:cubicBezTo>
                <a:cubicBezTo>
                  <a:pt x="1664" y="433"/>
                  <a:pt x="1663" y="435"/>
                  <a:pt x="1665" y="437"/>
                </a:cubicBezTo>
                <a:cubicBezTo>
                  <a:pt x="1666" y="438"/>
                  <a:pt x="1667" y="440"/>
                  <a:pt x="1667" y="440"/>
                </a:cubicBezTo>
                <a:cubicBezTo>
                  <a:pt x="1666" y="442"/>
                  <a:pt x="1666" y="442"/>
                  <a:pt x="1666" y="442"/>
                </a:cubicBezTo>
                <a:cubicBezTo>
                  <a:pt x="1668" y="446"/>
                  <a:pt x="1668" y="446"/>
                  <a:pt x="1668" y="446"/>
                </a:cubicBezTo>
                <a:cubicBezTo>
                  <a:pt x="1666" y="448"/>
                  <a:pt x="1666" y="448"/>
                  <a:pt x="1666" y="448"/>
                </a:cubicBezTo>
                <a:cubicBezTo>
                  <a:pt x="1671" y="452"/>
                  <a:pt x="1671" y="452"/>
                  <a:pt x="1671" y="452"/>
                </a:cubicBezTo>
                <a:cubicBezTo>
                  <a:pt x="1671" y="457"/>
                  <a:pt x="1671" y="457"/>
                  <a:pt x="1671" y="457"/>
                </a:cubicBezTo>
                <a:cubicBezTo>
                  <a:pt x="1678" y="461"/>
                  <a:pt x="1678" y="461"/>
                  <a:pt x="1678" y="461"/>
                </a:cubicBezTo>
                <a:cubicBezTo>
                  <a:pt x="1679" y="466"/>
                  <a:pt x="1679" y="466"/>
                  <a:pt x="1679" y="466"/>
                </a:cubicBezTo>
                <a:cubicBezTo>
                  <a:pt x="1679" y="466"/>
                  <a:pt x="1678" y="463"/>
                  <a:pt x="1682" y="464"/>
                </a:cubicBezTo>
                <a:cubicBezTo>
                  <a:pt x="1686" y="465"/>
                  <a:pt x="1686" y="469"/>
                  <a:pt x="1692" y="469"/>
                </a:cubicBezTo>
                <a:cubicBezTo>
                  <a:pt x="1698" y="470"/>
                  <a:pt x="1701" y="470"/>
                  <a:pt x="1701" y="468"/>
                </a:cubicBezTo>
                <a:cubicBezTo>
                  <a:pt x="1701" y="467"/>
                  <a:pt x="1701" y="463"/>
                  <a:pt x="1703" y="463"/>
                </a:cubicBezTo>
                <a:cubicBezTo>
                  <a:pt x="1705" y="463"/>
                  <a:pt x="1711" y="464"/>
                  <a:pt x="1714" y="465"/>
                </a:cubicBezTo>
                <a:cubicBezTo>
                  <a:pt x="1717" y="466"/>
                  <a:pt x="1714" y="472"/>
                  <a:pt x="1724" y="472"/>
                </a:cubicBezTo>
                <a:cubicBezTo>
                  <a:pt x="1733" y="471"/>
                  <a:pt x="1733" y="466"/>
                  <a:pt x="1737" y="465"/>
                </a:cubicBezTo>
                <a:cubicBezTo>
                  <a:pt x="1740" y="464"/>
                  <a:pt x="1743" y="463"/>
                  <a:pt x="1744" y="464"/>
                </a:cubicBezTo>
                <a:cubicBezTo>
                  <a:pt x="1745" y="466"/>
                  <a:pt x="1746" y="467"/>
                  <a:pt x="1748" y="466"/>
                </a:cubicBezTo>
                <a:cubicBezTo>
                  <a:pt x="1750" y="465"/>
                  <a:pt x="1752" y="461"/>
                  <a:pt x="1753" y="463"/>
                </a:cubicBezTo>
                <a:cubicBezTo>
                  <a:pt x="1755" y="464"/>
                  <a:pt x="1753" y="466"/>
                  <a:pt x="1753" y="468"/>
                </a:cubicBezTo>
                <a:cubicBezTo>
                  <a:pt x="1752" y="469"/>
                  <a:pt x="1750" y="471"/>
                  <a:pt x="1752" y="472"/>
                </a:cubicBezTo>
                <a:cubicBezTo>
                  <a:pt x="1752" y="473"/>
                  <a:pt x="1752" y="473"/>
                  <a:pt x="1752" y="473"/>
                </a:cubicBezTo>
                <a:cubicBezTo>
                  <a:pt x="1752" y="474"/>
                  <a:pt x="1750" y="476"/>
                  <a:pt x="1750" y="477"/>
                </a:cubicBezTo>
                <a:cubicBezTo>
                  <a:pt x="1749" y="478"/>
                  <a:pt x="1749" y="478"/>
                  <a:pt x="1749" y="478"/>
                </a:cubicBezTo>
                <a:cubicBezTo>
                  <a:pt x="1749" y="484"/>
                  <a:pt x="1749" y="484"/>
                  <a:pt x="1749" y="484"/>
                </a:cubicBezTo>
                <a:cubicBezTo>
                  <a:pt x="1749" y="484"/>
                  <a:pt x="1752" y="486"/>
                  <a:pt x="1753" y="488"/>
                </a:cubicBezTo>
                <a:cubicBezTo>
                  <a:pt x="1753" y="488"/>
                  <a:pt x="1753" y="488"/>
                  <a:pt x="1753" y="489"/>
                </a:cubicBezTo>
                <a:cubicBezTo>
                  <a:pt x="1751" y="491"/>
                  <a:pt x="1749" y="492"/>
                  <a:pt x="1749" y="492"/>
                </a:cubicBezTo>
                <a:cubicBezTo>
                  <a:pt x="1747" y="497"/>
                  <a:pt x="1747" y="497"/>
                  <a:pt x="1747" y="497"/>
                </a:cubicBezTo>
                <a:cubicBezTo>
                  <a:pt x="1747" y="497"/>
                  <a:pt x="1745" y="502"/>
                  <a:pt x="1745" y="506"/>
                </a:cubicBezTo>
                <a:cubicBezTo>
                  <a:pt x="1745" y="507"/>
                  <a:pt x="1745" y="509"/>
                  <a:pt x="1745" y="510"/>
                </a:cubicBezTo>
                <a:cubicBezTo>
                  <a:pt x="1745" y="512"/>
                  <a:pt x="1746" y="515"/>
                  <a:pt x="1746" y="515"/>
                </a:cubicBezTo>
                <a:cubicBezTo>
                  <a:pt x="1743" y="520"/>
                  <a:pt x="1743" y="520"/>
                  <a:pt x="1743" y="520"/>
                </a:cubicBezTo>
                <a:cubicBezTo>
                  <a:pt x="1743" y="523"/>
                  <a:pt x="1743" y="523"/>
                  <a:pt x="1743" y="523"/>
                </a:cubicBezTo>
                <a:cubicBezTo>
                  <a:pt x="1741" y="525"/>
                  <a:pt x="1741" y="525"/>
                  <a:pt x="1741" y="525"/>
                </a:cubicBezTo>
                <a:cubicBezTo>
                  <a:pt x="1741" y="525"/>
                  <a:pt x="1733" y="528"/>
                  <a:pt x="1731" y="527"/>
                </a:cubicBezTo>
                <a:cubicBezTo>
                  <a:pt x="1729" y="527"/>
                  <a:pt x="1728" y="526"/>
                  <a:pt x="1728" y="526"/>
                </a:cubicBezTo>
                <a:cubicBezTo>
                  <a:pt x="1728" y="526"/>
                  <a:pt x="1726" y="528"/>
                  <a:pt x="1723" y="527"/>
                </a:cubicBezTo>
                <a:cubicBezTo>
                  <a:pt x="1720" y="525"/>
                  <a:pt x="1721" y="523"/>
                  <a:pt x="1718" y="523"/>
                </a:cubicBezTo>
                <a:cubicBezTo>
                  <a:pt x="1714" y="522"/>
                  <a:pt x="1710" y="524"/>
                  <a:pt x="1710" y="524"/>
                </a:cubicBezTo>
                <a:cubicBezTo>
                  <a:pt x="1710" y="524"/>
                  <a:pt x="1707" y="523"/>
                  <a:pt x="1704" y="523"/>
                </a:cubicBezTo>
                <a:cubicBezTo>
                  <a:pt x="1702" y="524"/>
                  <a:pt x="1700" y="527"/>
                  <a:pt x="1700" y="527"/>
                </a:cubicBezTo>
                <a:cubicBezTo>
                  <a:pt x="1700" y="527"/>
                  <a:pt x="1698" y="527"/>
                  <a:pt x="1697" y="527"/>
                </a:cubicBezTo>
                <a:cubicBezTo>
                  <a:pt x="1696" y="528"/>
                  <a:pt x="1694" y="530"/>
                  <a:pt x="1694" y="530"/>
                </a:cubicBezTo>
                <a:cubicBezTo>
                  <a:pt x="1694" y="530"/>
                  <a:pt x="1686" y="527"/>
                  <a:pt x="1685" y="527"/>
                </a:cubicBezTo>
                <a:cubicBezTo>
                  <a:pt x="1684" y="527"/>
                  <a:pt x="1682" y="528"/>
                  <a:pt x="1679" y="527"/>
                </a:cubicBezTo>
                <a:cubicBezTo>
                  <a:pt x="1676" y="527"/>
                  <a:pt x="1676" y="524"/>
                  <a:pt x="1673" y="524"/>
                </a:cubicBezTo>
                <a:cubicBezTo>
                  <a:pt x="1670" y="524"/>
                  <a:pt x="1668" y="524"/>
                  <a:pt x="1668" y="524"/>
                </a:cubicBezTo>
                <a:cubicBezTo>
                  <a:pt x="1668" y="524"/>
                  <a:pt x="1664" y="521"/>
                  <a:pt x="1662" y="521"/>
                </a:cubicBezTo>
                <a:cubicBezTo>
                  <a:pt x="1660" y="521"/>
                  <a:pt x="1659" y="524"/>
                  <a:pt x="1656" y="522"/>
                </a:cubicBezTo>
                <a:cubicBezTo>
                  <a:pt x="1656" y="522"/>
                  <a:pt x="1655" y="522"/>
                  <a:pt x="1655" y="521"/>
                </a:cubicBezTo>
                <a:cubicBezTo>
                  <a:pt x="1653" y="519"/>
                  <a:pt x="1654" y="517"/>
                  <a:pt x="1654" y="517"/>
                </a:cubicBezTo>
                <a:cubicBezTo>
                  <a:pt x="1651" y="518"/>
                  <a:pt x="1651" y="518"/>
                  <a:pt x="1651" y="518"/>
                </a:cubicBezTo>
                <a:cubicBezTo>
                  <a:pt x="1649" y="517"/>
                  <a:pt x="1649" y="517"/>
                  <a:pt x="1649" y="517"/>
                </a:cubicBezTo>
                <a:cubicBezTo>
                  <a:pt x="1649" y="517"/>
                  <a:pt x="1648" y="518"/>
                  <a:pt x="1647" y="518"/>
                </a:cubicBezTo>
                <a:cubicBezTo>
                  <a:pt x="1645" y="518"/>
                  <a:pt x="1644" y="515"/>
                  <a:pt x="1642" y="515"/>
                </a:cubicBezTo>
                <a:cubicBezTo>
                  <a:pt x="1640" y="515"/>
                  <a:pt x="1638" y="516"/>
                  <a:pt x="1635" y="514"/>
                </a:cubicBezTo>
                <a:cubicBezTo>
                  <a:pt x="1633" y="513"/>
                  <a:pt x="1635" y="511"/>
                  <a:pt x="1633" y="510"/>
                </a:cubicBezTo>
                <a:cubicBezTo>
                  <a:pt x="1631" y="509"/>
                  <a:pt x="1627" y="509"/>
                  <a:pt x="1627" y="509"/>
                </a:cubicBezTo>
                <a:cubicBezTo>
                  <a:pt x="1627" y="509"/>
                  <a:pt x="1623" y="507"/>
                  <a:pt x="1621" y="507"/>
                </a:cubicBezTo>
                <a:cubicBezTo>
                  <a:pt x="1620" y="507"/>
                  <a:pt x="1620" y="509"/>
                  <a:pt x="1620" y="509"/>
                </a:cubicBezTo>
                <a:cubicBezTo>
                  <a:pt x="1620" y="509"/>
                  <a:pt x="1613" y="509"/>
                  <a:pt x="1611" y="511"/>
                </a:cubicBezTo>
                <a:cubicBezTo>
                  <a:pt x="1608" y="513"/>
                  <a:pt x="1604" y="515"/>
                  <a:pt x="1604" y="519"/>
                </a:cubicBezTo>
                <a:cubicBezTo>
                  <a:pt x="1604" y="522"/>
                  <a:pt x="1608" y="526"/>
                  <a:pt x="1608" y="528"/>
                </a:cubicBezTo>
                <a:cubicBezTo>
                  <a:pt x="1608" y="530"/>
                  <a:pt x="1603" y="536"/>
                  <a:pt x="1601" y="536"/>
                </a:cubicBezTo>
                <a:cubicBezTo>
                  <a:pt x="1598" y="537"/>
                  <a:pt x="1595" y="537"/>
                  <a:pt x="1592" y="534"/>
                </a:cubicBezTo>
                <a:cubicBezTo>
                  <a:pt x="1589" y="531"/>
                  <a:pt x="1581" y="526"/>
                  <a:pt x="1577" y="526"/>
                </a:cubicBezTo>
                <a:cubicBezTo>
                  <a:pt x="1574" y="526"/>
                  <a:pt x="1567" y="528"/>
                  <a:pt x="1565" y="524"/>
                </a:cubicBezTo>
                <a:cubicBezTo>
                  <a:pt x="1562" y="521"/>
                  <a:pt x="1563" y="519"/>
                  <a:pt x="1561" y="515"/>
                </a:cubicBezTo>
                <a:cubicBezTo>
                  <a:pt x="1559" y="512"/>
                  <a:pt x="1555" y="513"/>
                  <a:pt x="1555" y="513"/>
                </a:cubicBezTo>
                <a:cubicBezTo>
                  <a:pt x="1555" y="513"/>
                  <a:pt x="1550" y="509"/>
                  <a:pt x="1548" y="509"/>
                </a:cubicBezTo>
                <a:cubicBezTo>
                  <a:pt x="1547" y="508"/>
                  <a:pt x="1542" y="508"/>
                  <a:pt x="1540" y="508"/>
                </a:cubicBezTo>
                <a:cubicBezTo>
                  <a:pt x="1539" y="509"/>
                  <a:pt x="1536" y="510"/>
                  <a:pt x="1534" y="509"/>
                </a:cubicBezTo>
                <a:cubicBezTo>
                  <a:pt x="1532" y="508"/>
                  <a:pt x="1527" y="505"/>
                  <a:pt x="1526" y="505"/>
                </a:cubicBezTo>
                <a:cubicBezTo>
                  <a:pt x="1526" y="505"/>
                  <a:pt x="1525" y="504"/>
                  <a:pt x="1524" y="504"/>
                </a:cubicBezTo>
                <a:cubicBezTo>
                  <a:pt x="1523" y="504"/>
                  <a:pt x="1522" y="504"/>
                  <a:pt x="1522" y="504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19" y="499"/>
                  <a:pt x="1519" y="499"/>
                  <a:pt x="1519" y="499"/>
                </a:cubicBezTo>
                <a:cubicBezTo>
                  <a:pt x="1518" y="501"/>
                  <a:pt x="1518" y="501"/>
                  <a:pt x="1518" y="501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1" y="499"/>
                  <a:pt x="1511" y="495"/>
                </a:cubicBezTo>
                <a:cubicBezTo>
                  <a:pt x="1511" y="491"/>
                  <a:pt x="1510" y="493"/>
                  <a:pt x="1515" y="489"/>
                </a:cubicBezTo>
                <a:cubicBezTo>
                  <a:pt x="1520" y="484"/>
                  <a:pt x="1523" y="481"/>
                  <a:pt x="1520" y="478"/>
                </a:cubicBezTo>
                <a:cubicBezTo>
                  <a:pt x="1517" y="474"/>
                  <a:pt x="1514" y="475"/>
                  <a:pt x="1515" y="472"/>
                </a:cubicBezTo>
                <a:cubicBezTo>
                  <a:pt x="1516" y="468"/>
                  <a:pt x="1516" y="469"/>
                  <a:pt x="1518" y="467"/>
                </a:cubicBezTo>
                <a:cubicBezTo>
                  <a:pt x="1520" y="465"/>
                  <a:pt x="1522" y="460"/>
                  <a:pt x="1520" y="460"/>
                </a:cubicBezTo>
                <a:cubicBezTo>
                  <a:pt x="1519" y="460"/>
                  <a:pt x="1515" y="465"/>
                  <a:pt x="1514" y="466"/>
                </a:cubicBezTo>
                <a:cubicBezTo>
                  <a:pt x="1513" y="466"/>
                  <a:pt x="1510" y="463"/>
                  <a:pt x="1510" y="463"/>
                </a:cubicBezTo>
                <a:cubicBezTo>
                  <a:pt x="1510" y="463"/>
                  <a:pt x="1514" y="460"/>
                  <a:pt x="1511" y="458"/>
                </a:cubicBezTo>
                <a:cubicBezTo>
                  <a:pt x="1507" y="456"/>
                  <a:pt x="1501" y="460"/>
                  <a:pt x="1500" y="461"/>
                </a:cubicBezTo>
                <a:cubicBezTo>
                  <a:pt x="1500" y="461"/>
                  <a:pt x="1499" y="462"/>
                  <a:pt x="1499" y="462"/>
                </a:cubicBezTo>
                <a:cubicBezTo>
                  <a:pt x="1499" y="464"/>
                  <a:pt x="1499" y="464"/>
                  <a:pt x="1499" y="464"/>
                </a:cubicBezTo>
                <a:cubicBezTo>
                  <a:pt x="1499" y="462"/>
                  <a:pt x="1499" y="462"/>
                  <a:pt x="1499" y="462"/>
                </a:cubicBezTo>
                <a:cubicBezTo>
                  <a:pt x="1497" y="462"/>
                  <a:pt x="1494" y="461"/>
                  <a:pt x="1494" y="461"/>
                </a:cubicBezTo>
                <a:cubicBezTo>
                  <a:pt x="1493" y="463"/>
                  <a:pt x="1493" y="463"/>
                  <a:pt x="1493" y="463"/>
                </a:cubicBezTo>
                <a:cubicBezTo>
                  <a:pt x="1487" y="460"/>
                  <a:pt x="1487" y="460"/>
                  <a:pt x="1487" y="460"/>
                </a:cubicBezTo>
                <a:cubicBezTo>
                  <a:pt x="1485" y="460"/>
                  <a:pt x="1485" y="460"/>
                  <a:pt x="1485" y="460"/>
                </a:cubicBezTo>
                <a:cubicBezTo>
                  <a:pt x="1485" y="462"/>
                  <a:pt x="1485" y="462"/>
                  <a:pt x="1485" y="462"/>
                </a:cubicBezTo>
                <a:cubicBezTo>
                  <a:pt x="1480" y="462"/>
                  <a:pt x="1480" y="462"/>
                  <a:pt x="1480" y="462"/>
                </a:cubicBezTo>
                <a:cubicBezTo>
                  <a:pt x="1476" y="459"/>
                  <a:pt x="1476" y="459"/>
                  <a:pt x="1476" y="459"/>
                </a:cubicBezTo>
                <a:cubicBezTo>
                  <a:pt x="1475" y="463"/>
                  <a:pt x="1475" y="463"/>
                  <a:pt x="1475" y="463"/>
                </a:cubicBezTo>
                <a:cubicBezTo>
                  <a:pt x="1471" y="462"/>
                  <a:pt x="1471" y="462"/>
                  <a:pt x="1471" y="462"/>
                </a:cubicBezTo>
                <a:cubicBezTo>
                  <a:pt x="1467" y="465"/>
                  <a:pt x="1467" y="465"/>
                  <a:pt x="1467" y="465"/>
                </a:cubicBezTo>
                <a:cubicBezTo>
                  <a:pt x="1467" y="465"/>
                  <a:pt x="1462" y="463"/>
                  <a:pt x="1456" y="463"/>
                </a:cubicBezTo>
                <a:cubicBezTo>
                  <a:pt x="1449" y="463"/>
                  <a:pt x="1449" y="465"/>
                  <a:pt x="1446" y="465"/>
                </a:cubicBezTo>
                <a:cubicBezTo>
                  <a:pt x="1443" y="465"/>
                  <a:pt x="1438" y="465"/>
                  <a:pt x="1438" y="465"/>
                </a:cubicBezTo>
                <a:cubicBezTo>
                  <a:pt x="1437" y="466"/>
                  <a:pt x="1437" y="466"/>
                  <a:pt x="1437" y="466"/>
                </a:cubicBezTo>
                <a:cubicBezTo>
                  <a:pt x="1429" y="466"/>
                  <a:pt x="1429" y="466"/>
                  <a:pt x="1429" y="466"/>
                </a:cubicBezTo>
                <a:cubicBezTo>
                  <a:pt x="1429" y="466"/>
                  <a:pt x="1419" y="468"/>
                  <a:pt x="1419" y="470"/>
                </a:cubicBezTo>
                <a:cubicBezTo>
                  <a:pt x="1419" y="472"/>
                  <a:pt x="1417" y="474"/>
                  <a:pt x="1417" y="474"/>
                </a:cubicBezTo>
                <a:cubicBezTo>
                  <a:pt x="1417" y="474"/>
                  <a:pt x="1407" y="475"/>
                  <a:pt x="1406" y="477"/>
                </a:cubicBezTo>
                <a:cubicBezTo>
                  <a:pt x="1406" y="479"/>
                  <a:pt x="1401" y="483"/>
                  <a:pt x="1398" y="483"/>
                </a:cubicBezTo>
                <a:cubicBezTo>
                  <a:pt x="1398" y="483"/>
                  <a:pt x="1397" y="483"/>
                  <a:pt x="1397" y="483"/>
                </a:cubicBezTo>
                <a:cubicBezTo>
                  <a:pt x="1397" y="483"/>
                  <a:pt x="1397" y="483"/>
                  <a:pt x="1397" y="483"/>
                </a:cubicBezTo>
                <a:cubicBezTo>
                  <a:pt x="1394" y="482"/>
                  <a:pt x="1392" y="480"/>
                  <a:pt x="1390" y="480"/>
                </a:cubicBezTo>
                <a:cubicBezTo>
                  <a:pt x="1388" y="480"/>
                  <a:pt x="1386" y="482"/>
                  <a:pt x="1386" y="482"/>
                </a:cubicBezTo>
                <a:cubicBezTo>
                  <a:pt x="1386" y="482"/>
                  <a:pt x="1381" y="481"/>
                  <a:pt x="1380" y="481"/>
                </a:cubicBezTo>
                <a:cubicBezTo>
                  <a:pt x="1378" y="481"/>
                  <a:pt x="1376" y="483"/>
                  <a:pt x="1373" y="482"/>
                </a:cubicBezTo>
                <a:cubicBezTo>
                  <a:pt x="1370" y="481"/>
                  <a:pt x="1367" y="475"/>
                  <a:pt x="1366" y="475"/>
                </a:cubicBezTo>
                <a:cubicBezTo>
                  <a:pt x="1365" y="475"/>
                  <a:pt x="1362" y="475"/>
                  <a:pt x="1362" y="475"/>
                </a:cubicBezTo>
                <a:cubicBezTo>
                  <a:pt x="1362" y="475"/>
                  <a:pt x="1360" y="482"/>
                  <a:pt x="1358" y="485"/>
                </a:cubicBezTo>
                <a:cubicBezTo>
                  <a:pt x="1357" y="487"/>
                  <a:pt x="1353" y="495"/>
                  <a:pt x="1351" y="497"/>
                </a:cubicBezTo>
                <a:cubicBezTo>
                  <a:pt x="1348" y="499"/>
                  <a:pt x="1345" y="498"/>
                  <a:pt x="1344" y="499"/>
                </a:cubicBezTo>
                <a:cubicBezTo>
                  <a:pt x="1343" y="500"/>
                  <a:pt x="1340" y="502"/>
                  <a:pt x="1340" y="502"/>
                </a:cubicBezTo>
                <a:cubicBezTo>
                  <a:pt x="1338" y="501"/>
                  <a:pt x="1338" y="501"/>
                  <a:pt x="1338" y="501"/>
                </a:cubicBezTo>
                <a:cubicBezTo>
                  <a:pt x="1334" y="503"/>
                  <a:pt x="1334" y="503"/>
                  <a:pt x="1334" y="503"/>
                </a:cubicBezTo>
                <a:cubicBezTo>
                  <a:pt x="1334" y="503"/>
                  <a:pt x="1333" y="506"/>
                  <a:pt x="1332" y="508"/>
                </a:cubicBezTo>
                <a:cubicBezTo>
                  <a:pt x="1332" y="508"/>
                  <a:pt x="1328" y="510"/>
                  <a:pt x="1328" y="511"/>
                </a:cubicBezTo>
                <a:cubicBezTo>
                  <a:pt x="1328" y="512"/>
                  <a:pt x="1329" y="515"/>
                  <a:pt x="1327" y="516"/>
                </a:cubicBezTo>
                <a:cubicBezTo>
                  <a:pt x="1326" y="518"/>
                  <a:pt x="1322" y="523"/>
                  <a:pt x="1322" y="526"/>
                </a:cubicBezTo>
                <a:cubicBezTo>
                  <a:pt x="1323" y="529"/>
                  <a:pt x="1323" y="531"/>
                  <a:pt x="1323" y="531"/>
                </a:cubicBezTo>
                <a:cubicBezTo>
                  <a:pt x="1323" y="531"/>
                  <a:pt x="1321" y="532"/>
                  <a:pt x="1321" y="532"/>
                </a:cubicBezTo>
                <a:cubicBezTo>
                  <a:pt x="1321" y="533"/>
                  <a:pt x="1324" y="533"/>
                  <a:pt x="1323" y="536"/>
                </a:cubicBezTo>
                <a:cubicBezTo>
                  <a:pt x="1323" y="539"/>
                  <a:pt x="1323" y="541"/>
                  <a:pt x="1323" y="541"/>
                </a:cubicBezTo>
                <a:cubicBezTo>
                  <a:pt x="1323" y="541"/>
                  <a:pt x="1322" y="540"/>
                  <a:pt x="1320" y="542"/>
                </a:cubicBezTo>
                <a:cubicBezTo>
                  <a:pt x="1318" y="544"/>
                  <a:pt x="1317" y="547"/>
                  <a:pt x="1315" y="550"/>
                </a:cubicBezTo>
                <a:cubicBezTo>
                  <a:pt x="1313" y="552"/>
                  <a:pt x="1311" y="551"/>
                  <a:pt x="1309" y="553"/>
                </a:cubicBezTo>
                <a:cubicBezTo>
                  <a:pt x="1308" y="555"/>
                  <a:pt x="1306" y="558"/>
                  <a:pt x="1305" y="559"/>
                </a:cubicBezTo>
                <a:cubicBezTo>
                  <a:pt x="1303" y="560"/>
                  <a:pt x="1295" y="563"/>
                  <a:pt x="1295" y="563"/>
                </a:cubicBezTo>
                <a:cubicBezTo>
                  <a:pt x="1294" y="563"/>
                  <a:pt x="1290" y="563"/>
                  <a:pt x="1290" y="563"/>
                </a:cubicBezTo>
                <a:cubicBezTo>
                  <a:pt x="1290" y="563"/>
                  <a:pt x="1289" y="564"/>
                  <a:pt x="1288" y="566"/>
                </a:cubicBezTo>
                <a:cubicBezTo>
                  <a:pt x="1288" y="567"/>
                  <a:pt x="1287" y="568"/>
                  <a:pt x="1287" y="569"/>
                </a:cubicBezTo>
                <a:cubicBezTo>
                  <a:pt x="1286" y="572"/>
                  <a:pt x="1285" y="576"/>
                  <a:pt x="1285" y="576"/>
                </a:cubicBezTo>
                <a:cubicBezTo>
                  <a:pt x="1285" y="576"/>
                  <a:pt x="1282" y="578"/>
                  <a:pt x="1281" y="579"/>
                </a:cubicBezTo>
                <a:cubicBezTo>
                  <a:pt x="1280" y="580"/>
                  <a:pt x="1277" y="580"/>
                  <a:pt x="1277" y="580"/>
                </a:cubicBezTo>
                <a:cubicBezTo>
                  <a:pt x="1277" y="580"/>
                  <a:pt x="1275" y="579"/>
                  <a:pt x="1274" y="581"/>
                </a:cubicBezTo>
                <a:cubicBezTo>
                  <a:pt x="1273" y="583"/>
                  <a:pt x="1273" y="587"/>
                  <a:pt x="1273" y="587"/>
                </a:cubicBezTo>
                <a:cubicBezTo>
                  <a:pt x="1273" y="587"/>
                  <a:pt x="1270" y="591"/>
                  <a:pt x="1270" y="592"/>
                </a:cubicBezTo>
                <a:cubicBezTo>
                  <a:pt x="1270" y="593"/>
                  <a:pt x="1272" y="597"/>
                  <a:pt x="1270" y="599"/>
                </a:cubicBezTo>
                <a:cubicBezTo>
                  <a:pt x="1269" y="602"/>
                  <a:pt x="1267" y="602"/>
                  <a:pt x="1267" y="602"/>
                </a:cubicBezTo>
                <a:cubicBezTo>
                  <a:pt x="1267" y="602"/>
                  <a:pt x="1265" y="605"/>
                  <a:pt x="1264" y="606"/>
                </a:cubicBezTo>
                <a:cubicBezTo>
                  <a:pt x="1263" y="607"/>
                  <a:pt x="1261" y="608"/>
                  <a:pt x="1260" y="608"/>
                </a:cubicBezTo>
                <a:cubicBezTo>
                  <a:pt x="1259" y="609"/>
                  <a:pt x="1259" y="611"/>
                  <a:pt x="1259" y="611"/>
                </a:cubicBezTo>
                <a:cubicBezTo>
                  <a:pt x="1260" y="612"/>
                  <a:pt x="1260" y="612"/>
                  <a:pt x="1260" y="612"/>
                </a:cubicBezTo>
                <a:cubicBezTo>
                  <a:pt x="1260" y="612"/>
                  <a:pt x="1258" y="614"/>
                  <a:pt x="1257" y="616"/>
                </a:cubicBezTo>
                <a:cubicBezTo>
                  <a:pt x="1256" y="618"/>
                  <a:pt x="1256" y="621"/>
                  <a:pt x="1256" y="621"/>
                </a:cubicBezTo>
                <a:cubicBezTo>
                  <a:pt x="1254" y="621"/>
                  <a:pt x="1254" y="621"/>
                  <a:pt x="1254" y="621"/>
                </a:cubicBezTo>
                <a:cubicBezTo>
                  <a:pt x="1254" y="621"/>
                  <a:pt x="1257" y="623"/>
                  <a:pt x="1254" y="625"/>
                </a:cubicBezTo>
                <a:cubicBezTo>
                  <a:pt x="1252" y="627"/>
                  <a:pt x="1252" y="626"/>
                  <a:pt x="1252" y="626"/>
                </a:cubicBezTo>
                <a:cubicBezTo>
                  <a:pt x="1252" y="626"/>
                  <a:pt x="1248" y="630"/>
                  <a:pt x="1248" y="633"/>
                </a:cubicBezTo>
                <a:cubicBezTo>
                  <a:pt x="1248" y="634"/>
                  <a:pt x="1248" y="636"/>
                  <a:pt x="1248" y="638"/>
                </a:cubicBezTo>
                <a:cubicBezTo>
                  <a:pt x="1248" y="638"/>
                  <a:pt x="1248" y="638"/>
                  <a:pt x="1248" y="638"/>
                </a:cubicBezTo>
                <a:cubicBezTo>
                  <a:pt x="1248" y="640"/>
                  <a:pt x="1248" y="641"/>
                  <a:pt x="1248" y="641"/>
                </a:cubicBezTo>
                <a:cubicBezTo>
                  <a:pt x="1248" y="641"/>
                  <a:pt x="1250" y="641"/>
                  <a:pt x="1250" y="642"/>
                </a:cubicBezTo>
                <a:cubicBezTo>
                  <a:pt x="1250" y="643"/>
                  <a:pt x="1250" y="645"/>
                  <a:pt x="1251" y="646"/>
                </a:cubicBezTo>
                <a:cubicBezTo>
                  <a:pt x="1252" y="647"/>
                  <a:pt x="1253" y="644"/>
                  <a:pt x="1253" y="644"/>
                </a:cubicBezTo>
                <a:cubicBezTo>
                  <a:pt x="1254" y="649"/>
                  <a:pt x="1254" y="649"/>
                  <a:pt x="1254" y="649"/>
                </a:cubicBezTo>
                <a:cubicBezTo>
                  <a:pt x="1254" y="656"/>
                  <a:pt x="1254" y="656"/>
                  <a:pt x="1254" y="656"/>
                </a:cubicBezTo>
                <a:cubicBezTo>
                  <a:pt x="1252" y="656"/>
                  <a:pt x="1252" y="656"/>
                  <a:pt x="1252" y="656"/>
                </a:cubicBezTo>
                <a:cubicBezTo>
                  <a:pt x="1253" y="659"/>
                  <a:pt x="1253" y="659"/>
                  <a:pt x="1253" y="659"/>
                </a:cubicBezTo>
                <a:cubicBezTo>
                  <a:pt x="1251" y="660"/>
                  <a:pt x="1251" y="660"/>
                  <a:pt x="1251" y="660"/>
                </a:cubicBezTo>
                <a:cubicBezTo>
                  <a:pt x="1251" y="660"/>
                  <a:pt x="1256" y="666"/>
                  <a:pt x="1256" y="670"/>
                </a:cubicBezTo>
                <a:cubicBezTo>
                  <a:pt x="1256" y="673"/>
                  <a:pt x="1255" y="678"/>
                  <a:pt x="1255" y="678"/>
                </a:cubicBezTo>
                <a:cubicBezTo>
                  <a:pt x="1254" y="684"/>
                  <a:pt x="1254" y="684"/>
                  <a:pt x="1254" y="684"/>
                </a:cubicBezTo>
                <a:cubicBezTo>
                  <a:pt x="1254" y="684"/>
                  <a:pt x="1251" y="687"/>
                  <a:pt x="1250" y="691"/>
                </a:cubicBezTo>
                <a:cubicBezTo>
                  <a:pt x="1250" y="692"/>
                  <a:pt x="1250" y="696"/>
                  <a:pt x="1250" y="698"/>
                </a:cubicBezTo>
                <a:cubicBezTo>
                  <a:pt x="1250" y="699"/>
                  <a:pt x="1250" y="701"/>
                  <a:pt x="1250" y="701"/>
                </a:cubicBezTo>
                <a:cubicBezTo>
                  <a:pt x="1249" y="701"/>
                  <a:pt x="1247" y="703"/>
                  <a:pt x="1246" y="706"/>
                </a:cubicBezTo>
                <a:cubicBezTo>
                  <a:pt x="1244" y="708"/>
                  <a:pt x="1241" y="711"/>
                  <a:pt x="1241" y="711"/>
                </a:cubicBezTo>
                <a:cubicBezTo>
                  <a:pt x="1242" y="713"/>
                  <a:pt x="1242" y="713"/>
                  <a:pt x="1242" y="713"/>
                </a:cubicBezTo>
                <a:cubicBezTo>
                  <a:pt x="1243" y="712"/>
                  <a:pt x="1243" y="712"/>
                  <a:pt x="1243" y="712"/>
                </a:cubicBezTo>
                <a:cubicBezTo>
                  <a:pt x="1243" y="712"/>
                  <a:pt x="1245" y="714"/>
                  <a:pt x="1245" y="716"/>
                </a:cubicBezTo>
                <a:cubicBezTo>
                  <a:pt x="1245" y="717"/>
                  <a:pt x="1245" y="718"/>
                  <a:pt x="1245" y="718"/>
                </a:cubicBezTo>
                <a:cubicBezTo>
                  <a:pt x="1247" y="720"/>
                  <a:pt x="1247" y="720"/>
                  <a:pt x="1247" y="720"/>
                </a:cubicBezTo>
                <a:cubicBezTo>
                  <a:pt x="1247" y="720"/>
                  <a:pt x="1247" y="720"/>
                  <a:pt x="1247" y="722"/>
                </a:cubicBezTo>
                <a:cubicBezTo>
                  <a:pt x="1247" y="723"/>
                  <a:pt x="1248" y="724"/>
                  <a:pt x="1248" y="724"/>
                </a:cubicBezTo>
                <a:cubicBezTo>
                  <a:pt x="1249" y="725"/>
                  <a:pt x="1249" y="725"/>
                  <a:pt x="1249" y="725"/>
                </a:cubicBezTo>
                <a:cubicBezTo>
                  <a:pt x="1249" y="725"/>
                  <a:pt x="1247" y="728"/>
                  <a:pt x="1247" y="729"/>
                </a:cubicBezTo>
                <a:cubicBezTo>
                  <a:pt x="1247" y="730"/>
                  <a:pt x="1247" y="730"/>
                  <a:pt x="1247" y="730"/>
                </a:cubicBezTo>
                <a:cubicBezTo>
                  <a:pt x="1246" y="731"/>
                  <a:pt x="1246" y="733"/>
                  <a:pt x="1246" y="733"/>
                </a:cubicBezTo>
                <a:cubicBezTo>
                  <a:pt x="1245" y="734"/>
                  <a:pt x="1245" y="734"/>
                  <a:pt x="1245" y="734"/>
                </a:cubicBezTo>
                <a:cubicBezTo>
                  <a:pt x="1245" y="734"/>
                  <a:pt x="1246" y="738"/>
                  <a:pt x="1248" y="739"/>
                </a:cubicBezTo>
                <a:cubicBezTo>
                  <a:pt x="1250" y="740"/>
                  <a:pt x="1252" y="739"/>
                  <a:pt x="1252" y="739"/>
                </a:cubicBezTo>
                <a:cubicBezTo>
                  <a:pt x="1251" y="744"/>
                  <a:pt x="1251" y="744"/>
                  <a:pt x="1251" y="744"/>
                </a:cubicBezTo>
                <a:cubicBezTo>
                  <a:pt x="1251" y="744"/>
                  <a:pt x="1253" y="746"/>
                  <a:pt x="1254" y="745"/>
                </a:cubicBezTo>
                <a:cubicBezTo>
                  <a:pt x="1255" y="743"/>
                  <a:pt x="1261" y="744"/>
                  <a:pt x="1261" y="744"/>
                </a:cubicBezTo>
                <a:cubicBezTo>
                  <a:pt x="1264" y="742"/>
                  <a:pt x="1264" y="742"/>
                  <a:pt x="1264" y="742"/>
                </a:cubicBezTo>
                <a:cubicBezTo>
                  <a:pt x="1264" y="745"/>
                  <a:pt x="1264" y="745"/>
                  <a:pt x="1264" y="745"/>
                </a:cubicBezTo>
                <a:cubicBezTo>
                  <a:pt x="1264" y="745"/>
                  <a:pt x="1259" y="743"/>
                  <a:pt x="1259" y="745"/>
                </a:cubicBezTo>
                <a:cubicBezTo>
                  <a:pt x="1258" y="747"/>
                  <a:pt x="1260" y="748"/>
                  <a:pt x="1260" y="748"/>
                </a:cubicBezTo>
                <a:cubicBezTo>
                  <a:pt x="1264" y="747"/>
                  <a:pt x="1264" y="747"/>
                  <a:pt x="1264" y="747"/>
                </a:cubicBezTo>
                <a:cubicBezTo>
                  <a:pt x="1259" y="750"/>
                  <a:pt x="1259" y="750"/>
                  <a:pt x="1259" y="750"/>
                </a:cubicBezTo>
                <a:cubicBezTo>
                  <a:pt x="1263" y="756"/>
                  <a:pt x="1263" y="756"/>
                  <a:pt x="1263" y="756"/>
                </a:cubicBezTo>
                <a:cubicBezTo>
                  <a:pt x="1264" y="753"/>
                  <a:pt x="1264" y="753"/>
                  <a:pt x="1264" y="753"/>
                </a:cubicBezTo>
                <a:cubicBezTo>
                  <a:pt x="1264" y="753"/>
                  <a:pt x="1265" y="755"/>
                  <a:pt x="1266" y="756"/>
                </a:cubicBezTo>
                <a:cubicBezTo>
                  <a:pt x="1267" y="756"/>
                  <a:pt x="1268" y="756"/>
                  <a:pt x="1268" y="756"/>
                </a:cubicBezTo>
                <a:cubicBezTo>
                  <a:pt x="1268" y="756"/>
                  <a:pt x="1266" y="761"/>
                  <a:pt x="1269" y="763"/>
                </a:cubicBezTo>
                <a:cubicBezTo>
                  <a:pt x="1272" y="764"/>
                  <a:pt x="1273" y="763"/>
                  <a:pt x="1273" y="763"/>
                </a:cubicBezTo>
                <a:cubicBezTo>
                  <a:pt x="1273" y="763"/>
                  <a:pt x="1273" y="766"/>
                  <a:pt x="1274" y="767"/>
                </a:cubicBezTo>
                <a:cubicBezTo>
                  <a:pt x="1275" y="768"/>
                  <a:pt x="1276" y="766"/>
                  <a:pt x="1276" y="766"/>
                </a:cubicBezTo>
                <a:cubicBezTo>
                  <a:pt x="1276" y="766"/>
                  <a:pt x="1277" y="770"/>
                  <a:pt x="1278" y="771"/>
                </a:cubicBezTo>
                <a:cubicBezTo>
                  <a:pt x="1279" y="773"/>
                  <a:pt x="1282" y="775"/>
                  <a:pt x="1282" y="775"/>
                </a:cubicBezTo>
                <a:cubicBezTo>
                  <a:pt x="1280" y="776"/>
                  <a:pt x="1280" y="776"/>
                  <a:pt x="1280" y="776"/>
                </a:cubicBezTo>
                <a:cubicBezTo>
                  <a:pt x="1282" y="778"/>
                  <a:pt x="1282" y="778"/>
                  <a:pt x="1282" y="778"/>
                </a:cubicBezTo>
                <a:cubicBezTo>
                  <a:pt x="1282" y="778"/>
                  <a:pt x="1280" y="780"/>
                  <a:pt x="1280" y="781"/>
                </a:cubicBezTo>
                <a:cubicBezTo>
                  <a:pt x="1280" y="783"/>
                  <a:pt x="1284" y="785"/>
                  <a:pt x="1284" y="785"/>
                </a:cubicBezTo>
                <a:cubicBezTo>
                  <a:pt x="1283" y="789"/>
                  <a:pt x="1283" y="789"/>
                  <a:pt x="1283" y="789"/>
                </a:cubicBezTo>
                <a:cubicBezTo>
                  <a:pt x="1286" y="791"/>
                  <a:pt x="1286" y="791"/>
                  <a:pt x="1286" y="791"/>
                </a:cubicBezTo>
                <a:cubicBezTo>
                  <a:pt x="1286" y="791"/>
                  <a:pt x="1286" y="793"/>
                  <a:pt x="1288" y="795"/>
                </a:cubicBezTo>
                <a:cubicBezTo>
                  <a:pt x="1290" y="797"/>
                  <a:pt x="1294" y="797"/>
                  <a:pt x="1294" y="797"/>
                </a:cubicBezTo>
                <a:cubicBezTo>
                  <a:pt x="1298" y="801"/>
                  <a:pt x="1298" y="801"/>
                  <a:pt x="1298" y="801"/>
                </a:cubicBezTo>
                <a:cubicBezTo>
                  <a:pt x="1295" y="798"/>
                  <a:pt x="1295" y="798"/>
                  <a:pt x="1295" y="798"/>
                </a:cubicBezTo>
                <a:cubicBezTo>
                  <a:pt x="1300" y="803"/>
                  <a:pt x="1300" y="803"/>
                  <a:pt x="1300" y="803"/>
                </a:cubicBezTo>
                <a:cubicBezTo>
                  <a:pt x="1303" y="804"/>
                  <a:pt x="1303" y="804"/>
                  <a:pt x="1303" y="804"/>
                </a:cubicBezTo>
                <a:cubicBezTo>
                  <a:pt x="1305" y="808"/>
                  <a:pt x="1305" y="808"/>
                  <a:pt x="1305" y="808"/>
                </a:cubicBezTo>
                <a:cubicBezTo>
                  <a:pt x="1305" y="808"/>
                  <a:pt x="1309" y="807"/>
                  <a:pt x="1310" y="808"/>
                </a:cubicBezTo>
                <a:cubicBezTo>
                  <a:pt x="1311" y="810"/>
                  <a:pt x="1314" y="816"/>
                  <a:pt x="1317" y="818"/>
                </a:cubicBezTo>
                <a:cubicBezTo>
                  <a:pt x="1320" y="821"/>
                  <a:pt x="1326" y="823"/>
                  <a:pt x="1328" y="824"/>
                </a:cubicBezTo>
                <a:cubicBezTo>
                  <a:pt x="1329" y="825"/>
                  <a:pt x="1333" y="829"/>
                  <a:pt x="1336" y="829"/>
                </a:cubicBezTo>
                <a:cubicBezTo>
                  <a:pt x="1336" y="829"/>
                  <a:pt x="1336" y="829"/>
                  <a:pt x="1336" y="829"/>
                </a:cubicBezTo>
                <a:cubicBezTo>
                  <a:pt x="1339" y="828"/>
                  <a:pt x="1340" y="826"/>
                  <a:pt x="1340" y="826"/>
                </a:cubicBezTo>
                <a:cubicBezTo>
                  <a:pt x="1341" y="826"/>
                  <a:pt x="1341" y="826"/>
                  <a:pt x="1341" y="826"/>
                </a:cubicBezTo>
                <a:cubicBezTo>
                  <a:pt x="1344" y="825"/>
                  <a:pt x="1344" y="825"/>
                  <a:pt x="1344" y="825"/>
                </a:cubicBezTo>
                <a:cubicBezTo>
                  <a:pt x="1344" y="825"/>
                  <a:pt x="1353" y="819"/>
                  <a:pt x="1357" y="820"/>
                </a:cubicBezTo>
                <a:cubicBezTo>
                  <a:pt x="1362" y="820"/>
                  <a:pt x="1363" y="819"/>
                  <a:pt x="1363" y="819"/>
                </a:cubicBezTo>
                <a:cubicBezTo>
                  <a:pt x="1363" y="819"/>
                  <a:pt x="1370" y="817"/>
                  <a:pt x="1371" y="818"/>
                </a:cubicBezTo>
                <a:cubicBezTo>
                  <a:pt x="1373" y="819"/>
                  <a:pt x="1374" y="820"/>
                  <a:pt x="1375" y="820"/>
                </a:cubicBezTo>
                <a:cubicBezTo>
                  <a:pt x="1377" y="819"/>
                  <a:pt x="1379" y="817"/>
                  <a:pt x="1379" y="817"/>
                </a:cubicBezTo>
                <a:cubicBezTo>
                  <a:pt x="1379" y="817"/>
                  <a:pt x="1380" y="820"/>
                  <a:pt x="1383" y="821"/>
                </a:cubicBezTo>
                <a:cubicBezTo>
                  <a:pt x="1384" y="821"/>
                  <a:pt x="1385" y="822"/>
                  <a:pt x="1385" y="822"/>
                </a:cubicBezTo>
                <a:cubicBezTo>
                  <a:pt x="1387" y="822"/>
                  <a:pt x="1389" y="822"/>
                  <a:pt x="1389" y="822"/>
                </a:cubicBezTo>
                <a:cubicBezTo>
                  <a:pt x="1389" y="822"/>
                  <a:pt x="1389" y="825"/>
                  <a:pt x="1391" y="825"/>
                </a:cubicBezTo>
                <a:cubicBezTo>
                  <a:pt x="1394" y="824"/>
                  <a:pt x="1398" y="820"/>
                  <a:pt x="1399" y="820"/>
                </a:cubicBezTo>
                <a:cubicBezTo>
                  <a:pt x="1401" y="819"/>
                  <a:pt x="1403" y="820"/>
                  <a:pt x="1403" y="820"/>
                </a:cubicBezTo>
                <a:cubicBezTo>
                  <a:pt x="1403" y="820"/>
                  <a:pt x="1408" y="816"/>
                  <a:pt x="1408" y="816"/>
                </a:cubicBezTo>
                <a:cubicBezTo>
                  <a:pt x="1409" y="815"/>
                  <a:pt x="1412" y="815"/>
                  <a:pt x="1412" y="815"/>
                </a:cubicBezTo>
                <a:cubicBezTo>
                  <a:pt x="1412" y="815"/>
                  <a:pt x="1413" y="811"/>
                  <a:pt x="1415" y="812"/>
                </a:cubicBezTo>
                <a:cubicBezTo>
                  <a:pt x="1417" y="812"/>
                  <a:pt x="1418" y="813"/>
                  <a:pt x="1420" y="812"/>
                </a:cubicBezTo>
                <a:cubicBezTo>
                  <a:pt x="1421" y="812"/>
                  <a:pt x="1422" y="811"/>
                  <a:pt x="1423" y="809"/>
                </a:cubicBezTo>
                <a:cubicBezTo>
                  <a:pt x="1424" y="808"/>
                  <a:pt x="1426" y="807"/>
                  <a:pt x="1427" y="807"/>
                </a:cubicBezTo>
                <a:cubicBezTo>
                  <a:pt x="1428" y="807"/>
                  <a:pt x="1429" y="807"/>
                  <a:pt x="1430" y="807"/>
                </a:cubicBezTo>
                <a:cubicBezTo>
                  <a:pt x="1430" y="807"/>
                  <a:pt x="1430" y="807"/>
                  <a:pt x="1430" y="807"/>
                </a:cubicBezTo>
                <a:cubicBezTo>
                  <a:pt x="1432" y="807"/>
                  <a:pt x="1434" y="808"/>
                  <a:pt x="1434" y="808"/>
                </a:cubicBezTo>
                <a:cubicBezTo>
                  <a:pt x="1436" y="805"/>
                  <a:pt x="1436" y="805"/>
                  <a:pt x="1436" y="805"/>
                </a:cubicBezTo>
                <a:cubicBezTo>
                  <a:pt x="1436" y="805"/>
                  <a:pt x="1437" y="805"/>
                  <a:pt x="1438" y="806"/>
                </a:cubicBezTo>
                <a:cubicBezTo>
                  <a:pt x="1440" y="806"/>
                  <a:pt x="1442" y="807"/>
                  <a:pt x="1443" y="807"/>
                </a:cubicBezTo>
                <a:cubicBezTo>
                  <a:pt x="1445" y="806"/>
                  <a:pt x="1447" y="804"/>
                  <a:pt x="1447" y="804"/>
                </a:cubicBezTo>
                <a:cubicBezTo>
                  <a:pt x="1448" y="805"/>
                  <a:pt x="1448" y="805"/>
                  <a:pt x="1448" y="805"/>
                </a:cubicBezTo>
                <a:cubicBezTo>
                  <a:pt x="1448" y="805"/>
                  <a:pt x="1455" y="804"/>
                  <a:pt x="1458" y="808"/>
                </a:cubicBezTo>
                <a:cubicBezTo>
                  <a:pt x="1462" y="812"/>
                  <a:pt x="1462" y="814"/>
                  <a:pt x="1462" y="814"/>
                </a:cubicBezTo>
                <a:cubicBezTo>
                  <a:pt x="1465" y="814"/>
                  <a:pt x="1465" y="814"/>
                  <a:pt x="1465" y="814"/>
                </a:cubicBezTo>
                <a:cubicBezTo>
                  <a:pt x="1465" y="814"/>
                  <a:pt x="1463" y="817"/>
                  <a:pt x="1463" y="817"/>
                </a:cubicBezTo>
                <a:cubicBezTo>
                  <a:pt x="1464" y="817"/>
                  <a:pt x="1466" y="816"/>
                  <a:pt x="1466" y="816"/>
                </a:cubicBezTo>
                <a:cubicBezTo>
                  <a:pt x="1466" y="817"/>
                  <a:pt x="1465" y="819"/>
                  <a:pt x="1465" y="820"/>
                </a:cubicBezTo>
                <a:cubicBezTo>
                  <a:pt x="1465" y="822"/>
                  <a:pt x="1467" y="828"/>
                  <a:pt x="1471" y="828"/>
                </a:cubicBezTo>
                <a:cubicBezTo>
                  <a:pt x="1475" y="829"/>
                  <a:pt x="1478" y="828"/>
                  <a:pt x="1478" y="828"/>
                </a:cubicBezTo>
                <a:cubicBezTo>
                  <a:pt x="1479" y="824"/>
                  <a:pt x="1479" y="824"/>
                  <a:pt x="1479" y="824"/>
                </a:cubicBezTo>
                <a:cubicBezTo>
                  <a:pt x="1482" y="826"/>
                  <a:pt x="1482" y="826"/>
                  <a:pt x="1482" y="826"/>
                </a:cubicBezTo>
                <a:cubicBezTo>
                  <a:pt x="1486" y="825"/>
                  <a:pt x="1486" y="825"/>
                  <a:pt x="1486" y="825"/>
                </a:cubicBezTo>
                <a:cubicBezTo>
                  <a:pt x="1488" y="827"/>
                  <a:pt x="1488" y="827"/>
                  <a:pt x="1488" y="827"/>
                </a:cubicBezTo>
                <a:cubicBezTo>
                  <a:pt x="1494" y="827"/>
                  <a:pt x="1494" y="827"/>
                  <a:pt x="1494" y="827"/>
                </a:cubicBezTo>
                <a:cubicBezTo>
                  <a:pt x="1494" y="824"/>
                  <a:pt x="1494" y="824"/>
                  <a:pt x="1494" y="824"/>
                </a:cubicBezTo>
                <a:cubicBezTo>
                  <a:pt x="1497" y="823"/>
                  <a:pt x="1497" y="823"/>
                  <a:pt x="1497" y="823"/>
                </a:cubicBezTo>
                <a:cubicBezTo>
                  <a:pt x="1497" y="824"/>
                  <a:pt x="1497" y="824"/>
                  <a:pt x="1497" y="824"/>
                </a:cubicBezTo>
                <a:cubicBezTo>
                  <a:pt x="1496" y="826"/>
                  <a:pt x="1496" y="826"/>
                  <a:pt x="1496" y="826"/>
                </a:cubicBezTo>
                <a:cubicBezTo>
                  <a:pt x="1500" y="825"/>
                  <a:pt x="1500" y="825"/>
                  <a:pt x="1500" y="825"/>
                </a:cubicBezTo>
                <a:cubicBezTo>
                  <a:pt x="1500" y="825"/>
                  <a:pt x="1500" y="830"/>
                  <a:pt x="1502" y="832"/>
                </a:cubicBezTo>
                <a:cubicBezTo>
                  <a:pt x="1504" y="834"/>
                  <a:pt x="1505" y="834"/>
                  <a:pt x="1505" y="834"/>
                </a:cubicBezTo>
                <a:cubicBezTo>
                  <a:pt x="1508" y="831"/>
                  <a:pt x="1508" y="831"/>
                  <a:pt x="1508" y="831"/>
                </a:cubicBezTo>
                <a:cubicBezTo>
                  <a:pt x="1506" y="836"/>
                  <a:pt x="1506" y="836"/>
                  <a:pt x="1506" y="836"/>
                </a:cubicBezTo>
                <a:cubicBezTo>
                  <a:pt x="1508" y="839"/>
                  <a:pt x="1508" y="839"/>
                  <a:pt x="1508" y="839"/>
                </a:cubicBezTo>
                <a:cubicBezTo>
                  <a:pt x="1511" y="840"/>
                  <a:pt x="1511" y="840"/>
                  <a:pt x="1511" y="840"/>
                </a:cubicBezTo>
                <a:cubicBezTo>
                  <a:pt x="1510" y="847"/>
                  <a:pt x="1510" y="847"/>
                  <a:pt x="1510" y="847"/>
                </a:cubicBezTo>
                <a:cubicBezTo>
                  <a:pt x="1509" y="847"/>
                  <a:pt x="1509" y="847"/>
                  <a:pt x="1509" y="847"/>
                </a:cubicBezTo>
                <a:cubicBezTo>
                  <a:pt x="1509" y="852"/>
                  <a:pt x="1509" y="852"/>
                  <a:pt x="1509" y="852"/>
                </a:cubicBezTo>
                <a:cubicBezTo>
                  <a:pt x="1508" y="852"/>
                  <a:pt x="1508" y="852"/>
                  <a:pt x="1508" y="852"/>
                </a:cubicBezTo>
                <a:cubicBezTo>
                  <a:pt x="1508" y="852"/>
                  <a:pt x="1509" y="856"/>
                  <a:pt x="1508" y="858"/>
                </a:cubicBezTo>
                <a:cubicBezTo>
                  <a:pt x="1507" y="859"/>
                  <a:pt x="1503" y="862"/>
                  <a:pt x="1504" y="863"/>
                </a:cubicBezTo>
                <a:cubicBezTo>
                  <a:pt x="1504" y="865"/>
                  <a:pt x="1506" y="865"/>
                  <a:pt x="1507" y="866"/>
                </a:cubicBezTo>
                <a:cubicBezTo>
                  <a:pt x="1509" y="865"/>
                  <a:pt x="1509" y="865"/>
                  <a:pt x="1509" y="865"/>
                </a:cubicBezTo>
                <a:cubicBezTo>
                  <a:pt x="1507" y="866"/>
                  <a:pt x="1507" y="866"/>
                  <a:pt x="1507" y="866"/>
                </a:cubicBezTo>
                <a:cubicBezTo>
                  <a:pt x="1507" y="866"/>
                  <a:pt x="1508" y="866"/>
                  <a:pt x="1508" y="866"/>
                </a:cubicBezTo>
                <a:cubicBezTo>
                  <a:pt x="1506" y="867"/>
                  <a:pt x="1506" y="867"/>
                  <a:pt x="1506" y="867"/>
                </a:cubicBezTo>
                <a:cubicBezTo>
                  <a:pt x="1506" y="867"/>
                  <a:pt x="1508" y="873"/>
                  <a:pt x="1507" y="873"/>
                </a:cubicBezTo>
                <a:cubicBezTo>
                  <a:pt x="1506" y="874"/>
                  <a:pt x="1504" y="873"/>
                  <a:pt x="1504" y="873"/>
                </a:cubicBezTo>
                <a:cubicBezTo>
                  <a:pt x="1504" y="873"/>
                  <a:pt x="1504" y="882"/>
                  <a:pt x="1502" y="884"/>
                </a:cubicBezTo>
                <a:cubicBezTo>
                  <a:pt x="1500" y="886"/>
                  <a:pt x="1498" y="885"/>
                  <a:pt x="1498" y="885"/>
                </a:cubicBezTo>
                <a:cubicBezTo>
                  <a:pt x="1501" y="893"/>
                  <a:pt x="1501" y="893"/>
                  <a:pt x="1501" y="893"/>
                </a:cubicBezTo>
                <a:cubicBezTo>
                  <a:pt x="1503" y="891"/>
                  <a:pt x="1503" y="891"/>
                  <a:pt x="1503" y="891"/>
                </a:cubicBezTo>
                <a:cubicBezTo>
                  <a:pt x="1505" y="894"/>
                  <a:pt x="1505" y="894"/>
                  <a:pt x="1505" y="894"/>
                </a:cubicBezTo>
                <a:cubicBezTo>
                  <a:pt x="1505" y="894"/>
                  <a:pt x="1503" y="897"/>
                  <a:pt x="1503" y="898"/>
                </a:cubicBezTo>
                <a:cubicBezTo>
                  <a:pt x="1504" y="900"/>
                  <a:pt x="1506" y="899"/>
                  <a:pt x="1506" y="899"/>
                </a:cubicBezTo>
                <a:cubicBezTo>
                  <a:pt x="1507" y="905"/>
                  <a:pt x="1507" y="905"/>
                  <a:pt x="1507" y="905"/>
                </a:cubicBezTo>
                <a:cubicBezTo>
                  <a:pt x="1511" y="906"/>
                  <a:pt x="1511" y="906"/>
                  <a:pt x="1511" y="906"/>
                </a:cubicBezTo>
                <a:cubicBezTo>
                  <a:pt x="1510" y="907"/>
                  <a:pt x="1510" y="907"/>
                  <a:pt x="1510" y="907"/>
                </a:cubicBezTo>
                <a:cubicBezTo>
                  <a:pt x="1517" y="915"/>
                  <a:pt x="1517" y="915"/>
                  <a:pt x="1517" y="915"/>
                </a:cubicBezTo>
                <a:cubicBezTo>
                  <a:pt x="1517" y="916"/>
                  <a:pt x="1517" y="916"/>
                  <a:pt x="1517" y="916"/>
                </a:cubicBezTo>
                <a:cubicBezTo>
                  <a:pt x="1521" y="921"/>
                  <a:pt x="1521" y="921"/>
                  <a:pt x="1521" y="921"/>
                </a:cubicBezTo>
                <a:cubicBezTo>
                  <a:pt x="1521" y="922"/>
                  <a:pt x="1521" y="922"/>
                  <a:pt x="1521" y="922"/>
                </a:cubicBezTo>
                <a:cubicBezTo>
                  <a:pt x="1529" y="928"/>
                  <a:pt x="1529" y="928"/>
                  <a:pt x="1529" y="928"/>
                </a:cubicBezTo>
                <a:cubicBezTo>
                  <a:pt x="1529" y="931"/>
                  <a:pt x="1529" y="931"/>
                  <a:pt x="1529" y="931"/>
                </a:cubicBezTo>
                <a:cubicBezTo>
                  <a:pt x="1532" y="934"/>
                  <a:pt x="1532" y="934"/>
                  <a:pt x="1532" y="934"/>
                </a:cubicBezTo>
                <a:cubicBezTo>
                  <a:pt x="1532" y="942"/>
                  <a:pt x="1532" y="942"/>
                  <a:pt x="1532" y="942"/>
                </a:cubicBezTo>
                <a:cubicBezTo>
                  <a:pt x="1532" y="942"/>
                  <a:pt x="1533" y="942"/>
                  <a:pt x="1533" y="942"/>
                </a:cubicBezTo>
                <a:cubicBezTo>
                  <a:pt x="1534" y="942"/>
                  <a:pt x="1534" y="942"/>
                  <a:pt x="1535" y="941"/>
                </a:cubicBezTo>
                <a:cubicBezTo>
                  <a:pt x="1534" y="942"/>
                  <a:pt x="1534" y="942"/>
                  <a:pt x="1533" y="942"/>
                </a:cubicBezTo>
                <a:cubicBezTo>
                  <a:pt x="1534" y="943"/>
                  <a:pt x="1535" y="944"/>
                  <a:pt x="1535" y="945"/>
                </a:cubicBezTo>
                <a:cubicBezTo>
                  <a:pt x="1535" y="946"/>
                  <a:pt x="1535" y="946"/>
                  <a:pt x="1535" y="946"/>
                </a:cubicBezTo>
                <a:cubicBezTo>
                  <a:pt x="1534" y="947"/>
                  <a:pt x="1533" y="947"/>
                  <a:pt x="1533" y="947"/>
                </a:cubicBezTo>
                <a:cubicBezTo>
                  <a:pt x="1533" y="947"/>
                  <a:pt x="1536" y="951"/>
                  <a:pt x="1536" y="953"/>
                </a:cubicBezTo>
                <a:cubicBezTo>
                  <a:pt x="1537" y="954"/>
                  <a:pt x="1539" y="955"/>
                  <a:pt x="1539" y="955"/>
                </a:cubicBezTo>
                <a:cubicBezTo>
                  <a:pt x="1538" y="959"/>
                  <a:pt x="1538" y="959"/>
                  <a:pt x="1538" y="959"/>
                </a:cubicBezTo>
                <a:cubicBezTo>
                  <a:pt x="1538" y="959"/>
                  <a:pt x="1545" y="966"/>
                  <a:pt x="1544" y="972"/>
                </a:cubicBezTo>
                <a:cubicBezTo>
                  <a:pt x="1543" y="978"/>
                  <a:pt x="1541" y="979"/>
                  <a:pt x="1541" y="979"/>
                </a:cubicBezTo>
                <a:cubicBezTo>
                  <a:pt x="1540" y="983"/>
                  <a:pt x="1540" y="983"/>
                  <a:pt x="1540" y="983"/>
                </a:cubicBezTo>
                <a:cubicBezTo>
                  <a:pt x="1542" y="982"/>
                  <a:pt x="1542" y="982"/>
                  <a:pt x="1542" y="982"/>
                </a:cubicBezTo>
                <a:cubicBezTo>
                  <a:pt x="1542" y="982"/>
                  <a:pt x="1541" y="987"/>
                  <a:pt x="1544" y="992"/>
                </a:cubicBezTo>
                <a:cubicBezTo>
                  <a:pt x="1547" y="996"/>
                  <a:pt x="1549" y="1004"/>
                  <a:pt x="1549" y="1007"/>
                </a:cubicBezTo>
                <a:cubicBezTo>
                  <a:pt x="1548" y="1010"/>
                  <a:pt x="1546" y="1014"/>
                  <a:pt x="1546" y="1014"/>
                </a:cubicBezTo>
                <a:cubicBezTo>
                  <a:pt x="1546" y="1014"/>
                  <a:pt x="1547" y="1017"/>
                  <a:pt x="1546" y="1018"/>
                </a:cubicBezTo>
                <a:cubicBezTo>
                  <a:pt x="1544" y="1020"/>
                  <a:pt x="1541" y="1019"/>
                  <a:pt x="1541" y="1019"/>
                </a:cubicBezTo>
                <a:cubicBezTo>
                  <a:pt x="1540" y="1022"/>
                  <a:pt x="1540" y="1022"/>
                  <a:pt x="1540" y="1022"/>
                </a:cubicBezTo>
                <a:cubicBezTo>
                  <a:pt x="1540" y="1025"/>
                  <a:pt x="1540" y="1025"/>
                  <a:pt x="1540" y="1025"/>
                </a:cubicBezTo>
                <a:cubicBezTo>
                  <a:pt x="1540" y="1025"/>
                  <a:pt x="1535" y="1025"/>
                  <a:pt x="1535" y="1027"/>
                </a:cubicBezTo>
                <a:cubicBezTo>
                  <a:pt x="1536" y="1030"/>
                  <a:pt x="1535" y="1033"/>
                  <a:pt x="1535" y="1033"/>
                </a:cubicBezTo>
                <a:cubicBezTo>
                  <a:pt x="1533" y="1035"/>
                  <a:pt x="1533" y="1035"/>
                  <a:pt x="1533" y="1035"/>
                </a:cubicBezTo>
                <a:cubicBezTo>
                  <a:pt x="1533" y="1035"/>
                  <a:pt x="1534" y="1042"/>
                  <a:pt x="1534" y="1044"/>
                </a:cubicBezTo>
                <a:cubicBezTo>
                  <a:pt x="1533" y="1046"/>
                  <a:pt x="1531" y="1047"/>
                  <a:pt x="1531" y="1047"/>
                </a:cubicBezTo>
                <a:cubicBezTo>
                  <a:pt x="1531" y="1053"/>
                  <a:pt x="1531" y="1053"/>
                  <a:pt x="1531" y="1053"/>
                </a:cubicBezTo>
                <a:cubicBezTo>
                  <a:pt x="1527" y="1055"/>
                  <a:pt x="1527" y="1055"/>
                  <a:pt x="1527" y="1055"/>
                </a:cubicBezTo>
                <a:cubicBezTo>
                  <a:pt x="1527" y="1061"/>
                  <a:pt x="1527" y="1061"/>
                  <a:pt x="1527" y="1061"/>
                </a:cubicBezTo>
                <a:cubicBezTo>
                  <a:pt x="1529" y="1063"/>
                  <a:pt x="1529" y="1063"/>
                  <a:pt x="1529" y="1063"/>
                </a:cubicBezTo>
                <a:cubicBezTo>
                  <a:pt x="1526" y="1066"/>
                  <a:pt x="1526" y="1066"/>
                  <a:pt x="1526" y="1066"/>
                </a:cubicBezTo>
                <a:cubicBezTo>
                  <a:pt x="1527" y="1071"/>
                  <a:pt x="1527" y="1071"/>
                  <a:pt x="1527" y="1071"/>
                </a:cubicBezTo>
                <a:cubicBezTo>
                  <a:pt x="1528" y="1081"/>
                  <a:pt x="1528" y="1081"/>
                  <a:pt x="1528" y="1081"/>
                </a:cubicBezTo>
                <a:cubicBezTo>
                  <a:pt x="1528" y="1081"/>
                  <a:pt x="1530" y="1085"/>
                  <a:pt x="1531" y="1087"/>
                </a:cubicBezTo>
                <a:cubicBezTo>
                  <a:pt x="1533" y="1090"/>
                  <a:pt x="1540" y="1100"/>
                  <a:pt x="1540" y="1104"/>
                </a:cubicBezTo>
                <a:cubicBezTo>
                  <a:pt x="1541" y="1107"/>
                  <a:pt x="1543" y="1111"/>
                  <a:pt x="1544" y="1114"/>
                </a:cubicBezTo>
                <a:cubicBezTo>
                  <a:pt x="1545" y="1116"/>
                  <a:pt x="1548" y="1119"/>
                  <a:pt x="1548" y="1119"/>
                </a:cubicBezTo>
                <a:cubicBezTo>
                  <a:pt x="1548" y="1122"/>
                  <a:pt x="1548" y="1122"/>
                  <a:pt x="1548" y="1122"/>
                </a:cubicBezTo>
                <a:cubicBezTo>
                  <a:pt x="1548" y="1122"/>
                  <a:pt x="1554" y="1127"/>
                  <a:pt x="1554" y="1130"/>
                </a:cubicBezTo>
                <a:cubicBezTo>
                  <a:pt x="1554" y="1133"/>
                  <a:pt x="1554" y="1149"/>
                  <a:pt x="1554" y="1149"/>
                </a:cubicBezTo>
                <a:cubicBezTo>
                  <a:pt x="1554" y="1149"/>
                  <a:pt x="1557" y="1154"/>
                  <a:pt x="1557" y="1158"/>
                </a:cubicBezTo>
                <a:cubicBezTo>
                  <a:pt x="1558" y="1162"/>
                  <a:pt x="1556" y="1162"/>
                  <a:pt x="1556" y="1162"/>
                </a:cubicBezTo>
                <a:cubicBezTo>
                  <a:pt x="1558" y="1169"/>
                  <a:pt x="1558" y="1169"/>
                  <a:pt x="1558" y="1169"/>
                </a:cubicBezTo>
                <a:cubicBezTo>
                  <a:pt x="1558" y="1174"/>
                  <a:pt x="1558" y="1174"/>
                  <a:pt x="1558" y="1174"/>
                </a:cubicBezTo>
                <a:cubicBezTo>
                  <a:pt x="1560" y="1174"/>
                  <a:pt x="1560" y="1174"/>
                  <a:pt x="1560" y="1174"/>
                </a:cubicBezTo>
                <a:cubicBezTo>
                  <a:pt x="1560" y="1174"/>
                  <a:pt x="1559" y="1179"/>
                  <a:pt x="1560" y="1179"/>
                </a:cubicBezTo>
                <a:cubicBezTo>
                  <a:pt x="1560" y="1180"/>
                  <a:pt x="1562" y="1182"/>
                  <a:pt x="1562" y="1182"/>
                </a:cubicBezTo>
                <a:cubicBezTo>
                  <a:pt x="1562" y="1186"/>
                  <a:pt x="1562" y="1186"/>
                  <a:pt x="1562" y="1186"/>
                </a:cubicBezTo>
                <a:cubicBezTo>
                  <a:pt x="1562" y="1186"/>
                  <a:pt x="1565" y="1193"/>
                  <a:pt x="1567" y="1195"/>
                </a:cubicBezTo>
                <a:cubicBezTo>
                  <a:pt x="1568" y="1197"/>
                  <a:pt x="1572" y="1199"/>
                  <a:pt x="1572" y="1199"/>
                </a:cubicBezTo>
                <a:cubicBezTo>
                  <a:pt x="1572" y="1199"/>
                  <a:pt x="1574" y="1203"/>
                  <a:pt x="1574" y="1204"/>
                </a:cubicBezTo>
                <a:cubicBezTo>
                  <a:pt x="1575" y="1205"/>
                  <a:pt x="1579" y="1209"/>
                  <a:pt x="1579" y="1212"/>
                </a:cubicBezTo>
                <a:cubicBezTo>
                  <a:pt x="1579" y="1214"/>
                  <a:pt x="1578" y="1220"/>
                  <a:pt x="1580" y="1223"/>
                </a:cubicBezTo>
                <a:cubicBezTo>
                  <a:pt x="1582" y="1226"/>
                  <a:pt x="1589" y="1233"/>
                  <a:pt x="1589" y="1236"/>
                </a:cubicBezTo>
                <a:cubicBezTo>
                  <a:pt x="1589" y="1239"/>
                  <a:pt x="1589" y="1245"/>
                  <a:pt x="1588" y="1245"/>
                </a:cubicBezTo>
                <a:cubicBezTo>
                  <a:pt x="1588" y="1246"/>
                  <a:pt x="1585" y="1245"/>
                  <a:pt x="1585" y="1246"/>
                </a:cubicBezTo>
                <a:cubicBezTo>
                  <a:pt x="1585" y="1248"/>
                  <a:pt x="1585" y="1250"/>
                  <a:pt x="1587" y="1253"/>
                </a:cubicBezTo>
                <a:cubicBezTo>
                  <a:pt x="1589" y="1257"/>
                  <a:pt x="1588" y="1261"/>
                  <a:pt x="1589" y="1262"/>
                </a:cubicBezTo>
                <a:cubicBezTo>
                  <a:pt x="1590" y="1264"/>
                  <a:pt x="1590" y="1262"/>
                  <a:pt x="1591" y="1261"/>
                </a:cubicBezTo>
                <a:cubicBezTo>
                  <a:pt x="1592" y="1260"/>
                  <a:pt x="1594" y="1263"/>
                  <a:pt x="1594" y="1263"/>
                </a:cubicBezTo>
                <a:cubicBezTo>
                  <a:pt x="1597" y="1264"/>
                  <a:pt x="1597" y="1264"/>
                  <a:pt x="1597" y="1264"/>
                </a:cubicBezTo>
                <a:cubicBezTo>
                  <a:pt x="1597" y="1264"/>
                  <a:pt x="1598" y="1269"/>
                  <a:pt x="1602" y="1269"/>
                </a:cubicBezTo>
                <a:cubicBezTo>
                  <a:pt x="1606" y="1268"/>
                  <a:pt x="1607" y="1265"/>
                  <a:pt x="1609" y="1264"/>
                </a:cubicBezTo>
                <a:cubicBezTo>
                  <a:pt x="1612" y="1263"/>
                  <a:pt x="1619" y="1266"/>
                  <a:pt x="1621" y="1265"/>
                </a:cubicBezTo>
                <a:cubicBezTo>
                  <a:pt x="1623" y="1264"/>
                  <a:pt x="1622" y="1260"/>
                  <a:pt x="1627" y="1260"/>
                </a:cubicBezTo>
                <a:cubicBezTo>
                  <a:pt x="1631" y="1260"/>
                  <a:pt x="1633" y="1262"/>
                  <a:pt x="1633" y="1262"/>
                </a:cubicBezTo>
                <a:cubicBezTo>
                  <a:pt x="1633" y="1262"/>
                  <a:pt x="1635" y="1259"/>
                  <a:pt x="1640" y="1260"/>
                </a:cubicBezTo>
                <a:cubicBezTo>
                  <a:pt x="1645" y="1260"/>
                  <a:pt x="1648" y="1262"/>
                  <a:pt x="1649" y="1262"/>
                </a:cubicBezTo>
                <a:cubicBezTo>
                  <a:pt x="1650" y="1261"/>
                  <a:pt x="1652" y="1259"/>
                  <a:pt x="1652" y="1259"/>
                </a:cubicBezTo>
                <a:cubicBezTo>
                  <a:pt x="1652" y="1259"/>
                  <a:pt x="1655" y="1261"/>
                  <a:pt x="1657" y="1260"/>
                </a:cubicBezTo>
                <a:cubicBezTo>
                  <a:pt x="1659" y="1259"/>
                  <a:pt x="1661" y="1257"/>
                  <a:pt x="1661" y="1257"/>
                </a:cubicBezTo>
                <a:cubicBezTo>
                  <a:pt x="1661" y="1257"/>
                  <a:pt x="1666" y="1259"/>
                  <a:pt x="1671" y="1256"/>
                </a:cubicBezTo>
                <a:cubicBezTo>
                  <a:pt x="1676" y="1252"/>
                  <a:pt x="1682" y="1246"/>
                  <a:pt x="1682" y="1246"/>
                </a:cubicBezTo>
                <a:cubicBezTo>
                  <a:pt x="1685" y="1245"/>
                  <a:pt x="1685" y="1245"/>
                  <a:pt x="1685" y="1245"/>
                </a:cubicBezTo>
                <a:cubicBezTo>
                  <a:pt x="1698" y="1231"/>
                  <a:pt x="1698" y="1231"/>
                  <a:pt x="1698" y="1231"/>
                </a:cubicBezTo>
                <a:cubicBezTo>
                  <a:pt x="1701" y="1231"/>
                  <a:pt x="1701" y="1231"/>
                  <a:pt x="1701" y="1231"/>
                </a:cubicBezTo>
                <a:cubicBezTo>
                  <a:pt x="1701" y="1231"/>
                  <a:pt x="1708" y="1220"/>
                  <a:pt x="1709" y="1218"/>
                </a:cubicBezTo>
                <a:cubicBezTo>
                  <a:pt x="1710" y="1215"/>
                  <a:pt x="1714" y="1207"/>
                  <a:pt x="1716" y="1206"/>
                </a:cubicBezTo>
                <a:cubicBezTo>
                  <a:pt x="1717" y="1205"/>
                  <a:pt x="1724" y="1202"/>
                  <a:pt x="1725" y="1200"/>
                </a:cubicBezTo>
                <a:cubicBezTo>
                  <a:pt x="1725" y="1197"/>
                  <a:pt x="1729" y="1189"/>
                  <a:pt x="1729" y="1189"/>
                </a:cubicBezTo>
                <a:cubicBezTo>
                  <a:pt x="1729" y="1189"/>
                  <a:pt x="1730" y="1185"/>
                  <a:pt x="1731" y="1182"/>
                </a:cubicBezTo>
                <a:cubicBezTo>
                  <a:pt x="1731" y="1180"/>
                  <a:pt x="1732" y="1179"/>
                  <a:pt x="1732" y="1178"/>
                </a:cubicBezTo>
                <a:cubicBezTo>
                  <a:pt x="1732" y="1174"/>
                  <a:pt x="1730" y="1172"/>
                  <a:pt x="1730" y="1172"/>
                </a:cubicBezTo>
                <a:cubicBezTo>
                  <a:pt x="1730" y="1172"/>
                  <a:pt x="1726" y="1171"/>
                  <a:pt x="1730" y="1167"/>
                </a:cubicBezTo>
                <a:cubicBezTo>
                  <a:pt x="1735" y="1162"/>
                  <a:pt x="1742" y="1160"/>
                  <a:pt x="1747" y="1157"/>
                </a:cubicBezTo>
                <a:cubicBezTo>
                  <a:pt x="1751" y="1155"/>
                  <a:pt x="1758" y="1151"/>
                  <a:pt x="1758" y="1149"/>
                </a:cubicBezTo>
                <a:cubicBezTo>
                  <a:pt x="1758" y="1147"/>
                  <a:pt x="1758" y="1146"/>
                  <a:pt x="1758" y="1146"/>
                </a:cubicBezTo>
                <a:cubicBezTo>
                  <a:pt x="1758" y="1146"/>
                  <a:pt x="1756" y="1147"/>
                  <a:pt x="1756" y="1144"/>
                </a:cubicBezTo>
                <a:cubicBezTo>
                  <a:pt x="1756" y="1142"/>
                  <a:pt x="1760" y="1138"/>
                  <a:pt x="1759" y="1136"/>
                </a:cubicBezTo>
                <a:cubicBezTo>
                  <a:pt x="1759" y="1134"/>
                  <a:pt x="1758" y="1131"/>
                  <a:pt x="1758" y="1131"/>
                </a:cubicBezTo>
                <a:cubicBezTo>
                  <a:pt x="1759" y="1127"/>
                  <a:pt x="1759" y="1127"/>
                  <a:pt x="1759" y="1127"/>
                </a:cubicBezTo>
                <a:cubicBezTo>
                  <a:pt x="1759" y="1126"/>
                  <a:pt x="1759" y="1126"/>
                  <a:pt x="1759" y="1126"/>
                </a:cubicBezTo>
                <a:cubicBezTo>
                  <a:pt x="1757" y="1129"/>
                  <a:pt x="1757" y="1129"/>
                  <a:pt x="1757" y="1129"/>
                </a:cubicBezTo>
                <a:cubicBezTo>
                  <a:pt x="1757" y="1123"/>
                  <a:pt x="1757" y="1123"/>
                  <a:pt x="1757" y="1123"/>
                </a:cubicBezTo>
                <a:cubicBezTo>
                  <a:pt x="1757" y="1123"/>
                  <a:pt x="1754" y="1120"/>
                  <a:pt x="1754" y="1118"/>
                </a:cubicBezTo>
                <a:cubicBezTo>
                  <a:pt x="1754" y="1116"/>
                  <a:pt x="1756" y="1114"/>
                  <a:pt x="1755" y="1111"/>
                </a:cubicBezTo>
                <a:cubicBezTo>
                  <a:pt x="1754" y="1109"/>
                  <a:pt x="1751" y="1111"/>
                  <a:pt x="1751" y="1108"/>
                </a:cubicBezTo>
                <a:cubicBezTo>
                  <a:pt x="1751" y="1106"/>
                  <a:pt x="1753" y="1101"/>
                  <a:pt x="1754" y="1101"/>
                </a:cubicBezTo>
                <a:cubicBezTo>
                  <a:pt x="1755" y="1100"/>
                  <a:pt x="1760" y="1098"/>
                  <a:pt x="1760" y="1097"/>
                </a:cubicBezTo>
                <a:cubicBezTo>
                  <a:pt x="1761" y="1095"/>
                  <a:pt x="1762" y="1092"/>
                  <a:pt x="1763" y="1091"/>
                </a:cubicBezTo>
                <a:cubicBezTo>
                  <a:pt x="1765" y="1089"/>
                  <a:pt x="1766" y="1091"/>
                  <a:pt x="1768" y="1089"/>
                </a:cubicBezTo>
                <a:cubicBezTo>
                  <a:pt x="1769" y="1088"/>
                  <a:pt x="1772" y="1086"/>
                  <a:pt x="1773" y="1083"/>
                </a:cubicBezTo>
                <a:cubicBezTo>
                  <a:pt x="1773" y="1080"/>
                  <a:pt x="1777" y="1076"/>
                  <a:pt x="1780" y="1074"/>
                </a:cubicBezTo>
                <a:cubicBezTo>
                  <a:pt x="1784" y="1073"/>
                  <a:pt x="1793" y="1070"/>
                  <a:pt x="1795" y="1068"/>
                </a:cubicBezTo>
                <a:cubicBezTo>
                  <a:pt x="1797" y="1067"/>
                  <a:pt x="1803" y="1063"/>
                  <a:pt x="1803" y="1063"/>
                </a:cubicBezTo>
                <a:cubicBezTo>
                  <a:pt x="1803" y="1061"/>
                  <a:pt x="1803" y="1061"/>
                  <a:pt x="1803" y="1061"/>
                </a:cubicBezTo>
                <a:cubicBezTo>
                  <a:pt x="1803" y="1061"/>
                  <a:pt x="1807" y="1057"/>
                  <a:pt x="1807" y="1056"/>
                </a:cubicBezTo>
                <a:cubicBezTo>
                  <a:pt x="1807" y="1055"/>
                  <a:pt x="1812" y="1050"/>
                  <a:pt x="1812" y="1050"/>
                </a:cubicBezTo>
                <a:cubicBezTo>
                  <a:pt x="1811" y="1048"/>
                  <a:pt x="1811" y="1048"/>
                  <a:pt x="1811" y="1048"/>
                </a:cubicBezTo>
                <a:cubicBezTo>
                  <a:pt x="1811" y="1048"/>
                  <a:pt x="1814" y="1045"/>
                  <a:pt x="1814" y="1043"/>
                </a:cubicBezTo>
                <a:cubicBezTo>
                  <a:pt x="1814" y="1042"/>
                  <a:pt x="1814" y="1039"/>
                  <a:pt x="1814" y="1039"/>
                </a:cubicBezTo>
                <a:cubicBezTo>
                  <a:pt x="1812" y="1039"/>
                  <a:pt x="1812" y="1039"/>
                  <a:pt x="1812" y="1039"/>
                </a:cubicBezTo>
                <a:cubicBezTo>
                  <a:pt x="1812" y="1031"/>
                  <a:pt x="1812" y="1031"/>
                  <a:pt x="1812" y="1031"/>
                </a:cubicBezTo>
                <a:cubicBezTo>
                  <a:pt x="1810" y="1029"/>
                  <a:pt x="1810" y="1029"/>
                  <a:pt x="1810" y="1029"/>
                </a:cubicBezTo>
                <a:cubicBezTo>
                  <a:pt x="1813" y="1028"/>
                  <a:pt x="1813" y="1028"/>
                  <a:pt x="1813" y="1028"/>
                </a:cubicBezTo>
                <a:cubicBezTo>
                  <a:pt x="1811" y="1021"/>
                  <a:pt x="1811" y="1021"/>
                  <a:pt x="1811" y="1021"/>
                </a:cubicBezTo>
                <a:cubicBezTo>
                  <a:pt x="1813" y="1017"/>
                  <a:pt x="1813" y="1017"/>
                  <a:pt x="1813" y="1017"/>
                </a:cubicBezTo>
                <a:cubicBezTo>
                  <a:pt x="1811" y="1012"/>
                  <a:pt x="1811" y="1012"/>
                  <a:pt x="1811" y="1012"/>
                </a:cubicBezTo>
                <a:cubicBezTo>
                  <a:pt x="1811" y="1012"/>
                  <a:pt x="1813" y="1000"/>
                  <a:pt x="1813" y="998"/>
                </a:cubicBezTo>
                <a:cubicBezTo>
                  <a:pt x="1813" y="996"/>
                  <a:pt x="1812" y="995"/>
                  <a:pt x="1812" y="995"/>
                </a:cubicBezTo>
                <a:cubicBezTo>
                  <a:pt x="1812" y="995"/>
                  <a:pt x="1812" y="995"/>
                  <a:pt x="1812" y="995"/>
                </a:cubicBezTo>
                <a:cubicBezTo>
                  <a:pt x="1811" y="993"/>
                  <a:pt x="1811" y="993"/>
                  <a:pt x="1811" y="993"/>
                </a:cubicBezTo>
                <a:cubicBezTo>
                  <a:pt x="1811" y="993"/>
                  <a:pt x="1805" y="992"/>
                  <a:pt x="1805" y="989"/>
                </a:cubicBezTo>
                <a:cubicBezTo>
                  <a:pt x="1804" y="987"/>
                  <a:pt x="1804" y="980"/>
                  <a:pt x="1804" y="980"/>
                </a:cubicBezTo>
                <a:cubicBezTo>
                  <a:pt x="1801" y="974"/>
                  <a:pt x="1801" y="974"/>
                  <a:pt x="1801" y="974"/>
                </a:cubicBezTo>
                <a:cubicBezTo>
                  <a:pt x="1803" y="967"/>
                  <a:pt x="1803" y="967"/>
                  <a:pt x="1803" y="967"/>
                </a:cubicBezTo>
                <a:cubicBezTo>
                  <a:pt x="1800" y="965"/>
                  <a:pt x="1800" y="965"/>
                  <a:pt x="1800" y="965"/>
                </a:cubicBezTo>
                <a:cubicBezTo>
                  <a:pt x="1800" y="965"/>
                  <a:pt x="1804" y="957"/>
                  <a:pt x="1803" y="956"/>
                </a:cubicBezTo>
                <a:cubicBezTo>
                  <a:pt x="1802" y="954"/>
                  <a:pt x="1797" y="952"/>
                  <a:pt x="1796" y="950"/>
                </a:cubicBezTo>
                <a:cubicBezTo>
                  <a:pt x="1795" y="947"/>
                  <a:pt x="1799" y="939"/>
                  <a:pt x="1799" y="938"/>
                </a:cubicBezTo>
                <a:cubicBezTo>
                  <a:pt x="1799" y="936"/>
                  <a:pt x="1800" y="932"/>
                  <a:pt x="1800" y="931"/>
                </a:cubicBezTo>
                <a:cubicBezTo>
                  <a:pt x="1800" y="930"/>
                  <a:pt x="1800" y="930"/>
                  <a:pt x="1800" y="930"/>
                </a:cubicBezTo>
                <a:cubicBezTo>
                  <a:pt x="1803" y="930"/>
                  <a:pt x="1803" y="930"/>
                  <a:pt x="1803" y="930"/>
                </a:cubicBezTo>
                <a:cubicBezTo>
                  <a:pt x="1807" y="921"/>
                  <a:pt x="1807" y="921"/>
                  <a:pt x="1807" y="921"/>
                </a:cubicBezTo>
                <a:cubicBezTo>
                  <a:pt x="1807" y="921"/>
                  <a:pt x="1807" y="918"/>
                  <a:pt x="1807" y="916"/>
                </a:cubicBezTo>
                <a:cubicBezTo>
                  <a:pt x="1807" y="915"/>
                  <a:pt x="1811" y="915"/>
                  <a:pt x="1811" y="913"/>
                </a:cubicBezTo>
                <a:cubicBezTo>
                  <a:pt x="1811" y="911"/>
                  <a:pt x="1809" y="908"/>
                  <a:pt x="1811" y="907"/>
                </a:cubicBezTo>
                <a:cubicBezTo>
                  <a:pt x="1813" y="907"/>
                  <a:pt x="1816" y="905"/>
                  <a:pt x="1816" y="905"/>
                </a:cubicBezTo>
                <a:cubicBezTo>
                  <a:pt x="1817" y="900"/>
                  <a:pt x="1817" y="900"/>
                  <a:pt x="1817" y="900"/>
                </a:cubicBezTo>
                <a:cubicBezTo>
                  <a:pt x="1817" y="900"/>
                  <a:pt x="1822" y="901"/>
                  <a:pt x="1824" y="898"/>
                </a:cubicBezTo>
                <a:cubicBezTo>
                  <a:pt x="1824" y="897"/>
                  <a:pt x="1824" y="897"/>
                  <a:pt x="1824" y="896"/>
                </a:cubicBezTo>
                <a:cubicBezTo>
                  <a:pt x="1824" y="896"/>
                  <a:pt x="1824" y="897"/>
                  <a:pt x="1824" y="897"/>
                </a:cubicBezTo>
                <a:cubicBezTo>
                  <a:pt x="1826" y="893"/>
                  <a:pt x="1829" y="886"/>
                  <a:pt x="1831" y="884"/>
                </a:cubicBezTo>
                <a:cubicBezTo>
                  <a:pt x="1832" y="882"/>
                  <a:pt x="1839" y="879"/>
                  <a:pt x="1839" y="876"/>
                </a:cubicBezTo>
                <a:cubicBezTo>
                  <a:pt x="1840" y="873"/>
                  <a:pt x="1849" y="865"/>
                  <a:pt x="1851" y="862"/>
                </a:cubicBezTo>
                <a:cubicBezTo>
                  <a:pt x="1854" y="859"/>
                  <a:pt x="1861" y="855"/>
                  <a:pt x="1862" y="854"/>
                </a:cubicBezTo>
                <a:cubicBezTo>
                  <a:pt x="1864" y="853"/>
                  <a:pt x="1876" y="843"/>
                  <a:pt x="1877" y="841"/>
                </a:cubicBezTo>
                <a:cubicBezTo>
                  <a:pt x="1879" y="839"/>
                  <a:pt x="1888" y="829"/>
                  <a:pt x="1889" y="826"/>
                </a:cubicBezTo>
                <a:cubicBezTo>
                  <a:pt x="1889" y="823"/>
                  <a:pt x="1895" y="813"/>
                  <a:pt x="1896" y="812"/>
                </a:cubicBezTo>
                <a:cubicBezTo>
                  <a:pt x="1897" y="811"/>
                  <a:pt x="1899" y="808"/>
                  <a:pt x="1899" y="807"/>
                </a:cubicBezTo>
                <a:cubicBezTo>
                  <a:pt x="1899" y="805"/>
                  <a:pt x="1900" y="799"/>
                  <a:pt x="1902" y="797"/>
                </a:cubicBezTo>
                <a:cubicBezTo>
                  <a:pt x="1903" y="795"/>
                  <a:pt x="1906" y="793"/>
                  <a:pt x="1906" y="790"/>
                </a:cubicBezTo>
                <a:cubicBezTo>
                  <a:pt x="1906" y="787"/>
                  <a:pt x="1908" y="785"/>
                  <a:pt x="1908" y="785"/>
                </a:cubicBezTo>
                <a:cubicBezTo>
                  <a:pt x="1911" y="777"/>
                  <a:pt x="1911" y="777"/>
                  <a:pt x="1911" y="777"/>
                </a:cubicBezTo>
                <a:cubicBezTo>
                  <a:pt x="1911" y="777"/>
                  <a:pt x="1914" y="778"/>
                  <a:pt x="1914" y="773"/>
                </a:cubicBezTo>
                <a:cubicBezTo>
                  <a:pt x="1914" y="767"/>
                  <a:pt x="1914" y="762"/>
                  <a:pt x="1914" y="762"/>
                </a:cubicBezTo>
                <a:cubicBezTo>
                  <a:pt x="1917" y="760"/>
                  <a:pt x="1917" y="760"/>
                  <a:pt x="1917" y="760"/>
                </a:cubicBezTo>
                <a:cubicBezTo>
                  <a:pt x="1916" y="750"/>
                  <a:pt x="1916" y="750"/>
                  <a:pt x="1916" y="750"/>
                </a:cubicBezTo>
                <a:cubicBezTo>
                  <a:pt x="1916" y="750"/>
                  <a:pt x="1919" y="745"/>
                  <a:pt x="1918" y="744"/>
                </a:cubicBezTo>
                <a:cubicBezTo>
                  <a:pt x="1916" y="743"/>
                  <a:pt x="1912" y="742"/>
                  <a:pt x="1912" y="742"/>
                </a:cubicBezTo>
                <a:cubicBezTo>
                  <a:pt x="1912" y="742"/>
                  <a:pt x="1910" y="745"/>
                  <a:pt x="1909" y="746"/>
                </a:cubicBezTo>
                <a:cubicBezTo>
                  <a:pt x="1907" y="748"/>
                  <a:pt x="1900" y="750"/>
                  <a:pt x="1898" y="750"/>
                </a:cubicBezTo>
                <a:cubicBezTo>
                  <a:pt x="1897" y="750"/>
                  <a:pt x="1893" y="749"/>
                  <a:pt x="1891" y="749"/>
                </a:cubicBezTo>
                <a:cubicBezTo>
                  <a:pt x="1889" y="750"/>
                  <a:pt x="1886" y="753"/>
                  <a:pt x="1885" y="753"/>
                </a:cubicBezTo>
                <a:cubicBezTo>
                  <a:pt x="1884" y="753"/>
                  <a:pt x="1882" y="751"/>
                  <a:pt x="1880" y="751"/>
                </a:cubicBezTo>
                <a:cubicBezTo>
                  <a:pt x="1879" y="751"/>
                  <a:pt x="1873" y="757"/>
                  <a:pt x="1871" y="757"/>
                </a:cubicBezTo>
                <a:cubicBezTo>
                  <a:pt x="1869" y="758"/>
                  <a:pt x="1868" y="754"/>
                  <a:pt x="1865" y="755"/>
                </a:cubicBezTo>
                <a:cubicBezTo>
                  <a:pt x="1862" y="756"/>
                  <a:pt x="1858" y="759"/>
                  <a:pt x="1856" y="760"/>
                </a:cubicBezTo>
                <a:cubicBezTo>
                  <a:pt x="1855" y="760"/>
                  <a:pt x="1848" y="760"/>
                  <a:pt x="1848" y="760"/>
                </a:cubicBezTo>
                <a:cubicBezTo>
                  <a:pt x="1848" y="760"/>
                  <a:pt x="1842" y="754"/>
                  <a:pt x="1842" y="752"/>
                </a:cubicBezTo>
                <a:cubicBezTo>
                  <a:pt x="1842" y="750"/>
                  <a:pt x="1840" y="750"/>
                  <a:pt x="1839" y="749"/>
                </a:cubicBezTo>
                <a:cubicBezTo>
                  <a:pt x="1839" y="749"/>
                  <a:pt x="1839" y="749"/>
                  <a:pt x="1839" y="749"/>
                </a:cubicBezTo>
                <a:cubicBezTo>
                  <a:pt x="1838" y="747"/>
                  <a:pt x="1838" y="747"/>
                  <a:pt x="1838" y="747"/>
                </a:cubicBezTo>
                <a:cubicBezTo>
                  <a:pt x="1833" y="748"/>
                  <a:pt x="1833" y="748"/>
                  <a:pt x="1833" y="748"/>
                </a:cubicBezTo>
                <a:cubicBezTo>
                  <a:pt x="1833" y="748"/>
                  <a:pt x="1841" y="741"/>
                  <a:pt x="1839" y="738"/>
                </a:cubicBezTo>
                <a:cubicBezTo>
                  <a:pt x="1839" y="737"/>
                  <a:pt x="1838" y="736"/>
                  <a:pt x="1837" y="735"/>
                </a:cubicBezTo>
                <a:cubicBezTo>
                  <a:pt x="1835" y="732"/>
                  <a:pt x="1833" y="731"/>
                  <a:pt x="1833" y="731"/>
                </a:cubicBezTo>
                <a:cubicBezTo>
                  <a:pt x="1833" y="731"/>
                  <a:pt x="1830" y="731"/>
                  <a:pt x="1829" y="730"/>
                </a:cubicBezTo>
                <a:cubicBezTo>
                  <a:pt x="1829" y="728"/>
                  <a:pt x="1829" y="725"/>
                  <a:pt x="1829" y="725"/>
                </a:cubicBezTo>
                <a:cubicBezTo>
                  <a:pt x="1829" y="725"/>
                  <a:pt x="1821" y="722"/>
                  <a:pt x="1820" y="720"/>
                </a:cubicBezTo>
                <a:cubicBezTo>
                  <a:pt x="1820" y="718"/>
                  <a:pt x="1820" y="713"/>
                  <a:pt x="1818" y="712"/>
                </a:cubicBezTo>
                <a:cubicBezTo>
                  <a:pt x="1817" y="712"/>
                  <a:pt x="1813" y="712"/>
                  <a:pt x="1812" y="712"/>
                </a:cubicBezTo>
                <a:cubicBezTo>
                  <a:pt x="1812" y="711"/>
                  <a:pt x="1809" y="708"/>
                  <a:pt x="1809" y="708"/>
                </a:cubicBezTo>
                <a:cubicBezTo>
                  <a:pt x="1807" y="709"/>
                  <a:pt x="1807" y="709"/>
                  <a:pt x="1807" y="709"/>
                </a:cubicBezTo>
                <a:cubicBezTo>
                  <a:pt x="1805" y="706"/>
                  <a:pt x="1805" y="706"/>
                  <a:pt x="1805" y="706"/>
                </a:cubicBezTo>
                <a:cubicBezTo>
                  <a:pt x="1803" y="706"/>
                  <a:pt x="1803" y="706"/>
                  <a:pt x="1803" y="706"/>
                </a:cubicBezTo>
                <a:cubicBezTo>
                  <a:pt x="1803" y="706"/>
                  <a:pt x="1798" y="701"/>
                  <a:pt x="1798" y="699"/>
                </a:cubicBezTo>
                <a:cubicBezTo>
                  <a:pt x="1797" y="696"/>
                  <a:pt x="1798" y="692"/>
                  <a:pt x="1797" y="687"/>
                </a:cubicBezTo>
                <a:cubicBezTo>
                  <a:pt x="1795" y="683"/>
                  <a:pt x="1791" y="675"/>
                  <a:pt x="1791" y="675"/>
                </a:cubicBezTo>
                <a:cubicBezTo>
                  <a:pt x="1790" y="674"/>
                  <a:pt x="1790" y="674"/>
                  <a:pt x="1790" y="674"/>
                </a:cubicBezTo>
                <a:cubicBezTo>
                  <a:pt x="1785" y="671"/>
                  <a:pt x="1785" y="671"/>
                  <a:pt x="1785" y="671"/>
                </a:cubicBezTo>
                <a:cubicBezTo>
                  <a:pt x="1785" y="671"/>
                  <a:pt x="1784" y="668"/>
                  <a:pt x="1783" y="667"/>
                </a:cubicBezTo>
                <a:cubicBezTo>
                  <a:pt x="1782" y="666"/>
                  <a:pt x="1779" y="668"/>
                  <a:pt x="1778" y="666"/>
                </a:cubicBezTo>
                <a:cubicBezTo>
                  <a:pt x="1777" y="663"/>
                  <a:pt x="1777" y="655"/>
                  <a:pt x="1777" y="655"/>
                </a:cubicBezTo>
                <a:cubicBezTo>
                  <a:pt x="1775" y="654"/>
                  <a:pt x="1775" y="654"/>
                  <a:pt x="1775" y="654"/>
                </a:cubicBezTo>
                <a:cubicBezTo>
                  <a:pt x="1775" y="654"/>
                  <a:pt x="1775" y="645"/>
                  <a:pt x="1775" y="644"/>
                </a:cubicBezTo>
                <a:cubicBezTo>
                  <a:pt x="1775" y="643"/>
                  <a:pt x="1774" y="641"/>
                  <a:pt x="1774" y="641"/>
                </a:cubicBezTo>
                <a:cubicBezTo>
                  <a:pt x="1776" y="640"/>
                  <a:pt x="1776" y="640"/>
                  <a:pt x="1776" y="640"/>
                </a:cubicBezTo>
                <a:cubicBezTo>
                  <a:pt x="1776" y="640"/>
                  <a:pt x="1773" y="637"/>
                  <a:pt x="1772" y="635"/>
                </a:cubicBezTo>
                <a:cubicBezTo>
                  <a:pt x="1772" y="633"/>
                  <a:pt x="1774" y="630"/>
                  <a:pt x="1772" y="629"/>
                </a:cubicBezTo>
                <a:cubicBezTo>
                  <a:pt x="1770" y="628"/>
                  <a:pt x="1768" y="626"/>
                  <a:pt x="1768" y="626"/>
                </a:cubicBezTo>
                <a:cubicBezTo>
                  <a:pt x="1768" y="626"/>
                  <a:pt x="1766" y="623"/>
                  <a:pt x="1765" y="623"/>
                </a:cubicBezTo>
                <a:cubicBezTo>
                  <a:pt x="1764" y="622"/>
                  <a:pt x="1764" y="623"/>
                  <a:pt x="1763" y="622"/>
                </a:cubicBezTo>
                <a:cubicBezTo>
                  <a:pt x="1762" y="622"/>
                  <a:pt x="1761" y="620"/>
                  <a:pt x="1759" y="618"/>
                </a:cubicBezTo>
                <a:cubicBezTo>
                  <a:pt x="1759" y="617"/>
                  <a:pt x="1758" y="615"/>
                  <a:pt x="1758" y="614"/>
                </a:cubicBezTo>
                <a:cubicBezTo>
                  <a:pt x="1758" y="611"/>
                  <a:pt x="1758" y="608"/>
                  <a:pt x="1758" y="608"/>
                </a:cubicBezTo>
                <a:cubicBezTo>
                  <a:pt x="1761" y="608"/>
                  <a:pt x="1761" y="608"/>
                  <a:pt x="1761" y="608"/>
                </a:cubicBezTo>
                <a:cubicBezTo>
                  <a:pt x="1761" y="608"/>
                  <a:pt x="1755" y="604"/>
                  <a:pt x="1752" y="598"/>
                </a:cubicBezTo>
                <a:cubicBezTo>
                  <a:pt x="1749" y="592"/>
                  <a:pt x="1750" y="589"/>
                  <a:pt x="1748" y="587"/>
                </a:cubicBezTo>
                <a:cubicBezTo>
                  <a:pt x="1746" y="585"/>
                  <a:pt x="1745" y="584"/>
                  <a:pt x="1743" y="581"/>
                </a:cubicBezTo>
                <a:cubicBezTo>
                  <a:pt x="1742" y="578"/>
                  <a:pt x="1742" y="574"/>
                  <a:pt x="1742" y="574"/>
                </a:cubicBezTo>
                <a:cubicBezTo>
                  <a:pt x="1736" y="568"/>
                  <a:pt x="1736" y="568"/>
                  <a:pt x="1736" y="568"/>
                </a:cubicBezTo>
                <a:cubicBezTo>
                  <a:pt x="1736" y="568"/>
                  <a:pt x="1737" y="566"/>
                  <a:pt x="1736" y="564"/>
                </a:cubicBezTo>
                <a:cubicBezTo>
                  <a:pt x="1735" y="561"/>
                  <a:pt x="1729" y="557"/>
                  <a:pt x="1729" y="555"/>
                </a:cubicBezTo>
                <a:cubicBezTo>
                  <a:pt x="1728" y="553"/>
                  <a:pt x="1727" y="552"/>
                  <a:pt x="1727" y="552"/>
                </a:cubicBezTo>
                <a:cubicBezTo>
                  <a:pt x="1727" y="552"/>
                  <a:pt x="1728" y="550"/>
                  <a:pt x="1727" y="547"/>
                </a:cubicBezTo>
                <a:cubicBezTo>
                  <a:pt x="1725" y="545"/>
                  <a:pt x="1723" y="545"/>
                  <a:pt x="1723" y="545"/>
                </a:cubicBezTo>
                <a:cubicBezTo>
                  <a:pt x="1725" y="542"/>
                  <a:pt x="1725" y="542"/>
                  <a:pt x="1725" y="542"/>
                </a:cubicBezTo>
                <a:cubicBezTo>
                  <a:pt x="1728" y="544"/>
                  <a:pt x="1728" y="544"/>
                  <a:pt x="1728" y="544"/>
                </a:cubicBezTo>
                <a:cubicBezTo>
                  <a:pt x="1728" y="544"/>
                  <a:pt x="1727" y="547"/>
                  <a:pt x="1729" y="548"/>
                </a:cubicBezTo>
                <a:cubicBezTo>
                  <a:pt x="1731" y="550"/>
                  <a:pt x="1732" y="551"/>
                  <a:pt x="1732" y="551"/>
                </a:cubicBezTo>
                <a:cubicBezTo>
                  <a:pt x="1732" y="555"/>
                  <a:pt x="1732" y="555"/>
                  <a:pt x="1732" y="555"/>
                </a:cubicBezTo>
                <a:cubicBezTo>
                  <a:pt x="1732" y="555"/>
                  <a:pt x="1739" y="566"/>
                  <a:pt x="1741" y="564"/>
                </a:cubicBezTo>
                <a:cubicBezTo>
                  <a:pt x="1744" y="563"/>
                  <a:pt x="1745" y="562"/>
                  <a:pt x="1745" y="562"/>
                </a:cubicBezTo>
                <a:cubicBezTo>
                  <a:pt x="1744" y="559"/>
                  <a:pt x="1744" y="559"/>
                  <a:pt x="1744" y="559"/>
                </a:cubicBezTo>
                <a:cubicBezTo>
                  <a:pt x="1744" y="559"/>
                  <a:pt x="1746" y="554"/>
                  <a:pt x="1746" y="551"/>
                </a:cubicBezTo>
                <a:cubicBezTo>
                  <a:pt x="1746" y="548"/>
                  <a:pt x="1748" y="545"/>
                  <a:pt x="1748" y="545"/>
                </a:cubicBezTo>
                <a:cubicBezTo>
                  <a:pt x="1749" y="547"/>
                  <a:pt x="1749" y="547"/>
                  <a:pt x="1749" y="547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49" y="548"/>
                  <a:pt x="1749" y="549"/>
                  <a:pt x="1749" y="549"/>
                </a:cubicBezTo>
                <a:cubicBezTo>
                  <a:pt x="1749" y="549"/>
                  <a:pt x="1749" y="549"/>
                  <a:pt x="1749" y="549"/>
                </a:cubicBezTo>
                <a:cubicBezTo>
                  <a:pt x="1749" y="551"/>
                  <a:pt x="1746" y="565"/>
                  <a:pt x="1749" y="568"/>
                </a:cubicBezTo>
                <a:cubicBezTo>
                  <a:pt x="1751" y="570"/>
                  <a:pt x="1756" y="570"/>
                  <a:pt x="1757" y="573"/>
                </a:cubicBezTo>
                <a:cubicBezTo>
                  <a:pt x="1759" y="576"/>
                  <a:pt x="1762" y="583"/>
                  <a:pt x="1764" y="585"/>
                </a:cubicBezTo>
                <a:cubicBezTo>
                  <a:pt x="1766" y="587"/>
                  <a:pt x="1770" y="590"/>
                  <a:pt x="1771" y="593"/>
                </a:cubicBezTo>
                <a:cubicBezTo>
                  <a:pt x="1773" y="596"/>
                  <a:pt x="1774" y="604"/>
                  <a:pt x="1776" y="606"/>
                </a:cubicBezTo>
                <a:cubicBezTo>
                  <a:pt x="1779" y="609"/>
                  <a:pt x="1785" y="606"/>
                  <a:pt x="1788" y="610"/>
                </a:cubicBezTo>
                <a:cubicBezTo>
                  <a:pt x="1792" y="614"/>
                  <a:pt x="1795" y="627"/>
                  <a:pt x="1795" y="633"/>
                </a:cubicBezTo>
                <a:cubicBezTo>
                  <a:pt x="1795" y="639"/>
                  <a:pt x="1802" y="646"/>
                  <a:pt x="1802" y="646"/>
                </a:cubicBezTo>
                <a:cubicBezTo>
                  <a:pt x="1802" y="646"/>
                  <a:pt x="1807" y="646"/>
                  <a:pt x="1809" y="648"/>
                </a:cubicBezTo>
                <a:cubicBezTo>
                  <a:pt x="1811" y="649"/>
                  <a:pt x="1818" y="663"/>
                  <a:pt x="1821" y="668"/>
                </a:cubicBezTo>
                <a:cubicBezTo>
                  <a:pt x="1824" y="673"/>
                  <a:pt x="1834" y="685"/>
                  <a:pt x="1834" y="688"/>
                </a:cubicBezTo>
                <a:cubicBezTo>
                  <a:pt x="1834" y="690"/>
                  <a:pt x="1833" y="692"/>
                  <a:pt x="1833" y="694"/>
                </a:cubicBezTo>
                <a:cubicBezTo>
                  <a:pt x="1832" y="695"/>
                  <a:pt x="1832" y="697"/>
                  <a:pt x="1831" y="698"/>
                </a:cubicBezTo>
                <a:cubicBezTo>
                  <a:pt x="1831" y="700"/>
                  <a:pt x="1836" y="704"/>
                  <a:pt x="1836" y="704"/>
                </a:cubicBezTo>
                <a:cubicBezTo>
                  <a:pt x="1834" y="721"/>
                  <a:pt x="1834" y="721"/>
                  <a:pt x="1834" y="721"/>
                </a:cubicBezTo>
                <a:cubicBezTo>
                  <a:pt x="1839" y="725"/>
                  <a:pt x="1839" y="725"/>
                  <a:pt x="1839" y="725"/>
                </a:cubicBezTo>
                <a:cubicBezTo>
                  <a:pt x="1839" y="725"/>
                  <a:pt x="1840" y="731"/>
                  <a:pt x="1844" y="732"/>
                </a:cubicBezTo>
                <a:cubicBezTo>
                  <a:pt x="1848" y="733"/>
                  <a:pt x="1851" y="733"/>
                  <a:pt x="1853" y="731"/>
                </a:cubicBezTo>
                <a:cubicBezTo>
                  <a:pt x="1856" y="730"/>
                  <a:pt x="1857" y="724"/>
                  <a:pt x="1859" y="724"/>
                </a:cubicBezTo>
                <a:cubicBezTo>
                  <a:pt x="1861" y="724"/>
                  <a:pt x="1865" y="725"/>
                  <a:pt x="1869" y="725"/>
                </a:cubicBezTo>
                <a:cubicBezTo>
                  <a:pt x="1874" y="724"/>
                  <a:pt x="1879" y="723"/>
                  <a:pt x="1882" y="723"/>
                </a:cubicBezTo>
                <a:cubicBezTo>
                  <a:pt x="1885" y="723"/>
                  <a:pt x="1889" y="716"/>
                  <a:pt x="1892" y="715"/>
                </a:cubicBezTo>
                <a:cubicBezTo>
                  <a:pt x="1895" y="714"/>
                  <a:pt x="1897" y="710"/>
                  <a:pt x="1901" y="709"/>
                </a:cubicBezTo>
                <a:cubicBezTo>
                  <a:pt x="1905" y="707"/>
                  <a:pt x="1914" y="702"/>
                  <a:pt x="1914" y="702"/>
                </a:cubicBezTo>
                <a:cubicBezTo>
                  <a:pt x="1924" y="702"/>
                  <a:pt x="1924" y="702"/>
                  <a:pt x="1924" y="702"/>
                </a:cubicBezTo>
                <a:cubicBezTo>
                  <a:pt x="1924" y="702"/>
                  <a:pt x="1929" y="692"/>
                  <a:pt x="1931" y="690"/>
                </a:cubicBezTo>
                <a:cubicBezTo>
                  <a:pt x="1931" y="690"/>
                  <a:pt x="1932" y="690"/>
                  <a:pt x="1933" y="689"/>
                </a:cubicBezTo>
                <a:cubicBezTo>
                  <a:pt x="1939" y="687"/>
                  <a:pt x="1955" y="683"/>
                  <a:pt x="1956" y="682"/>
                </a:cubicBezTo>
                <a:cubicBezTo>
                  <a:pt x="1957" y="681"/>
                  <a:pt x="1957" y="674"/>
                  <a:pt x="1957" y="674"/>
                </a:cubicBezTo>
                <a:cubicBezTo>
                  <a:pt x="1957" y="674"/>
                  <a:pt x="1966" y="673"/>
                  <a:pt x="1968" y="671"/>
                </a:cubicBezTo>
                <a:cubicBezTo>
                  <a:pt x="1969" y="669"/>
                  <a:pt x="1969" y="665"/>
                  <a:pt x="1969" y="665"/>
                </a:cubicBezTo>
                <a:cubicBezTo>
                  <a:pt x="1969" y="665"/>
                  <a:pt x="1976" y="663"/>
                  <a:pt x="1978" y="660"/>
                </a:cubicBezTo>
                <a:cubicBezTo>
                  <a:pt x="1980" y="656"/>
                  <a:pt x="1979" y="648"/>
                  <a:pt x="1981" y="648"/>
                </a:cubicBezTo>
                <a:cubicBezTo>
                  <a:pt x="1983" y="648"/>
                  <a:pt x="1985" y="650"/>
                  <a:pt x="1987" y="648"/>
                </a:cubicBezTo>
                <a:cubicBezTo>
                  <a:pt x="1989" y="646"/>
                  <a:pt x="1988" y="642"/>
                  <a:pt x="1988" y="642"/>
                </a:cubicBezTo>
                <a:cubicBezTo>
                  <a:pt x="1996" y="635"/>
                  <a:pt x="1996" y="635"/>
                  <a:pt x="1996" y="635"/>
                </a:cubicBezTo>
                <a:cubicBezTo>
                  <a:pt x="1996" y="635"/>
                  <a:pt x="1998" y="626"/>
                  <a:pt x="1997" y="624"/>
                </a:cubicBezTo>
                <a:cubicBezTo>
                  <a:pt x="1996" y="622"/>
                  <a:pt x="1993" y="623"/>
                  <a:pt x="1993" y="623"/>
                </a:cubicBezTo>
                <a:cubicBezTo>
                  <a:pt x="1993" y="623"/>
                  <a:pt x="1988" y="614"/>
                  <a:pt x="1985" y="612"/>
                </a:cubicBezTo>
                <a:cubicBezTo>
                  <a:pt x="1982" y="609"/>
                  <a:pt x="1971" y="607"/>
                  <a:pt x="1971" y="607"/>
                </a:cubicBezTo>
                <a:cubicBezTo>
                  <a:pt x="1971" y="607"/>
                  <a:pt x="1962" y="604"/>
                  <a:pt x="1962" y="601"/>
                </a:cubicBezTo>
                <a:cubicBezTo>
                  <a:pt x="1961" y="600"/>
                  <a:pt x="1961" y="599"/>
                  <a:pt x="1960" y="597"/>
                </a:cubicBezTo>
                <a:cubicBezTo>
                  <a:pt x="1959" y="595"/>
                  <a:pt x="1958" y="592"/>
                  <a:pt x="1958" y="589"/>
                </a:cubicBezTo>
                <a:cubicBezTo>
                  <a:pt x="1959" y="586"/>
                  <a:pt x="1960" y="580"/>
                  <a:pt x="1958" y="579"/>
                </a:cubicBezTo>
                <a:cubicBezTo>
                  <a:pt x="1957" y="578"/>
                  <a:pt x="1952" y="589"/>
                  <a:pt x="1952" y="589"/>
                </a:cubicBezTo>
                <a:cubicBezTo>
                  <a:pt x="1952" y="589"/>
                  <a:pt x="1949" y="590"/>
                  <a:pt x="1948" y="591"/>
                </a:cubicBezTo>
                <a:cubicBezTo>
                  <a:pt x="1947" y="593"/>
                  <a:pt x="1941" y="600"/>
                  <a:pt x="1941" y="600"/>
                </a:cubicBezTo>
                <a:cubicBezTo>
                  <a:pt x="1941" y="600"/>
                  <a:pt x="1941" y="606"/>
                  <a:pt x="1939" y="606"/>
                </a:cubicBezTo>
                <a:cubicBezTo>
                  <a:pt x="1937" y="606"/>
                  <a:pt x="1928" y="605"/>
                  <a:pt x="1926" y="605"/>
                </a:cubicBezTo>
                <a:cubicBezTo>
                  <a:pt x="1925" y="605"/>
                  <a:pt x="1918" y="609"/>
                  <a:pt x="1917" y="608"/>
                </a:cubicBezTo>
                <a:cubicBezTo>
                  <a:pt x="1916" y="607"/>
                  <a:pt x="1914" y="606"/>
                  <a:pt x="1913" y="605"/>
                </a:cubicBezTo>
                <a:cubicBezTo>
                  <a:pt x="1913" y="605"/>
                  <a:pt x="1913" y="605"/>
                  <a:pt x="1913" y="605"/>
                </a:cubicBezTo>
                <a:cubicBezTo>
                  <a:pt x="1913" y="604"/>
                  <a:pt x="1912" y="603"/>
                  <a:pt x="1912" y="602"/>
                </a:cubicBezTo>
                <a:cubicBezTo>
                  <a:pt x="1912" y="602"/>
                  <a:pt x="1912" y="602"/>
                  <a:pt x="1912" y="602"/>
                </a:cubicBezTo>
                <a:cubicBezTo>
                  <a:pt x="1913" y="600"/>
                  <a:pt x="1916" y="594"/>
                  <a:pt x="1916" y="589"/>
                </a:cubicBezTo>
                <a:cubicBezTo>
                  <a:pt x="1915" y="585"/>
                  <a:pt x="1912" y="582"/>
                  <a:pt x="1911" y="582"/>
                </a:cubicBezTo>
                <a:cubicBezTo>
                  <a:pt x="1908" y="583"/>
                  <a:pt x="1908" y="588"/>
                  <a:pt x="1908" y="592"/>
                </a:cubicBezTo>
                <a:cubicBezTo>
                  <a:pt x="1908" y="595"/>
                  <a:pt x="1908" y="599"/>
                  <a:pt x="1906" y="599"/>
                </a:cubicBezTo>
                <a:cubicBezTo>
                  <a:pt x="1906" y="599"/>
                  <a:pt x="1906" y="599"/>
                  <a:pt x="1906" y="599"/>
                </a:cubicBezTo>
                <a:cubicBezTo>
                  <a:pt x="1904" y="599"/>
                  <a:pt x="1903" y="591"/>
                  <a:pt x="1902" y="590"/>
                </a:cubicBezTo>
                <a:cubicBezTo>
                  <a:pt x="1901" y="588"/>
                  <a:pt x="1897" y="588"/>
                  <a:pt x="1897" y="585"/>
                </a:cubicBezTo>
                <a:cubicBezTo>
                  <a:pt x="1896" y="582"/>
                  <a:pt x="1897" y="577"/>
                  <a:pt x="1894" y="575"/>
                </a:cubicBezTo>
                <a:cubicBezTo>
                  <a:pt x="1891" y="573"/>
                  <a:pt x="1887" y="573"/>
                  <a:pt x="1886" y="571"/>
                </a:cubicBezTo>
                <a:cubicBezTo>
                  <a:pt x="1885" y="568"/>
                  <a:pt x="1886" y="565"/>
                  <a:pt x="1885" y="565"/>
                </a:cubicBezTo>
                <a:cubicBezTo>
                  <a:pt x="1884" y="564"/>
                  <a:pt x="1881" y="561"/>
                  <a:pt x="1881" y="561"/>
                </a:cubicBezTo>
                <a:cubicBezTo>
                  <a:pt x="1881" y="558"/>
                  <a:pt x="1881" y="558"/>
                  <a:pt x="1881" y="558"/>
                </a:cubicBezTo>
                <a:cubicBezTo>
                  <a:pt x="1881" y="558"/>
                  <a:pt x="1880" y="557"/>
                  <a:pt x="1879" y="556"/>
                </a:cubicBezTo>
                <a:cubicBezTo>
                  <a:pt x="1877" y="555"/>
                  <a:pt x="1874" y="552"/>
                  <a:pt x="1874" y="549"/>
                </a:cubicBezTo>
                <a:cubicBezTo>
                  <a:pt x="1874" y="549"/>
                  <a:pt x="1874" y="549"/>
                  <a:pt x="1874" y="549"/>
                </a:cubicBezTo>
                <a:cubicBezTo>
                  <a:pt x="1872" y="548"/>
                  <a:pt x="1872" y="548"/>
                  <a:pt x="1872" y="548"/>
                </a:cubicBezTo>
                <a:cubicBezTo>
                  <a:pt x="1872" y="545"/>
                  <a:pt x="1872" y="545"/>
                  <a:pt x="1872" y="545"/>
                </a:cubicBezTo>
                <a:cubicBezTo>
                  <a:pt x="1872" y="545"/>
                  <a:pt x="1875" y="545"/>
                  <a:pt x="1876" y="545"/>
                </a:cubicBezTo>
                <a:cubicBezTo>
                  <a:pt x="1877" y="545"/>
                  <a:pt x="1877" y="543"/>
                  <a:pt x="1877" y="543"/>
                </a:cubicBezTo>
                <a:cubicBezTo>
                  <a:pt x="1877" y="543"/>
                  <a:pt x="1877" y="541"/>
                  <a:pt x="1875" y="541"/>
                </a:cubicBezTo>
                <a:cubicBezTo>
                  <a:pt x="1873" y="541"/>
                  <a:pt x="1873" y="542"/>
                  <a:pt x="1873" y="542"/>
                </a:cubicBezTo>
                <a:cubicBezTo>
                  <a:pt x="1872" y="540"/>
                  <a:pt x="1872" y="540"/>
                  <a:pt x="1872" y="540"/>
                </a:cubicBezTo>
                <a:cubicBezTo>
                  <a:pt x="1873" y="541"/>
                  <a:pt x="1873" y="541"/>
                  <a:pt x="1873" y="541"/>
                </a:cubicBezTo>
                <a:cubicBezTo>
                  <a:pt x="1876" y="539"/>
                  <a:pt x="1876" y="539"/>
                  <a:pt x="1876" y="539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9" y="540"/>
                  <a:pt x="1881" y="541"/>
                  <a:pt x="1882" y="540"/>
                </a:cubicBezTo>
                <a:cubicBezTo>
                  <a:pt x="1883" y="539"/>
                  <a:pt x="1879" y="537"/>
                  <a:pt x="1882" y="535"/>
                </a:cubicBezTo>
                <a:cubicBezTo>
                  <a:pt x="1885" y="534"/>
                  <a:pt x="1885" y="538"/>
                  <a:pt x="1885" y="538"/>
                </a:cubicBezTo>
                <a:cubicBezTo>
                  <a:pt x="1887" y="539"/>
                  <a:pt x="1887" y="539"/>
                  <a:pt x="1887" y="539"/>
                </a:cubicBezTo>
                <a:cubicBezTo>
                  <a:pt x="1887" y="539"/>
                  <a:pt x="1887" y="539"/>
                  <a:pt x="1888" y="539"/>
                </a:cubicBezTo>
                <a:cubicBezTo>
                  <a:pt x="1888" y="539"/>
                  <a:pt x="1889" y="539"/>
                  <a:pt x="1889" y="539"/>
                </a:cubicBezTo>
                <a:cubicBezTo>
                  <a:pt x="1889" y="539"/>
                  <a:pt x="1889" y="539"/>
                  <a:pt x="1889" y="538"/>
                </a:cubicBezTo>
                <a:cubicBezTo>
                  <a:pt x="1890" y="538"/>
                  <a:pt x="1892" y="537"/>
                  <a:pt x="1893" y="537"/>
                </a:cubicBezTo>
                <a:cubicBezTo>
                  <a:pt x="1893" y="538"/>
                  <a:pt x="1892" y="542"/>
                  <a:pt x="1894" y="543"/>
                </a:cubicBezTo>
                <a:cubicBezTo>
                  <a:pt x="1895" y="544"/>
                  <a:pt x="1898" y="546"/>
                  <a:pt x="1898" y="546"/>
                </a:cubicBezTo>
                <a:cubicBezTo>
                  <a:pt x="1898" y="546"/>
                  <a:pt x="1898" y="547"/>
                  <a:pt x="1898" y="548"/>
                </a:cubicBezTo>
                <a:cubicBezTo>
                  <a:pt x="1899" y="549"/>
                  <a:pt x="1900" y="550"/>
                  <a:pt x="1901" y="552"/>
                </a:cubicBezTo>
                <a:cubicBezTo>
                  <a:pt x="1901" y="552"/>
                  <a:pt x="1901" y="552"/>
                  <a:pt x="1901" y="552"/>
                </a:cubicBezTo>
                <a:cubicBezTo>
                  <a:pt x="1901" y="552"/>
                  <a:pt x="1902" y="553"/>
                  <a:pt x="1902" y="553"/>
                </a:cubicBezTo>
                <a:cubicBezTo>
                  <a:pt x="1904" y="555"/>
                  <a:pt x="1904" y="555"/>
                  <a:pt x="1904" y="555"/>
                </a:cubicBezTo>
                <a:cubicBezTo>
                  <a:pt x="1904" y="555"/>
                  <a:pt x="1904" y="560"/>
                  <a:pt x="1906" y="561"/>
                </a:cubicBezTo>
                <a:cubicBezTo>
                  <a:pt x="1908" y="561"/>
                  <a:pt x="1908" y="564"/>
                  <a:pt x="1908" y="564"/>
                </a:cubicBezTo>
                <a:cubicBezTo>
                  <a:pt x="1913" y="564"/>
                  <a:pt x="1913" y="564"/>
                  <a:pt x="1913" y="564"/>
                </a:cubicBezTo>
                <a:cubicBezTo>
                  <a:pt x="1916" y="567"/>
                  <a:pt x="1916" y="567"/>
                  <a:pt x="1916" y="567"/>
                </a:cubicBezTo>
                <a:cubicBezTo>
                  <a:pt x="1917" y="567"/>
                  <a:pt x="1919" y="566"/>
                  <a:pt x="1920" y="567"/>
                </a:cubicBezTo>
                <a:cubicBezTo>
                  <a:pt x="1922" y="568"/>
                  <a:pt x="1928" y="573"/>
                  <a:pt x="1933" y="577"/>
                </a:cubicBezTo>
                <a:cubicBezTo>
                  <a:pt x="1933" y="577"/>
                  <a:pt x="1933" y="577"/>
                  <a:pt x="1934" y="577"/>
                </a:cubicBezTo>
                <a:cubicBezTo>
                  <a:pt x="1935" y="577"/>
                  <a:pt x="1937" y="577"/>
                  <a:pt x="1937" y="577"/>
                </a:cubicBezTo>
                <a:cubicBezTo>
                  <a:pt x="1937" y="577"/>
                  <a:pt x="1938" y="580"/>
                  <a:pt x="1941" y="579"/>
                </a:cubicBezTo>
                <a:cubicBezTo>
                  <a:pt x="1944" y="578"/>
                  <a:pt x="1945" y="577"/>
                  <a:pt x="1945" y="577"/>
                </a:cubicBezTo>
                <a:cubicBezTo>
                  <a:pt x="1948" y="577"/>
                  <a:pt x="1948" y="577"/>
                  <a:pt x="1948" y="577"/>
                </a:cubicBezTo>
                <a:cubicBezTo>
                  <a:pt x="1950" y="574"/>
                  <a:pt x="1950" y="574"/>
                  <a:pt x="1950" y="574"/>
                </a:cubicBezTo>
                <a:cubicBezTo>
                  <a:pt x="1953" y="574"/>
                  <a:pt x="1953" y="574"/>
                  <a:pt x="1953" y="574"/>
                </a:cubicBezTo>
                <a:cubicBezTo>
                  <a:pt x="1956" y="571"/>
                  <a:pt x="1956" y="571"/>
                  <a:pt x="1956" y="571"/>
                </a:cubicBezTo>
                <a:cubicBezTo>
                  <a:pt x="1957" y="572"/>
                  <a:pt x="1957" y="572"/>
                  <a:pt x="1957" y="572"/>
                </a:cubicBezTo>
                <a:cubicBezTo>
                  <a:pt x="1959" y="572"/>
                  <a:pt x="1960" y="572"/>
                  <a:pt x="1961" y="573"/>
                </a:cubicBezTo>
                <a:cubicBezTo>
                  <a:pt x="1963" y="575"/>
                  <a:pt x="1966" y="580"/>
                  <a:pt x="1967" y="583"/>
                </a:cubicBezTo>
                <a:cubicBezTo>
                  <a:pt x="1967" y="587"/>
                  <a:pt x="1973" y="587"/>
                  <a:pt x="1973" y="587"/>
                </a:cubicBezTo>
                <a:cubicBezTo>
                  <a:pt x="1973" y="587"/>
                  <a:pt x="1973" y="588"/>
                  <a:pt x="1976" y="589"/>
                </a:cubicBezTo>
                <a:cubicBezTo>
                  <a:pt x="1978" y="590"/>
                  <a:pt x="1985" y="589"/>
                  <a:pt x="1985" y="589"/>
                </a:cubicBezTo>
                <a:cubicBezTo>
                  <a:pt x="1985" y="589"/>
                  <a:pt x="1990" y="593"/>
                  <a:pt x="1991" y="593"/>
                </a:cubicBezTo>
                <a:cubicBezTo>
                  <a:pt x="1992" y="593"/>
                  <a:pt x="1996" y="591"/>
                  <a:pt x="1996" y="591"/>
                </a:cubicBezTo>
                <a:cubicBezTo>
                  <a:pt x="1996" y="591"/>
                  <a:pt x="2002" y="595"/>
                  <a:pt x="2005" y="595"/>
                </a:cubicBezTo>
                <a:cubicBezTo>
                  <a:pt x="2007" y="595"/>
                  <a:pt x="2008" y="595"/>
                  <a:pt x="2009" y="594"/>
                </a:cubicBezTo>
                <a:cubicBezTo>
                  <a:pt x="2009" y="594"/>
                  <a:pt x="2009" y="594"/>
                  <a:pt x="2009" y="594"/>
                </a:cubicBezTo>
                <a:cubicBezTo>
                  <a:pt x="2011" y="593"/>
                  <a:pt x="2013" y="592"/>
                  <a:pt x="2013" y="592"/>
                </a:cubicBezTo>
                <a:cubicBezTo>
                  <a:pt x="2013" y="592"/>
                  <a:pt x="2017" y="594"/>
                  <a:pt x="2020" y="594"/>
                </a:cubicBezTo>
                <a:cubicBezTo>
                  <a:pt x="2022" y="594"/>
                  <a:pt x="2028" y="591"/>
                  <a:pt x="2028" y="591"/>
                </a:cubicBezTo>
                <a:cubicBezTo>
                  <a:pt x="2028" y="591"/>
                  <a:pt x="2031" y="592"/>
                  <a:pt x="2033" y="592"/>
                </a:cubicBezTo>
                <a:cubicBezTo>
                  <a:pt x="2035" y="591"/>
                  <a:pt x="2040" y="590"/>
                  <a:pt x="2040" y="590"/>
                </a:cubicBezTo>
                <a:cubicBezTo>
                  <a:pt x="2045" y="591"/>
                  <a:pt x="2045" y="591"/>
                  <a:pt x="2045" y="591"/>
                </a:cubicBezTo>
                <a:cubicBezTo>
                  <a:pt x="2045" y="591"/>
                  <a:pt x="2049" y="587"/>
                  <a:pt x="2052" y="589"/>
                </a:cubicBezTo>
                <a:cubicBezTo>
                  <a:pt x="2056" y="591"/>
                  <a:pt x="2056" y="599"/>
                  <a:pt x="2059" y="599"/>
                </a:cubicBezTo>
                <a:cubicBezTo>
                  <a:pt x="2062" y="600"/>
                  <a:pt x="2067" y="600"/>
                  <a:pt x="2069" y="602"/>
                </a:cubicBezTo>
                <a:cubicBezTo>
                  <a:pt x="2071" y="604"/>
                  <a:pt x="2072" y="608"/>
                  <a:pt x="2074" y="608"/>
                </a:cubicBezTo>
                <a:cubicBezTo>
                  <a:pt x="2075" y="608"/>
                  <a:pt x="2075" y="608"/>
                  <a:pt x="2076" y="608"/>
                </a:cubicBezTo>
                <a:cubicBezTo>
                  <a:pt x="2079" y="609"/>
                  <a:pt x="2081" y="609"/>
                  <a:pt x="2081" y="609"/>
                </a:cubicBezTo>
                <a:cubicBezTo>
                  <a:pt x="2081" y="609"/>
                  <a:pt x="2079" y="614"/>
                  <a:pt x="2082" y="615"/>
                </a:cubicBezTo>
                <a:cubicBezTo>
                  <a:pt x="2084" y="618"/>
                  <a:pt x="2091" y="618"/>
                  <a:pt x="2093" y="618"/>
                </a:cubicBezTo>
                <a:cubicBezTo>
                  <a:pt x="2094" y="617"/>
                  <a:pt x="2099" y="614"/>
                  <a:pt x="2099" y="614"/>
                </a:cubicBezTo>
                <a:cubicBezTo>
                  <a:pt x="2099" y="614"/>
                  <a:pt x="2101" y="616"/>
                  <a:pt x="2098" y="619"/>
                </a:cubicBezTo>
                <a:cubicBezTo>
                  <a:pt x="2096" y="621"/>
                  <a:pt x="2091" y="622"/>
                  <a:pt x="2091" y="622"/>
                </a:cubicBezTo>
                <a:cubicBezTo>
                  <a:pt x="2091" y="622"/>
                  <a:pt x="2083" y="623"/>
                  <a:pt x="2083" y="626"/>
                </a:cubicBezTo>
                <a:cubicBezTo>
                  <a:pt x="2082" y="628"/>
                  <a:pt x="2088" y="633"/>
                  <a:pt x="2091" y="635"/>
                </a:cubicBezTo>
                <a:cubicBezTo>
                  <a:pt x="2094" y="637"/>
                  <a:pt x="2098" y="643"/>
                  <a:pt x="2105" y="643"/>
                </a:cubicBezTo>
                <a:cubicBezTo>
                  <a:pt x="2111" y="644"/>
                  <a:pt x="2119" y="638"/>
                  <a:pt x="2118" y="634"/>
                </a:cubicBezTo>
                <a:cubicBezTo>
                  <a:pt x="2117" y="630"/>
                  <a:pt x="2120" y="627"/>
                  <a:pt x="2122" y="625"/>
                </a:cubicBezTo>
                <a:cubicBezTo>
                  <a:pt x="2124" y="623"/>
                  <a:pt x="2128" y="622"/>
                  <a:pt x="2126" y="626"/>
                </a:cubicBezTo>
                <a:cubicBezTo>
                  <a:pt x="2124" y="629"/>
                  <a:pt x="2119" y="632"/>
                  <a:pt x="2121" y="635"/>
                </a:cubicBezTo>
                <a:cubicBezTo>
                  <a:pt x="2122" y="638"/>
                  <a:pt x="2126" y="638"/>
                  <a:pt x="2126" y="641"/>
                </a:cubicBezTo>
                <a:cubicBezTo>
                  <a:pt x="2126" y="644"/>
                  <a:pt x="2125" y="647"/>
                  <a:pt x="2124" y="652"/>
                </a:cubicBezTo>
                <a:cubicBezTo>
                  <a:pt x="2122" y="657"/>
                  <a:pt x="2122" y="662"/>
                  <a:pt x="2124" y="668"/>
                </a:cubicBezTo>
                <a:cubicBezTo>
                  <a:pt x="2125" y="674"/>
                  <a:pt x="2128" y="684"/>
                  <a:pt x="2130" y="687"/>
                </a:cubicBezTo>
                <a:cubicBezTo>
                  <a:pt x="2133" y="691"/>
                  <a:pt x="2133" y="689"/>
                  <a:pt x="2132" y="694"/>
                </a:cubicBezTo>
                <a:cubicBezTo>
                  <a:pt x="2131" y="699"/>
                  <a:pt x="2139" y="700"/>
                  <a:pt x="2139" y="700"/>
                </a:cubicBezTo>
                <a:cubicBezTo>
                  <a:pt x="2139" y="700"/>
                  <a:pt x="2140" y="707"/>
                  <a:pt x="2142" y="709"/>
                </a:cubicBezTo>
                <a:cubicBezTo>
                  <a:pt x="2143" y="712"/>
                  <a:pt x="2147" y="714"/>
                  <a:pt x="2147" y="714"/>
                </a:cubicBezTo>
                <a:cubicBezTo>
                  <a:pt x="2147" y="714"/>
                  <a:pt x="2148" y="728"/>
                  <a:pt x="2150" y="734"/>
                </a:cubicBezTo>
                <a:cubicBezTo>
                  <a:pt x="2153" y="740"/>
                  <a:pt x="2160" y="749"/>
                  <a:pt x="2161" y="751"/>
                </a:cubicBezTo>
                <a:cubicBezTo>
                  <a:pt x="2162" y="754"/>
                  <a:pt x="2163" y="759"/>
                  <a:pt x="2163" y="762"/>
                </a:cubicBezTo>
                <a:cubicBezTo>
                  <a:pt x="2162" y="764"/>
                  <a:pt x="2176" y="786"/>
                  <a:pt x="2176" y="786"/>
                </a:cubicBezTo>
                <a:cubicBezTo>
                  <a:pt x="2176" y="786"/>
                  <a:pt x="2183" y="784"/>
                  <a:pt x="2185" y="782"/>
                </a:cubicBezTo>
                <a:cubicBezTo>
                  <a:pt x="2186" y="780"/>
                  <a:pt x="2184" y="776"/>
                  <a:pt x="2186" y="774"/>
                </a:cubicBezTo>
                <a:cubicBezTo>
                  <a:pt x="2188" y="773"/>
                  <a:pt x="2189" y="775"/>
                  <a:pt x="2191" y="774"/>
                </a:cubicBezTo>
                <a:cubicBezTo>
                  <a:pt x="2194" y="773"/>
                  <a:pt x="2197" y="771"/>
                  <a:pt x="2197" y="771"/>
                </a:cubicBezTo>
                <a:cubicBezTo>
                  <a:pt x="2197" y="771"/>
                  <a:pt x="2194" y="771"/>
                  <a:pt x="2195" y="768"/>
                </a:cubicBezTo>
                <a:cubicBezTo>
                  <a:pt x="2195" y="764"/>
                  <a:pt x="2197" y="764"/>
                  <a:pt x="2199" y="762"/>
                </a:cubicBezTo>
                <a:cubicBezTo>
                  <a:pt x="2202" y="761"/>
                  <a:pt x="2204" y="761"/>
                  <a:pt x="2204" y="759"/>
                </a:cubicBezTo>
                <a:cubicBezTo>
                  <a:pt x="2205" y="757"/>
                  <a:pt x="2202" y="750"/>
                  <a:pt x="2202" y="746"/>
                </a:cubicBezTo>
                <a:cubicBezTo>
                  <a:pt x="2202" y="743"/>
                  <a:pt x="2202" y="736"/>
                  <a:pt x="2203" y="736"/>
                </a:cubicBezTo>
                <a:cubicBezTo>
                  <a:pt x="2204" y="735"/>
                  <a:pt x="2204" y="733"/>
                  <a:pt x="2204" y="727"/>
                </a:cubicBezTo>
                <a:cubicBezTo>
                  <a:pt x="2204" y="720"/>
                  <a:pt x="2200" y="720"/>
                  <a:pt x="2200" y="717"/>
                </a:cubicBezTo>
                <a:cubicBezTo>
                  <a:pt x="2199" y="715"/>
                  <a:pt x="2201" y="713"/>
                  <a:pt x="2202" y="711"/>
                </a:cubicBezTo>
                <a:cubicBezTo>
                  <a:pt x="2202" y="708"/>
                  <a:pt x="2201" y="707"/>
                  <a:pt x="2201" y="704"/>
                </a:cubicBezTo>
                <a:cubicBezTo>
                  <a:pt x="2201" y="700"/>
                  <a:pt x="2208" y="700"/>
                  <a:pt x="2208" y="698"/>
                </a:cubicBezTo>
                <a:cubicBezTo>
                  <a:pt x="2208" y="697"/>
                  <a:pt x="2208" y="694"/>
                  <a:pt x="2210" y="692"/>
                </a:cubicBezTo>
                <a:cubicBezTo>
                  <a:pt x="2211" y="691"/>
                  <a:pt x="2214" y="692"/>
                  <a:pt x="2214" y="692"/>
                </a:cubicBezTo>
                <a:cubicBezTo>
                  <a:pt x="2215" y="690"/>
                  <a:pt x="2215" y="690"/>
                  <a:pt x="2215" y="690"/>
                </a:cubicBezTo>
                <a:cubicBezTo>
                  <a:pt x="2215" y="690"/>
                  <a:pt x="2220" y="693"/>
                  <a:pt x="2220" y="690"/>
                </a:cubicBezTo>
                <a:cubicBezTo>
                  <a:pt x="2221" y="688"/>
                  <a:pt x="2225" y="681"/>
                  <a:pt x="2226" y="679"/>
                </a:cubicBezTo>
                <a:cubicBezTo>
                  <a:pt x="2227" y="677"/>
                  <a:pt x="2232" y="677"/>
                  <a:pt x="2233" y="674"/>
                </a:cubicBezTo>
                <a:cubicBezTo>
                  <a:pt x="2235" y="671"/>
                  <a:pt x="2237" y="666"/>
                  <a:pt x="2239" y="664"/>
                </a:cubicBezTo>
                <a:cubicBezTo>
                  <a:pt x="2241" y="662"/>
                  <a:pt x="2249" y="657"/>
                  <a:pt x="2249" y="657"/>
                </a:cubicBezTo>
                <a:cubicBezTo>
                  <a:pt x="2248" y="653"/>
                  <a:pt x="2248" y="653"/>
                  <a:pt x="2248" y="653"/>
                </a:cubicBezTo>
                <a:cubicBezTo>
                  <a:pt x="2249" y="652"/>
                  <a:pt x="2249" y="652"/>
                  <a:pt x="2249" y="652"/>
                </a:cubicBezTo>
                <a:cubicBezTo>
                  <a:pt x="2252" y="656"/>
                  <a:pt x="2252" y="656"/>
                  <a:pt x="2252" y="656"/>
                </a:cubicBezTo>
                <a:cubicBezTo>
                  <a:pt x="2260" y="648"/>
                  <a:pt x="2260" y="648"/>
                  <a:pt x="2260" y="648"/>
                </a:cubicBezTo>
                <a:cubicBezTo>
                  <a:pt x="2262" y="644"/>
                  <a:pt x="2262" y="644"/>
                  <a:pt x="2262" y="644"/>
                </a:cubicBezTo>
                <a:cubicBezTo>
                  <a:pt x="2262" y="644"/>
                  <a:pt x="2259" y="641"/>
                  <a:pt x="2259" y="638"/>
                </a:cubicBezTo>
                <a:cubicBezTo>
                  <a:pt x="2259" y="636"/>
                  <a:pt x="2264" y="637"/>
                  <a:pt x="2266" y="634"/>
                </a:cubicBezTo>
                <a:cubicBezTo>
                  <a:pt x="2269" y="630"/>
                  <a:pt x="2268" y="628"/>
                  <a:pt x="2268" y="628"/>
                </a:cubicBezTo>
                <a:cubicBezTo>
                  <a:pt x="2270" y="629"/>
                  <a:pt x="2270" y="629"/>
                  <a:pt x="2270" y="629"/>
                </a:cubicBezTo>
                <a:cubicBezTo>
                  <a:pt x="2272" y="632"/>
                  <a:pt x="2272" y="632"/>
                  <a:pt x="2272" y="632"/>
                </a:cubicBezTo>
                <a:cubicBezTo>
                  <a:pt x="2273" y="628"/>
                  <a:pt x="2273" y="628"/>
                  <a:pt x="2273" y="628"/>
                </a:cubicBezTo>
                <a:cubicBezTo>
                  <a:pt x="2273" y="628"/>
                  <a:pt x="2275" y="636"/>
                  <a:pt x="2276" y="637"/>
                </a:cubicBezTo>
                <a:cubicBezTo>
                  <a:pt x="2278" y="637"/>
                  <a:pt x="2279" y="632"/>
                  <a:pt x="2279" y="632"/>
                </a:cubicBezTo>
                <a:cubicBezTo>
                  <a:pt x="2282" y="636"/>
                  <a:pt x="2282" y="636"/>
                  <a:pt x="2282" y="636"/>
                </a:cubicBezTo>
                <a:cubicBezTo>
                  <a:pt x="2283" y="628"/>
                  <a:pt x="2283" y="628"/>
                  <a:pt x="2283" y="628"/>
                </a:cubicBezTo>
                <a:cubicBezTo>
                  <a:pt x="2283" y="628"/>
                  <a:pt x="2292" y="632"/>
                  <a:pt x="2293" y="631"/>
                </a:cubicBezTo>
                <a:cubicBezTo>
                  <a:pt x="2295" y="631"/>
                  <a:pt x="2292" y="627"/>
                  <a:pt x="2293" y="626"/>
                </a:cubicBezTo>
                <a:cubicBezTo>
                  <a:pt x="2295" y="626"/>
                  <a:pt x="2299" y="630"/>
                  <a:pt x="2302" y="629"/>
                </a:cubicBezTo>
                <a:cubicBezTo>
                  <a:pt x="2304" y="628"/>
                  <a:pt x="2303" y="626"/>
                  <a:pt x="2303" y="626"/>
                </a:cubicBezTo>
                <a:cubicBezTo>
                  <a:pt x="2302" y="621"/>
                  <a:pt x="2302" y="621"/>
                  <a:pt x="2302" y="621"/>
                </a:cubicBezTo>
                <a:cubicBezTo>
                  <a:pt x="2308" y="628"/>
                  <a:pt x="2308" y="628"/>
                  <a:pt x="2308" y="628"/>
                </a:cubicBezTo>
                <a:cubicBezTo>
                  <a:pt x="2308" y="628"/>
                  <a:pt x="2306" y="636"/>
                  <a:pt x="2307" y="637"/>
                </a:cubicBezTo>
                <a:cubicBezTo>
                  <a:pt x="2308" y="638"/>
                  <a:pt x="2309" y="638"/>
                  <a:pt x="2310" y="638"/>
                </a:cubicBezTo>
                <a:cubicBezTo>
                  <a:pt x="2310" y="638"/>
                  <a:pt x="2310" y="638"/>
                  <a:pt x="2310" y="638"/>
                </a:cubicBezTo>
                <a:cubicBezTo>
                  <a:pt x="2311" y="638"/>
                  <a:pt x="2312" y="638"/>
                  <a:pt x="2312" y="638"/>
                </a:cubicBezTo>
                <a:cubicBezTo>
                  <a:pt x="2312" y="645"/>
                  <a:pt x="2312" y="645"/>
                  <a:pt x="2312" y="645"/>
                </a:cubicBezTo>
                <a:cubicBezTo>
                  <a:pt x="2312" y="645"/>
                  <a:pt x="2317" y="646"/>
                  <a:pt x="2319" y="648"/>
                </a:cubicBezTo>
                <a:cubicBezTo>
                  <a:pt x="2321" y="650"/>
                  <a:pt x="2322" y="655"/>
                  <a:pt x="2322" y="655"/>
                </a:cubicBezTo>
                <a:cubicBezTo>
                  <a:pt x="2327" y="654"/>
                  <a:pt x="2327" y="654"/>
                  <a:pt x="2327" y="654"/>
                </a:cubicBezTo>
                <a:cubicBezTo>
                  <a:pt x="2324" y="660"/>
                  <a:pt x="2324" y="660"/>
                  <a:pt x="2324" y="660"/>
                </a:cubicBezTo>
                <a:cubicBezTo>
                  <a:pt x="2324" y="660"/>
                  <a:pt x="2330" y="661"/>
                  <a:pt x="2333" y="663"/>
                </a:cubicBezTo>
                <a:cubicBezTo>
                  <a:pt x="2335" y="665"/>
                  <a:pt x="2337" y="673"/>
                  <a:pt x="2338" y="674"/>
                </a:cubicBezTo>
                <a:cubicBezTo>
                  <a:pt x="2338" y="675"/>
                  <a:pt x="2341" y="678"/>
                  <a:pt x="2341" y="678"/>
                </a:cubicBezTo>
                <a:cubicBezTo>
                  <a:pt x="2339" y="681"/>
                  <a:pt x="2339" y="681"/>
                  <a:pt x="2339" y="681"/>
                </a:cubicBezTo>
                <a:cubicBezTo>
                  <a:pt x="2340" y="693"/>
                  <a:pt x="2340" y="693"/>
                  <a:pt x="2340" y="693"/>
                </a:cubicBezTo>
                <a:cubicBezTo>
                  <a:pt x="2338" y="695"/>
                  <a:pt x="2338" y="695"/>
                  <a:pt x="2338" y="695"/>
                </a:cubicBezTo>
                <a:cubicBezTo>
                  <a:pt x="2338" y="695"/>
                  <a:pt x="2339" y="699"/>
                  <a:pt x="2341" y="699"/>
                </a:cubicBezTo>
                <a:cubicBezTo>
                  <a:pt x="2343" y="699"/>
                  <a:pt x="2345" y="697"/>
                  <a:pt x="2345" y="697"/>
                </a:cubicBezTo>
                <a:cubicBezTo>
                  <a:pt x="2345" y="697"/>
                  <a:pt x="2346" y="700"/>
                  <a:pt x="2348" y="699"/>
                </a:cubicBezTo>
                <a:cubicBezTo>
                  <a:pt x="2351" y="698"/>
                  <a:pt x="2353" y="693"/>
                  <a:pt x="2353" y="693"/>
                </a:cubicBezTo>
                <a:cubicBezTo>
                  <a:pt x="2353" y="693"/>
                  <a:pt x="2358" y="692"/>
                  <a:pt x="2360" y="691"/>
                </a:cubicBezTo>
                <a:cubicBezTo>
                  <a:pt x="2363" y="689"/>
                  <a:pt x="2360" y="682"/>
                  <a:pt x="2361" y="681"/>
                </a:cubicBezTo>
                <a:close/>
                <a:moveTo>
                  <a:pt x="1719" y="975"/>
                </a:moveTo>
                <a:cubicBezTo>
                  <a:pt x="1719" y="976"/>
                  <a:pt x="1718" y="977"/>
                  <a:pt x="1718" y="977"/>
                </a:cubicBezTo>
                <a:cubicBezTo>
                  <a:pt x="1716" y="978"/>
                  <a:pt x="1716" y="975"/>
                  <a:pt x="1716" y="975"/>
                </a:cubicBezTo>
                <a:cubicBezTo>
                  <a:pt x="1716" y="975"/>
                  <a:pt x="1714" y="974"/>
                  <a:pt x="1712" y="973"/>
                </a:cubicBezTo>
                <a:cubicBezTo>
                  <a:pt x="1710" y="972"/>
                  <a:pt x="1711" y="971"/>
                  <a:pt x="1712" y="969"/>
                </a:cubicBezTo>
                <a:cubicBezTo>
                  <a:pt x="1713" y="969"/>
                  <a:pt x="1713" y="968"/>
                  <a:pt x="1713" y="968"/>
                </a:cubicBezTo>
                <a:cubicBezTo>
                  <a:pt x="1713" y="968"/>
                  <a:pt x="1712" y="966"/>
                  <a:pt x="1711" y="965"/>
                </a:cubicBezTo>
                <a:cubicBezTo>
                  <a:pt x="1710" y="964"/>
                  <a:pt x="1711" y="960"/>
                  <a:pt x="1711" y="959"/>
                </a:cubicBezTo>
                <a:cubicBezTo>
                  <a:pt x="1711" y="957"/>
                  <a:pt x="1708" y="958"/>
                  <a:pt x="1707" y="958"/>
                </a:cubicBezTo>
                <a:cubicBezTo>
                  <a:pt x="1707" y="958"/>
                  <a:pt x="1706" y="956"/>
                  <a:pt x="1706" y="954"/>
                </a:cubicBezTo>
                <a:cubicBezTo>
                  <a:pt x="1706" y="952"/>
                  <a:pt x="1704" y="952"/>
                  <a:pt x="1703" y="951"/>
                </a:cubicBezTo>
                <a:cubicBezTo>
                  <a:pt x="1701" y="949"/>
                  <a:pt x="1701" y="946"/>
                  <a:pt x="1701" y="944"/>
                </a:cubicBezTo>
                <a:cubicBezTo>
                  <a:pt x="1701" y="943"/>
                  <a:pt x="1702" y="941"/>
                  <a:pt x="1702" y="940"/>
                </a:cubicBezTo>
                <a:cubicBezTo>
                  <a:pt x="1702" y="938"/>
                  <a:pt x="1700" y="938"/>
                  <a:pt x="1699" y="936"/>
                </a:cubicBezTo>
                <a:cubicBezTo>
                  <a:pt x="1699" y="934"/>
                  <a:pt x="1699" y="931"/>
                  <a:pt x="1700" y="929"/>
                </a:cubicBezTo>
                <a:cubicBezTo>
                  <a:pt x="1700" y="926"/>
                  <a:pt x="1700" y="924"/>
                  <a:pt x="1701" y="921"/>
                </a:cubicBezTo>
                <a:cubicBezTo>
                  <a:pt x="1701" y="920"/>
                  <a:pt x="1702" y="920"/>
                  <a:pt x="1703" y="921"/>
                </a:cubicBezTo>
                <a:cubicBezTo>
                  <a:pt x="1703" y="922"/>
                  <a:pt x="1703" y="926"/>
                  <a:pt x="1704" y="928"/>
                </a:cubicBezTo>
                <a:cubicBezTo>
                  <a:pt x="1705" y="928"/>
                  <a:pt x="1705" y="928"/>
                  <a:pt x="1706" y="928"/>
                </a:cubicBezTo>
                <a:cubicBezTo>
                  <a:pt x="1705" y="928"/>
                  <a:pt x="1705" y="928"/>
                  <a:pt x="1705" y="928"/>
                </a:cubicBezTo>
                <a:cubicBezTo>
                  <a:pt x="1705" y="930"/>
                  <a:pt x="1705" y="930"/>
                  <a:pt x="1705" y="930"/>
                </a:cubicBezTo>
                <a:cubicBezTo>
                  <a:pt x="1705" y="930"/>
                  <a:pt x="1706" y="932"/>
                  <a:pt x="1707" y="933"/>
                </a:cubicBezTo>
                <a:cubicBezTo>
                  <a:pt x="1707" y="934"/>
                  <a:pt x="1707" y="936"/>
                  <a:pt x="1707" y="936"/>
                </a:cubicBezTo>
                <a:cubicBezTo>
                  <a:pt x="1707" y="936"/>
                  <a:pt x="1709" y="943"/>
                  <a:pt x="1708" y="944"/>
                </a:cubicBezTo>
                <a:cubicBezTo>
                  <a:pt x="1707" y="945"/>
                  <a:pt x="1707" y="945"/>
                  <a:pt x="1707" y="948"/>
                </a:cubicBezTo>
                <a:cubicBezTo>
                  <a:pt x="1707" y="950"/>
                  <a:pt x="1709" y="951"/>
                  <a:pt x="1710" y="951"/>
                </a:cubicBezTo>
                <a:cubicBezTo>
                  <a:pt x="1711" y="952"/>
                  <a:pt x="1715" y="955"/>
                  <a:pt x="1716" y="957"/>
                </a:cubicBezTo>
                <a:cubicBezTo>
                  <a:pt x="1716" y="958"/>
                  <a:pt x="1716" y="960"/>
                  <a:pt x="1715" y="961"/>
                </a:cubicBezTo>
                <a:cubicBezTo>
                  <a:pt x="1715" y="963"/>
                  <a:pt x="1717" y="967"/>
                  <a:pt x="1717" y="967"/>
                </a:cubicBezTo>
                <a:cubicBezTo>
                  <a:pt x="1720" y="972"/>
                  <a:pt x="1720" y="972"/>
                  <a:pt x="1720" y="972"/>
                </a:cubicBezTo>
                <a:cubicBezTo>
                  <a:pt x="1720" y="972"/>
                  <a:pt x="1720" y="973"/>
                  <a:pt x="1719" y="975"/>
                </a:cubicBezTo>
                <a:close/>
                <a:moveTo>
                  <a:pt x="1763" y="1008"/>
                </a:moveTo>
                <a:cubicBezTo>
                  <a:pt x="1763" y="1008"/>
                  <a:pt x="1763" y="1008"/>
                  <a:pt x="1763" y="1008"/>
                </a:cubicBezTo>
                <a:cubicBezTo>
                  <a:pt x="1763" y="1008"/>
                  <a:pt x="1763" y="1008"/>
                  <a:pt x="1763" y="1008"/>
                </a:cubicBezTo>
                <a:close/>
                <a:moveTo>
                  <a:pt x="1763" y="1008"/>
                </a:moveTo>
                <a:cubicBezTo>
                  <a:pt x="1763" y="1008"/>
                  <a:pt x="1761" y="1008"/>
                  <a:pt x="1759" y="1008"/>
                </a:cubicBezTo>
                <a:cubicBezTo>
                  <a:pt x="1761" y="1008"/>
                  <a:pt x="1763" y="1008"/>
                  <a:pt x="1763" y="1008"/>
                </a:cubicBezTo>
                <a:close/>
                <a:moveTo>
                  <a:pt x="1757" y="1008"/>
                </a:moveTo>
                <a:cubicBezTo>
                  <a:pt x="1757" y="1008"/>
                  <a:pt x="1757" y="1008"/>
                  <a:pt x="1757" y="1008"/>
                </a:cubicBezTo>
                <a:cubicBezTo>
                  <a:pt x="1757" y="1009"/>
                  <a:pt x="1757" y="1010"/>
                  <a:pt x="1757" y="1010"/>
                </a:cubicBezTo>
                <a:cubicBezTo>
                  <a:pt x="1757" y="1011"/>
                  <a:pt x="1756" y="1012"/>
                  <a:pt x="1754" y="1014"/>
                </a:cubicBezTo>
                <a:cubicBezTo>
                  <a:pt x="1753" y="1016"/>
                  <a:pt x="1755" y="1017"/>
                  <a:pt x="1756" y="1018"/>
                </a:cubicBezTo>
                <a:cubicBezTo>
                  <a:pt x="1756" y="1019"/>
                  <a:pt x="1756" y="1023"/>
                  <a:pt x="1755" y="1025"/>
                </a:cubicBezTo>
                <a:cubicBezTo>
                  <a:pt x="1755" y="1027"/>
                  <a:pt x="1755" y="1029"/>
                  <a:pt x="1755" y="1030"/>
                </a:cubicBezTo>
                <a:cubicBezTo>
                  <a:pt x="1755" y="1031"/>
                  <a:pt x="1755" y="1031"/>
                  <a:pt x="1756" y="1031"/>
                </a:cubicBezTo>
                <a:cubicBezTo>
                  <a:pt x="1757" y="1032"/>
                  <a:pt x="1758" y="1033"/>
                  <a:pt x="1758" y="1033"/>
                </a:cubicBezTo>
                <a:cubicBezTo>
                  <a:pt x="1758" y="1033"/>
                  <a:pt x="1759" y="1038"/>
                  <a:pt x="1757" y="1039"/>
                </a:cubicBezTo>
                <a:cubicBezTo>
                  <a:pt x="1756" y="1039"/>
                  <a:pt x="1756" y="1037"/>
                  <a:pt x="1756" y="1037"/>
                </a:cubicBezTo>
                <a:cubicBezTo>
                  <a:pt x="1756" y="1037"/>
                  <a:pt x="1753" y="1038"/>
                  <a:pt x="1753" y="1037"/>
                </a:cubicBezTo>
                <a:cubicBezTo>
                  <a:pt x="1752" y="1037"/>
                  <a:pt x="1752" y="1034"/>
                  <a:pt x="1752" y="1033"/>
                </a:cubicBezTo>
                <a:cubicBezTo>
                  <a:pt x="1752" y="1031"/>
                  <a:pt x="1751" y="1030"/>
                  <a:pt x="1751" y="1030"/>
                </a:cubicBezTo>
                <a:cubicBezTo>
                  <a:pt x="1750" y="1029"/>
                  <a:pt x="1751" y="1026"/>
                  <a:pt x="1751" y="1024"/>
                </a:cubicBezTo>
                <a:cubicBezTo>
                  <a:pt x="1751" y="1023"/>
                  <a:pt x="1750" y="1021"/>
                  <a:pt x="1747" y="1019"/>
                </a:cubicBezTo>
                <a:cubicBezTo>
                  <a:pt x="1745" y="1017"/>
                  <a:pt x="1747" y="1018"/>
                  <a:pt x="1746" y="1016"/>
                </a:cubicBezTo>
                <a:cubicBezTo>
                  <a:pt x="1746" y="1014"/>
                  <a:pt x="1748" y="1012"/>
                  <a:pt x="1750" y="1010"/>
                </a:cubicBezTo>
                <a:cubicBezTo>
                  <a:pt x="1752" y="1008"/>
                  <a:pt x="1751" y="1007"/>
                  <a:pt x="1751" y="1006"/>
                </a:cubicBezTo>
                <a:cubicBezTo>
                  <a:pt x="1752" y="1005"/>
                  <a:pt x="1751" y="1004"/>
                  <a:pt x="1751" y="1002"/>
                </a:cubicBezTo>
                <a:cubicBezTo>
                  <a:pt x="1751" y="1001"/>
                  <a:pt x="1750" y="998"/>
                  <a:pt x="1750" y="994"/>
                </a:cubicBezTo>
                <a:cubicBezTo>
                  <a:pt x="1750" y="991"/>
                  <a:pt x="1749" y="993"/>
                  <a:pt x="1747" y="991"/>
                </a:cubicBezTo>
                <a:cubicBezTo>
                  <a:pt x="1745" y="990"/>
                  <a:pt x="1747" y="988"/>
                  <a:pt x="1746" y="986"/>
                </a:cubicBezTo>
                <a:cubicBezTo>
                  <a:pt x="1746" y="986"/>
                  <a:pt x="1747" y="983"/>
                  <a:pt x="1749" y="984"/>
                </a:cubicBezTo>
                <a:cubicBezTo>
                  <a:pt x="1751" y="985"/>
                  <a:pt x="1753" y="989"/>
                  <a:pt x="1753" y="989"/>
                </a:cubicBezTo>
                <a:cubicBezTo>
                  <a:pt x="1753" y="997"/>
                  <a:pt x="1753" y="997"/>
                  <a:pt x="1753" y="997"/>
                </a:cubicBezTo>
                <a:cubicBezTo>
                  <a:pt x="1753" y="997"/>
                  <a:pt x="1754" y="997"/>
                  <a:pt x="1754" y="998"/>
                </a:cubicBezTo>
                <a:cubicBezTo>
                  <a:pt x="1754" y="1000"/>
                  <a:pt x="1754" y="1000"/>
                  <a:pt x="1753" y="1002"/>
                </a:cubicBezTo>
                <a:cubicBezTo>
                  <a:pt x="1753" y="1004"/>
                  <a:pt x="1757" y="1006"/>
                  <a:pt x="1757" y="1006"/>
                </a:cubicBezTo>
                <a:cubicBezTo>
                  <a:pt x="1757" y="1008"/>
                  <a:pt x="1757" y="1008"/>
                  <a:pt x="1757" y="1008"/>
                </a:cubicBezTo>
                <a:cubicBezTo>
                  <a:pt x="1757" y="1008"/>
                  <a:pt x="1757" y="1008"/>
                  <a:pt x="1757" y="1008"/>
                </a:cubicBezTo>
                <a:close/>
                <a:moveTo>
                  <a:pt x="1726" y="898"/>
                </a:moveTo>
                <a:cubicBezTo>
                  <a:pt x="1726" y="895"/>
                  <a:pt x="1728" y="891"/>
                  <a:pt x="1728" y="890"/>
                </a:cubicBezTo>
                <a:cubicBezTo>
                  <a:pt x="1728" y="889"/>
                  <a:pt x="1728" y="889"/>
                  <a:pt x="1728" y="889"/>
                </a:cubicBezTo>
                <a:cubicBezTo>
                  <a:pt x="1728" y="888"/>
                  <a:pt x="1727" y="887"/>
                  <a:pt x="1727" y="886"/>
                </a:cubicBezTo>
                <a:cubicBezTo>
                  <a:pt x="1726" y="884"/>
                  <a:pt x="1728" y="882"/>
                  <a:pt x="1729" y="882"/>
                </a:cubicBezTo>
                <a:cubicBezTo>
                  <a:pt x="1729" y="881"/>
                  <a:pt x="1728" y="878"/>
                  <a:pt x="1730" y="877"/>
                </a:cubicBezTo>
                <a:cubicBezTo>
                  <a:pt x="1732" y="875"/>
                  <a:pt x="1738" y="876"/>
                  <a:pt x="1739" y="875"/>
                </a:cubicBezTo>
                <a:cubicBezTo>
                  <a:pt x="1739" y="875"/>
                  <a:pt x="1741" y="872"/>
                  <a:pt x="1742" y="872"/>
                </a:cubicBezTo>
                <a:cubicBezTo>
                  <a:pt x="1743" y="872"/>
                  <a:pt x="1743" y="876"/>
                  <a:pt x="1743" y="876"/>
                </a:cubicBezTo>
                <a:cubicBezTo>
                  <a:pt x="1743" y="876"/>
                  <a:pt x="1745" y="875"/>
                  <a:pt x="1747" y="875"/>
                </a:cubicBezTo>
                <a:cubicBezTo>
                  <a:pt x="1748" y="875"/>
                  <a:pt x="1748" y="875"/>
                  <a:pt x="1749" y="876"/>
                </a:cubicBezTo>
                <a:cubicBezTo>
                  <a:pt x="1749" y="876"/>
                  <a:pt x="1749" y="876"/>
                  <a:pt x="1749" y="876"/>
                </a:cubicBezTo>
                <a:cubicBezTo>
                  <a:pt x="1749" y="878"/>
                  <a:pt x="1750" y="880"/>
                  <a:pt x="1752" y="881"/>
                </a:cubicBezTo>
                <a:cubicBezTo>
                  <a:pt x="1753" y="881"/>
                  <a:pt x="1753" y="879"/>
                  <a:pt x="1753" y="879"/>
                </a:cubicBezTo>
                <a:cubicBezTo>
                  <a:pt x="1756" y="879"/>
                  <a:pt x="1756" y="879"/>
                  <a:pt x="1756" y="879"/>
                </a:cubicBezTo>
                <a:cubicBezTo>
                  <a:pt x="1757" y="881"/>
                  <a:pt x="1757" y="881"/>
                  <a:pt x="1757" y="881"/>
                </a:cubicBezTo>
                <a:cubicBezTo>
                  <a:pt x="1755" y="882"/>
                  <a:pt x="1755" y="882"/>
                  <a:pt x="1755" y="882"/>
                </a:cubicBezTo>
                <a:cubicBezTo>
                  <a:pt x="1753" y="883"/>
                  <a:pt x="1753" y="883"/>
                  <a:pt x="1753" y="883"/>
                </a:cubicBezTo>
                <a:cubicBezTo>
                  <a:pt x="1753" y="883"/>
                  <a:pt x="1752" y="881"/>
                  <a:pt x="1750" y="883"/>
                </a:cubicBezTo>
                <a:cubicBezTo>
                  <a:pt x="1748" y="885"/>
                  <a:pt x="1751" y="887"/>
                  <a:pt x="1751" y="887"/>
                </a:cubicBezTo>
                <a:cubicBezTo>
                  <a:pt x="1750" y="889"/>
                  <a:pt x="1750" y="889"/>
                  <a:pt x="1750" y="889"/>
                </a:cubicBezTo>
                <a:cubicBezTo>
                  <a:pt x="1749" y="889"/>
                  <a:pt x="1748" y="889"/>
                  <a:pt x="1748" y="889"/>
                </a:cubicBezTo>
                <a:cubicBezTo>
                  <a:pt x="1748" y="889"/>
                  <a:pt x="1748" y="889"/>
                  <a:pt x="1748" y="889"/>
                </a:cubicBezTo>
                <a:cubicBezTo>
                  <a:pt x="1748" y="891"/>
                  <a:pt x="1749" y="894"/>
                  <a:pt x="1749" y="894"/>
                </a:cubicBezTo>
                <a:cubicBezTo>
                  <a:pt x="1745" y="896"/>
                  <a:pt x="1745" y="896"/>
                  <a:pt x="1745" y="896"/>
                </a:cubicBezTo>
                <a:cubicBezTo>
                  <a:pt x="1745" y="896"/>
                  <a:pt x="1743" y="898"/>
                  <a:pt x="1742" y="901"/>
                </a:cubicBezTo>
                <a:cubicBezTo>
                  <a:pt x="1741" y="904"/>
                  <a:pt x="1748" y="902"/>
                  <a:pt x="1748" y="902"/>
                </a:cubicBezTo>
                <a:cubicBezTo>
                  <a:pt x="1748" y="902"/>
                  <a:pt x="1744" y="905"/>
                  <a:pt x="1743" y="906"/>
                </a:cubicBezTo>
                <a:cubicBezTo>
                  <a:pt x="1741" y="906"/>
                  <a:pt x="1741" y="904"/>
                  <a:pt x="1739" y="904"/>
                </a:cubicBezTo>
                <a:cubicBezTo>
                  <a:pt x="1737" y="904"/>
                  <a:pt x="1737" y="908"/>
                  <a:pt x="1737" y="908"/>
                </a:cubicBezTo>
                <a:cubicBezTo>
                  <a:pt x="1739" y="910"/>
                  <a:pt x="1739" y="910"/>
                  <a:pt x="1739" y="910"/>
                </a:cubicBezTo>
                <a:cubicBezTo>
                  <a:pt x="1739" y="910"/>
                  <a:pt x="1738" y="910"/>
                  <a:pt x="1736" y="910"/>
                </a:cubicBezTo>
                <a:cubicBezTo>
                  <a:pt x="1734" y="910"/>
                  <a:pt x="1736" y="904"/>
                  <a:pt x="1736" y="904"/>
                </a:cubicBezTo>
                <a:cubicBezTo>
                  <a:pt x="1734" y="906"/>
                  <a:pt x="1734" y="906"/>
                  <a:pt x="1734" y="906"/>
                </a:cubicBezTo>
                <a:cubicBezTo>
                  <a:pt x="1734" y="906"/>
                  <a:pt x="1732" y="903"/>
                  <a:pt x="1731" y="903"/>
                </a:cubicBezTo>
                <a:cubicBezTo>
                  <a:pt x="1729" y="903"/>
                  <a:pt x="1729" y="908"/>
                  <a:pt x="1728" y="908"/>
                </a:cubicBezTo>
                <a:cubicBezTo>
                  <a:pt x="1727" y="908"/>
                  <a:pt x="1727" y="906"/>
                  <a:pt x="1727" y="906"/>
                </a:cubicBezTo>
                <a:cubicBezTo>
                  <a:pt x="1727" y="906"/>
                  <a:pt x="1726" y="900"/>
                  <a:pt x="1726" y="898"/>
                </a:cubicBezTo>
                <a:close/>
                <a:moveTo>
                  <a:pt x="1796" y="411"/>
                </a:moveTo>
                <a:cubicBezTo>
                  <a:pt x="1795" y="413"/>
                  <a:pt x="1791" y="416"/>
                  <a:pt x="1789" y="417"/>
                </a:cubicBezTo>
                <a:cubicBezTo>
                  <a:pt x="1786" y="418"/>
                  <a:pt x="1777" y="417"/>
                  <a:pt x="1777" y="417"/>
                </a:cubicBezTo>
                <a:cubicBezTo>
                  <a:pt x="1769" y="419"/>
                  <a:pt x="1769" y="419"/>
                  <a:pt x="1769" y="419"/>
                </a:cubicBezTo>
                <a:cubicBezTo>
                  <a:pt x="1760" y="416"/>
                  <a:pt x="1760" y="416"/>
                  <a:pt x="1760" y="416"/>
                </a:cubicBezTo>
                <a:cubicBezTo>
                  <a:pt x="1756" y="417"/>
                  <a:pt x="1756" y="417"/>
                  <a:pt x="1756" y="417"/>
                </a:cubicBezTo>
                <a:cubicBezTo>
                  <a:pt x="1756" y="417"/>
                  <a:pt x="1754" y="412"/>
                  <a:pt x="1753" y="413"/>
                </a:cubicBezTo>
                <a:cubicBezTo>
                  <a:pt x="1751" y="413"/>
                  <a:pt x="1749" y="414"/>
                  <a:pt x="1749" y="414"/>
                </a:cubicBezTo>
                <a:cubicBezTo>
                  <a:pt x="1746" y="412"/>
                  <a:pt x="1746" y="412"/>
                  <a:pt x="1746" y="412"/>
                </a:cubicBezTo>
                <a:cubicBezTo>
                  <a:pt x="1745" y="409"/>
                  <a:pt x="1745" y="409"/>
                  <a:pt x="1745" y="409"/>
                </a:cubicBezTo>
                <a:cubicBezTo>
                  <a:pt x="1739" y="410"/>
                  <a:pt x="1739" y="410"/>
                  <a:pt x="1739" y="410"/>
                </a:cubicBezTo>
                <a:cubicBezTo>
                  <a:pt x="1735" y="408"/>
                  <a:pt x="1735" y="408"/>
                  <a:pt x="1735" y="408"/>
                </a:cubicBezTo>
                <a:cubicBezTo>
                  <a:pt x="1734" y="405"/>
                  <a:pt x="1734" y="405"/>
                  <a:pt x="1734" y="405"/>
                </a:cubicBezTo>
                <a:cubicBezTo>
                  <a:pt x="1734" y="405"/>
                  <a:pt x="1730" y="407"/>
                  <a:pt x="1727" y="407"/>
                </a:cubicBezTo>
                <a:cubicBezTo>
                  <a:pt x="1724" y="407"/>
                  <a:pt x="1721" y="406"/>
                  <a:pt x="1718" y="406"/>
                </a:cubicBezTo>
                <a:cubicBezTo>
                  <a:pt x="1716" y="406"/>
                  <a:pt x="1708" y="409"/>
                  <a:pt x="1707" y="411"/>
                </a:cubicBezTo>
                <a:cubicBezTo>
                  <a:pt x="1706" y="412"/>
                  <a:pt x="1703" y="413"/>
                  <a:pt x="1703" y="413"/>
                </a:cubicBezTo>
                <a:cubicBezTo>
                  <a:pt x="1702" y="416"/>
                  <a:pt x="1702" y="416"/>
                  <a:pt x="1702" y="416"/>
                </a:cubicBezTo>
                <a:cubicBezTo>
                  <a:pt x="1702" y="416"/>
                  <a:pt x="1702" y="417"/>
                  <a:pt x="1699" y="416"/>
                </a:cubicBezTo>
                <a:cubicBezTo>
                  <a:pt x="1696" y="415"/>
                  <a:pt x="1691" y="415"/>
                  <a:pt x="1689" y="415"/>
                </a:cubicBezTo>
                <a:cubicBezTo>
                  <a:pt x="1686" y="415"/>
                  <a:pt x="1678" y="413"/>
                  <a:pt x="1678" y="413"/>
                </a:cubicBezTo>
                <a:cubicBezTo>
                  <a:pt x="1678" y="413"/>
                  <a:pt x="1672" y="414"/>
                  <a:pt x="1672" y="411"/>
                </a:cubicBezTo>
                <a:cubicBezTo>
                  <a:pt x="1671" y="409"/>
                  <a:pt x="1671" y="408"/>
                  <a:pt x="1671" y="407"/>
                </a:cubicBezTo>
                <a:cubicBezTo>
                  <a:pt x="1669" y="407"/>
                  <a:pt x="1666" y="407"/>
                  <a:pt x="1666" y="407"/>
                </a:cubicBezTo>
                <a:cubicBezTo>
                  <a:pt x="1666" y="406"/>
                  <a:pt x="1666" y="406"/>
                  <a:pt x="1665" y="405"/>
                </a:cubicBezTo>
                <a:cubicBezTo>
                  <a:pt x="1667" y="404"/>
                  <a:pt x="1667" y="404"/>
                  <a:pt x="1667" y="404"/>
                </a:cubicBezTo>
                <a:cubicBezTo>
                  <a:pt x="1669" y="406"/>
                  <a:pt x="1669" y="406"/>
                  <a:pt x="1669" y="406"/>
                </a:cubicBezTo>
                <a:cubicBezTo>
                  <a:pt x="1669" y="406"/>
                  <a:pt x="1672" y="407"/>
                  <a:pt x="1674" y="406"/>
                </a:cubicBezTo>
                <a:cubicBezTo>
                  <a:pt x="1673" y="406"/>
                  <a:pt x="1673" y="405"/>
                  <a:pt x="1673" y="405"/>
                </a:cubicBezTo>
                <a:cubicBezTo>
                  <a:pt x="1668" y="400"/>
                  <a:pt x="1668" y="400"/>
                  <a:pt x="1668" y="400"/>
                </a:cubicBezTo>
                <a:cubicBezTo>
                  <a:pt x="1668" y="400"/>
                  <a:pt x="1671" y="398"/>
                  <a:pt x="1671" y="397"/>
                </a:cubicBezTo>
                <a:cubicBezTo>
                  <a:pt x="1672" y="396"/>
                  <a:pt x="1670" y="393"/>
                  <a:pt x="1672" y="391"/>
                </a:cubicBezTo>
                <a:cubicBezTo>
                  <a:pt x="1674" y="390"/>
                  <a:pt x="1677" y="391"/>
                  <a:pt x="1677" y="391"/>
                </a:cubicBezTo>
                <a:cubicBezTo>
                  <a:pt x="1677" y="391"/>
                  <a:pt x="1677" y="389"/>
                  <a:pt x="1677" y="386"/>
                </a:cubicBezTo>
                <a:cubicBezTo>
                  <a:pt x="1676" y="384"/>
                  <a:pt x="1676" y="381"/>
                  <a:pt x="1677" y="379"/>
                </a:cubicBezTo>
                <a:cubicBezTo>
                  <a:pt x="1679" y="377"/>
                  <a:pt x="1681" y="375"/>
                  <a:pt x="1681" y="375"/>
                </a:cubicBezTo>
                <a:cubicBezTo>
                  <a:pt x="1681" y="375"/>
                  <a:pt x="1687" y="377"/>
                  <a:pt x="1686" y="372"/>
                </a:cubicBezTo>
                <a:cubicBezTo>
                  <a:pt x="1686" y="369"/>
                  <a:pt x="1685" y="367"/>
                  <a:pt x="1684" y="366"/>
                </a:cubicBezTo>
                <a:cubicBezTo>
                  <a:pt x="1684" y="366"/>
                  <a:pt x="1684" y="366"/>
                  <a:pt x="1684" y="366"/>
                </a:cubicBezTo>
                <a:cubicBezTo>
                  <a:pt x="1684" y="366"/>
                  <a:pt x="1688" y="364"/>
                  <a:pt x="1689" y="363"/>
                </a:cubicBezTo>
                <a:cubicBezTo>
                  <a:pt x="1691" y="362"/>
                  <a:pt x="1694" y="357"/>
                  <a:pt x="1694" y="357"/>
                </a:cubicBezTo>
                <a:cubicBezTo>
                  <a:pt x="1698" y="355"/>
                  <a:pt x="1698" y="355"/>
                  <a:pt x="1698" y="355"/>
                </a:cubicBezTo>
                <a:cubicBezTo>
                  <a:pt x="1700" y="353"/>
                  <a:pt x="1700" y="353"/>
                  <a:pt x="1700" y="353"/>
                </a:cubicBezTo>
                <a:cubicBezTo>
                  <a:pt x="1702" y="354"/>
                  <a:pt x="1702" y="354"/>
                  <a:pt x="1702" y="354"/>
                </a:cubicBezTo>
                <a:cubicBezTo>
                  <a:pt x="1702" y="354"/>
                  <a:pt x="1707" y="355"/>
                  <a:pt x="1708" y="355"/>
                </a:cubicBezTo>
                <a:cubicBezTo>
                  <a:pt x="1708" y="355"/>
                  <a:pt x="1710" y="353"/>
                  <a:pt x="1710" y="353"/>
                </a:cubicBezTo>
                <a:cubicBezTo>
                  <a:pt x="1707" y="357"/>
                  <a:pt x="1707" y="357"/>
                  <a:pt x="1707" y="357"/>
                </a:cubicBezTo>
                <a:cubicBezTo>
                  <a:pt x="1707" y="357"/>
                  <a:pt x="1704" y="355"/>
                  <a:pt x="1704" y="357"/>
                </a:cubicBezTo>
                <a:cubicBezTo>
                  <a:pt x="1705" y="358"/>
                  <a:pt x="1709" y="359"/>
                  <a:pt x="1709" y="359"/>
                </a:cubicBezTo>
                <a:cubicBezTo>
                  <a:pt x="1716" y="360"/>
                  <a:pt x="1716" y="360"/>
                  <a:pt x="1716" y="360"/>
                </a:cubicBezTo>
                <a:cubicBezTo>
                  <a:pt x="1718" y="360"/>
                  <a:pt x="1718" y="360"/>
                  <a:pt x="1718" y="360"/>
                </a:cubicBezTo>
                <a:cubicBezTo>
                  <a:pt x="1720" y="362"/>
                  <a:pt x="1720" y="362"/>
                  <a:pt x="1720" y="362"/>
                </a:cubicBezTo>
                <a:cubicBezTo>
                  <a:pt x="1720" y="362"/>
                  <a:pt x="1710" y="368"/>
                  <a:pt x="1711" y="368"/>
                </a:cubicBezTo>
                <a:cubicBezTo>
                  <a:pt x="1712" y="369"/>
                  <a:pt x="1720" y="369"/>
                  <a:pt x="1721" y="372"/>
                </a:cubicBezTo>
                <a:cubicBezTo>
                  <a:pt x="1721" y="375"/>
                  <a:pt x="1719" y="378"/>
                  <a:pt x="1720" y="378"/>
                </a:cubicBezTo>
                <a:cubicBezTo>
                  <a:pt x="1721" y="378"/>
                  <a:pt x="1725" y="379"/>
                  <a:pt x="1725" y="379"/>
                </a:cubicBezTo>
                <a:cubicBezTo>
                  <a:pt x="1725" y="379"/>
                  <a:pt x="1728" y="375"/>
                  <a:pt x="1730" y="375"/>
                </a:cubicBezTo>
                <a:cubicBezTo>
                  <a:pt x="1731" y="375"/>
                  <a:pt x="1732" y="376"/>
                  <a:pt x="1734" y="375"/>
                </a:cubicBezTo>
                <a:cubicBezTo>
                  <a:pt x="1736" y="374"/>
                  <a:pt x="1736" y="371"/>
                  <a:pt x="1737" y="371"/>
                </a:cubicBezTo>
                <a:cubicBezTo>
                  <a:pt x="1739" y="371"/>
                  <a:pt x="1740" y="373"/>
                  <a:pt x="1740" y="373"/>
                </a:cubicBezTo>
                <a:cubicBezTo>
                  <a:pt x="1745" y="372"/>
                  <a:pt x="1745" y="372"/>
                  <a:pt x="1745" y="372"/>
                </a:cubicBezTo>
                <a:cubicBezTo>
                  <a:pt x="1745" y="369"/>
                  <a:pt x="1745" y="369"/>
                  <a:pt x="1745" y="369"/>
                </a:cubicBezTo>
                <a:cubicBezTo>
                  <a:pt x="1747" y="368"/>
                  <a:pt x="1747" y="368"/>
                  <a:pt x="1747" y="368"/>
                </a:cubicBezTo>
                <a:cubicBezTo>
                  <a:pt x="1747" y="368"/>
                  <a:pt x="1744" y="366"/>
                  <a:pt x="1742" y="368"/>
                </a:cubicBezTo>
                <a:cubicBezTo>
                  <a:pt x="1741" y="369"/>
                  <a:pt x="1736" y="369"/>
                  <a:pt x="1736" y="369"/>
                </a:cubicBezTo>
                <a:cubicBezTo>
                  <a:pt x="1736" y="369"/>
                  <a:pt x="1732" y="368"/>
                  <a:pt x="1732" y="366"/>
                </a:cubicBezTo>
                <a:cubicBezTo>
                  <a:pt x="1732" y="364"/>
                  <a:pt x="1729" y="364"/>
                  <a:pt x="1729" y="364"/>
                </a:cubicBezTo>
                <a:cubicBezTo>
                  <a:pt x="1727" y="361"/>
                  <a:pt x="1727" y="361"/>
                  <a:pt x="1727" y="361"/>
                </a:cubicBezTo>
                <a:cubicBezTo>
                  <a:pt x="1722" y="361"/>
                  <a:pt x="1722" y="361"/>
                  <a:pt x="1722" y="361"/>
                </a:cubicBezTo>
                <a:cubicBezTo>
                  <a:pt x="1720" y="359"/>
                  <a:pt x="1720" y="359"/>
                  <a:pt x="1720" y="359"/>
                </a:cubicBezTo>
                <a:cubicBezTo>
                  <a:pt x="1724" y="359"/>
                  <a:pt x="1724" y="359"/>
                  <a:pt x="1724" y="359"/>
                </a:cubicBezTo>
                <a:cubicBezTo>
                  <a:pt x="1724" y="359"/>
                  <a:pt x="1727" y="360"/>
                  <a:pt x="1729" y="359"/>
                </a:cubicBezTo>
                <a:cubicBezTo>
                  <a:pt x="1730" y="359"/>
                  <a:pt x="1733" y="356"/>
                  <a:pt x="1733" y="356"/>
                </a:cubicBezTo>
                <a:cubicBezTo>
                  <a:pt x="1735" y="357"/>
                  <a:pt x="1735" y="357"/>
                  <a:pt x="1735" y="357"/>
                </a:cubicBezTo>
                <a:cubicBezTo>
                  <a:pt x="1735" y="357"/>
                  <a:pt x="1738" y="355"/>
                  <a:pt x="1739" y="354"/>
                </a:cubicBezTo>
                <a:cubicBezTo>
                  <a:pt x="1741" y="353"/>
                  <a:pt x="1747" y="353"/>
                  <a:pt x="1747" y="353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4" y="349"/>
                </a:cubicBezTo>
                <a:cubicBezTo>
                  <a:pt x="1755" y="349"/>
                  <a:pt x="1757" y="350"/>
                  <a:pt x="1758" y="349"/>
                </a:cubicBezTo>
                <a:cubicBezTo>
                  <a:pt x="1758" y="349"/>
                  <a:pt x="1758" y="349"/>
                  <a:pt x="1758" y="349"/>
                </a:cubicBezTo>
                <a:cubicBezTo>
                  <a:pt x="1758" y="349"/>
                  <a:pt x="1758" y="349"/>
                  <a:pt x="1759" y="349"/>
                </a:cubicBezTo>
                <a:cubicBezTo>
                  <a:pt x="1761" y="348"/>
                  <a:pt x="1767" y="346"/>
                  <a:pt x="1767" y="348"/>
                </a:cubicBezTo>
                <a:cubicBezTo>
                  <a:pt x="1768" y="350"/>
                  <a:pt x="1763" y="353"/>
                  <a:pt x="1763" y="353"/>
                </a:cubicBezTo>
                <a:cubicBezTo>
                  <a:pt x="1756" y="355"/>
                  <a:pt x="1756" y="355"/>
                  <a:pt x="1756" y="355"/>
                </a:cubicBezTo>
                <a:cubicBezTo>
                  <a:pt x="1762" y="360"/>
                  <a:pt x="1762" y="360"/>
                  <a:pt x="1762" y="360"/>
                </a:cubicBezTo>
                <a:cubicBezTo>
                  <a:pt x="1762" y="360"/>
                  <a:pt x="1757" y="361"/>
                  <a:pt x="1757" y="363"/>
                </a:cubicBezTo>
                <a:cubicBezTo>
                  <a:pt x="1757" y="365"/>
                  <a:pt x="1757" y="367"/>
                  <a:pt x="1757" y="367"/>
                </a:cubicBezTo>
                <a:cubicBezTo>
                  <a:pt x="1757" y="367"/>
                  <a:pt x="1754" y="369"/>
                  <a:pt x="1753" y="369"/>
                </a:cubicBezTo>
                <a:cubicBezTo>
                  <a:pt x="1752" y="369"/>
                  <a:pt x="1749" y="367"/>
                  <a:pt x="1749" y="367"/>
                </a:cubicBezTo>
                <a:cubicBezTo>
                  <a:pt x="1748" y="369"/>
                  <a:pt x="1748" y="369"/>
                  <a:pt x="1748" y="369"/>
                </a:cubicBezTo>
                <a:cubicBezTo>
                  <a:pt x="1748" y="369"/>
                  <a:pt x="1751" y="372"/>
                  <a:pt x="1751" y="372"/>
                </a:cubicBezTo>
                <a:cubicBezTo>
                  <a:pt x="1752" y="372"/>
                  <a:pt x="1754" y="376"/>
                  <a:pt x="1754" y="376"/>
                </a:cubicBezTo>
                <a:cubicBezTo>
                  <a:pt x="1759" y="375"/>
                  <a:pt x="1759" y="375"/>
                  <a:pt x="1759" y="375"/>
                </a:cubicBezTo>
                <a:cubicBezTo>
                  <a:pt x="1759" y="375"/>
                  <a:pt x="1763" y="379"/>
                  <a:pt x="1764" y="379"/>
                </a:cubicBezTo>
                <a:cubicBezTo>
                  <a:pt x="1765" y="379"/>
                  <a:pt x="1768" y="380"/>
                  <a:pt x="1768" y="380"/>
                </a:cubicBezTo>
                <a:cubicBezTo>
                  <a:pt x="1768" y="380"/>
                  <a:pt x="1774" y="387"/>
                  <a:pt x="1776" y="388"/>
                </a:cubicBezTo>
                <a:cubicBezTo>
                  <a:pt x="1777" y="388"/>
                  <a:pt x="1778" y="389"/>
                  <a:pt x="1779" y="389"/>
                </a:cubicBezTo>
                <a:cubicBezTo>
                  <a:pt x="1779" y="389"/>
                  <a:pt x="1779" y="390"/>
                  <a:pt x="1779" y="390"/>
                </a:cubicBezTo>
                <a:cubicBezTo>
                  <a:pt x="1779" y="390"/>
                  <a:pt x="1779" y="390"/>
                  <a:pt x="1779" y="390"/>
                </a:cubicBezTo>
                <a:cubicBezTo>
                  <a:pt x="1779" y="390"/>
                  <a:pt x="1788" y="395"/>
                  <a:pt x="1790" y="396"/>
                </a:cubicBezTo>
                <a:cubicBezTo>
                  <a:pt x="1791" y="396"/>
                  <a:pt x="1794" y="399"/>
                  <a:pt x="1794" y="399"/>
                </a:cubicBezTo>
                <a:cubicBezTo>
                  <a:pt x="1794" y="399"/>
                  <a:pt x="1795" y="405"/>
                  <a:pt x="1795" y="406"/>
                </a:cubicBezTo>
                <a:cubicBezTo>
                  <a:pt x="1795" y="406"/>
                  <a:pt x="1798" y="410"/>
                  <a:pt x="1798" y="410"/>
                </a:cubicBezTo>
                <a:cubicBezTo>
                  <a:pt x="1798" y="410"/>
                  <a:pt x="1797" y="410"/>
                  <a:pt x="1796" y="411"/>
                </a:cubicBezTo>
                <a:close/>
                <a:moveTo>
                  <a:pt x="1835" y="337"/>
                </a:move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lose/>
                <a:moveTo>
                  <a:pt x="1835" y="313"/>
                </a:moveTo>
                <a:cubicBezTo>
                  <a:pt x="1835" y="312"/>
                  <a:pt x="1835" y="312"/>
                  <a:pt x="1834" y="312"/>
                </a:cubicBezTo>
                <a:cubicBezTo>
                  <a:pt x="1835" y="312"/>
                  <a:pt x="1835" y="312"/>
                  <a:pt x="1835" y="313"/>
                </a:cubicBezTo>
                <a:cubicBezTo>
                  <a:pt x="1835" y="313"/>
                  <a:pt x="1835" y="313"/>
                  <a:pt x="1835" y="313"/>
                </a:cubicBezTo>
                <a:close/>
                <a:moveTo>
                  <a:pt x="1908" y="405"/>
                </a:moveTo>
                <a:cubicBezTo>
                  <a:pt x="1908" y="406"/>
                  <a:pt x="1908" y="406"/>
                  <a:pt x="1910" y="409"/>
                </a:cubicBezTo>
                <a:cubicBezTo>
                  <a:pt x="1911" y="411"/>
                  <a:pt x="1919" y="413"/>
                  <a:pt x="1918" y="415"/>
                </a:cubicBezTo>
                <a:cubicBezTo>
                  <a:pt x="1918" y="418"/>
                  <a:pt x="1918" y="419"/>
                  <a:pt x="1916" y="418"/>
                </a:cubicBezTo>
                <a:cubicBezTo>
                  <a:pt x="1915" y="418"/>
                  <a:pt x="1912" y="415"/>
                  <a:pt x="1912" y="416"/>
                </a:cubicBezTo>
                <a:cubicBezTo>
                  <a:pt x="1913" y="417"/>
                  <a:pt x="1912" y="419"/>
                  <a:pt x="1912" y="419"/>
                </a:cubicBezTo>
                <a:cubicBezTo>
                  <a:pt x="1906" y="419"/>
                  <a:pt x="1906" y="419"/>
                  <a:pt x="1906" y="419"/>
                </a:cubicBezTo>
                <a:cubicBezTo>
                  <a:pt x="1904" y="416"/>
                  <a:pt x="1904" y="416"/>
                  <a:pt x="1904" y="416"/>
                </a:cubicBezTo>
                <a:cubicBezTo>
                  <a:pt x="1904" y="418"/>
                  <a:pt x="1904" y="418"/>
                  <a:pt x="1904" y="418"/>
                </a:cubicBezTo>
                <a:cubicBezTo>
                  <a:pt x="1904" y="418"/>
                  <a:pt x="1902" y="415"/>
                  <a:pt x="1900" y="413"/>
                </a:cubicBezTo>
                <a:cubicBezTo>
                  <a:pt x="1899" y="411"/>
                  <a:pt x="1900" y="408"/>
                  <a:pt x="1899" y="408"/>
                </a:cubicBezTo>
                <a:cubicBezTo>
                  <a:pt x="1899" y="408"/>
                  <a:pt x="1899" y="408"/>
                  <a:pt x="1898" y="408"/>
                </a:cubicBezTo>
                <a:cubicBezTo>
                  <a:pt x="1898" y="408"/>
                  <a:pt x="1898" y="408"/>
                  <a:pt x="1898" y="408"/>
                </a:cubicBezTo>
                <a:cubicBezTo>
                  <a:pt x="1899" y="406"/>
                  <a:pt x="1900" y="402"/>
                  <a:pt x="1902" y="402"/>
                </a:cubicBezTo>
                <a:cubicBezTo>
                  <a:pt x="1903" y="402"/>
                  <a:pt x="1904" y="402"/>
                  <a:pt x="1906" y="402"/>
                </a:cubicBezTo>
                <a:cubicBezTo>
                  <a:pt x="1906" y="403"/>
                  <a:pt x="1906" y="403"/>
                  <a:pt x="1906" y="403"/>
                </a:cubicBezTo>
                <a:cubicBezTo>
                  <a:pt x="1906" y="403"/>
                  <a:pt x="1908" y="405"/>
                  <a:pt x="1908" y="405"/>
                </a:cubicBezTo>
                <a:close/>
                <a:moveTo>
                  <a:pt x="1883" y="302"/>
                </a:moveTo>
                <a:cubicBezTo>
                  <a:pt x="1883" y="302"/>
                  <a:pt x="1882" y="302"/>
                  <a:pt x="1882" y="302"/>
                </a:cubicBezTo>
                <a:cubicBezTo>
                  <a:pt x="1882" y="302"/>
                  <a:pt x="1883" y="302"/>
                  <a:pt x="1883" y="302"/>
                </a:cubicBezTo>
                <a:close/>
                <a:moveTo>
                  <a:pt x="1882" y="301"/>
                </a:moveTo>
                <a:cubicBezTo>
                  <a:pt x="1881" y="301"/>
                  <a:pt x="1881" y="301"/>
                  <a:pt x="1881" y="301"/>
                </a:cubicBezTo>
                <a:cubicBezTo>
                  <a:pt x="1881" y="301"/>
                  <a:pt x="1881" y="301"/>
                  <a:pt x="1882" y="301"/>
                </a:cubicBezTo>
                <a:close/>
                <a:moveTo>
                  <a:pt x="1852" y="353"/>
                </a:moveTo>
                <a:cubicBezTo>
                  <a:pt x="1852" y="353"/>
                  <a:pt x="1852" y="353"/>
                  <a:pt x="1852" y="353"/>
                </a:cubicBezTo>
                <a:cubicBezTo>
                  <a:pt x="1852" y="353"/>
                  <a:pt x="1852" y="353"/>
                  <a:pt x="1851" y="353"/>
                </a:cubicBezTo>
                <a:cubicBezTo>
                  <a:pt x="1852" y="353"/>
                  <a:pt x="1852" y="353"/>
                  <a:pt x="1852" y="353"/>
                </a:cubicBezTo>
                <a:close/>
                <a:moveTo>
                  <a:pt x="1851" y="347"/>
                </a:moveTo>
                <a:cubicBezTo>
                  <a:pt x="1851" y="347"/>
                  <a:pt x="1851" y="347"/>
                  <a:pt x="1851" y="347"/>
                </a:cubicBezTo>
                <a:cubicBezTo>
                  <a:pt x="1850" y="352"/>
                  <a:pt x="1850" y="352"/>
                  <a:pt x="1850" y="352"/>
                </a:cubicBezTo>
                <a:cubicBezTo>
                  <a:pt x="1851" y="347"/>
                  <a:pt x="1851" y="347"/>
                  <a:pt x="1851" y="347"/>
                </a:cubicBezTo>
                <a:cubicBezTo>
                  <a:pt x="1851" y="347"/>
                  <a:pt x="1851" y="347"/>
                  <a:pt x="1851" y="347"/>
                </a:cubicBezTo>
                <a:close/>
                <a:moveTo>
                  <a:pt x="1845" y="313"/>
                </a:move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5" y="312"/>
                  <a:pt x="1845" y="312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4" y="312"/>
                  <a:pt x="1844" y="312"/>
                </a:cubicBezTo>
                <a:cubicBezTo>
                  <a:pt x="1844" y="312"/>
                  <a:pt x="1844" y="312"/>
                  <a:pt x="1845" y="312"/>
                </a:cubicBezTo>
                <a:close/>
                <a:moveTo>
                  <a:pt x="1844" y="311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1"/>
                </a:cubicBezTo>
                <a:cubicBezTo>
                  <a:pt x="1844" y="311"/>
                  <a:pt x="1844" y="311"/>
                  <a:pt x="1844" y="311"/>
                </a:cubicBezTo>
                <a:close/>
                <a:moveTo>
                  <a:pt x="1868" y="446"/>
                </a:moveTo>
                <a:cubicBezTo>
                  <a:pt x="1868" y="446"/>
                  <a:pt x="1868" y="447"/>
                  <a:pt x="1869" y="447"/>
                </a:cubicBezTo>
                <a:cubicBezTo>
                  <a:pt x="1868" y="447"/>
                  <a:pt x="1868" y="446"/>
                  <a:pt x="1868" y="446"/>
                </a:cubicBezTo>
                <a:close/>
                <a:moveTo>
                  <a:pt x="1919" y="463"/>
                </a:moveTo>
                <a:cubicBezTo>
                  <a:pt x="1917" y="464"/>
                  <a:pt x="1914" y="462"/>
                  <a:pt x="1914" y="462"/>
                </a:cubicBezTo>
                <a:cubicBezTo>
                  <a:pt x="1914" y="462"/>
                  <a:pt x="1909" y="463"/>
                  <a:pt x="1906" y="464"/>
                </a:cubicBezTo>
                <a:cubicBezTo>
                  <a:pt x="1904" y="465"/>
                  <a:pt x="1902" y="466"/>
                  <a:pt x="1901" y="466"/>
                </a:cubicBezTo>
                <a:cubicBezTo>
                  <a:pt x="1899" y="466"/>
                  <a:pt x="1897" y="464"/>
                  <a:pt x="1895" y="464"/>
                </a:cubicBezTo>
                <a:cubicBezTo>
                  <a:pt x="1893" y="464"/>
                  <a:pt x="1890" y="464"/>
                  <a:pt x="1888" y="462"/>
                </a:cubicBezTo>
                <a:cubicBezTo>
                  <a:pt x="1885" y="460"/>
                  <a:pt x="1883" y="456"/>
                  <a:pt x="1883" y="456"/>
                </a:cubicBezTo>
                <a:cubicBezTo>
                  <a:pt x="1883" y="456"/>
                  <a:pt x="1877" y="456"/>
                  <a:pt x="1876" y="456"/>
                </a:cubicBezTo>
                <a:cubicBezTo>
                  <a:pt x="1876" y="456"/>
                  <a:pt x="1873" y="454"/>
                  <a:pt x="1872" y="453"/>
                </a:cubicBezTo>
                <a:cubicBezTo>
                  <a:pt x="1871" y="451"/>
                  <a:pt x="1869" y="449"/>
                  <a:pt x="1869" y="447"/>
                </a:cubicBezTo>
                <a:cubicBezTo>
                  <a:pt x="1869" y="446"/>
                  <a:pt x="1870" y="444"/>
                  <a:pt x="1869" y="443"/>
                </a:cubicBezTo>
                <a:cubicBezTo>
                  <a:pt x="1869" y="442"/>
                  <a:pt x="1867" y="441"/>
                  <a:pt x="1867" y="441"/>
                </a:cubicBezTo>
                <a:cubicBezTo>
                  <a:pt x="1869" y="440"/>
                  <a:pt x="1869" y="440"/>
                  <a:pt x="1869" y="440"/>
                </a:cubicBezTo>
                <a:cubicBezTo>
                  <a:pt x="1869" y="436"/>
                  <a:pt x="1869" y="436"/>
                  <a:pt x="1869" y="436"/>
                </a:cubicBezTo>
                <a:cubicBezTo>
                  <a:pt x="1869" y="436"/>
                  <a:pt x="1872" y="439"/>
                  <a:pt x="1873" y="437"/>
                </a:cubicBezTo>
                <a:cubicBezTo>
                  <a:pt x="1874" y="436"/>
                  <a:pt x="1871" y="433"/>
                  <a:pt x="1871" y="433"/>
                </a:cubicBezTo>
                <a:cubicBezTo>
                  <a:pt x="1871" y="431"/>
                  <a:pt x="1871" y="431"/>
                  <a:pt x="1871" y="431"/>
                </a:cubicBezTo>
                <a:cubicBezTo>
                  <a:pt x="1871" y="426"/>
                  <a:pt x="1871" y="426"/>
                  <a:pt x="1871" y="426"/>
                </a:cubicBezTo>
                <a:cubicBezTo>
                  <a:pt x="1873" y="426"/>
                  <a:pt x="1873" y="426"/>
                  <a:pt x="1873" y="426"/>
                </a:cubicBezTo>
                <a:cubicBezTo>
                  <a:pt x="1875" y="424"/>
                  <a:pt x="1875" y="424"/>
                  <a:pt x="1875" y="424"/>
                </a:cubicBezTo>
                <a:cubicBezTo>
                  <a:pt x="1880" y="425"/>
                  <a:pt x="1880" y="425"/>
                  <a:pt x="1880" y="425"/>
                </a:cubicBezTo>
                <a:cubicBezTo>
                  <a:pt x="1880" y="425"/>
                  <a:pt x="1879" y="424"/>
                  <a:pt x="1879" y="422"/>
                </a:cubicBezTo>
                <a:cubicBezTo>
                  <a:pt x="1878" y="420"/>
                  <a:pt x="1874" y="422"/>
                  <a:pt x="1872" y="422"/>
                </a:cubicBezTo>
                <a:cubicBezTo>
                  <a:pt x="1870" y="422"/>
                  <a:pt x="1870" y="418"/>
                  <a:pt x="1870" y="418"/>
                </a:cubicBezTo>
                <a:cubicBezTo>
                  <a:pt x="1866" y="414"/>
                  <a:pt x="1866" y="414"/>
                  <a:pt x="1866" y="414"/>
                </a:cubicBezTo>
                <a:cubicBezTo>
                  <a:pt x="1866" y="413"/>
                  <a:pt x="1866" y="413"/>
                  <a:pt x="1866" y="413"/>
                </a:cubicBezTo>
                <a:cubicBezTo>
                  <a:pt x="1860" y="407"/>
                  <a:pt x="1860" y="407"/>
                  <a:pt x="1860" y="407"/>
                </a:cubicBezTo>
                <a:cubicBezTo>
                  <a:pt x="1858" y="406"/>
                  <a:pt x="1858" y="406"/>
                  <a:pt x="1858" y="406"/>
                </a:cubicBezTo>
                <a:cubicBezTo>
                  <a:pt x="1858" y="406"/>
                  <a:pt x="1857" y="403"/>
                  <a:pt x="1856" y="402"/>
                </a:cubicBezTo>
                <a:cubicBezTo>
                  <a:pt x="1855" y="400"/>
                  <a:pt x="1851" y="399"/>
                  <a:pt x="1851" y="399"/>
                </a:cubicBezTo>
                <a:cubicBezTo>
                  <a:pt x="1851" y="396"/>
                  <a:pt x="1851" y="396"/>
                  <a:pt x="1851" y="396"/>
                </a:cubicBezTo>
                <a:cubicBezTo>
                  <a:pt x="1851" y="396"/>
                  <a:pt x="1849" y="395"/>
                  <a:pt x="1848" y="393"/>
                </a:cubicBezTo>
                <a:cubicBezTo>
                  <a:pt x="1846" y="391"/>
                  <a:pt x="1848" y="388"/>
                  <a:pt x="1847" y="385"/>
                </a:cubicBezTo>
                <a:cubicBezTo>
                  <a:pt x="1846" y="382"/>
                  <a:pt x="1842" y="379"/>
                  <a:pt x="1842" y="379"/>
                </a:cubicBezTo>
                <a:cubicBezTo>
                  <a:pt x="1842" y="379"/>
                  <a:pt x="1840" y="379"/>
                  <a:pt x="1838" y="378"/>
                </a:cubicBezTo>
                <a:cubicBezTo>
                  <a:pt x="1836" y="377"/>
                  <a:pt x="1841" y="373"/>
                  <a:pt x="1841" y="373"/>
                </a:cubicBezTo>
                <a:cubicBezTo>
                  <a:pt x="1841" y="373"/>
                  <a:pt x="1844" y="370"/>
                  <a:pt x="1844" y="368"/>
                </a:cubicBezTo>
                <a:cubicBezTo>
                  <a:pt x="1845" y="367"/>
                  <a:pt x="1842" y="364"/>
                  <a:pt x="1842" y="364"/>
                </a:cubicBezTo>
                <a:cubicBezTo>
                  <a:pt x="1842" y="364"/>
                  <a:pt x="1845" y="365"/>
                  <a:pt x="1846" y="365"/>
                </a:cubicBezTo>
                <a:cubicBezTo>
                  <a:pt x="1846" y="365"/>
                  <a:pt x="1849" y="365"/>
                  <a:pt x="1849" y="364"/>
                </a:cubicBezTo>
                <a:cubicBezTo>
                  <a:pt x="1850" y="362"/>
                  <a:pt x="1851" y="364"/>
                  <a:pt x="1853" y="363"/>
                </a:cubicBezTo>
                <a:cubicBezTo>
                  <a:pt x="1856" y="363"/>
                  <a:pt x="1852" y="360"/>
                  <a:pt x="1852" y="360"/>
                </a:cubicBezTo>
                <a:cubicBezTo>
                  <a:pt x="1852" y="360"/>
                  <a:pt x="1856" y="360"/>
                  <a:pt x="1856" y="360"/>
                </a:cubicBezTo>
                <a:cubicBezTo>
                  <a:pt x="1857" y="360"/>
                  <a:pt x="1856" y="358"/>
                  <a:pt x="1856" y="357"/>
                </a:cubicBezTo>
                <a:cubicBezTo>
                  <a:pt x="1856" y="357"/>
                  <a:pt x="1857" y="358"/>
                  <a:pt x="1857" y="358"/>
                </a:cubicBezTo>
                <a:cubicBezTo>
                  <a:pt x="1858" y="356"/>
                  <a:pt x="1858" y="356"/>
                  <a:pt x="1858" y="356"/>
                </a:cubicBezTo>
                <a:cubicBezTo>
                  <a:pt x="1858" y="356"/>
                  <a:pt x="1860" y="356"/>
                  <a:pt x="1861" y="355"/>
                </a:cubicBezTo>
                <a:cubicBezTo>
                  <a:pt x="1863" y="353"/>
                  <a:pt x="1873" y="349"/>
                  <a:pt x="1874" y="349"/>
                </a:cubicBezTo>
                <a:cubicBezTo>
                  <a:pt x="1876" y="350"/>
                  <a:pt x="1880" y="353"/>
                  <a:pt x="1882" y="353"/>
                </a:cubicBezTo>
                <a:cubicBezTo>
                  <a:pt x="1884" y="353"/>
                  <a:pt x="1886" y="349"/>
                  <a:pt x="1890" y="355"/>
                </a:cubicBezTo>
                <a:cubicBezTo>
                  <a:pt x="1894" y="360"/>
                  <a:pt x="1891" y="361"/>
                  <a:pt x="1890" y="363"/>
                </a:cubicBezTo>
                <a:cubicBezTo>
                  <a:pt x="1890" y="365"/>
                  <a:pt x="1894" y="368"/>
                  <a:pt x="1896" y="369"/>
                </a:cubicBezTo>
                <a:cubicBezTo>
                  <a:pt x="1897" y="369"/>
                  <a:pt x="1899" y="366"/>
                  <a:pt x="1901" y="365"/>
                </a:cubicBezTo>
                <a:cubicBezTo>
                  <a:pt x="1903" y="365"/>
                  <a:pt x="1903" y="367"/>
                  <a:pt x="1903" y="369"/>
                </a:cubicBezTo>
                <a:cubicBezTo>
                  <a:pt x="1903" y="371"/>
                  <a:pt x="1906" y="373"/>
                  <a:pt x="1906" y="373"/>
                </a:cubicBezTo>
                <a:cubicBezTo>
                  <a:pt x="1900" y="373"/>
                  <a:pt x="1900" y="373"/>
                  <a:pt x="1900" y="373"/>
                </a:cubicBezTo>
                <a:cubicBezTo>
                  <a:pt x="1900" y="373"/>
                  <a:pt x="1900" y="377"/>
                  <a:pt x="1898" y="375"/>
                </a:cubicBezTo>
                <a:cubicBezTo>
                  <a:pt x="1895" y="373"/>
                  <a:pt x="1900" y="370"/>
                  <a:pt x="1900" y="370"/>
                </a:cubicBezTo>
                <a:cubicBezTo>
                  <a:pt x="1900" y="370"/>
                  <a:pt x="1890" y="370"/>
                  <a:pt x="1889" y="369"/>
                </a:cubicBezTo>
                <a:cubicBezTo>
                  <a:pt x="1887" y="369"/>
                  <a:pt x="1878" y="367"/>
                  <a:pt x="1878" y="367"/>
                </a:cubicBezTo>
                <a:cubicBezTo>
                  <a:pt x="1880" y="372"/>
                  <a:pt x="1880" y="372"/>
                  <a:pt x="1880" y="372"/>
                </a:cubicBezTo>
                <a:cubicBezTo>
                  <a:pt x="1880" y="372"/>
                  <a:pt x="1876" y="370"/>
                  <a:pt x="1875" y="373"/>
                </a:cubicBezTo>
                <a:cubicBezTo>
                  <a:pt x="1874" y="376"/>
                  <a:pt x="1882" y="376"/>
                  <a:pt x="1881" y="378"/>
                </a:cubicBezTo>
                <a:cubicBezTo>
                  <a:pt x="1881" y="380"/>
                  <a:pt x="1871" y="374"/>
                  <a:pt x="1870" y="377"/>
                </a:cubicBezTo>
                <a:cubicBezTo>
                  <a:pt x="1869" y="379"/>
                  <a:pt x="1876" y="381"/>
                  <a:pt x="1876" y="381"/>
                </a:cubicBezTo>
                <a:cubicBezTo>
                  <a:pt x="1876" y="381"/>
                  <a:pt x="1876" y="383"/>
                  <a:pt x="1877" y="384"/>
                </a:cubicBezTo>
                <a:cubicBezTo>
                  <a:pt x="1879" y="386"/>
                  <a:pt x="1881" y="389"/>
                  <a:pt x="1881" y="389"/>
                </a:cubicBezTo>
                <a:cubicBezTo>
                  <a:pt x="1881" y="392"/>
                  <a:pt x="1881" y="392"/>
                  <a:pt x="1881" y="392"/>
                </a:cubicBezTo>
                <a:cubicBezTo>
                  <a:pt x="1886" y="393"/>
                  <a:pt x="1886" y="393"/>
                  <a:pt x="1886" y="393"/>
                </a:cubicBezTo>
                <a:cubicBezTo>
                  <a:pt x="1887" y="396"/>
                  <a:pt x="1887" y="396"/>
                  <a:pt x="1887" y="396"/>
                </a:cubicBezTo>
                <a:cubicBezTo>
                  <a:pt x="1887" y="396"/>
                  <a:pt x="1894" y="396"/>
                  <a:pt x="1897" y="398"/>
                </a:cubicBezTo>
                <a:cubicBezTo>
                  <a:pt x="1899" y="401"/>
                  <a:pt x="1894" y="403"/>
                  <a:pt x="1894" y="405"/>
                </a:cubicBezTo>
                <a:cubicBezTo>
                  <a:pt x="1893" y="407"/>
                  <a:pt x="1896" y="407"/>
                  <a:pt x="1896" y="407"/>
                </a:cubicBezTo>
                <a:cubicBezTo>
                  <a:pt x="1895" y="409"/>
                  <a:pt x="1898" y="412"/>
                  <a:pt x="1898" y="412"/>
                </a:cubicBezTo>
                <a:cubicBezTo>
                  <a:pt x="1898" y="412"/>
                  <a:pt x="1902" y="417"/>
                  <a:pt x="1902" y="418"/>
                </a:cubicBezTo>
                <a:cubicBezTo>
                  <a:pt x="1902" y="418"/>
                  <a:pt x="1900" y="421"/>
                  <a:pt x="1900" y="422"/>
                </a:cubicBezTo>
                <a:cubicBezTo>
                  <a:pt x="1900" y="423"/>
                  <a:pt x="1904" y="428"/>
                  <a:pt x="1904" y="428"/>
                </a:cubicBezTo>
                <a:cubicBezTo>
                  <a:pt x="1908" y="428"/>
                  <a:pt x="1908" y="428"/>
                  <a:pt x="1908" y="428"/>
                </a:cubicBezTo>
                <a:cubicBezTo>
                  <a:pt x="1908" y="431"/>
                  <a:pt x="1908" y="431"/>
                  <a:pt x="1908" y="431"/>
                </a:cubicBezTo>
                <a:cubicBezTo>
                  <a:pt x="1911" y="433"/>
                  <a:pt x="1911" y="433"/>
                  <a:pt x="1911" y="433"/>
                </a:cubicBezTo>
                <a:cubicBezTo>
                  <a:pt x="1911" y="433"/>
                  <a:pt x="1905" y="432"/>
                  <a:pt x="1906" y="434"/>
                </a:cubicBezTo>
                <a:cubicBezTo>
                  <a:pt x="1907" y="436"/>
                  <a:pt x="1909" y="435"/>
                  <a:pt x="1910" y="436"/>
                </a:cubicBezTo>
                <a:cubicBezTo>
                  <a:pt x="1912" y="436"/>
                  <a:pt x="1914" y="439"/>
                  <a:pt x="1914" y="439"/>
                </a:cubicBezTo>
                <a:cubicBezTo>
                  <a:pt x="1915" y="446"/>
                  <a:pt x="1915" y="446"/>
                  <a:pt x="1915" y="446"/>
                </a:cubicBezTo>
                <a:cubicBezTo>
                  <a:pt x="1916" y="447"/>
                  <a:pt x="1916" y="447"/>
                  <a:pt x="1916" y="447"/>
                </a:cubicBezTo>
                <a:cubicBezTo>
                  <a:pt x="1916" y="447"/>
                  <a:pt x="1915" y="450"/>
                  <a:pt x="1915" y="451"/>
                </a:cubicBezTo>
                <a:cubicBezTo>
                  <a:pt x="1915" y="453"/>
                  <a:pt x="1917" y="457"/>
                  <a:pt x="1917" y="457"/>
                </a:cubicBezTo>
                <a:cubicBezTo>
                  <a:pt x="1917" y="457"/>
                  <a:pt x="1922" y="463"/>
                  <a:pt x="1919" y="463"/>
                </a:cubicBezTo>
                <a:close/>
                <a:moveTo>
                  <a:pt x="1964" y="358"/>
                </a:moveTo>
                <a:cubicBezTo>
                  <a:pt x="1963" y="359"/>
                  <a:pt x="1960" y="360"/>
                  <a:pt x="1960" y="360"/>
                </a:cubicBezTo>
                <a:cubicBezTo>
                  <a:pt x="1960" y="360"/>
                  <a:pt x="1959" y="361"/>
                  <a:pt x="1958" y="362"/>
                </a:cubicBezTo>
                <a:cubicBezTo>
                  <a:pt x="1957" y="363"/>
                  <a:pt x="1954" y="362"/>
                  <a:pt x="1953" y="362"/>
                </a:cubicBezTo>
                <a:cubicBezTo>
                  <a:pt x="1952" y="363"/>
                  <a:pt x="1952" y="365"/>
                  <a:pt x="1952" y="365"/>
                </a:cubicBezTo>
                <a:cubicBezTo>
                  <a:pt x="1952" y="365"/>
                  <a:pt x="1956" y="366"/>
                  <a:pt x="1956" y="367"/>
                </a:cubicBezTo>
                <a:cubicBezTo>
                  <a:pt x="1957" y="367"/>
                  <a:pt x="1958" y="369"/>
                  <a:pt x="1957" y="371"/>
                </a:cubicBezTo>
                <a:cubicBezTo>
                  <a:pt x="1956" y="371"/>
                  <a:pt x="1957" y="373"/>
                  <a:pt x="1957" y="374"/>
                </a:cubicBezTo>
                <a:cubicBezTo>
                  <a:pt x="1958" y="376"/>
                  <a:pt x="1959" y="378"/>
                  <a:pt x="1958" y="379"/>
                </a:cubicBezTo>
                <a:cubicBezTo>
                  <a:pt x="1957" y="381"/>
                  <a:pt x="1957" y="382"/>
                  <a:pt x="1957" y="382"/>
                </a:cubicBezTo>
                <a:cubicBezTo>
                  <a:pt x="1957" y="382"/>
                  <a:pt x="1954" y="382"/>
                  <a:pt x="1952" y="381"/>
                </a:cubicBezTo>
                <a:cubicBezTo>
                  <a:pt x="1951" y="380"/>
                  <a:pt x="1951" y="378"/>
                  <a:pt x="1951" y="378"/>
                </a:cubicBezTo>
                <a:cubicBezTo>
                  <a:pt x="1950" y="374"/>
                  <a:pt x="1950" y="374"/>
                  <a:pt x="1950" y="374"/>
                </a:cubicBezTo>
                <a:cubicBezTo>
                  <a:pt x="1951" y="371"/>
                  <a:pt x="1951" y="371"/>
                  <a:pt x="1951" y="371"/>
                </a:cubicBezTo>
                <a:cubicBezTo>
                  <a:pt x="1951" y="369"/>
                  <a:pt x="1951" y="369"/>
                  <a:pt x="1951" y="369"/>
                </a:cubicBezTo>
                <a:cubicBezTo>
                  <a:pt x="1951" y="369"/>
                  <a:pt x="1949" y="366"/>
                  <a:pt x="1948" y="365"/>
                </a:cubicBezTo>
                <a:cubicBezTo>
                  <a:pt x="1946" y="364"/>
                  <a:pt x="1946" y="363"/>
                  <a:pt x="1946" y="363"/>
                </a:cubicBezTo>
                <a:cubicBezTo>
                  <a:pt x="1944" y="366"/>
                  <a:pt x="1944" y="366"/>
                  <a:pt x="1944" y="366"/>
                </a:cubicBezTo>
                <a:cubicBezTo>
                  <a:pt x="1944" y="368"/>
                  <a:pt x="1944" y="368"/>
                  <a:pt x="1944" y="368"/>
                </a:cubicBezTo>
                <a:cubicBezTo>
                  <a:pt x="1942" y="370"/>
                  <a:pt x="1942" y="370"/>
                  <a:pt x="1942" y="370"/>
                </a:cubicBezTo>
                <a:cubicBezTo>
                  <a:pt x="1942" y="370"/>
                  <a:pt x="1945" y="372"/>
                  <a:pt x="1945" y="374"/>
                </a:cubicBezTo>
                <a:cubicBezTo>
                  <a:pt x="1945" y="376"/>
                  <a:pt x="1944" y="376"/>
                  <a:pt x="1944" y="376"/>
                </a:cubicBezTo>
                <a:cubicBezTo>
                  <a:pt x="1944" y="376"/>
                  <a:pt x="1945" y="378"/>
                  <a:pt x="1942" y="378"/>
                </a:cubicBezTo>
                <a:cubicBezTo>
                  <a:pt x="1940" y="379"/>
                  <a:pt x="1941" y="374"/>
                  <a:pt x="1939" y="374"/>
                </a:cubicBezTo>
                <a:cubicBezTo>
                  <a:pt x="1938" y="374"/>
                  <a:pt x="1941" y="371"/>
                  <a:pt x="1941" y="371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3" y="364"/>
                  <a:pt x="1943" y="362"/>
                </a:cubicBezTo>
                <a:cubicBezTo>
                  <a:pt x="1943" y="360"/>
                  <a:pt x="1947" y="361"/>
                  <a:pt x="1947" y="361"/>
                </a:cubicBezTo>
                <a:cubicBezTo>
                  <a:pt x="1948" y="364"/>
                  <a:pt x="1948" y="364"/>
                  <a:pt x="1948" y="364"/>
                </a:cubicBezTo>
                <a:cubicBezTo>
                  <a:pt x="1948" y="364"/>
                  <a:pt x="1951" y="363"/>
                  <a:pt x="1951" y="362"/>
                </a:cubicBezTo>
                <a:cubicBezTo>
                  <a:pt x="1952" y="362"/>
                  <a:pt x="1948" y="358"/>
                  <a:pt x="1948" y="358"/>
                </a:cubicBezTo>
                <a:cubicBezTo>
                  <a:pt x="1951" y="358"/>
                  <a:pt x="1951" y="358"/>
                  <a:pt x="1951" y="358"/>
                </a:cubicBezTo>
                <a:cubicBezTo>
                  <a:pt x="1952" y="360"/>
                  <a:pt x="1952" y="360"/>
                  <a:pt x="1952" y="360"/>
                </a:cubicBezTo>
                <a:cubicBezTo>
                  <a:pt x="1956" y="360"/>
                  <a:pt x="1956" y="360"/>
                  <a:pt x="1956" y="360"/>
                </a:cubicBezTo>
                <a:cubicBezTo>
                  <a:pt x="1956" y="360"/>
                  <a:pt x="1959" y="360"/>
                  <a:pt x="1959" y="360"/>
                </a:cubicBezTo>
                <a:cubicBezTo>
                  <a:pt x="1960" y="359"/>
                  <a:pt x="1959" y="358"/>
                  <a:pt x="1958" y="358"/>
                </a:cubicBezTo>
                <a:cubicBezTo>
                  <a:pt x="1957" y="358"/>
                  <a:pt x="1956" y="357"/>
                  <a:pt x="1956" y="357"/>
                </a:cubicBezTo>
                <a:cubicBezTo>
                  <a:pt x="1956" y="357"/>
                  <a:pt x="1952" y="358"/>
                  <a:pt x="1952" y="356"/>
                </a:cubicBezTo>
                <a:cubicBezTo>
                  <a:pt x="1951" y="353"/>
                  <a:pt x="1956" y="354"/>
                  <a:pt x="1956" y="354"/>
                </a:cubicBezTo>
                <a:cubicBezTo>
                  <a:pt x="1958" y="352"/>
                  <a:pt x="1958" y="352"/>
                  <a:pt x="1958" y="352"/>
                </a:cubicBezTo>
                <a:cubicBezTo>
                  <a:pt x="1958" y="352"/>
                  <a:pt x="1960" y="356"/>
                  <a:pt x="1961" y="356"/>
                </a:cubicBezTo>
                <a:cubicBezTo>
                  <a:pt x="1962" y="356"/>
                  <a:pt x="1963" y="355"/>
                  <a:pt x="1963" y="355"/>
                </a:cubicBezTo>
                <a:cubicBezTo>
                  <a:pt x="1963" y="355"/>
                  <a:pt x="1965" y="357"/>
                  <a:pt x="1964" y="358"/>
                </a:cubicBezTo>
                <a:close/>
                <a:moveTo>
                  <a:pt x="2119" y="357"/>
                </a:moveTo>
                <a:cubicBezTo>
                  <a:pt x="2118" y="358"/>
                  <a:pt x="2115" y="357"/>
                  <a:pt x="2115" y="357"/>
                </a:cubicBezTo>
                <a:cubicBezTo>
                  <a:pt x="2115" y="357"/>
                  <a:pt x="2114" y="358"/>
                  <a:pt x="2113" y="358"/>
                </a:cubicBezTo>
                <a:cubicBezTo>
                  <a:pt x="2112" y="359"/>
                  <a:pt x="2110" y="356"/>
                  <a:pt x="2110" y="356"/>
                </a:cubicBezTo>
                <a:cubicBezTo>
                  <a:pt x="2106" y="357"/>
                  <a:pt x="2106" y="357"/>
                  <a:pt x="2106" y="357"/>
                </a:cubicBezTo>
                <a:cubicBezTo>
                  <a:pt x="2101" y="356"/>
                  <a:pt x="2101" y="356"/>
                  <a:pt x="2101" y="356"/>
                </a:cubicBezTo>
                <a:cubicBezTo>
                  <a:pt x="2099" y="356"/>
                  <a:pt x="2099" y="356"/>
                  <a:pt x="2099" y="356"/>
                </a:cubicBezTo>
                <a:cubicBezTo>
                  <a:pt x="2095" y="355"/>
                  <a:pt x="2095" y="355"/>
                  <a:pt x="2095" y="355"/>
                </a:cubicBezTo>
                <a:cubicBezTo>
                  <a:pt x="2095" y="355"/>
                  <a:pt x="2093" y="356"/>
                  <a:pt x="2090" y="356"/>
                </a:cubicBezTo>
                <a:cubicBezTo>
                  <a:pt x="2088" y="356"/>
                  <a:pt x="2088" y="354"/>
                  <a:pt x="2088" y="354"/>
                </a:cubicBezTo>
                <a:cubicBezTo>
                  <a:pt x="2088" y="354"/>
                  <a:pt x="2086" y="356"/>
                  <a:pt x="2085" y="356"/>
                </a:cubicBezTo>
                <a:cubicBezTo>
                  <a:pt x="2084" y="357"/>
                  <a:pt x="2084" y="359"/>
                  <a:pt x="2083" y="361"/>
                </a:cubicBezTo>
                <a:cubicBezTo>
                  <a:pt x="2081" y="362"/>
                  <a:pt x="2080" y="362"/>
                  <a:pt x="2080" y="362"/>
                </a:cubicBezTo>
                <a:cubicBezTo>
                  <a:pt x="2080" y="365"/>
                  <a:pt x="2080" y="365"/>
                  <a:pt x="2080" y="365"/>
                </a:cubicBezTo>
                <a:cubicBezTo>
                  <a:pt x="2079" y="367"/>
                  <a:pt x="2079" y="367"/>
                  <a:pt x="2079" y="367"/>
                </a:cubicBezTo>
                <a:cubicBezTo>
                  <a:pt x="2081" y="369"/>
                  <a:pt x="2081" y="369"/>
                  <a:pt x="2081" y="369"/>
                </a:cubicBezTo>
                <a:cubicBezTo>
                  <a:pt x="2081" y="373"/>
                  <a:pt x="2081" y="373"/>
                  <a:pt x="2081" y="373"/>
                </a:cubicBezTo>
                <a:cubicBezTo>
                  <a:pt x="2080" y="373"/>
                  <a:pt x="2074" y="365"/>
                  <a:pt x="2074" y="365"/>
                </a:cubicBezTo>
                <a:cubicBezTo>
                  <a:pt x="2074" y="365"/>
                  <a:pt x="2073" y="362"/>
                  <a:pt x="2073" y="360"/>
                </a:cubicBezTo>
                <a:cubicBezTo>
                  <a:pt x="2073" y="358"/>
                  <a:pt x="2077" y="357"/>
                  <a:pt x="2077" y="357"/>
                </a:cubicBezTo>
                <a:cubicBezTo>
                  <a:pt x="2078" y="357"/>
                  <a:pt x="2078" y="354"/>
                  <a:pt x="2079" y="353"/>
                </a:cubicBezTo>
                <a:cubicBezTo>
                  <a:pt x="2080" y="352"/>
                  <a:pt x="2086" y="353"/>
                  <a:pt x="2086" y="353"/>
                </a:cubicBezTo>
                <a:cubicBezTo>
                  <a:pt x="2087" y="353"/>
                  <a:pt x="2089" y="352"/>
                  <a:pt x="2092" y="352"/>
                </a:cubicBezTo>
                <a:cubicBezTo>
                  <a:pt x="2094" y="352"/>
                  <a:pt x="2096" y="354"/>
                  <a:pt x="2098" y="354"/>
                </a:cubicBezTo>
                <a:cubicBezTo>
                  <a:pt x="2099" y="354"/>
                  <a:pt x="2100" y="355"/>
                  <a:pt x="2103" y="355"/>
                </a:cubicBezTo>
                <a:cubicBezTo>
                  <a:pt x="2106" y="356"/>
                  <a:pt x="2105" y="353"/>
                  <a:pt x="2107" y="353"/>
                </a:cubicBezTo>
                <a:cubicBezTo>
                  <a:pt x="2110" y="353"/>
                  <a:pt x="2114" y="354"/>
                  <a:pt x="2114" y="354"/>
                </a:cubicBezTo>
                <a:cubicBezTo>
                  <a:pt x="2114" y="354"/>
                  <a:pt x="2116" y="352"/>
                  <a:pt x="2119" y="352"/>
                </a:cubicBezTo>
                <a:cubicBezTo>
                  <a:pt x="2122" y="352"/>
                  <a:pt x="2120" y="356"/>
                  <a:pt x="2119" y="357"/>
                </a:cubicBezTo>
                <a:close/>
                <a:moveTo>
                  <a:pt x="2339" y="282"/>
                </a:moveTo>
                <a:cubicBezTo>
                  <a:pt x="2339" y="282"/>
                  <a:pt x="2339" y="285"/>
                  <a:pt x="2339" y="286"/>
                </a:cubicBezTo>
                <a:cubicBezTo>
                  <a:pt x="2338" y="286"/>
                  <a:pt x="2336" y="288"/>
                  <a:pt x="2336" y="288"/>
                </a:cubicBezTo>
                <a:cubicBezTo>
                  <a:pt x="2336" y="288"/>
                  <a:pt x="2333" y="289"/>
                  <a:pt x="2332" y="289"/>
                </a:cubicBezTo>
                <a:cubicBezTo>
                  <a:pt x="2331" y="289"/>
                  <a:pt x="2331" y="292"/>
                  <a:pt x="2331" y="292"/>
                </a:cubicBezTo>
                <a:cubicBezTo>
                  <a:pt x="2331" y="292"/>
                  <a:pt x="2331" y="290"/>
                  <a:pt x="2327" y="292"/>
                </a:cubicBezTo>
                <a:cubicBezTo>
                  <a:pt x="2322" y="293"/>
                  <a:pt x="2329" y="295"/>
                  <a:pt x="2329" y="295"/>
                </a:cubicBezTo>
                <a:cubicBezTo>
                  <a:pt x="2329" y="295"/>
                  <a:pt x="2326" y="297"/>
                  <a:pt x="2326" y="298"/>
                </a:cubicBezTo>
                <a:cubicBezTo>
                  <a:pt x="2326" y="301"/>
                  <a:pt x="2323" y="299"/>
                  <a:pt x="2323" y="299"/>
                </a:cubicBezTo>
                <a:cubicBezTo>
                  <a:pt x="2323" y="299"/>
                  <a:pt x="2322" y="302"/>
                  <a:pt x="2318" y="302"/>
                </a:cubicBezTo>
                <a:cubicBezTo>
                  <a:pt x="2313" y="302"/>
                  <a:pt x="2314" y="301"/>
                  <a:pt x="2314" y="301"/>
                </a:cubicBezTo>
                <a:cubicBezTo>
                  <a:pt x="2309" y="299"/>
                  <a:pt x="2309" y="299"/>
                  <a:pt x="2309" y="299"/>
                </a:cubicBezTo>
                <a:cubicBezTo>
                  <a:pt x="2311" y="298"/>
                  <a:pt x="2311" y="298"/>
                  <a:pt x="2311" y="298"/>
                </a:cubicBezTo>
                <a:cubicBezTo>
                  <a:pt x="2316" y="298"/>
                  <a:pt x="2316" y="298"/>
                  <a:pt x="2316" y="298"/>
                </a:cubicBezTo>
                <a:cubicBezTo>
                  <a:pt x="2316" y="297"/>
                  <a:pt x="2316" y="297"/>
                  <a:pt x="2316" y="297"/>
                </a:cubicBezTo>
                <a:cubicBezTo>
                  <a:pt x="2316" y="297"/>
                  <a:pt x="2319" y="297"/>
                  <a:pt x="2321" y="296"/>
                </a:cubicBezTo>
                <a:cubicBezTo>
                  <a:pt x="2322" y="294"/>
                  <a:pt x="2322" y="290"/>
                  <a:pt x="2322" y="290"/>
                </a:cubicBezTo>
                <a:cubicBezTo>
                  <a:pt x="2322" y="290"/>
                  <a:pt x="2323" y="290"/>
                  <a:pt x="2325" y="290"/>
                </a:cubicBezTo>
                <a:cubicBezTo>
                  <a:pt x="2327" y="289"/>
                  <a:pt x="2327" y="286"/>
                  <a:pt x="2327" y="286"/>
                </a:cubicBezTo>
                <a:cubicBezTo>
                  <a:pt x="2327" y="286"/>
                  <a:pt x="2325" y="285"/>
                  <a:pt x="2326" y="284"/>
                </a:cubicBezTo>
                <a:cubicBezTo>
                  <a:pt x="2326" y="283"/>
                  <a:pt x="2330" y="279"/>
                  <a:pt x="2330" y="279"/>
                </a:cubicBezTo>
                <a:cubicBezTo>
                  <a:pt x="2330" y="277"/>
                  <a:pt x="2330" y="277"/>
                  <a:pt x="2330" y="277"/>
                </a:cubicBezTo>
                <a:cubicBezTo>
                  <a:pt x="2333" y="274"/>
                  <a:pt x="2333" y="274"/>
                  <a:pt x="2333" y="274"/>
                </a:cubicBezTo>
                <a:cubicBezTo>
                  <a:pt x="2331" y="272"/>
                  <a:pt x="2331" y="272"/>
                  <a:pt x="2331" y="272"/>
                </a:cubicBezTo>
                <a:cubicBezTo>
                  <a:pt x="2331" y="261"/>
                  <a:pt x="2331" y="261"/>
                  <a:pt x="2331" y="261"/>
                </a:cubicBezTo>
                <a:cubicBezTo>
                  <a:pt x="2331" y="261"/>
                  <a:pt x="2328" y="256"/>
                  <a:pt x="2331" y="255"/>
                </a:cubicBezTo>
                <a:cubicBezTo>
                  <a:pt x="2335" y="254"/>
                  <a:pt x="2335" y="260"/>
                  <a:pt x="2335" y="260"/>
                </a:cubicBezTo>
                <a:cubicBezTo>
                  <a:pt x="2335" y="260"/>
                  <a:pt x="2337" y="261"/>
                  <a:pt x="2337" y="264"/>
                </a:cubicBezTo>
                <a:cubicBezTo>
                  <a:pt x="2338" y="267"/>
                  <a:pt x="2339" y="270"/>
                  <a:pt x="2339" y="270"/>
                </a:cubicBezTo>
                <a:cubicBezTo>
                  <a:pt x="2342" y="274"/>
                  <a:pt x="2342" y="274"/>
                  <a:pt x="2342" y="274"/>
                </a:cubicBezTo>
                <a:cubicBezTo>
                  <a:pt x="2340" y="276"/>
                  <a:pt x="2340" y="276"/>
                  <a:pt x="2340" y="276"/>
                </a:cubicBezTo>
                <a:cubicBezTo>
                  <a:pt x="2340" y="276"/>
                  <a:pt x="2338" y="277"/>
                  <a:pt x="2338" y="279"/>
                </a:cubicBezTo>
                <a:cubicBezTo>
                  <a:pt x="2338" y="280"/>
                  <a:pt x="2342" y="278"/>
                  <a:pt x="2342" y="278"/>
                </a:cubicBezTo>
                <a:cubicBezTo>
                  <a:pt x="2342" y="281"/>
                  <a:pt x="2342" y="281"/>
                  <a:pt x="2342" y="281"/>
                </a:cubicBezTo>
                <a:cubicBezTo>
                  <a:pt x="2339" y="282"/>
                  <a:pt x="2339" y="282"/>
                  <a:pt x="2339" y="282"/>
                </a:cubicBezTo>
                <a:cubicBezTo>
                  <a:pt x="2339" y="282"/>
                  <a:pt x="2339" y="282"/>
                  <a:pt x="2339" y="282"/>
                </a:cubicBezTo>
                <a:close/>
                <a:moveTo>
                  <a:pt x="2727" y="377"/>
                </a:moveTo>
                <a:cubicBezTo>
                  <a:pt x="2725" y="386"/>
                  <a:pt x="2725" y="386"/>
                  <a:pt x="2725" y="386"/>
                </a:cubicBezTo>
                <a:cubicBezTo>
                  <a:pt x="2727" y="385"/>
                  <a:pt x="2727" y="385"/>
                  <a:pt x="2727" y="385"/>
                </a:cubicBezTo>
                <a:cubicBezTo>
                  <a:pt x="2730" y="379"/>
                  <a:pt x="2730" y="379"/>
                  <a:pt x="2730" y="379"/>
                </a:cubicBezTo>
                <a:cubicBezTo>
                  <a:pt x="2727" y="377"/>
                  <a:pt x="2727" y="377"/>
                  <a:pt x="2727" y="377"/>
                </a:cubicBezTo>
                <a:cubicBezTo>
                  <a:pt x="2727" y="377"/>
                  <a:pt x="2727" y="377"/>
                  <a:pt x="2727" y="377"/>
                </a:cubicBezTo>
                <a:close/>
                <a:moveTo>
                  <a:pt x="2639" y="502"/>
                </a:moveTo>
                <a:cubicBezTo>
                  <a:pt x="2643" y="509"/>
                  <a:pt x="2643" y="509"/>
                  <a:pt x="2643" y="509"/>
                </a:cubicBezTo>
                <a:cubicBezTo>
                  <a:pt x="2645" y="508"/>
                  <a:pt x="2645" y="508"/>
                  <a:pt x="2645" y="508"/>
                </a:cubicBezTo>
                <a:cubicBezTo>
                  <a:pt x="2645" y="508"/>
                  <a:pt x="2644" y="504"/>
                  <a:pt x="2645" y="505"/>
                </a:cubicBezTo>
                <a:cubicBezTo>
                  <a:pt x="2647" y="506"/>
                  <a:pt x="2649" y="510"/>
                  <a:pt x="2649" y="510"/>
                </a:cubicBezTo>
                <a:cubicBezTo>
                  <a:pt x="2649" y="515"/>
                  <a:pt x="2649" y="515"/>
                  <a:pt x="2649" y="515"/>
                </a:cubicBezTo>
                <a:cubicBezTo>
                  <a:pt x="2647" y="517"/>
                  <a:pt x="2647" y="517"/>
                  <a:pt x="2647" y="517"/>
                </a:cubicBezTo>
                <a:cubicBezTo>
                  <a:pt x="2647" y="517"/>
                  <a:pt x="2649" y="526"/>
                  <a:pt x="2651" y="527"/>
                </a:cubicBezTo>
                <a:cubicBezTo>
                  <a:pt x="2653" y="527"/>
                  <a:pt x="2653" y="520"/>
                  <a:pt x="2653" y="520"/>
                </a:cubicBezTo>
                <a:cubicBezTo>
                  <a:pt x="2657" y="522"/>
                  <a:pt x="2657" y="522"/>
                  <a:pt x="2657" y="522"/>
                </a:cubicBezTo>
                <a:cubicBezTo>
                  <a:pt x="2657" y="522"/>
                  <a:pt x="2657" y="528"/>
                  <a:pt x="2657" y="528"/>
                </a:cubicBezTo>
                <a:cubicBezTo>
                  <a:pt x="2658" y="528"/>
                  <a:pt x="2661" y="523"/>
                  <a:pt x="2661" y="523"/>
                </a:cubicBezTo>
                <a:cubicBezTo>
                  <a:pt x="2661" y="523"/>
                  <a:pt x="2659" y="515"/>
                  <a:pt x="2659" y="513"/>
                </a:cubicBezTo>
                <a:cubicBezTo>
                  <a:pt x="2659" y="510"/>
                  <a:pt x="2662" y="509"/>
                  <a:pt x="2662" y="509"/>
                </a:cubicBezTo>
                <a:cubicBezTo>
                  <a:pt x="2662" y="506"/>
                  <a:pt x="2657" y="503"/>
                  <a:pt x="2657" y="503"/>
                </a:cubicBezTo>
                <a:cubicBezTo>
                  <a:pt x="2657" y="503"/>
                  <a:pt x="2657" y="501"/>
                  <a:pt x="2656" y="500"/>
                </a:cubicBezTo>
                <a:cubicBezTo>
                  <a:pt x="2654" y="500"/>
                  <a:pt x="2653" y="500"/>
                  <a:pt x="2653" y="500"/>
                </a:cubicBezTo>
                <a:cubicBezTo>
                  <a:pt x="2653" y="500"/>
                  <a:pt x="2649" y="497"/>
                  <a:pt x="2647" y="497"/>
                </a:cubicBezTo>
                <a:cubicBezTo>
                  <a:pt x="2646" y="497"/>
                  <a:pt x="2644" y="500"/>
                  <a:pt x="2644" y="500"/>
                </a:cubicBezTo>
                <a:cubicBezTo>
                  <a:pt x="2639" y="502"/>
                  <a:pt x="2639" y="502"/>
                  <a:pt x="2639" y="502"/>
                </a:cubicBezTo>
                <a:cubicBezTo>
                  <a:pt x="2639" y="502"/>
                  <a:pt x="2639" y="502"/>
                  <a:pt x="2639" y="502"/>
                </a:cubicBezTo>
                <a:close/>
                <a:moveTo>
                  <a:pt x="2697" y="453"/>
                </a:moveTo>
                <a:cubicBezTo>
                  <a:pt x="2699" y="453"/>
                  <a:pt x="2699" y="453"/>
                  <a:pt x="2699" y="453"/>
                </a:cubicBezTo>
                <a:cubicBezTo>
                  <a:pt x="2699" y="450"/>
                  <a:pt x="2699" y="450"/>
                  <a:pt x="2699" y="450"/>
                </a:cubicBezTo>
                <a:cubicBezTo>
                  <a:pt x="2698" y="449"/>
                  <a:pt x="2698" y="449"/>
                  <a:pt x="2698" y="449"/>
                </a:cubicBezTo>
                <a:cubicBezTo>
                  <a:pt x="2696" y="446"/>
                  <a:pt x="2696" y="446"/>
                  <a:pt x="2696" y="446"/>
                </a:cubicBezTo>
                <a:cubicBezTo>
                  <a:pt x="2695" y="448"/>
                  <a:pt x="2695" y="448"/>
                  <a:pt x="2695" y="448"/>
                </a:cubicBezTo>
                <a:cubicBezTo>
                  <a:pt x="2696" y="450"/>
                  <a:pt x="2696" y="450"/>
                  <a:pt x="2696" y="450"/>
                </a:cubicBezTo>
                <a:cubicBezTo>
                  <a:pt x="2697" y="453"/>
                  <a:pt x="2697" y="453"/>
                  <a:pt x="2697" y="453"/>
                </a:cubicBezTo>
                <a:cubicBezTo>
                  <a:pt x="2697" y="453"/>
                  <a:pt x="2697" y="453"/>
                  <a:pt x="2697" y="453"/>
                </a:cubicBezTo>
                <a:close/>
                <a:moveTo>
                  <a:pt x="2647" y="575"/>
                </a:moveTo>
                <a:cubicBezTo>
                  <a:pt x="2645" y="577"/>
                  <a:pt x="2643" y="584"/>
                  <a:pt x="2643" y="584"/>
                </a:cubicBezTo>
                <a:cubicBezTo>
                  <a:pt x="2646" y="585"/>
                  <a:pt x="2646" y="585"/>
                  <a:pt x="2646" y="585"/>
                </a:cubicBezTo>
                <a:cubicBezTo>
                  <a:pt x="2646" y="585"/>
                  <a:pt x="2648" y="580"/>
                  <a:pt x="2648" y="580"/>
                </a:cubicBezTo>
                <a:cubicBezTo>
                  <a:pt x="2647" y="580"/>
                  <a:pt x="2650" y="577"/>
                  <a:pt x="2650" y="577"/>
                </a:cubicBezTo>
                <a:cubicBezTo>
                  <a:pt x="2650" y="577"/>
                  <a:pt x="2649" y="573"/>
                  <a:pt x="2647" y="575"/>
                </a:cubicBezTo>
                <a:close/>
                <a:moveTo>
                  <a:pt x="2649" y="568"/>
                </a:moveTo>
                <a:cubicBezTo>
                  <a:pt x="2649" y="570"/>
                  <a:pt x="2649" y="570"/>
                  <a:pt x="2649" y="570"/>
                </a:cubicBezTo>
                <a:cubicBezTo>
                  <a:pt x="2652" y="570"/>
                  <a:pt x="2652" y="570"/>
                  <a:pt x="2652" y="570"/>
                </a:cubicBezTo>
                <a:cubicBezTo>
                  <a:pt x="2649" y="568"/>
                  <a:pt x="2649" y="568"/>
                  <a:pt x="2649" y="568"/>
                </a:cubicBezTo>
                <a:cubicBezTo>
                  <a:pt x="2649" y="568"/>
                  <a:pt x="2649" y="568"/>
                  <a:pt x="2649" y="568"/>
                </a:cubicBezTo>
                <a:close/>
                <a:moveTo>
                  <a:pt x="2721" y="381"/>
                </a:moveTo>
                <a:cubicBezTo>
                  <a:pt x="2719" y="379"/>
                  <a:pt x="2718" y="384"/>
                  <a:pt x="2718" y="384"/>
                </a:cubicBezTo>
                <a:cubicBezTo>
                  <a:pt x="2718" y="384"/>
                  <a:pt x="2704" y="381"/>
                  <a:pt x="2701" y="379"/>
                </a:cubicBezTo>
                <a:cubicBezTo>
                  <a:pt x="2697" y="377"/>
                  <a:pt x="2682" y="364"/>
                  <a:pt x="2680" y="367"/>
                </a:cubicBezTo>
                <a:cubicBezTo>
                  <a:pt x="2678" y="369"/>
                  <a:pt x="2687" y="376"/>
                  <a:pt x="2687" y="376"/>
                </a:cubicBezTo>
                <a:cubicBezTo>
                  <a:pt x="2687" y="379"/>
                  <a:pt x="2687" y="379"/>
                  <a:pt x="2687" y="379"/>
                </a:cubicBezTo>
                <a:cubicBezTo>
                  <a:pt x="2687" y="379"/>
                  <a:pt x="2690" y="382"/>
                  <a:pt x="2690" y="383"/>
                </a:cubicBezTo>
                <a:cubicBezTo>
                  <a:pt x="2690" y="385"/>
                  <a:pt x="2689" y="387"/>
                  <a:pt x="2689" y="387"/>
                </a:cubicBezTo>
                <a:cubicBezTo>
                  <a:pt x="2689" y="387"/>
                  <a:pt x="2693" y="392"/>
                  <a:pt x="2692" y="392"/>
                </a:cubicBezTo>
                <a:cubicBezTo>
                  <a:pt x="2690" y="392"/>
                  <a:pt x="2684" y="391"/>
                  <a:pt x="2683" y="390"/>
                </a:cubicBezTo>
                <a:cubicBezTo>
                  <a:pt x="2681" y="390"/>
                  <a:pt x="2686" y="394"/>
                  <a:pt x="2686" y="394"/>
                </a:cubicBezTo>
                <a:cubicBezTo>
                  <a:pt x="2682" y="398"/>
                  <a:pt x="2682" y="398"/>
                  <a:pt x="2682" y="398"/>
                </a:cubicBezTo>
                <a:cubicBezTo>
                  <a:pt x="2682" y="398"/>
                  <a:pt x="2684" y="401"/>
                  <a:pt x="2684" y="402"/>
                </a:cubicBezTo>
                <a:cubicBezTo>
                  <a:pt x="2685" y="403"/>
                  <a:pt x="2690" y="406"/>
                  <a:pt x="2690" y="406"/>
                </a:cubicBezTo>
                <a:cubicBezTo>
                  <a:pt x="2690" y="406"/>
                  <a:pt x="2688" y="413"/>
                  <a:pt x="2693" y="413"/>
                </a:cubicBezTo>
                <a:cubicBezTo>
                  <a:pt x="2695" y="412"/>
                  <a:pt x="2692" y="409"/>
                  <a:pt x="2694" y="409"/>
                </a:cubicBezTo>
                <a:cubicBezTo>
                  <a:pt x="2697" y="409"/>
                  <a:pt x="2699" y="409"/>
                  <a:pt x="2699" y="409"/>
                </a:cubicBezTo>
                <a:cubicBezTo>
                  <a:pt x="2700" y="407"/>
                  <a:pt x="2700" y="407"/>
                  <a:pt x="2700" y="407"/>
                </a:cubicBezTo>
                <a:cubicBezTo>
                  <a:pt x="2695" y="404"/>
                  <a:pt x="2695" y="404"/>
                  <a:pt x="2695" y="404"/>
                </a:cubicBezTo>
                <a:cubicBezTo>
                  <a:pt x="2692" y="404"/>
                  <a:pt x="2692" y="404"/>
                  <a:pt x="2692" y="404"/>
                </a:cubicBezTo>
                <a:cubicBezTo>
                  <a:pt x="2692" y="404"/>
                  <a:pt x="2685" y="401"/>
                  <a:pt x="2688" y="400"/>
                </a:cubicBezTo>
                <a:cubicBezTo>
                  <a:pt x="2692" y="398"/>
                  <a:pt x="2694" y="402"/>
                  <a:pt x="2694" y="402"/>
                </a:cubicBezTo>
                <a:cubicBezTo>
                  <a:pt x="2694" y="402"/>
                  <a:pt x="2697" y="400"/>
                  <a:pt x="2699" y="399"/>
                </a:cubicBezTo>
                <a:cubicBezTo>
                  <a:pt x="2701" y="399"/>
                  <a:pt x="2716" y="407"/>
                  <a:pt x="2717" y="406"/>
                </a:cubicBezTo>
                <a:cubicBezTo>
                  <a:pt x="2718" y="405"/>
                  <a:pt x="2714" y="397"/>
                  <a:pt x="2718" y="395"/>
                </a:cubicBezTo>
                <a:cubicBezTo>
                  <a:pt x="2722" y="394"/>
                  <a:pt x="2721" y="397"/>
                  <a:pt x="2725" y="395"/>
                </a:cubicBezTo>
                <a:cubicBezTo>
                  <a:pt x="2729" y="393"/>
                  <a:pt x="2730" y="392"/>
                  <a:pt x="2730" y="392"/>
                </a:cubicBezTo>
                <a:cubicBezTo>
                  <a:pt x="2722" y="387"/>
                  <a:pt x="2722" y="387"/>
                  <a:pt x="2722" y="387"/>
                </a:cubicBezTo>
                <a:cubicBezTo>
                  <a:pt x="2722" y="387"/>
                  <a:pt x="2722" y="382"/>
                  <a:pt x="2721" y="381"/>
                </a:cubicBezTo>
                <a:close/>
                <a:moveTo>
                  <a:pt x="1804" y="932"/>
                </a:moveTo>
                <a:cubicBezTo>
                  <a:pt x="1803" y="934"/>
                  <a:pt x="1803" y="939"/>
                  <a:pt x="1806" y="939"/>
                </a:cubicBezTo>
                <a:cubicBezTo>
                  <a:pt x="1809" y="938"/>
                  <a:pt x="1806" y="930"/>
                  <a:pt x="1804" y="932"/>
                </a:cubicBezTo>
                <a:close/>
                <a:moveTo>
                  <a:pt x="1801" y="942"/>
                </a:moveTo>
                <a:cubicBezTo>
                  <a:pt x="1797" y="942"/>
                  <a:pt x="1799" y="947"/>
                  <a:pt x="1799" y="947"/>
                </a:cubicBezTo>
                <a:cubicBezTo>
                  <a:pt x="1799" y="947"/>
                  <a:pt x="1803" y="951"/>
                  <a:pt x="1805" y="951"/>
                </a:cubicBezTo>
                <a:cubicBezTo>
                  <a:pt x="1807" y="950"/>
                  <a:pt x="1803" y="946"/>
                  <a:pt x="1803" y="946"/>
                </a:cubicBezTo>
                <a:cubicBezTo>
                  <a:pt x="1803" y="946"/>
                  <a:pt x="1804" y="942"/>
                  <a:pt x="1801" y="942"/>
                </a:cubicBezTo>
                <a:close/>
                <a:moveTo>
                  <a:pt x="1911" y="1038"/>
                </a:moveTo>
                <a:cubicBezTo>
                  <a:pt x="1911" y="1038"/>
                  <a:pt x="1906" y="1028"/>
                  <a:pt x="1906" y="1027"/>
                </a:cubicBezTo>
                <a:cubicBezTo>
                  <a:pt x="1906" y="1026"/>
                  <a:pt x="1906" y="1024"/>
                  <a:pt x="1906" y="1024"/>
                </a:cubicBezTo>
                <a:cubicBezTo>
                  <a:pt x="1898" y="1015"/>
                  <a:pt x="1898" y="1015"/>
                  <a:pt x="1898" y="1015"/>
                </a:cubicBezTo>
                <a:cubicBezTo>
                  <a:pt x="1894" y="1021"/>
                  <a:pt x="1894" y="1021"/>
                  <a:pt x="1894" y="1021"/>
                </a:cubicBezTo>
                <a:cubicBezTo>
                  <a:pt x="1894" y="1021"/>
                  <a:pt x="1894" y="1025"/>
                  <a:pt x="1893" y="1028"/>
                </a:cubicBezTo>
                <a:cubicBezTo>
                  <a:pt x="1892" y="1031"/>
                  <a:pt x="1888" y="1034"/>
                  <a:pt x="1888" y="1034"/>
                </a:cubicBezTo>
                <a:cubicBezTo>
                  <a:pt x="1888" y="1034"/>
                  <a:pt x="1886" y="1032"/>
                  <a:pt x="1885" y="1034"/>
                </a:cubicBezTo>
                <a:cubicBezTo>
                  <a:pt x="1883" y="1035"/>
                  <a:pt x="1886" y="1039"/>
                  <a:pt x="1884" y="1042"/>
                </a:cubicBezTo>
                <a:cubicBezTo>
                  <a:pt x="1882" y="1044"/>
                  <a:pt x="1881" y="1044"/>
                  <a:pt x="1881" y="1044"/>
                </a:cubicBezTo>
                <a:cubicBezTo>
                  <a:pt x="1881" y="1044"/>
                  <a:pt x="1880" y="1040"/>
                  <a:pt x="1879" y="1041"/>
                </a:cubicBezTo>
                <a:cubicBezTo>
                  <a:pt x="1877" y="1042"/>
                  <a:pt x="1878" y="1048"/>
                  <a:pt x="1878" y="1048"/>
                </a:cubicBezTo>
                <a:cubicBezTo>
                  <a:pt x="1876" y="1054"/>
                  <a:pt x="1876" y="1054"/>
                  <a:pt x="1876" y="1054"/>
                </a:cubicBezTo>
                <a:cubicBezTo>
                  <a:pt x="1875" y="1051"/>
                  <a:pt x="1875" y="1051"/>
                  <a:pt x="1875" y="1051"/>
                </a:cubicBezTo>
                <a:cubicBezTo>
                  <a:pt x="1875" y="1047"/>
                  <a:pt x="1875" y="1047"/>
                  <a:pt x="1875" y="1047"/>
                </a:cubicBezTo>
                <a:cubicBezTo>
                  <a:pt x="1873" y="1051"/>
                  <a:pt x="1873" y="1051"/>
                  <a:pt x="1873" y="1051"/>
                </a:cubicBezTo>
                <a:cubicBezTo>
                  <a:pt x="1873" y="1056"/>
                  <a:pt x="1873" y="1056"/>
                  <a:pt x="1873" y="1056"/>
                </a:cubicBezTo>
                <a:cubicBezTo>
                  <a:pt x="1867" y="1055"/>
                  <a:pt x="1867" y="1055"/>
                  <a:pt x="1867" y="1055"/>
                </a:cubicBezTo>
                <a:cubicBezTo>
                  <a:pt x="1864" y="1058"/>
                  <a:pt x="1864" y="1058"/>
                  <a:pt x="1864" y="1058"/>
                </a:cubicBezTo>
                <a:cubicBezTo>
                  <a:pt x="1856" y="1057"/>
                  <a:pt x="1856" y="1057"/>
                  <a:pt x="1856" y="1057"/>
                </a:cubicBezTo>
                <a:cubicBezTo>
                  <a:pt x="1856" y="1061"/>
                  <a:pt x="1856" y="1061"/>
                  <a:pt x="1856" y="1061"/>
                </a:cubicBezTo>
                <a:cubicBezTo>
                  <a:pt x="1850" y="1060"/>
                  <a:pt x="1850" y="1060"/>
                  <a:pt x="1850" y="1060"/>
                </a:cubicBezTo>
                <a:cubicBezTo>
                  <a:pt x="1846" y="1061"/>
                  <a:pt x="1846" y="1061"/>
                  <a:pt x="1846" y="1061"/>
                </a:cubicBezTo>
                <a:cubicBezTo>
                  <a:pt x="1848" y="1065"/>
                  <a:pt x="1848" y="1065"/>
                  <a:pt x="1848" y="1065"/>
                </a:cubicBezTo>
                <a:cubicBezTo>
                  <a:pt x="1848" y="1065"/>
                  <a:pt x="1845" y="1069"/>
                  <a:pt x="1842" y="1072"/>
                </a:cubicBezTo>
                <a:cubicBezTo>
                  <a:pt x="1839" y="1074"/>
                  <a:pt x="1842" y="1084"/>
                  <a:pt x="1843" y="1088"/>
                </a:cubicBezTo>
                <a:cubicBezTo>
                  <a:pt x="1843" y="1093"/>
                  <a:pt x="1844" y="1106"/>
                  <a:pt x="1844" y="1106"/>
                </a:cubicBezTo>
                <a:cubicBezTo>
                  <a:pt x="1844" y="1106"/>
                  <a:pt x="1839" y="1110"/>
                  <a:pt x="1836" y="1114"/>
                </a:cubicBezTo>
                <a:cubicBezTo>
                  <a:pt x="1833" y="1118"/>
                  <a:pt x="1828" y="1118"/>
                  <a:pt x="1829" y="1132"/>
                </a:cubicBezTo>
                <a:cubicBezTo>
                  <a:pt x="1830" y="1145"/>
                  <a:pt x="1836" y="1153"/>
                  <a:pt x="1836" y="1153"/>
                </a:cubicBezTo>
                <a:cubicBezTo>
                  <a:pt x="1834" y="1156"/>
                  <a:pt x="1834" y="1156"/>
                  <a:pt x="1834" y="1156"/>
                </a:cubicBezTo>
                <a:cubicBezTo>
                  <a:pt x="1834" y="1156"/>
                  <a:pt x="1834" y="1159"/>
                  <a:pt x="1840" y="1165"/>
                </a:cubicBezTo>
                <a:cubicBezTo>
                  <a:pt x="1847" y="1171"/>
                  <a:pt x="1856" y="1164"/>
                  <a:pt x="1856" y="1164"/>
                </a:cubicBezTo>
                <a:cubicBezTo>
                  <a:pt x="1856" y="1164"/>
                  <a:pt x="1857" y="1165"/>
                  <a:pt x="1859" y="1164"/>
                </a:cubicBezTo>
                <a:cubicBezTo>
                  <a:pt x="1861" y="1163"/>
                  <a:pt x="1862" y="1161"/>
                  <a:pt x="1867" y="1157"/>
                </a:cubicBezTo>
                <a:cubicBezTo>
                  <a:pt x="1873" y="1152"/>
                  <a:pt x="1872" y="1143"/>
                  <a:pt x="1872" y="1143"/>
                </a:cubicBezTo>
                <a:cubicBezTo>
                  <a:pt x="1872" y="1143"/>
                  <a:pt x="1876" y="1130"/>
                  <a:pt x="1884" y="1115"/>
                </a:cubicBezTo>
                <a:cubicBezTo>
                  <a:pt x="1892" y="1101"/>
                  <a:pt x="1897" y="1085"/>
                  <a:pt x="1899" y="1080"/>
                </a:cubicBezTo>
                <a:cubicBezTo>
                  <a:pt x="1900" y="1075"/>
                  <a:pt x="1897" y="1072"/>
                  <a:pt x="1898" y="1069"/>
                </a:cubicBezTo>
                <a:cubicBezTo>
                  <a:pt x="1898" y="1066"/>
                  <a:pt x="1903" y="1061"/>
                  <a:pt x="1903" y="1061"/>
                </a:cubicBezTo>
                <a:cubicBezTo>
                  <a:pt x="1902" y="1056"/>
                  <a:pt x="1902" y="1056"/>
                  <a:pt x="1902" y="1056"/>
                </a:cubicBezTo>
                <a:cubicBezTo>
                  <a:pt x="1906" y="1055"/>
                  <a:pt x="1906" y="1055"/>
                  <a:pt x="1906" y="1055"/>
                </a:cubicBezTo>
                <a:cubicBezTo>
                  <a:pt x="1906" y="1055"/>
                  <a:pt x="1911" y="1057"/>
                  <a:pt x="1912" y="1056"/>
                </a:cubicBezTo>
                <a:cubicBezTo>
                  <a:pt x="1913" y="1055"/>
                  <a:pt x="1908" y="1045"/>
                  <a:pt x="1908" y="1045"/>
                </a:cubicBezTo>
                <a:cubicBezTo>
                  <a:pt x="1911" y="1038"/>
                  <a:pt x="1911" y="1038"/>
                  <a:pt x="1911" y="1038"/>
                </a:cubicBezTo>
                <a:cubicBezTo>
                  <a:pt x="1911" y="1038"/>
                  <a:pt x="1911" y="1038"/>
                  <a:pt x="1911" y="1038"/>
                </a:cubicBezTo>
                <a:close/>
              </a:path>
            </a:pathLst>
          </a:custGeom>
          <a:solidFill>
            <a:srgbClr val="45698D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" name="Titel">
            <a:extLst>
              <a:ext uri="{FF2B5EF4-FFF2-40B4-BE49-F238E27FC236}">
                <a16:creationId xmlns:a16="http://schemas.microsoft.com/office/drawing/2014/main" id="{E2D587F8-FE08-41EE-A5AF-AF04D200A99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B1FAE4D4-683D-4A17-BEE1-107AA77340F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654F4F9-5DAF-4D56-8065-981FB717F44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46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dkl_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684F4FC-FD0D-4717-8922-812B3433A672}"/>
              </a:ext>
            </a:extLst>
          </p:cNvPr>
          <p:cNvSpPr/>
          <p:nvPr userDrawn="1"/>
        </p:nvSpPr>
        <p:spPr bwMode="gray">
          <a:xfrm>
            <a:off x="-1" y="0"/>
            <a:ext cx="12190413" cy="685735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A17CDB-538C-4980-9716-1AE8663E53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2925" y="2229324"/>
            <a:ext cx="720725" cy="540544"/>
          </a:xfrm>
          <a:prstGeom prst="rect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AB75388-38B4-489D-80A2-2B5B298ED9D0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7A81D5-D8D7-493A-B04B-3577C67B11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45389275-C049-4719-AAEE-6F963AB85CA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BE0B22A6-5A3D-48FF-9FB1-0D33833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436F573-5E96-4072-9BF6-E46AF6A547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084244BB-0E81-4AA1-A0C0-32ECA1C66A4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0DC92FB-9152-4C9D-B461-B0CF013CCD7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02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684F4FC-FD0D-4717-8922-812B3433A672}"/>
              </a:ext>
            </a:extLst>
          </p:cNvPr>
          <p:cNvSpPr/>
          <p:nvPr userDrawn="1"/>
        </p:nvSpPr>
        <p:spPr bwMode="gray">
          <a:xfrm>
            <a:off x="-1" y="0"/>
            <a:ext cx="12190413" cy="685735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A17CDB-538C-4980-9716-1AE8663E53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2925" y="2229324"/>
            <a:ext cx="720725" cy="540544"/>
          </a:xfrm>
          <a:prstGeom prst="rect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AB75388-38B4-489D-80A2-2B5B298ED9D0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7A81D5-D8D7-493A-B04B-3577C67B11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6E45FBDA-FADD-4D89-8EFE-03F4F73EB61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B594D79-FE43-4578-A9F9-1224A526C9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CD490BA-96A5-4D8A-98E5-8BB739FEE2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53F1F5A-F3D8-46CB-AD4A-7766C0568531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452CA637-126E-4AAD-AE7E-2C43F7DF3354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011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dkl_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684F4FC-FD0D-4717-8922-812B3433A672}"/>
              </a:ext>
            </a:extLst>
          </p:cNvPr>
          <p:cNvSpPr/>
          <p:nvPr userDrawn="1"/>
        </p:nvSpPr>
        <p:spPr bwMode="gray">
          <a:xfrm>
            <a:off x="-1" y="0"/>
            <a:ext cx="12190413" cy="685735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A17CDB-538C-4980-9716-1AE8663E53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2925" y="2229324"/>
            <a:ext cx="720725" cy="540544"/>
          </a:xfrm>
          <a:prstGeom prst="rect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AB75388-38B4-489D-80A2-2B5B298ED9D0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7A81D5-D8D7-493A-B04B-3577C67B11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34580BE-41A3-4543-9172-B6B416CEB86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CE0380D0-DCAF-4CFA-AF54-F2216EE7EE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326A4F2-777D-4195-9351-3B9DF3F17E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2B5D21CE-01FB-477D-8D5B-2068EE6362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B28BC08-BB1D-4179-9A75-A7CDDF2240D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875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gel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684F4FC-FD0D-4717-8922-812B3433A672}"/>
              </a:ext>
            </a:extLst>
          </p:cNvPr>
          <p:cNvSpPr/>
          <p:nvPr userDrawn="1"/>
        </p:nvSpPr>
        <p:spPr bwMode="gray">
          <a:xfrm>
            <a:off x="-1" y="0"/>
            <a:ext cx="12190413" cy="68573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A17CDB-538C-4980-9716-1AE8663E53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2925" y="2229324"/>
            <a:ext cx="720725" cy="540544"/>
          </a:xfrm>
          <a:prstGeom prst="rect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AB75388-38B4-489D-80A2-2B5B298ED9D0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7A81D5-D8D7-493A-B04B-3577C67B11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197A381-43A3-4BF8-A72E-3C7CADC5781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4E71AB58-9639-4726-821E-D75396F65D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80BCDB9-6C14-4364-865C-80158D4502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7C76BEE-C68E-481A-AAF6-8349EC462F30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0E194AE4-10C0-4F0D-9C53-B214BED571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305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_oran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3684F4FC-FD0D-4717-8922-812B3433A672}"/>
              </a:ext>
            </a:extLst>
          </p:cNvPr>
          <p:cNvSpPr/>
          <p:nvPr userDrawn="1"/>
        </p:nvSpPr>
        <p:spPr bwMode="gray">
          <a:xfrm>
            <a:off x="-1" y="0"/>
            <a:ext cx="12190413" cy="685735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6A17CDB-538C-4980-9716-1AE8663E53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gray">
          <a:xfrm>
            <a:off x="542925" y="2229324"/>
            <a:ext cx="720725" cy="540544"/>
          </a:xfrm>
          <a:prstGeom prst="rect">
            <a:avLst/>
          </a:prstGeom>
        </p:spPr>
      </p:pic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AB75388-38B4-489D-80A2-2B5B298ED9D0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07A81D5-D8D7-493A-B04B-3577C67B110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28144FF-7CE4-41AF-9B1E-FF241AB0885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67E7E221-5779-4F85-AE73-E5CC7883CD5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201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grau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41308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312635F-21A1-4AC8-9DC0-3D88457F7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40000" y="1512000"/>
            <a:ext cx="11109600" cy="4298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229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 bwMode="gray">
          <a:xfrm>
            <a:off x="540000" y="3821373"/>
            <a:ext cx="1460264" cy="1989026"/>
          </a:xfr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Inhalt 2"/>
          <p:cNvSpPr>
            <a:spLocks noGrp="1"/>
          </p:cNvSpPr>
          <p:nvPr>
            <p:ph sz="half" idx="14" hasCustomPrompt="1"/>
          </p:nvPr>
        </p:nvSpPr>
        <p:spPr bwMode="gray">
          <a:xfrm>
            <a:off x="4393430" y="3821373"/>
            <a:ext cx="1460264" cy="1989026"/>
          </a:xfrm>
        </p:spPr>
        <p:txBody>
          <a:bodyPr/>
          <a:lstStyle>
            <a:lvl1pPr marL="0" indent="0" algn="ctr">
              <a:buNone/>
              <a:defRPr sz="1400"/>
            </a:lvl1pPr>
            <a:lvl2pPr marL="450000" indent="0" algn="ctr">
              <a:buNone/>
              <a:defRPr sz="14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endParaRPr lang="de-DE" noProof="0"/>
          </a:p>
        </p:txBody>
      </p:sp>
      <p:sp>
        <p:nvSpPr>
          <p:cNvPr id="4" name="Inhalt 3"/>
          <p:cNvSpPr>
            <a:spLocks noGrp="1"/>
          </p:cNvSpPr>
          <p:nvPr>
            <p:ph sz="half" idx="2" hasCustomPrompt="1"/>
          </p:nvPr>
        </p:nvSpPr>
        <p:spPr bwMode="gray">
          <a:xfrm>
            <a:off x="6320145" y="3821373"/>
            <a:ext cx="1460264" cy="1989026"/>
          </a:xfr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5BA45C2-022A-40A2-88BC-778F115D9A49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54C221C-BE5B-4A15-BE58-B24C7447660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3B297F5-648C-4D0A-81CD-05527CF0F63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A7F29152-F0AF-4AAF-AEE3-F9C46739A036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2" name="Inhalt 3">
            <a:extLst>
              <a:ext uri="{FF2B5EF4-FFF2-40B4-BE49-F238E27FC236}">
                <a16:creationId xmlns:a16="http://schemas.microsoft.com/office/drawing/2014/main" id="{8721FB0B-FC51-49F3-8FB9-30799BCD855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8246860" y="3821373"/>
            <a:ext cx="1460264" cy="1989026"/>
          </a:xfr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3">
            <a:extLst>
              <a:ext uri="{FF2B5EF4-FFF2-40B4-BE49-F238E27FC236}">
                <a16:creationId xmlns:a16="http://schemas.microsoft.com/office/drawing/2014/main" id="{46A130D1-C529-4C85-B44C-67CCFCE2162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2466715" y="3821373"/>
            <a:ext cx="1460264" cy="1989026"/>
          </a:xfr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Inhalt 3">
            <a:extLst>
              <a:ext uri="{FF2B5EF4-FFF2-40B4-BE49-F238E27FC236}">
                <a16:creationId xmlns:a16="http://schemas.microsoft.com/office/drawing/2014/main" id="{ED5E96AF-7AAC-4335-9EE7-89A25628881C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10173577" y="3821373"/>
            <a:ext cx="1460264" cy="1989026"/>
          </a:xfr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0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469697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469697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29284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2928463"/>
            <a:ext cx="900113" cy="900113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27" name="Tex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>
          <a:xfrm>
            <a:off x="3570086" y="1820253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Text 2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 bwMode="gray">
          <a:xfrm>
            <a:off x="9012341" y="1817569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Text 2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>
          <a:xfrm>
            <a:off x="827605" y="4578303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Text 2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>
          <a:xfrm>
            <a:off x="6269860" y="4575619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1F94CBBE-6BA0-4E55-A373-89F791B44E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6A6A28A-AF90-49CB-815B-E21631323451}"/>
              </a:ext>
            </a:extLst>
          </p:cNvPr>
          <p:cNvSpPr/>
          <p:nvPr userDrawn="1"/>
        </p:nvSpPr>
        <p:spPr bwMode="gray">
          <a:xfrm>
            <a:off x="0" y="3247300"/>
            <a:ext cx="12188826" cy="769978"/>
          </a:xfrm>
          <a:custGeom>
            <a:avLst/>
            <a:gdLst>
              <a:gd name="connsiteX0" fmla="*/ 2018903 w 12188826"/>
              <a:gd name="connsiteY0" fmla="*/ 0 h 1674659"/>
              <a:gd name="connsiteX1" fmla="*/ 2587581 w 12188826"/>
              <a:gd name="connsiteY1" fmla="*/ 302363 h 1674659"/>
              <a:gd name="connsiteX2" fmla="*/ 2634489 w 12188826"/>
              <a:gd name="connsiteY2" fmla="*/ 388784 h 1674659"/>
              <a:gd name="connsiteX3" fmla="*/ 4124975 w 12188826"/>
              <a:gd name="connsiteY3" fmla="*/ 388784 h 1674659"/>
              <a:gd name="connsiteX4" fmla="*/ 4167763 w 12188826"/>
              <a:gd name="connsiteY4" fmla="*/ 467616 h 1674659"/>
              <a:gd name="connsiteX5" fmla="*/ 4736439 w 12188826"/>
              <a:gd name="connsiteY5" fmla="*/ 769978 h 1674659"/>
              <a:gd name="connsiteX6" fmla="*/ 5305116 w 12188826"/>
              <a:gd name="connsiteY6" fmla="*/ 467616 h 1674659"/>
              <a:gd name="connsiteX7" fmla="*/ 5347904 w 12188826"/>
              <a:gd name="connsiteY7" fmla="*/ 388784 h 1674659"/>
              <a:gd name="connsiteX8" fmla="*/ 6838391 w 12188826"/>
              <a:gd name="connsiteY8" fmla="*/ 388784 h 1674659"/>
              <a:gd name="connsiteX9" fmla="*/ 6885299 w 12188826"/>
              <a:gd name="connsiteY9" fmla="*/ 302363 h 1674659"/>
              <a:gd name="connsiteX10" fmla="*/ 7453975 w 12188826"/>
              <a:gd name="connsiteY10" fmla="*/ 0 h 1674659"/>
              <a:gd name="connsiteX11" fmla="*/ 8022651 w 12188826"/>
              <a:gd name="connsiteY11" fmla="*/ 302363 h 1674659"/>
              <a:gd name="connsiteX12" fmla="*/ 8069559 w 12188826"/>
              <a:gd name="connsiteY12" fmla="*/ 388784 h 1674659"/>
              <a:gd name="connsiteX13" fmla="*/ 9560046 w 12188826"/>
              <a:gd name="connsiteY13" fmla="*/ 388784 h 1674659"/>
              <a:gd name="connsiteX14" fmla="*/ 9602834 w 12188826"/>
              <a:gd name="connsiteY14" fmla="*/ 467616 h 1674659"/>
              <a:gd name="connsiteX15" fmla="*/ 10171510 w 12188826"/>
              <a:gd name="connsiteY15" fmla="*/ 769978 h 1674659"/>
              <a:gd name="connsiteX16" fmla="*/ 10740186 w 12188826"/>
              <a:gd name="connsiteY16" fmla="*/ 467616 h 1674659"/>
              <a:gd name="connsiteX17" fmla="*/ 10782974 w 12188826"/>
              <a:gd name="connsiteY17" fmla="*/ 388784 h 1674659"/>
              <a:gd name="connsiteX18" fmla="*/ 12188826 w 12188826"/>
              <a:gd name="connsiteY18" fmla="*/ 388784 h 1674659"/>
              <a:gd name="connsiteX19" fmla="*/ 12188826 w 12188826"/>
              <a:gd name="connsiteY19" fmla="*/ 1674659 h 1674659"/>
              <a:gd name="connsiteX20" fmla="*/ 0 w 12188826"/>
              <a:gd name="connsiteY20" fmla="*/ 1674659 h 1674659"/>
              <a:gd name="connsiteX21" fmla="*/ 0 w 12188826"/>
              <a:gd name="connsiteY21" fmla="*/ 388784 h 1674659"/>
              <a:gd name="connsiteX22" fmla="*/ 1403319 w 12188826"/>
              <a:gd name="connsiteY22" fmla="*/ 388784 h 1674659"/>
              <a:gd name="connsiteX23" fmla="*/ 1450227 w 12188826"/>
              <a:gd name="connsiteY23" fmla="*/ 302363 h 1674659"/>
              <a:gd name="connsiteX24" fmla="*/ 2018903 w 12188826"/>
              <a:gd name="connsiteY24" fmla="*/ 0 h 1674659"/>
              <a:gd name="connsiteX0" fmla="*/ 0 w 12280266"/>
              <a:gd name="connsiteY0" fmla="*/ 1674659 h 1766099"/>
              <a:gd name="connsiteX1" fmla="*/ 0 w 12280266"/>
              <a:gd name="connsiteY1" fmla="*/ 388784 h 1766099"/>
              <a:gd name="connsiteX2" fmla="*/ 1403319 w 12280266"/>
              <a:gd name="connsiteY2" fmla="*/ 388784 h 1766099"/>
              <a:gd name="connsiteX3" fmla="*/ 1450227 w 12280266"/>
              <a:gd name="connsiteY3" fmla="*/ 302363 h 1766099"/>
              <a:gd name="connsiteX4" fmla="*/ 2018903 w 12280266"/>
              <a:gd name="connsiteY4" fmla="*/ 0 h 1766099"/>
              <a:gd name="connsiteX5" fmla="*/ 2587581 w 12280266"/>
              <a:gd name="connsiteY5" fmla="*/ 302363 h 1766099"/>
              <a:gd name="connsiteX6" fmla="*/ 2634489 w 12280266"/>
              <a:gd name="connsiteY6" fmla="*/ 388784 h 1766099"/>
              <a:gd name="connsiteX7" fmla="*/ 4124975 w 12280266"/>
              <a:gd name="connsiteY7" fmla="*/ 388784 h 1766099"/>
              <a:gd name="connsiteX8" fmla="*/ 4167763 w 12280266"/>
              <a:gd name="connsiteY8" fmla="*/ 467616 h 1766099"/>
              <a:gd name="connsiteX9" fmla="*/ 4736439 w 12280266"/>
              <a:gd name="connsiteY9" fmla="*/ 769978 h 1766099"/>
              <a:gd name="connsiteX10" fmla="*/ 5305116 w 12280266"/>
              <a:gd name="connsiteY10" fmla="*/ 467616 h 1766099"/>
              <a:gd name="connsiteX11" fmla="*/ 5347904 w 12280266"/>
              <a:gd name="connsiteY11" fmla="*/ 388784 h 1766099"/>
              <a:gd name="connsiteX12" fmla="*/ 6838391 w 12280266"/>
              <a:gd name="connsiteY12" fmla="*/ 388784 h 1766099"/>
              <a:gd name="connsiteX13" fmla="*/ 6885299 w 12280266"/>
              <a:gd name="connsiteY13" fmla="*/ 302363 h 1766099"/>
              <a:gd name="connsiteX14" fmla="*/ 7453975 w 12280266"/>
              <a:gd name="connsiteY14" fmla="*/ 0 h 1766099"/>
              <a:gd name="connsiteX15" fmla="*/ 8022651 w 12280266"/>
              <a:gd name="connsiteY15" fmla="*/ 302363 h 1766099"/>
              <a:gd name="connsiteX16" fmla="*/ 8069559 w 12280266"/>
              <a:gd name="connsiteY16" fmla="*/ 388784 h 1766099"/>
              <a:gd name="connsiteX17" fmla="*/ 9560046 w 12280266"/>
              <a:gd name="connsiteY17" fmla="*/ 388784 h 1766099"/>
              <a:gd name="connsiteX18" fmla="*/ 9602834 w 12280266"/>
              <a:gd name="connsiteY18" fmla="*/ 467616 h 1766099"/>
              <a:gd name="connsiteX19" fmla="*/ 10171510 w 12280266"/>
              <a:gd name="connsiteY19" fmla="*/ 769978 h 1766099"/>
              <a:gd name="connsiteX20" fmla="*/ 10740186 w 12280266"/>
              <a:gd name="connsiteY20" fmla="*/ 467616 h 1766099"/>
              <a:gd name="connsiteX21" fmla="*/ 10782974 w 12280266"/>
              <a:gd name="connsiteY21" fmla="*/ 388784 h 1766099"/>
              <a:gd name="connsiteX22" fmla="*/ 12188826 w 12280266"/>
              <a:gd name="connsiteY22" fmla="*/ 388784 h 1766099"/>
              <a:gd name="connsiteX23" fmla="*/ 12280266 w 12280266"/>
              <a:gd name="connsiteY23" fmla="*/ 1766099 h 1766099"/>
              <a:gd name="connsiteX0" fmla="*/ 0 w 12188826"/>
              <a:gd name="connsiteY0" fmla="*/ 1674659 h 1674659"/>
              <a:gd name="connsiteX1" fmla="*/ 0 w 12188826"/>
              <a:gd name="connsiteY1" fmla="*/ 388784 h 1674659"/>
              <a:gd name="connsiteX2" fmla="*/ 1403319 w 12188826"/>
              <a:gd name="connsiteY2" fmla="*/ 388784 h 1674659"/>
              <a:gd name="connsiteX3" fmla="*/ 1450227 w 12188826"/>
              <a:gd name="connsiteY3" fmla="*/ 302363 h 1674659"/>
              <a:gd name="connsiteX4" fmla="*/ 2018903 w 12188826"/>
              <a:gd name="connsiteY4" fmla="*/ 0 h 1674659"/>
              <a:gd name="connsiteX5" fmla="*/ 2587581 w 12188826"/>
              <a:gd name="connsiteY5" fmla="*/ 302363 h 1674659"/>
              <a:gd name="connsiteX6" fmla="*/ 2634489 w 12188826"/>
              <a:gd name="connsiteY6" fmla="*/ 388784 h 1674659"/>
              <a:gd name="connsiteX7" fmla="*/ 4124975 w 12188826"/>
              <a:gd name="connsiteY7" fmla="*/ 388784 h 1674659"/>
              <a:gd name="connsiteX8" fmla="*/ 4167763 w 12188826"/>
              <a:gd name="connsiteY8" fmla="*/ 467616 h 1674659"/>
              <a:gd name="connsiteX9" fmla="*/ 4736439 w 12188826"/>
              <a:gd name="connsiteY9" fmla="*/ 769978 h 1674659"/>
              <a:gd name="connsiteX10" fmla="*/ 5305116 w 12188826"/>
              <a:gd name="connsiteY10" fmla="*/ 467616 h 1674659"/>
              <a:gd name="connsiteX11" fmla="*/ 5347904 w 12188826"/>
              <a:gd name="connsiteY11" fmla="*/ 388784 h 1674659"/>
              <a:gd name="connsiteX12" fmla="*/ 6838391 w 12188826"/>
              <a:gd name="connsiteY12" fmla="*/ 388784 h 1674659"/>
              <a:gd name="connsiteX13" fmla="*/ 6885299 w 12188826"/>
              <a:gd name="connsiteY13" fmla="*/ 302363 h 1674659"/>
              <a:gd name="connsiteX14" fmla="*/ 7453975 w 12188826"/>
              <a:gd name="connsiteY14" fmla="*/ 0 h 1674659"/>
              <a:gd name="connsiteX15" fmla="*/ 8022651 w 12188826"/>
              <a:gd name="connsiteY15" fmla="*/ 302363 h 1674659"/>
              <a:gd name="connsiteX16" fmla="*/ 8069559 w 12188826"/>
              <a:gd name="connsiteY16" fmla="*/ 388784 h 1674659"/>
              <a:gd name="connsiteX17" fmla="*/ 9560046 w 12188826"/>
              <a:gd name="connsiteY17" fmla="*/ 388784 h 1674659"/>
              <a:gd name="connsiteX18" fmla="*/ 9602834 w 12188826"/>
              <a:gd name="connsiteY18" fmla="*/ 467616 h 1674659"/>
              <a:gd name="connsiteX19" fmla="*/ 10171510 w 12188826"/>
              <a:gd name="connsiteY19" fmla="*/ 769978 h 1674659"/>
              <a:gd name="connsiteX20" fmla="*/ 10740186 w 12188826"/>
              <a:gd name="connsiteY20" fmla="*/ 467616 h 1674659"/>
              <a:gd name="connsiteX21" fmla="*/ 10782974 w 12188826"/>
              <a:gd name="connsiteY21" fmla="*/ 388784 h 1674659"/>
              <a:gd name="connsiteX22" fmla="*/ 12188826 w 12188826"/>
              <a:gd name="connsiteY22" fmla="*/ 388784 h 1674659"/>
              <a:gd name="connsiteX0" fmla="*/ 28575 w 12217401"/>
              <a:gd name="connsiteY0" fmla="*/ 1674659 h 1689479"/>
              <a:gd name="connsiteX1" fmla="*/ 0 w 12217401"/>
              <a:gd name="connsiteY1" fmla="*/ 1689479 h 1689479"/>
              <a:gd name="connsiteX2" fmla="*/ 28575 w 12217401"/>
              <a:gd name="connsiteY2" fmla="*/ 388784 h 1689479"/>
              <a:gd name="connsiteX3" fmla="*/ 1431894 w 12217401"/>
              <a:gd name="connsiteY3" fmla="*/ 388784 h 1689479"/>
              <a:gd name="connsiteX4" fmla="*/ 1478802 w 12217401"/>
              <a:gd name="connsiteY4" fmla="*/ 302363 h 1689479"/>
              <a:gd name="connsiteX5" fmla="*/ 2047478 w 12217401"/>
              <a:gd name="connsiteY5" fmla="*/ 0 h 1689479"/>
              <a:gd name="connsiteX6" fmla="*/ 2616156 w 12217401"/>
              <a:gd name="connsiteY6" fmla="*/ 302363 h 1689479"/>
              <a:gd name="connsiteX7" fmla="*/ 2663064 w 12217401"/>
              <a:gd name="connsiteY7" fmla="*/ 388784 h 1689479"/>
              <a:gd name="connsiteX8" fmla="*/ 4153550 w 12217401"/>
              <a:gd name="connsiteY8" fmla="*/ 388784 h 1689479"/>
              <a:gd name="connsiteX9" fmla="*/ 4196338 w 12217401"/>
              <a:gd name="connsiteY9" fmla="*/ 467616 h 1689479"/>
              <a:gd name="connsiteX10" fmla="*/ 4765014 w 12217401"/>
              <a:gd name="connsiteY10" fmla="*/ 769978 h 1689479"/>
              <a:gd name="connsiteX11" fmla="*/ 5333691 w 12217401"/>
              <a:gd name="connsiteY11" fmla="*/ 467616 h 1689479"/>
              <a:gd name="connsiteX12" fmla="*/ 5376479 w 12217401"/>
              <a:gd name="connsiteY12" fmla="*/ 388784 h 1689479"/>
              <a:gd name="connsiteX13" fmla="*/ 6866966 w 12217401"/>
              <a:gd name="connsiteY13" fmla="*/ 388784 h 1689479"/>
              <a:gd name="connsiteX14" fmla="*/ 6913874 w 12217401"/>
              <a:gd name="connsiteY14" fmla="*/ 302363 h 1689479"/>
              <a:gd name="connsiteX15" fmla="*/ 7482550 w 12217401"/>
              <a:gd name="connsiteY15" fmla="*/ 0 h 1689479"/>
              <a:gd name="connsiteX16" fmla="*/ 8051226 w 12217401"/>
              <a:gd name="connsiteY16" fmla="*/ 302363 h 1689479"/>
              <a:gd name="connsiteX17" fmla="*/ 8098134 w 12217401"/>
              <a:gd name="connsiteY17" fmla="*/ 388784 h 1689479"/>
              <a:gd name="connsiteX18" fmla="*/ 9588621 w 12217401"/>
              <a:gd name="connsiteY18" fmla="*/ 388784 h 1689479"/>
              <a:gd name="connsiteX19" fmla="*/ 9631409 w 12217401"/>
              <a:gd name="connsiteY19" fmla="*/ 467616 h 1689479"/>
              <a:gd name="connsiteX20" fmla="*/ 10200085 w 12217401"/>
              <a:gd name="connsiteY20" fmla="*/ 769978 h 1689479"/>
              <a:gd name="connsiteX21" fmla="*/ 10768761 w 12217401"/>
              <a:gd name="connsiteY21" fmla="*/ 467616 h 1689479"/>
              <a:gd name="connsiteX22" fmla="*/ 10811549 w 12217401"/>
              <a:gd name="connsiteY22" fmla="*/ 388784 h 1689479"/>
              <a:gd name="connsiteX23" fmla="*/ 12217401 w 12217401"/>
              <a:gd name="connsiteY23" fmla="*/ 388784 h 1689479"/>
              <a:gd name="connsiteX0" fmla="*/ 0 w 12188826"/>
              <a:gd name="connsiteY0" fmla="*/ 1674659 h 1674659"/>
              <a:gd name="connsiteX1" fmla="*/ 0 w 12188826"/>
              <a:gd name="connsiteY1" fmla="*/ 388784 h 1674659"/>
              <a:gd name="connsiteX2" fmla="*/ 1403319 w 12188826"/>
              <a:gd name="connsiteY2" fmla="*/ 388784 h 1674659"/>
              <a:gd name="connsiteX3" fmla="*/ 1450227 w 12188826"/>
              <a:gd name="connsiteY3" fmla="*/ 302363 h 1674659"/>
              <a:gd name="connsiteX4" fmla="*/ 2018903 w 12188826"/>
              <a:gd name="connsiteY4" fmla="*/ 0 h 1674659"/>
              <a:gd name="connsiteX5" fmla="*/ 2587581 w 12188826"/>
              <a:gd name="connsiteY5" fmla="*/ 302363 h 1674659"/>
              <a:gd name="connsiteX6" fmla="*/ 2634489 w 12188826"/>
              <a:gd name="connsiteY6" fmla="*/ 388784 h 1674659"/>
              <a:gd name="connsiteX7" fmla="*/ 4124975 w 12188826"/>
              <a:gd name="connsiteY7" fmla="*/ 388784 h 1674659"/>
              <a:gd name="connsiteX8" fmla="*/ 4167763 w 12188826"/>
              <a:gd name="connsiteY8" fmla="*/ 467616 h 1674659"/>
              <a:gd name="connsiteX9" fmla="*/ 4736439 w 12188826"/>
              <a:gd name="connsiteY9" fmla="*/ 769978 h 1674659"/>
              <a:gd name="connsiteX10" fmla="*/ 5305116 w 12188826"/>
              <a:gd name="connsiteY10" fmla="*/ 467616 h 1674659"/>
              <a:gd name="connsiteX11" fmla="*/ 5347904 w 12188826"/>
              <a:gd name="connsiteY11" fmla="*/ 388784 h 1674659"/>
              <a:gd name="connsiteX12" fmla="*/ 6838391 w 12188826"/>
              <a:gd name="connsiteY12" fmla="*/ 388784 h 1674659"/>
              <a:gd name="connsiteX13" fmla="*/ 6885299 w 12188826"/>
              <a:gd name="connsiteY13" fmla="*/ 302363 h 1674659"/>
              <a:gd name="connsiteX14" fmla="*/ 7453975 w 12188826"/>
              <a:gd name="connsiteY14" fmla="*/ 0 h 1674659"/>
              <a:gd name="connsiteX15" fmla="*/ 8022651 w 12188826"/>
              <a:gd name="connsiteY15" fmla="*/ 302363 h 1674659"/>
              <a:gd name="connsiteX16" fmla="*/ 8069559 w 12188826"/>
              <a:gd name="connsiteY16" fmla="*/ 388784 h 1674659"/>
              <a:gd name="connsiteX17" fmla="*/ 9560046 w 12188826"/>
              <a:gd name="connsiteY17" fmla="*/ 388784 h 1674659"/>
              <a:gd name="connsiteX18" fmla="*/ 9602834 w 12188826"/>
              <a:gd name="connsiteY18" fmla="*/ 467616 h 1674659"/>
              <a:gd name="connsiteX19" fmla="*/ 10171510 w 12188826"/>
              <a:gd name="connsiteY19" fmla="*/ 769978 h 1674659"/>
              <a:gd name="connsiteX20" fmla="*/ 10740186 w 12188826"/>
              <a:gd name="connsiteY20" fmla="*/ 467616 h 1674659"/>
              <a:gd name="connsiteX21" fmla="*/ 10782974 w 12188826"/>
              <a:gd name="connsiteY21" fmla="*/ 388784 h 1674659"/>
              <a:gd name="connsiteX22" fmla="*/ 12188826 w 12188826"/>
              <a:gd name="connsiteY22" fmla="*/ 388784 h 1674659"/>
              <a:gd name="connsiteX0" fmla="*/ 0 w 12188826"/>
              <a:gd name="connsiteY0" fmla="*/ 388784 h 769978"/>
              <a:gd name="connsiteX1" fmla="*/ 1403319 w 12188826"/>
              <a:gd name="connsiteY1" fmla="*/ 388784 h 769978"/>
              <a:gd name="connsiteX2" fmla="*/ 1450227 w 12188826"/>
              <a:gd name="connsiteY2" fmla="*/ 302363 h 769978"/>
              <a:gd name="connsiteX3" fmla="*/ 2018903 w 12188826"/>
              <a:gd name="connsiteY3" fmla="*/ 0 h 769978"/>
              <a:gd name="connsiteX4" fmla="*/ 2587581 w 12188826"/>
              <a:gd name="connsiteY4" fmla="*/ 302363 h 769978"/>
              <a:gd name="connsiteX5" fmla="*/ 2634489 w 12188826"/>
              <a:gd name="connsiteY5" fmla="*/ 388784 h 769978"/>
              <a:gd name="connsiteX6" fmla="*/ 4124975 w 12188826"/>
              <a:gd name="connsiteY6" fmla="*/ 388784 h 769978"/>
              <a:gd name="connsiteX7" fmla="*/ 4167763 w 12188826"/>
              <a:gd name="connsiteY7" fmla="*/ 467616 h 769978"/>
              <a:gd name="connsiteX8" fmla="*/ 4736439 w 12188826"/>
              <a:gd name="connsiteY8" fmla="*/ 769978 h 769978"/>
              <a:gd name="connsiteX9" fmla="*/ 5305116 w 12188826"/>
              <a:gd name="connsiteY9" fmla="*/ 467616 h 769978"/>
              <a:gd name="connsiteX10" fmla="*/ 5347904 w 12188826"/>
              <a:gd name="connsiteY10" fmla="*/ 388784 h 769978"/>
              <a:gd name="connsiteX11" fmla="*/ 6838391 w 12188826"/>
              <a:gd name="connsiteY11" fmla="*/ 388784 h 769978"/>
              <a:gd name="connsiteX12" fmla="*/ 6885299 w 12188826"/>
              <a:gd name="connsiteY12" fmla="*/ 302363 h 769978"/>
              <a:gd name="connsiteX13" fmla="*/ 7453975 w 12188826"/>
              <a:gd name="connsiteY13" fmla="*/ 0 h 769978"/>
              <a:gd name="connsiteX14" fmla="*/ 8022651 w 12188826"/>
              <a:gd name="connsiteY14" fmla="*/ 302363 h 769978"/>
              <a:gd name="connsiteX15" fmla="*/ 8069559 w 12188826"/>
              <a:gd name="connsiteY15" fmla="*/ 388784 h 769978"/>
              <a:gd name="connsiteX16" fmla="*/ 9560046 w 12188826"/>
              <a:gd name="connsiteY16" fmla="*/ 388784 h 769978"/>
              <a:gd name="connsiteX17" fmla="*/ 9602834 w 12188826"/>
              <a:gd name="connsiteY17" fmla="*/ 467616 h 769978"/>
              <a:gd name="connsiteX18" fmla="*/ 10171510 w 12188826"/>
              <a:gd name="connsiteY18" fmla="*/ 769978 h 769978"/>
              <a:gd name="connsiteX19" fmla="*/ 10740186 w 12188826"/>
              <a:gd name="connsiteY19" fmla="*/ 467616 h 769978"/>
              <a:gd name="connsiteX20" fmla="*/ 10782974 w 12188826"/>
              <a:gd name="connsiteY20" fmla="*/ 388784 h 769978"/>
              <a:gd name="connsiteX21" fmla="*/ 12188826 w 12188826"/>
              <a:gd name="connsiteY21" fmla="*/ 388784 h 76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88826" h="769978">
                <a:moveTo>
                  <a:pt x="0" y="388784"/>
                </a:moveTo>
                <a:lnTo>
                  <a:pt x="1403319" y="388784"/>
                </a:lnTo>
                <a:lnTo>
                  <a:pt x="1450227" y="302363"/>
                </a:lnTo>
                <a:cubicBezTo>
                  <a:pt x="1573470" y="119939"/>
                  <a:pt x="1782180" y="0"/>
                  <a:pt x="2018903" y="0"/>
                </a:cubicBezTo>
                <a:cubicBezTo>
                  <a:pt x="2255627" y="0"/>
                  <a:pt x="2464338" y="119939"/>
                  <a:pt x="2587581" y="302363"/>
                </a:cubicBezTo>
                <a:lnTo>
                  <a:pt x="2634489" y="388784"/>
                </a:lnTo>
                <a:lnTo>
                  <a:pt x="4124975" y="388784"/>
                </a:lnTo>
                <a:lnTo>
                  <a:pt x="4167763" y="467616"/>
                </a:lnTo>
                <a:cubicBezTo>
                  <a:pt x="4291006" y="650039"/>
                  <a:pt x="4499717" y="769978"/>
                  <a:pt x="4736439" y="769978"/>
                </a:cubicBezTo>
                <a:cubicBezTo>
                  <a:pt x="4973163" y="769978"/>
                  <a:pt x="5181872" y="650039"/>
                  <a:pt x="5305116" y="467616"/>
                </a:cubicBezTo>
                <a:lnTo>
                  <a:pt x="5347904" y="388784"/>
                </a:lnTo>
                <a:lnTo>
                  <a:pt x="6838391" y="388784"/>
                </a:lnTo>
                <a:lnTo>
                  <a:pt x="6885299" y="302363"/>
                </a:lnTo>
                <a:cubicBezTo>
                  <a:pt x="7008542" y="119939"/>
                  <a:pt x="7217252" y="0"/>
                  <a:pt x="7453975" y="0"/>
                </a:cubicBezTo>
                <a:cubicBezTo>
                  <a:pt x="7690698" y="0"/>
                  <a:pt x="7899408" y="119939"/>
                  <a:pt x="8022651" y="302363"/>
                </a:cubicBezTo>
                <a:lnTo>
                  <a:pt x="8069559" y="388784"/>
                </a:lnTo>
                <a:lnTo>
                  <a:pt x="9560046" y="388784"/>
                </a:lnTo>
                <a:lnTo>
                  <a:pt x="9602834" y="467616"/>
                </a:lnTo>
                <a:cubicBezTo>
                  <a:pt x="9726077" y="650039"/>
                  <a:pt x="9934787" y="769978"/>
                  <a:pt x="10171510" y="769978"/>
                </a:cubicBezTo>
                <a:cubicBezTo>
                  <a:pt x="10408233" y="769978"/>
                  <a:pt x="10616943" y="650039"/>
                  <a:pt x="10740186" y="467616"/>
                </a:cubicBezTo>
                <a:lnTo>
                  <a:pt x="10782974" y="388784"/>
                </a:lnTo>
                <a:lnTo>
                  <a:pt x="12188826" y="388784"/>
                </a:lnTo>
              </a:path>
            </a:pathLst>
          </a:custGeom>
          <a:noFill/>
          <a:ln w="12700">
            <a:solidFill>
              <a:schemeClr val="bg1">
                <a:lumMod val="85000"/>
                <a:alpha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err="1"/>
          </a:p>
        </p:txBody>
      </p:sp>
    </p:spTree>
    <p:extLst>
      <p:ext uri="{BB962C8B-B14F-4D97-AF65-F5344CB8AC3E}">
        <p14:creationId xmlns:p14="http://schemas.microsoft.com/office/powerpoint/2010/main" val="2370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F416D0C-C2A9-4AB8-A2B6-A3452CE46723}"/>
              </a:ext>
            </a:extLst>
          </p:cNvPr>
          <p:cNvSpPr/>
          <p:nvPr userDrawn="1"/>
        </p:nvSpPr>
        <p:spPr bwMode="gray">
          <a:xfrm>
            <a:off x="0" y="0"/>
            <a:ext cx="1219041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469697"/>
            <a:ext cx="900113" cy="90011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469697"/>
            <a:ext cx="900113" cy="90011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2928463"/>
            <a:ext cx="900113" cy="900113"/>
          </a:xfrm>
          <a:prstGeom prst="ellipse">
            <a:avLst/>
          </a:prstGeom>
          <a:solidFill>
            <a:schemeClr val="accent2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2928463"/>
            <a:ext cx="900113" cy="900113"/>
          </a:xfrm>
          <a:prstGeom prst="ellipse">
            <a:avLst/>
          </a:prstGeom>
          <a:solidFill>
            <a:schemeClr val="accent4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/>
              <a:t>Zahl</a:t>
            </a:r>
          </a:p>
        </p:txBody>
      </p:sp>
      <p:sp>
        <p:nvSpPr>
          <p:cNvPr id="27" name="Tex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>
          <a:xfrm>
            <a:off x="3570086" y="1820253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Text 2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 bwMode="gray">
          <a:xfrm>
            <a:off x="9012341" y="1817569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Text 2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>
          <a:xfrm>
            <a:off x="827605" y="4578303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Text 2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>
          <a:xfrm>
            <a:off x="6269860" y="4575619"/>
            <a:ext cx="2340000" cy="900000"/>
          </a:xfr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EA8E8765-ECAF-451A-9BAF-5B12BD9D9C2E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1F94CBBE-6BA0-4E55-A373-89F791B44E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09AE4B1D-0959-4D6D-BE64-8C413B4A77F9}"/>
              </a:ext>
            </a:extLst>
          </p:cNvPr>
          <p:cNvSpPr/>
          <p:nvPr userDrawn="1"/>
        </p:nvSpPr>
        <p:spPr bwMode="gray">
          <a:xfrm>
            <a:off x="0" y="3247300"/>
            <a:ext cx="12188826" cy="769978"/>
          </a:xfrm>
          <a:custGeom>
            <a:avLst/>
            <a:gdLst>
              <a:gd name="connsiteX0" fmla="*/ 2018903 w 12188826"/>
              <a:gd name="connsiteY0" fmla="*/ 0 h 1674659"/>
              <a:gd name="connsiteX1" fmla="*/ 2587581 w 12188826"/>
              <a:gd name="connsiteY1" fmla="*/ 302363 h 1674659"/>
              <a:gd name="connsiteX2" fmla="*/ 2634489 w 12188826"/>
              <a:gd name="connsiteY2" fmla="*/ 388784 h 1674659"/>
              <a:gd name="connsiteX3" fmla="*/ 4124975 w 12188826"/>
              <a:gd name="connsiteY3" fmla="*/ 388784 h 1674659"/>
              <a:gd name="connsiteX4" fmla="*/ 4167763 w 12188826"/>
              <a:gd name="connsiteY4" fmla="*/ 467616 h 1674659"/>
              <a:gd name="connsiteX5" fmla="*/ 4736439 w 12188826"/>
              <a:gd name="connsiteY5" fmla="*/ 769978 h 1674659"/>
              <a:gd name="connsiteX6" fmla="*/ 5305116 w 12188826"/>
              <a:gd name="connsiteY6" fmla="*/ 467616 h 1674659"/>
              <a:gd name="connsiteX7" fmla="*/ 5347904 w 12188826"/>
              <a:gd name="connsiteY7" fmla="*/ 388784 h 1674659"/>
              <a:gd name="connsiteX8" fmla="*/ 6838391 w 12188826"/>
              <a:gd name="connsiteY8" fmla="*/ 388784 h 1674659"/>
              <a:gd name="connsiteX9" fmla="*/ 6885299 w 12188826"/>
              <a:gd name="connsiteY9" fmla="*/ 302363 h 1674659"/>
              <a:gd name="connsiteX10" fmla="*/ 7453975 w 12188826"/>
              <a:gd name="connsiteY10" fmla="*/ 0 h 1674659"/>
              <a:gd name="connsiteX11" fmla="*/ 8022651 w 12188826"/>
              <a:gd name="connsiteY11" fmla="*/ 302363 h 1674659"/>
              <a:gd name="connsiteX12" fmla="*/ 8069559 w 12188826"/>
              <a:gd name="connsiteY12" fmla="*/ 388784 h 1674659"/>
              <a:gd name="connsiteX13" fmla="*/ 9560046 w 12188826"/>
              <a:gd name="connsiteY13" fmla="*/ 388784 h 1674659"/>
              <a:gd name="connsiteX14" fmla="*/ 9602834 w 12188826"/>
              <a:gd name="connsiteY14" fmla="*/ 467616 h 1674659"/>
              <a:gd name="connsiteX15" fmla="*/ 10171510 w 12188826"/>
              <a:gd name="connsiteY15" fmla="*/ 769978 h 1674659"/>
              <a:gd name="connsiteX16" fmla="*/ 10740186 w 12188826"/>
              <a:gd name="connsiteY16" fmla="*/ 467616 h 1674659"/>
              <a:gd name="connsiteX17" fmla="*/ 10782974 w 12188826"/>
              <a:gd name="connsiteY17" fmla="*/ 388784 h 1674659"/>
              <a:gd name="connsiteX18" fmla="*/ 12188826 w 12188826"/>
              <a:gd name="connsiteY18" fmla="*/ 388784 h 1674659"/>
              <a:gd name="connsiteX19" fmla="*/ 12188826 w 12188826"/>
              <a:gd name="connsiteY19" fmla="*/ 1674659 h 1674659"/>
              <a:gd name="connsiteX20" fmla="*/ 0 w 12188826"/>
              <a:gd name="connsiteY20" fmla="*/ 1674659 h 1674659"/>
              <a:gd name="connsiteX21" fmla="*/ 0 w 12188826"/>
              <a:gd name="connsiteY21" fmla="*/ 388784 h 1674659"/>
              <a:gd name="connsiteX22" fmla="*/ 1403319 w 12188826"/>
              <a:gd name="connsiteY22" fmla="*/ 388784 h 1674659"/>
              <a:gd name="connsiteX23" fmla="*/ 1450227 w 12188826"/>
              <a:gd name="connsiteY23" fmla="*/ 302363 h 1674659"/>
              <a:gd name="connsiteX24" fmla="*/ 2018903 w 12188826"/>
              <a:gd name="connsiteY24" fmla="*/ 0 h 1674659"/>
              <a:gd name="connsiteX0" fmla="*/ 0 w 12280266"/>
              <a:gd name="connsiteY0" fmla="*/ 1674659 h 1766099"/>
              <a:gd name="connsiteX1" fmla="*/ 0 w 12280266"/>
              <a:gd name="connsiteY1" fmla="*/ 388784 h 1766099"/>
              <a:gd name="connsiteX2" fmla="*/ 1403319 w 12280266"/>
              <a:gd name="connsiteY2" fmla="*/ 388784 h 1766099"/>
              <a:gd name="connsiteX3" fmla="*/ 1450227 w 12280266"/>
              <a:gd name="connsiteY3" fmla="*/ 302363 h 1766099"/>
              <a:gd name="connsiteX4" fmla="*/ 2018903 w 12280266"/>
              <a:gd name="connsiteY4" fmla="*/ 0 h 1766099"/>
              <a:gd name="connsiteX5" fmla="*/ 2587581 w 12280266"/>
              <a:gd name="connsiteY5" fmla="*/ 302363 h 1766099"/>
              <a:gd name="connsiteX6" fmla="*/ 2634489 w 12280266"/>
              <a:gd name="connsiteY6" fmla="*/ 388784 h 1766099"/>
              <a:gd name="connsiteX7" fmla="*/ 4124975 w 12280266"/>
              <a:gd name="connsiteY7" fmla="*/ 388784 h 1766099"/>
              <a:gd name="connsiteX8" fmla="*/ 4167763 w 12280266"/>
              <a:gd name="connsiteY8" fmla="*/ 467616 h 1766099"/>
              <a:gd name="connsiteX9" fmla="*/ 4736439 w 12280266"/>
              <a:gd name="connsiteY9" fmla="*/ 769978 h 1766099"/>
              <a:gd name="connsiteX10" fmla="*/ 5305116 w 12280266"/>
              <a:gd name="connsiteY10" fmla="*/ 467616 h 1766099"/>
              <a:gd name="connsiteX11" fmla="*/ 5347904 w 12280266"/>
              <a:gd name="connsiteY11" fmla="*/ 388784 h 1766099"/>
              <a:gd name="connsiteX12" fmla="*/ 6838391 w 12280266"/>
              <a:gd name="connsiteY12" fmla="*/ 388784 h 1766099"/>
              <a:gd name="connsiteX13" fmla="*/ 6885299 w 12280266"/>
              <a:gd name="connsiteY13" fmla="*/ 302363 h 1766099"/>
              <a:gd name="connsiteX14" fmla="*/ 7453975 w 12280266"/>
              <a:gd name="connsiteY14" fmla="*/ 0 h 1766099"/>
              <a:gd name="connsiteX15" fmla="*/ 8022651 w 12280266"/>
              <a:gd name="connsiteY15" fmla="*/ 302363 h 1766099"/>
              <a:gd name="connsiteX16" fmla="*/ 8069559 w 12280266"/>
              <a:gd name="connsiteY16" fmla="*/ 388784 h 1766099"/>
              <a:gd name="connsiteX17" fmla="*/ 9560046 w 12280266"/>
              <a:gd name="connsiteY17" fmla="*/ 388784 h 1766099"/>
              <a:gd name="connsiteX18" fmla="*/ 9602834 w 12280266"/>
              <a:gd name="connsiteY18" fmla="*/ 467616 h 1766099"/>
              <a:gd name="connsiteX19" fmla="*/ 10171510 w 12280266"/>
              <a:gd name="connsiteY19" fmla="*/ 769978 h 1766099"/>
              <a:gd name="connsiteX20" fmla="*/ 10740186 w 12280266"/>
              <a:gd name="connsiteY20" fmla="*/ 467616 h 1766099"/>
              <a:gd name="connsiteX21" fmla="*/ 10782974 w 12280266"/>
              <a:gd name="connsiteY21" fmla="*/ 388784 h 1766099"/>
              <a:gd name="connsiteX22" fmla="*/ 12188826 w 12280266"/>
              <a:gd name="connsiteY22" fmla="*/ 388784 h 1766099"/>
              <a:gd name="connsiteX23" fmla="*/ 12280266 w 12280266"/>
              <a:gd name="connsiteY23" fmla="*/ 1766099 h 1766099"/>
              <a:gd name="connsiteX0" fmla="*/ 0 w 12188826"/>
              <a:gd name="connsiteY0" fmla="*/ 1674659 h 1674659"/>
              <a:gd name="connsiteX1" fmla="*/ 0 w 12188826"/>
              <a:gd name="connsiteY1" fmla="*/ 388784 h 1674659"/>
              <a:gd name="connsiteX2" fmla="*/ 1403319 w 12188826"/>
              <a:gd name="connsiteY2" fmla="*/ 388784 h 1674659"/>
              <a:gd name="connsiteX3" fmla="*/ 1450227 w 12188826"/>
              <a:gd name="connsiteY3" fmla="*/ 302363 h 1674659"/>
              <a:gd name="connsiteX4" fmla="*/ 2018903 w 12188826"/>
              <a:gd name="connsiteY4" fmla="*/ 0 h 1674659"/>
              <a:gd name="connsiteX5" fmla="*/ 2587581 w 12188826"/>
              <a:gd name="connsiteY5" fmla="*/ 302363 h 1674659"/>
              <a:gd name="connsiteX6" fmla="*/ 2634489 w 12188826"/>
              <a:gd name="connsiteY6" fmla="*/ 388784 h 1674659"/>
              <a:gd name="connsiteX7" fmla="*/ 4124975 w 12188826"/>
              <a:gd name="connsiteY7" fmla="*/ 388784 h 1674659"/>
              <a:gd name="connsiteX8" fmla="*/ 4167763 w 12188826"/>
              <a:gd name="connsiteY8" fmla="*/ 467616 h 1674659"/>
              <a:gd name="connsiteX9" fmla="*/ 4736439 w 12188826"/>
              <a:gd name="connsiteY9" fmla="*/ 769978 h 1674659"/>
              <a:gd name="connsiteX10" fmla="*/ 5305116 w 12188826"/>
              <a:gd name="connsiteY10" fmla="*/ 467616 h 1674659"/>
              <a:gd name="connsiteX11" fmla="*/ 5347904 w 12188826"/>
              <a:gd name="connsiteY11" fmla="*/ 388784 h 1674659"/>
              <a:gd name="connsiteX12" fmla="*/ 6838391 w 12188826"/>
              <a:gd name="connsiteY12" fmla="*/ 388784 h 1674659"/>
              <a:gd name="connsiteX13" fmla="*/ 6885299 w 12188826"/>
              <a:gd name="connsiteY13" fmla="*/ 302363 h 1674659"/>
              <a:gd name="connsiteX14" fmla="*/ 7453975 w 12188826"/>
              <a:gd name="connsiteY14" fmla="*/ 0 h 1674659"/>
              <a:gd name="connsiteX15" fmla="*/ 8022651 w 12188826"/>
              <a:gd name="connsiteY15" fmla="*/ 302363 h 1674659"/>
              <a:gd name="connsiteX16" fmla="*/ 8069559 w 12188826"/>
              <a:gd name="connsiteY16" fmla="*/ 388784 h 1674659"/>
              <a:gd name="connsiteX17" fmla="*/ 9560046 w 12188826"/>
              <a:gd name="connsiteY17" fmla="*/ 388784 h 1674659"/>
              <a:gd name="connsiteX18" fmla="*/ 9602834 w 12188826"/>
              <a:gd name="connsiteY18" fmla="*/ 467616 h 1674659"/>
              <a:gd name="connsiteX19" fmla="*/ 10171510 w 12188826"/>
              <a:gd name="connsiteY19" fmla="*/ 769978 h 1674659"/>
              <a:gd name="connsiteX20" fmla="*/ 10740186 w 12188826"/>
              <a:gd name="connsiteY20" fmla="*/ 467616 h 1674659"/>
              <a:gd name="connsiteX21" fmla="*/ 10782974 w 12188826"/>
              <a:gd name="connsiteY21" fmla="*/ 388784 h 1674659"/>
              <a:gd name="connsiteX22" fmla="*/ 12188826 w 12188826"/>
              <a:gd name="connsiteY22" fmla="*/ 388784 h 1674659"/>
              <a:gd name="connsiteX0" fmla="*/ 28575 w 12217401"/>
              <a:gd name="connsiteY0" fmla="*/ 1674659 h 1689479"/>
              <a:gd name="connsiteX1" fmla="*/ 0 w 12217401"/>
              <a:gd name="connsiteY1" fmla="*/ 1689479 h 1689479"/>
              <a:gd name="connsiteX2" fmla="*/ 28575 w 12217401"/>
              <a:gd name="connsiteY2" fmla="*/ 388784 h 1689479"/>
              <a:gd name="connsiteX3" fmla="*/ 1431894 w 12217401"/>
              <a:gd name="connsiteY3" fmla="*/ 388784 h 1689479"/>
              <a:gd name="connsiteX4" fmla="*/ 1478802 w 12217401"/>
              <a:gd name="connsiteY4" fmla="*/ 302363 h 1689479"/>
              <a:gd name="connsiteX5" fmla="*/ 2047478 w 12217401"/>
              <a:gd name="connsiteY5" fmla="*/ 0 h 1689479"/>
              <a:gd name="connsiteX6" fmla="*/ 2616156 w 12217401"/>
              <a:gd name="connsiteY6" fmla="*/ 302363 h 1689479"/>
              <a:gd name="connsiteX7" fmla="*/ 2663064 w 12217401"/>
              <a:gd name="connsiteY7" fmla="*/ 388784 h 1689479"/>
              <a:gd name="connsiteX8" fmla="*/ 4153550 w 12217401"/>
              <a:gd name="connsiteY8" fmla="*/ 388784 h 1689479"/>
              <a:gd name="connsiteX9" fmla="*/ 4196338 w 12217401"/>
              <a:gd name="connsiteY9" fmla="*/ 467616 h 1689479"/>
              <a:gd name="connsiteX10" fmla="*/ 4765014 w 12217401"/>
              <a:gd name="connsiteY10" fmla="*/ 769978 h 1689479"/>
              <a:gd name="connsiteX11" fmla="*/ 5333691 w 12217401"/>
              <a:gd name="connsiteY11" fmla="*/ 467616 h 1689479"/>
              <a:gd name="connsiteX12" fmla="*/ 5376479 w 12217401"/>
              <a:gd name="connsiteY12" fmla="*/ 388784 h 1689479"/>
              <a:gd name="connsiteX13" fmla="*/ 6866966 w 12217401"/>
              <a:gd name="connsiteY13" fmla="*/ 388784 h 1689479"/>
              <a:gd name="connsiteX14" fmla="*/ 6913874 w 12217401"/>
              <a:gd name="connsiteY14" fmla="*/ 302363 h 1689479"/>
              <a:gd name="connsiteX15" fmla="*/ 7482550 w 12217401"/>
              <a:gd name="connsiteY15" fmla="*/ 0 h 1689479"/>
              <a:gd name="connsiteX16" fmla="*/ 8051226 w 12217401"/>
              <a:gd name="connsiteY16" fmla="*/ 302363 h 1689479"/>
              <a:gd name="connsiteX17" fmla="*/ 8098134 w 12217401"/>
              <a:gd name="connsiteY17" fmla="*/ 388784 h 1689479"/>
              <a:gd name="connsiteX18" fmla="*/ 9588621 w 12217401"/>
              <a:gd name="connsiteY18" fmla="*/ 388784 h 1689479"/>
              <a:gd name="connsiteX19" fmla="*/ 9631409 w 12217401"/>
              <a:gd name="connsiteY19" fmla="*/ 467616 h 1689479"/>
              <a:gd name="connsiteX20" fmla="*/ 10200085 w 12217401"/>
              <a:gd name="connsiteY20" fmla="*/ 769978 h 1689479"/>
              <a:gd name="connsiteX21" fmla="*/ 10768761 w 12217401"/>
              <a:gd name="connsiteY21" fmla="*/ 467616 h 1689479"/>
              <a:gd name="connsiteX22" fmla="*/ 10811549 w 12217401"/>
              <a:gd name="connsiteY22" fmla="*/ 388784 h 1689479"/>
              <a:gd name="connsiteX23" fmla="*/ 12217401 w 12217401"/>
              <a:gd name="connsiteY23" fmla="*/ 388784 h 1689479"/>
              <a:gd name="connsiteX0" fmla="*/ 0 w 12188826"/>
              <a:gd name="connsiteY0" fmla="*/ 1674659 h 1674659"/>
              <a:gd name="connsiteX1" fmla="*/ 0 w 12188826"/>
              <a:gd name="connsiteY1" fmla="*/ 388784 h 1674659"/>
              <a:gd name="connsiteX2" fmla="*/ 1403319 w 12188826"/>
              <a:gd name="connsiteY2" fmla="*/ 388784 h 1674659"/>
              <a:gd name="connsiteX3" fmla="*/ 1450227 w 12188826"/>
              <a:gd name="connsiteY3" fmla="*/ 302363 h 1674659"/>
              <a:gd name="connsiteX4" fmla="*/ 2018903 w 12188826"/>
              <a:gd name="connsiteY4" fmla="*/ 0 h 1674659"/>
              <a:gd name="connsiteX5" fmla="*/ 2587581 w 12188826"/>
              <a:gd name="connsiteY5" fmla="*/ 302363 h 1674659"/>
              <a:gd name="connsiteX6" fmla="*/ 2634489 w 12188826"/>
              <a:gd name="connsiteY6" fmla="*/ 388784 h 1674659"/>
              <a:gd name="connsiteX7" fmla="*/ 4124975 w 12188826"/>
              <a:gd name="connsiteY7" fmla="*/ 388784 h 1674659"/>
              <a:gd name="connsiteX8" fmla="*/ 4167763 w 12188826"/>
              <a:gd name="connsiteY8" fmla="*/ 467616 h 1674659"/>
              <a:gd name="connsiteX9" fmla="*/ 4736439 w 12188826"/>
              <a:gd name="connsiteY9" fmla="*/ 769978 h 1674659"/>
              <a:gd name="connsiteX10" fmla="*/ 5305116 w 12188826"/>
              <a:gd name="connsiteY10" fmla="*/ 467616 h 1674659"/>
              <a:gd name="connsiteX11" fmla="*/ 5347904 w 12188826"/>
              <a:gd name="connsiteY11" fmla="*/ 388784 h 1674659"/>
              <a:gd name="connsiteX12" fmla="*/ 6838391 w 12188826"/>
              <a:gd name="connsiteY12" fmla="*/ 388784 h 1674659"/>
              <a:gd name="connsiteX13" fmla="*/ 6885299 w 12188826"/>
              <a:gd name="connsiteY13" fmla="*/ 302363 h 1674659"/>
              <a:gd name="connsiteX14" fmla="*/ 7453975 w 12188826"/>
              <a:gd name="connsiteY14" fmla="*/ 0 h 1674659"/>
              <a:gd name="connsiteX15" fmla="*/ 8022651 w 12188826"/>
              <a:gd name="connsiteY15" fmla="*/ 302363 h 1674659"/>
              <a:gd name="connsiteX16" fmla="*/ 8069559 w 12188826"/>
              <a:gd name="connsiteY16" fmla="*/ 388784 h 1674659"/>
              <a:gd name="connsiteX17" fmla="*/ 9560046 w 12188826"/>
              <a:gd name="connsiteY17" fmla="*/ 388784 h 1674659"/>
              <a:gd name="connsiteX18" fmla="*/ 9602834 w 12188826"/>
              <a:gd name="connsiteY18" fmla="*/ 467616 h 1674659"/>
              <a:gd name="connsiteX19" fmla="*/ 10171510 w 12188826"/>
              <a:gd name="connsiteY19" fmla="*/ 769978 h 1674659"/>
              <a:gd name="connsiteX20" fmla="*/ 10740186 w 12188826"/>
              <a:gd name="connsiteY20" fmla="*/ 467616 h 1674659"/>
              <a:gd name="connsiteX21" fmla="*/ 10782974 w 12188826"/>
              <a:gd name="connsiteY21" fmla="*/ 388784 h 1674659"/>
              <a:gd name="connsiteX22" fmla="*/ 12188826 w 12188826"/>
              <a:gd name="connsiteY22" fmla="*/ 388784 h 1674659"/>
              <a:gd name="connsiteX0" fmla="*/ 0 w 12188826"/>
              <a:gd name="connsiteY0" fmla="*/ 388784 h 769978"/>
              <a:gd name="connsiteX1" fmla="*/ 1403319 w 12188826"/>
              <a:gd name="connsiteY1" fmla="*/ 388784 h 769978"/>
              <a:gd name="connsiteX2" fmla="*/ 1450227 w 12188826"/>
              <a:gd name="connsiteY2" fmla="*/ 302363 h 769978"/>
              <a:gd name="connsiteX3" fmla="*/ 2018903 w 12188826"/>
              <a:gd name="connsiteY3" fmla="*/ 0 h 769978"/>
              <a:gd name="connsiteX4" fmla="*/ 2587581 w 12188826"/>
              <a:gd name="connsiteY4" fmla="*/ 302363 h 769978"/>
              <a:gd name="connsiteX5" fmla="*/ 2634489 w 12188826"/>
              <a:gd name="connsiteY5" fmla="*/ 388784 h 769978"/>
              <a:gd name="connsiteX6" fmla="*/ 4124975 w 12188826"/>
              <a:gd name="connsiteY6" fmla="*/ 388784 h 769978"/>
              <a:gd name="connsiteX7" fmla="*/ 4167763 w 12188826"/>
              <a:gd name="connsiteY7" fmla="*/ 467616 h 769978"/>
              <a:gd name="connsiteX8" fmla="*/ 4736439 w 12188826"/>
              <a:gd name="connsiteY8" fmla="*/ 769978 h 769978"/>
              <a:gd name="connsiteX9" fmla="*/ 5305116 w 12188826"/>
              <a:gd name="connsiteY9" fmla="*/ 467616 h 769978"/>
              <a:gd name="connsiteX10" fmla="*/ 5347904 w 12188826"/>
              <a:gd name="connsiteY10" fmla="*/ 388784 h 769978"/>
              <a:gd name="connsiteX11" fmla="*/ 6838391 w 12188826"/>
              <a:gd name="connsiteY11" fmla="*/ 388784 h 769978"/>
              <a:gd name="connsiteX12" fmla="*/ 6885299 w 12188826"/>
              <a:gd name="connsiteY12" fmla="*/ 302363 h 769978"/>
              <a:gd name="connsiteX13" fmla="*/ 7453975 w 12188826"/>
              <a:gd name="connsiteY13" fmla="*/ 0 h 769978"/>
              <a:gd name="connsiteX14" fmla="*/ 8022651 w 12188826"/>
              <a:gd name="connsiteY14" fmla="*/ 302363 h 769978"/>
              <a:gd name="connsiteX15" fmla="*/ 8069559 w 12188826"/>
              <a:gd name="connsiteY15" fmla="*/ 388784 h 769978"/>
              <a:gd name="connsiteX16" fmla="*/ 9560046 w 12188826"/>
              <a:gd name="connsiteY16" fmla="*/ 388784 h 769978"/>
              <a:gd name="connsiteX17" fmla="*/ 9602834 w 12188826"/>
              <a:gd name="connsiteY17" fmla="*/ 467616 h 769978"/>
              <a:gd name="connsiteX18" fmla="*/ 10171510 w 12188826"/>
              <a:gd name="connsiteY18" fmla="*/ 769978 h 769978"/>
              <a:gd name="connsiteX19" fmla="*/ 10740186 w 12188826"/>
              <a:gd name="connsiteY19" fmla="*/ 467616 h 769978"/>
              <a:gd name="connsiteX20" fmla="*/ 10782974 w 12188826"/>
              <a:gd name="connsiteY20" fmla="*/ 388784 h 769978"/>
              <a:gd name="connsiteX21" fmla="*/ 12188826 w 12188826"/>
              <a:gd name="connsiteY21" fmla="*/ 388784 h 769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88826" h="769978">
                <a:moveTo>
                  <a:pt x="0" y="388784"/>
                </a:moveTo>
                <a:lnTo>
                  <a:pt x="1403319" y="388784"/>
                </a:lnTo>
                <a:lnTo>
                  <a:pt x="1450227" y="302363"/>
                </a:lnTo>
                <a:cubicBezTo>
                  <a:pt x="1573470" y="119939"/>
                  <a:pt x="1782180" y="0"/>
                  <a:pt x="2018903" y="0"/>
                </a:cubicBezTo>
                <a:cubicBezTo>
                  <a:pt x="2255627" y="0"/>
                  <a:pt x="2464338" y="119939"/>
                  <a:pt x="2587581" y="302363"/>
                </a:cubicBezTo>
                <a:lnTo>
                  <a:pt x="2634489" y="388784"/>
                </a:lnTo>
                <a:lnTo>
                  <a:pt x="4124975" y="388784"/>
                </a:lnTo>
                <a:lnTo>
                  <a:pt x="4167763" y="467616"/>
                </a:lnTo>
                <a:cubicBezTo>
                  <a:pt x="4291006" y="650039"/>
                  <a:pt x="4499717" y="769978"/>
                  <a:pt x="4736439" y="769978"/>
                </a:cubicBezTo>
                <a:cubicBezTo>
                  <a:pt x="4973163" y="769978"/>
                  <a:pt x="5181872" y="650039"/>
                  <a:pt x="5305116" y="467616"/>
                </a:cubicBezTo>
                <a:lnTo>
                  <a:pt x="5347904" y="388784"/>
                </a:lnTo>
                <a:lnTo>
                  <a:pt x="6838391" y="388784"/>
                </a:lnTo>
                <a:lnTo>
                  <a:pt x="6885299" y="302363"/>
                </a:lnTo>
                <a:cubicBezTo>
                  <a:pt x="7008542" y="119939"/>
                  <a:pt x="7217252" y="0"/>
                  <a:pt x="7453975" y="0"/>
                </a:cubicBezTo>
                <a:cubicBezTo>
                  <a:pt x="7690698" y="0"/>
                  <a:pt x="7899408" y="119939"/>
                  <a:pt x="8022651" y="302363"/>
                </a:cubicBezTo>
                <a:lnTo>
                  <a:pt x="8069559" y="388784"/>
                </a:lnTo>
                <a:lnTo>
                  <a:pt x="9560046" y="388784"/>
                </a:lnTo>
                <a:lnTo>
                  <a:pt x="9602834" y="467616"/>
                </a:lnTo>
                <a:cubicBezTo>
                  <a:pt x="9726077" y="650039"/>
                  <a:pt x="9934787" y="769978"/>
                  <a:pt x="10171510" y="769978"/>
                </a:cubicBezTo>
                <a:cubicBezTo>
                  <a:pt x="10408233" y="769978"/>
                  <a:pt x="10616943" y="650039"/>
                  <a:pt x="10740186" y="467616"/>
                </a:cubicBezTo>
                <a:lnTo>
                  <a:pt x="10782974" y="388784"/>
                </a:lnTo>
                <a:lnTo>
                  <a:pt x="12188826" y="388784"/>
                </a:lnTo>
              </a:path>
            </a:pathLst>
          </a:custGeom>
          <a:noFill/>
          <a:ln w="12700">
            <a:solidFill>
              <a:schemeClr val="bg2">
                <a:alpha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err="1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0E24C9A-CC6F-425D-B957-6FE606C7F158}"/>
              </a:ext>
            </a:extLst>
          </p:cNvPr>
          <p:cNvSpPr>
            <a:spLocks noGrp="1"/>
          </p:cNvSpPr>
          <p:nvPr>
            <p:ph type="dt" sz="half" idx="46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37" name="Fußzeilenplatzhalter 36">
            <a:extLst>
              <a:ext uri="{FF2B5EF4-FFF2-40B4-BE49-F238E27FC236}">
                <a16:creationId xmlns:a16="http://schemas.microsoft.com/office/drawing/2014/main" id="{C800D79B-0953-4292-9491-E673D08CBD0B}"/>
              </a:ext>
            </a:extLst>
          </p:cNvPr>
          <p:cNvSpPr>
            <a:spLocks noGrp="1"/>
          </p:cNvSpPr>
          <p:nvPr>
            <p:ph type="ftr" sz="quarter" idx="47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4648B9C5-A372-4DB5-9372-0DE59B13BC73}"/>
              </a:ext>
            </a:extLst>
          </p:cNvPr>
          <p:cNvSpPr>
            <a:spLocks noGrp="1"/>
          </p:cNvSpPr>
          <p:nvPr>
            <p:ph type="sldNum" sz="quarter" idx="48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09BD964-905C-42B7-BEE3-F6B3730387D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152B3BFA-96D7-46EB-8439-32AEA004BF6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44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">
            <a:extLst>
              <a:ext uri="{FF2B5EF4-FFF2-40B4-BE49-F238E27FC236}">
                <a16:creationId xmlns:a16="http://schemas.microsoft.com/office/drawing/2014/main" id="{741D75DC-FE62-4050-BF49-3EF60908B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6095206" cy="4578143"/>
          </a:xfrm>
          <a:solidFill>
            <a:schemeClr val="bg2">
              <a:lumMod val="95000"/>
            </a:schemeClr>
          </a:solidFill>
        </p:spPr>
        <p:txBody>
          <a:bodyPr lIns="144000" tIns="144000"/>
          <a:lstStyle>
            <a:lvl1pPr marL="0" indent="0">
              <a:buNone/>
              <a:defRPr/>
            </a:lvl1pPr>
          </a:lstStyle>
          <a:p>
            <a:r>
              <a:rPr lang="en-GB" noProof="0"/>
              <a:t>Bild</a:t>
            </a:r>
          </a:p>
        </p:txBody>
      </p:sp>
      <p:sp>
        <p:nvSpPr>
          <p:cNvPr id="18" name="Inhalt 1">
            <a:extLst>
              <a:ext uri="{FF2B5EF4-FFF2-40B4-BE49-F238E27FC236}">
                <a16:creationId xmlns:a16="http://schemas.microsoft.com/office/drawing/2014/main" id="{5CB7901B-7295-410F-81BD-33951C07D3C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7322938" y="1949407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1">
            <a:extLst>
              <a:ext uri="{FF2B5EF4-FFF2-40B4-BE49-F238E27FC236}">
                <a16:creationId xmlns:a16="http://schemas.microsoft.com/office/drawing/2014/main" id="{DEDBE632-E268-4A30-BCE3-DB4BE10284E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7322938" y="3266800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0" name="Inhalt 1">
            <a:extLst>
              <a:ext uri="{FF2B5EF4-FFF2-40B4-BE49-F238E27FC236}">
                <a16:creationId xmlns:a16="http://schemas.microsoft.com/office/drawing/2014/main" id="{D1A4CB82-6BE4-4E31-895D-C51E15DCB0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7322938" y="4584193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39999" y="432000"/>
            <a:ext cx="11109601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7B3D5A9-695B-4A9F-875C-3DB563B12AC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E1FE2A1E-2909-47CA-BAFD-C67CF1749D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6787DE7E-70C3-46DC-BDB1-4244F4281D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7779A377-0950-4B84-B5F4-4BC430777591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111807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89997B8F-FA8F-40D6-BEF8-71DAF93C7113}"/>
              </a:ext>
            </a:extLst>
          </p:cNvPr>
          <p:cNvSpPr/>
          <p:nvPr userDrawn="1"/>
        </p:nvSpPr>
        <p:spPr bwMode="gray">
          <a:xfrm>
            <a:off x="0" y="1484313"/>
            <a:ext cx="12190413" cy="5373687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BD072958-08D5-4C95-ADDE-5FBD28FF45CC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F222889F-3A04-4F2A-8D08-9D208D238FF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2" name="Titel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17" name="Text 2">
            <a:extLst>
              <a:ext uri="{FF2B5EF4-FFF2-40B4-BE49-F238E27FC236}">
                <a16:creationId xmlns:a16="http://schemas.microsoft.com/office/drawing/2014/main" id="{1E78131E-F322-41F9-8C9A-A42B6CD3DD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9582" y="1789751"/>
            <a:ext cx="2700000" cy="900000"/>
          </a:xfrm>
        </p:spPr>
        <p:txBody>
          <a:bodyPr lIns="0" anchor="t"/>
          <a:lstStyle>
            <a:lvl1pPr marL="0" indent="0" algn="l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Text 2">
            <a:extLst>
              <a:ext uri="{FF2B5EF4-FFF2-40B4-BE49-F238E27FC236}">
                <a16:creationId xmlns:a16="http://schemas.microsoft.com/office/drawing/2014/main" id="{3EF7D546-FD5A-4C9C-BEFF-91D418A9A19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69582" y="3058212"/>
            <a:ext cx="2700000" cy="900000"/>
          </a:xfrm>
        </p:spPr>
        <p:txBody>
          <a:bodyPr lIns="0" anchor="t"/>
          <a:lstStyle>
            <a:lvl1pPr marL="0" indent="0" algn="l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2" name="Text 2">
            <a:extLst>
              <a:ext uri="{FF2B5EF4-FFF2-40B4-BE49-F238E27FC236}">
                <a16:creationId xmlns:a16="http://schemas.microsoft.com/office/drawing/2014/main" id="{221F9525-B0ED-4C1F-9BBC-8AFF27A3AE6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929127" y="3508212"/>
            <a:ext cx="2700000" cy="900000"/>
          </a:xfrm>
        </p:spPr>
        <p:txBody>
          <a:bodyPr lIns="0" anchor="t"/>
          <a:lstStyle>
            <a:lvl1pPr marL="0" indent="0" algn="r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AF2A2909-392E-4E33-BEA5-AC88A1FC1FE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929127" y="4776673"/>
            <a:ext cx="2700000" cy="900000"/>
          </a:xfrm>
        </p:spPr>
        <p:txBody>
          <a:bodyPr lIns="0" anchor="t"/>
          <a:lstStyle>
            <a:lvl1pPr marL="0" indent="0" algn="r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7616ADD7-91FC-4773-9301-5FB7DA6856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E24A3984-5DC1-449A-A589-0574453B77C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075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/>
          </a:p>
        </p:txBody>
      </p:sp>
      <p:sp>
        <p:nvSpPr>
          <p:cNvPr id="34" name="Kreis 1"/>
          <p:cNvSpPr>
            <a:spLocks noChangeAspect="1"/>
          </p:cNvSpPr>
          <p:nvPr userDrawn="1"/>
        </p:nvSpPr>
        <p:spPr bwMode="gray">
          <a:xfrm>
            <a:off x="1168200" y="1717126"/>
            <a:ext cx="2160000" cy="2160000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38" name="Bild 1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12762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39" name="Text 1"/>
          <p:cNvSpPr>
            <a:spLocks noGrp="1"/>
          </p:cNvSpPr>
          <p:nvPr>
            <p:ph type="body" sz="quarter" idx="41"/>
          </p:nvPr>
        </p:nvSpPr>
        <p:spPr bwMode="gray">
          <a:xfrm>
            <a:off x="540000" y="4233500"/>
            <a:ext cx="3416400" cy="1576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cxnSp>
        <p:nvCxnSpPr>
          <p:cNvPr id="40" name="Linie"/>
          <p:cNvCxnSpPr/>
          <p:nvPr userDrawn="1"/>
        </p:nvCxnSpPr>
        <p:spPr bwMode="gray">
          <a:xfrm>
            <a:off x="4171500" y="2041125"/>
            <a:ext cx="0" cy="32400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Kreis 2"/>
          <p:cNvSpPr>
            <a:spLocks noChangeAspect="1"/>
          </p:cNvSpPr>
          <p:nvPr userDrawn="1"/>
        </p:nvSpPr>
        <p:spPr bwMode="gray">
          <a:xfrm>
            <a:off x="5014800" y="1717126"/>
            <a:ext cx="2160000" cy="2160000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42" name="Bild 2"/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1228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43" name="Text 2"/>
          <p:cNvSpPr>
            <a:spLocks noGrp="1"/>
          </p:cNvSpPr>
          <p:nvPr>
            <p:ph type="body" sz="quarter" idx="42"/>
          </p:nvPr>
        </p:nvSpPr>
        <p:spPr bwMode="gray">
          <a:xfrm>
            <a:off x="4386600" y="4233500"/>
            <a:ext cx="3416400" cy="1576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cxnSp>
        <p:nvCxnSpPr>
          <p:cNvPr id="44" name="Linie"/>
          <p:cNvCxnSpPr/>
          <p:nvPr userDrawn="1"/>
        </p:nvCxnSpPr>
        <p:spPr bwMode="gray">
          <a:xfrm>
            <a:off x="8018100" y="2041125"/>
            <a:ext cx="0" cy="3240000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Kreis 3"/>
          <p:cNvSpPr>
            <a:spLocks noChangeAspect="1"/>
          </p:cNvSpPr>
          <p:nvPr userDrawn="1"/>
        </p:nvSpPr>
        <p:spPr bwMode="gray">
          <a:xfrm>
            <a:off x="8861400" y="1717126"/>
            <a:ext cx="2160000" cy="2160000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47" name="Bild 3"/>
          <p:cNvSpPr>
            <a:spLocks noGrp="1" noChangeAspect="1"/>
          </p:cNvSpPr>
          <p:nvPr>
            <p:ph type="pic" sz="quarter" idx="32"/>
          </p:nvPr>
        </p:nvSpPr>
        <p:spPr bwMode="gray">
          <a:xfrm>
            <a:off x="89694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48" name="Text 3"/>
          <p:cNvSpPr>
            <a:spLocks noGrp="1"/>
          </p:cNvSpPr>
          <p:nvPr>
            <p:ph type="body" sz="quarter" idx="43"/>
          </p:nvPr>
        </p:nvSpPr>
        <p:spPr bwMode="gray">
          <a:xfrm>
            <a:off x="8233200" y="4233500"/>
            <a:ext cx="3416400" cy="15768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  <a:endParaRPr lang="en-US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en-US" noProof="0" smtClean="0"/>
              <a:t>‹Nr.›</a:t>
            </a:fld>
            <a:endParaRPr lang="en-US" noProof="0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5711C4B2-0B57-41CB-B80A-FC5291408C75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68825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 2">
            <a:extLst>
              <a:ext uri="{FF2B5EF4-FFF2-40B4-BE49-F238E27FC236}">
                <a16:creationId xmlns:a16="http://schemas.microsoft.com/office/drawing/2014/main" id="{23A33831-295E-4736-A6D2-4BDA3CB1F7A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 bwMode="gray">
          <a:xfrm>
            <a:off x="2326841" y="1522633"/>
            <a:ext cx="1606693" cy="1711874"/>
          </a:xfr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Bildplatzhalter 3">
            <a:extLst>
              <a:ext uri="{FF2B5EF4-FFF2-40B4-BE49-F238E27FC236}">
                <a16:creationId xmlns:a16="http://schemas.microsoft.com/office/drawing/2014/main" id="{5C55ED35-42C4-4571-9BD3-920C4C891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595354" y="1602122"/>
            <a:ext cx="1552898" cy="155289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22" name="Bildplatzhalter 3">
            <a:extLst>
              <a:ext uri="{FF2B5EF4-FFF2-40B4-BE49-F238E27FC236}">
                <a16:creationId xmlns:a16="http://schemas.microsoft.com/office/drawing/2014/main" id="{D312C0D0-ACE6-438F-A154-9C24467E0DB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447542" y="1602122"/>
            <a:ext cx="1552898" cy="155289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23" name="Bildplatzhalter 3">
            <a:extLst>
              <a:ext uri="{FF2B5EF4-FFF2-40B4-BE49-F238E27FC236}">
                <a16:creationId xmlns:a16="http://schemas.microsoft.com/office/drawing/2014/main" id="{D31219C2-73E5-452A-9594-5C1C824318A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8277548" y="1602122"/>
            <a:ext cx="1552898" cy="155289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24" name="Bildplatzhalter 3">
            <a:extLst>
              <a:ext uri="{FF2B5EF4-FFF2-40B4-BE49-F238E27FC236}">
                <a16:creationId xmlns:a16="http://schemas.microsoft.com/office/drawing/2014/main" id="{400D0692-8C88-49C5-A509-13F7EB687A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595354" y="3810315"/>
            <a:ext cx="1552898" cy="155289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25" name="Bildplatzhalter 3">
            <a:extLst>
              <a:ext uri="{FF2B5EF4-FFF2-40B4-BE49-F238E27FC236}">
                <a16:creationId xmlns:a16="http://schemas.microsoft.com/office/drawing/2014/main" id="{403F0BDA-09F4-4909-BE3A-33494BD6C0E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4447542" y="3810315"/>
            <a:ext cx="1552898" cy="155289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26" name="Bildplatzhalter 3">
            <a:extLst>
              <a:ext uri="{FF2B5EF4-FFF2-40B4-BE49-F238E27FC236}">
                <a16:creationId xmlns:a16="http://schemas.microsoft.com/office/drawing/2014/main" id="{E3438E73-D16E-4FF8-AB45-0648D2D0CBE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277548" y="3810315"/>
            <a:ext cx="1552898" cy="1552897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de-DE"/>
          </a:p>
        </p:txBody>
      </p:sp>
      <p:sp>
        <p:nvSpPr>
          <p:cNvPr id="27" name="Kreis 1">
            <a:extLst>
              <a:ext uri="{FF2B5EF4-FFF2-40B4-BE49-F238E27FC236}">
                <a16:creationId xmlns:a16="http://schemas.microsoft.com/office/drawing/2014/main" id="{5972FF4D-D2E0-482A-A6CB-DAB8FB87D5A5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15866" y="1522633"/>
            <a:ext cx="1711874" cy="171187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28" name="Kreis 2">
            <a:extLst>
              <a:ext uri="{FF2B5EF4-FFF2-40B4-BE49-F238E27FC236}">
                <a16:creationId xmlns:a16="http://schemas.microsoft.com/office/drawing/2014/main" id="{F9B63FDE-4D24-49B5-BBFA-39853094CDDC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368054" y="1522633"/>
            <a:ext cx="1711874" cy="171187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29" name="Kreis 3">
            <a:extLst>
              <a:ext uri="{FF2B5EF4-FFF2-40B4-BE49-F238E27FC236}">
                <a16:creationId xmlns:a16="http://schemas.microsoft.com/office/drawing/2014/main" id="{3755E28E-21B8-4C42-B0DB-420EC590D413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198060" y="1522633"/>
            <a:ext cx="1711874" cy="171187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33" name="Kreis 1">
            <a:extLst>
              <a:ext uri="{FF2B5EF4-FFF2-40B4-BE49-F238E27FC236}">
                <a16:creationId xmlns:a16="http://schemas.microsoft.com/office/drawing/2014/main" id="{160F0302-82FD-4C8E-9E69-E4419468F66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15866" y="3730826"/>
            <a:ext cx="1711874" cy="171187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34" name="Kreis 2">
            <a:extLst>
              <a:ext uri="{FF2B5EF4-FFF2-40B4-BE49-F238E27FC236}">
                <a16:creationId xmlns:a16="http://schemas.microsoft.com/office/drawing/2014/main" id="{12008409-B759-4259-AA82-A24DCD7A1C0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368054" y="3730826"/>
            <a:ext cx="1711874" cy="171187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35" name="Kreis 3">
            <a:extLst>
              <a:ext uri="{FF2B5EF4-FFF2-40B4-BE49-F238E27FC236}">
                <a16:creationId xmlns:a16="http://schemas.microsoft.com/office/drawing/2014/main" id="{7B3BD94C-3E7A-4187-B2AA-433A8946892E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198060" y="3730826"/>
            <a:ext cx="1711874" cy="1711874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noProof="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EC33D253-14D3-4C86-8D9F-0218F5052C14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9" name="Titel">
            <a:extLst>
              <a:ext uri="{FF2B5EF4-FFF2-40B4-BE49-F238E27FC236}">
                <a16:creationId xmlns:a16="http://schemas.microsoft.com/office/drawing/2014/main" id="{E6EF495A-F2E3-46B8-A675-91B5445026AA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1" name="Text 2">
            <a:extLst>
              <a:ext uri="{FF2B5EF4-FFF2-40B4-BE49-F238E27FC236}">
                <a16:creationId xmlns:a16="http://schemas.microsoft.com/office/drawing/2014/main" id="{C6374270-2AC5-4667-8150-B7F53150DD5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 bwMode="gray">
          <a:xfrm>
            <a:off x="2326841" y="3674075"/>
            <a:ext cx="1606693" cy="1711874"/>
          </a:xfr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Text 2">
            <a:extLst>
              <a:ext uri="{FF2B5EF4-FFF2-40B4-BE49-F238E27FC236}">
                <a16:creationId xmlns:a16="http://schemas.microsoft.com/office/drawing/2014/main" id="{921B555A-10E4-4D89-973D-D6617EF5FB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 bwMode="gray">
          <a:xfrm>
            <a:off x="6190322" y="1522633"/>
            <a:ext cx="1606693" cy="1711874"/>
          </a:xfr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6" name="Text 2">
            <a:extLst>
              <a:ext uri="{FF2B5EF4-FFF2-40B4-BE49-F238E27FC236}">
                <a16:creationId xmlns:a16="http://schemas.microsoft.com/office/drawing/2014/main" id="{D884CC2A-7C4C-4057-9047-184F2EDB7B60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 bwMode="gray">
          <a:xfrm>
            <a:off x="6190322" y="3674075"/>
            <a:ext cx="1606693" cy="1711874"/>
          </a:xfr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Text 2">
            <a:extLst>
              <a:ext uri="{FF2B5EF4-FFF2-40B4-BE49-F238E27FC236}">
                <a16:creationId xmlns:a16="http://schemas.microsoft.com/office/drawing/2014/main" id="{6FA04A43-4EE7-4197-8CE9-E2466050011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 bwMode="gray">
          <a:xfrm>
            <a:off x="10031117" y="1522633"/>
            <a:ext cx="1606693" cy="1711874"/>
          </a:xfr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8" name="Text 2">
            <a:extLst>
              <a:ext uri="{FF2B5EF4-FFF2-40B4-BE49-F238E27FC236}">
                <a16:creationId xmlns:a16="http://schemas.microsoft.com/office/drawing/2014/main" id="{93C7EC07-3BC8-44CB-8BA5-4BC7FA8B45C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 bwMode="gray">
          <a:xfrm>
            <a:off x="10031117" y="3674075"/>
            <a:ext cx="1606693" cy="1711874"/>
          </a:xfr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cxnSp>
        <p:nvCxnSpPr>
          <p:cNvPr id="39" name="Linie">
            <a:extLst>
              <a:ext uri="{FF2B5EF4-FFF2-40B4-BE49-F238E27FC236}">
                <a16:creationId xmlns:a16="http://schemas.microsoft.com/office/drawing/2014/main" id="{BF0AE0AA-B9AD-4F9B-AF36-6BB3AC53B86D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40328" y="1545186"/>
            <a:ext cx="0" cy="156666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Linie">
            <a:extLst>
              <a:ext uri="{FF2B5EF4-FFF2-40B4-BE49-F238E27FC236}">
                <a16:creationId xmlns:a16="http://schemas.microsoft.com/office/drawing/2014/main" id="{BF12F0E1-C1CE-4F5C-A772-D4742E89A7A7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040328" y="3752905"/>
            <a:ext cx="0" cy="156666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Linie">
            <a:extLst>
              <a:ext uri="{FF2B5EF4-FFF2-40B4-BE49-F238E27FC236}">
                <a16:creationId xmlns:a16="http://schemas.microsoft.com/office/drawing/2014/main" id="{10E0CAAA-2791-49EB-918B-68ABD64E54F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2627" y="1545186"/>
            <a:ext cx="0" cy="156666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Linie">
            <a:extLst>
              <a:ext uri="{FF2B5EF4-FFF2-40B4-BE49-F238E27FC236}">
                <a16:creationId xmlns:a16="http://schemas.microsoft.com/office/drawing/2014/main" id="{FCD7F905-9A83-4B9B-8976-65F06B8156D3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7892627" y="3752905"/>
            <a:ext cx="0" cy="1566664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6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FD4C627-3EDC-40D2-829D-1FEDFB67E21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3764756"/>
            <a:ext cx="0" cy="3093244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ABAD4C6D-317B-4705-9D4E-53D72211E3F4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4925206" y="1422000"/>
            <a:ext cx="2340000" cy="2340000"/>
          </a:xfrm>
          <a:prstGeom prst="ellips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2" name="Bild 2">
            <a:extLst>
              <a:ext uri="{FF2B5EF4-FFF2-40B4-BE49-F238E27FC236}">
                <a16:creationId xmlns:a16="http://schemas.microsoft.com/office/drawing/2014/main" id="{9B363C7E-AB4B-415C-AA91-3D39EEE1FF5D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015206" y="1512000"/>
            <a:ext cx="2160000" cy="21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13" name="Inhalt 1">
            <a:extLst>
              <a:ext uri="{FF2B5EF4-FFF2-40B4-BE49-F238E27FC236}">
                <a16:creationId xmlns:a16="http://schemas.microsoft.com/office/drawing/2014/main" id="{27A749E6-4642-4BD2-9222-2FCE7838556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25583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5ADECE05-E3F2-4E59-9CD3-A06F4A44B6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25583"/>
            <a:ext cx="4720461" cy="810417"/>
          </a:xfr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95D79BF0-B038-45B3-BDC5-58D20C2539CA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22" name="Titel">
            <a:extLst>
              <a:ext uri="{FF2B5EF4-FFF2-40B4-BE49-F238E27FC236}">
                <a16:creationId xmlns:a16="http://schemas.microsoft.com/office/drawing/2014/main" id="{056A2913-0118-425D-8EAD-A4A7D9AEB4A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B2324544-18CB-4ADE-A361-AE4771C6402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4958791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223378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4" name="Inhalt 1">
            <a:extLst>
              <a:ext uri="{FF2B5EF4-FFF2-40B4-BE49-F238E27FC236}">
                <a16:creationId xmlns:a16="http://schemas.microsoft.com/office/drawing/2014/main" id="{3E7DE6D6-9FE9-40D7-BAB5-99134748E5DA}"/>
              </a:ext>
            </a:extLst>
          </p:cNvPr>
          <p:cNvSpPr>
            <a:spLocks noGrp="1"/>
          </p:cNvSpPr>
          <p:nvPr>
            <p:ph sz="half" idx="25" hasCustomPrompt="1"/>
          </p:nvPr>
        </p:nvSpPr>
        <p:spPr bwMode="gray">
          <a:xfrm>
            <a:off x="6409961" y="4625583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5" name="Inhalt 1">
            <a:extLst>
              <a:ext uri="{FF2B5EF4-FFF2-40B4-BE49-F238E27FC236}">
                <a16:creationId xmlns:a16="http://schemas.microsoft.com/office/drawing/2014/main" id="{C1DC8E55-D321-485A-841E-AFBBA0A0378F}"/>
              </a:ext>
            </a:extLst>
          </p:cNvPr>
          <p:cNvSpPr>
            <a:spLocks noGrp="1"/>
          </p:cNvSpPr>
          <p:nvPr>
            <p:ph sz="half" idx="26" hasCustomPrompt="1"/>
          </p:nvPr>
        </p:nvSpPr>
        <p:spPr bwMode="gray">
          <a:xfrm>
            <a:off x="1062925" y="4625583"/>
            <a:ext cx="4720461" cy="810417"/>
          </a:xfr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ED9BA028-009A-4CAB-B0E2-D389C9960A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7" name="Ellipse 26">
            <a:extLst>
              <a:ext uri="{FF2B5EF4-FFF2-40B4-BE49-F238E27FC236}">
                <a16:creationId xmlns:a16="http://schemas.microsoft.com/office/drawing/2014/main" id="{7693EFA4-2E8F-479D-9C23-B60BBF5789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4958791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30" name="Inhalt 1">
            <a:extLst>
              <a:ext uri="{FF2B5EF4-FFF2-40B4-BE49-F238E27FC236}">
                <a16:creationId xmlns:a16="http://schemas.microsoft.com/office/drawing/2014/main" id="{4C6B609E-388D-48E1-800F-C0A85655CD7F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 bwMode="gray">
          <a:xfrm>
            <a:off x="6409961" y="3074327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Inhalt 1">
            <a:extLst>
              <a:ext uri="{FF2B5EF4-FFF2-40B4-BE49-F238E27FC236}">
                <a16:creationId xmlns:a16="http://schemas.microsoft.com/office/drawing/2014/main" id="{0771D76F-6B60-4F65-9A7A-D5826C2B98F9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 bwMode="gray">
          <a:xfrm>
            <a:off x="1062925" y="3074327"/>
            <a:ext cx="4720461" cy="810417"/>
          </a:xfr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E61BC949-8478-432F-BAC9-D59A65E7135D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 bwMode="gray">
          <a:xfrm>
            <a:off x="6409961" y="1523071"/>
            <a:ext cx="4326662" cy="810417"/>
          </a:xfr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432FB5BB-C0A6-48A9-AFEA-323F7F165439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 bwMode="gray">
          <a:xfrm>
            <a:off x="1062925" y="1523071"/>
            <a:ext cx="4720461" cy="810417"/>
          </a:xfr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2D4D7C40-3F32-4F01-BA33-B1987A25DA2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3407535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E5D5FBC6-32B9-4B0C-BB75-AA569CDF9F0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1860327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8FE97F76-8BFC-4A0C-85CB-5B8DCBDEDCF1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37" name="Titel">
            <a:extLst>
              <a:ext uri="{FF2B5EF4-FFF2-40B4-BE49-F238E27FC236}">
                <a16:creationId xmlns:a16="http://schemas.microsoft.com/office/drawing/2014/main" id="{9C1FAA74-D278-4519-B13A-42DD6B90D8E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397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2890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F416D0C-C2A9-4AB8-A2B6-A3452CE46723}"/>
              </a:ext>
            </a:extLst>
          </p:cNvPr>
          <p:cNvSpPr/>
          <p:nvPr userDrawn="1"/>
        </p:nvSpPr>
        <p:spPr bwMode="gray">
          <a:xfrm>
            <a:off x="0" y="0"/>
            <a:ext cx="1219041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 bwMode="gray"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8818313" cy="1080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EA8E8765-ECAF-451A-9BAF-5B12BD9D9C2E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1F94CBBE-6BA0-4E55-A373-89F791B44E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22" name="Inhalt 1">
            <a:extLst>
              <a:ext uri="{FF2B5EF4-FFF2-40B4-BE49-F238E27FC236}">
                <a16:creationId xmlns:a16="http://schemas.microsoft.com/office/drawing/2014/main" id="{D6697A05-6148-41A5-B57F-F685CF11FB1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9250325" y="4144926"/>
            <a:ext cx="2416527" cy="1201074"/>
          </a:xfr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3" name="Inhalt 1">
            <a:extLst>
              <a:ext uri="{FF2B5EF4-FFF2-40B4-BE49-F238E27FC236}">
                <a16:creationId xmlns:a16="http://schemas.microsoft.com/office/drawing/2014/main" id="{23EBCE45-9990-4DBF-AA8E-4F41D0CD241D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6690553" y="4144926"/>
            <a:ext cx="2416527" cy="1201074"/>
          </a:xfr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5" name="Inhalt 1">
            <a:extLst>
              <a:ext uri="{FF2B5EF4-FFF2-40B4-BE49-F238E27FC236}">
                <a16:creationId xmlns:a16="http://schemas.microsoft.com/office/drawing/2014/main" id="{541BAB8E-DD02-4B2F-B61C-4E4FEB405F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4090511" y="4144926"/>
            <a:ext cx="2416527" cy="1201074"/>
          </a:xfr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1">
            <a:extLst>
              <a:ext uri="{FF2B5EF4-FFF2-40B4-BE49-F238E27FC236}">
                <a16:creationId xmlns:a16="http://schemas.microsoft.com/office/drawing/2014/main" id="{1BF71FFC-658B-4FB6-8F35-18BCB4BD8424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539999" y="4144926"/>
            <a:ext cx="3183483" cy="1201074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512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">
            <a:extLst>
              <a:ext uri="{FF2B5EF4-FFF2-40B4-BE49-F238E27FC236}">
                <a16:creationId xmlns:a16="http://schemas.microsoft.com/office/drawing/2014/main" id="{D06AA6F0-F3ED-4B57-9FDE-B1A15B16DD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0413" cy="3821202"/>
          </a:xfrm>
          <a:custGeom>
            <a:avLst/>
            <a:gdLst>
              <a:gd name="connsiteX0" fmla="*/ 0 w 12190413"/>
              <a:gd name="connsiteY0" fmla="*/ 0 h 3821202"/>
              <a:gd name="connsiteX1" fmla="*/ 12190413 w 12190413"/>
              <a:gd name="connsiteY1" fmla="*/ 0 h 3821202"/>
              <a:gd name="connsiteX2" fmla="*/ 12190413 w 12190413"/>
              <a:gd name="connsiteY2" fmla="*/ 3821202 h 3821202"/>
              <a:gd name="connsiteX3" fmla="*/ 10690162 w 12190413"/>
              <a:gd name="connsiteY3" fmla="*/ 3821202 h 3821202"/>
              <a:gd name="connsiteX4" fmla="*/ 10642943 w 12190413"/>
              <a:gd name="connsiteY4" fmla="*/ 3761233 h 3821202"/>
              <a:gd name="connsiteX5" fmla="*/ 9961809 w 12190413"/>
              <a:gd name="connsiteY5" fmla="*/ 3447111 h 3821202"/>
              <a:gd name="connsiteX6" fmla="*/ 9278328 w 12190413"/>
              <a:gd name="connsiteY6" fmla="*/ 3756478 h 3821202"/>
              <a:gd name="connsiteX7" fmla="*/ 9226686 w 12190413"/>
              <a:gd name="connsiteY7" fmla="*/ 3821202 h 3821202"/>
              <a:gd name="connsiteX8" fmla="*/ 0 w 12190413"/>
              <a:gd name="connsiteY8" fmla="*/ 3821202 h 382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3821202">
                <a:moveTo>
                  <a:pt x="0" y="0"/>
                </a:moveTo>
                <a:lnTo>
                  <a:pt x="12190413" y="0"/>
                </a:lnTo>
                <a:lnTo>
                  <a:pt x="12190413" y="3821202"/>
                </a:lnTo>
                <a:lnTo>
                  <a:pt x="10690162" y="3821202"/>
                </a:lnTo>
                <a:lnTo>
                  <a:pt x="10642943" y="3761233"/>
                </a:lnTo>
                <a:cubicBezTo>
                  <a:pt x="10467138" y="3562880"/>
                  <a:pt x="10221310" y="3448078"/>
                  <a:pt x="9961809" y="3447111"/>
                </a:cubicBezTo>
                <a:cubicBezTo>
                  <a:pt x="9702156" y="3446144"/>
                  <a:pt x="9455451" y="3559243"/>
                  <a:pt x="9278328" y="3756478"/>
                </a:cubicBezTo>
                <a:lnTo>
                  <a:pt x="9226686" y="3821202"/>
                </a:lnTo>
                <a:lnTo>
                  <a:pt x="0" y="38212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42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58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8C07F86-EDDE-4BE6-A55E-0A864D6618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9310845" y="3718061"/>
            <a:ext cx="2329984" cy="1259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9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">
            <a:extLst>
              <a:ext uri="{FF2B5EF4-FFF2-40B4-BE49-F238E27FC236}">
                <a16:creationId xmlns:a16="http://schemas.microsoft.com/office/drawing/2014/main" id="{86B94227-10D3-4E3D-BB8E-16CA0D837B2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06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22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Rechteck">
            <a:extLst>
              <a:ext uri="{FF2B5EF4-FFF2-40B4-BE49-F238E27FC236}">
                <a16:creationId xmlns:a16="http://schemas.microsoft.com/office/drawing/2014/main" id="{DEE1A475-1444-4081-A5D1-AF1DD9BD59B6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2226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wischenfoli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E77C0D5E-6442-43CF-9A58-2F1D7F6B3CC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18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Zwischenfolie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7FAE27AA-FABE-4FCC-94B1-767587DF869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8772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wischenfolie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B338E64A-FF2A-4099-814D-AA589E158985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954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Zwischenfolie">
    <p:bg bwMode="lt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1DCAFF42-0775-4212-8BB9-A84E3BBF04F0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0190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Zwischenfolie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997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Zwischenfolie">
    <p:bg bwMode="lt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9561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">
            <a:extLst>
              <a:ext uri="{FF2B5EF4-FFF2-40B4-BE49-F238E27FC236}">
                <a16:creationId xmlns:a16="http://schemas.microsoft.com/office/drawing/2014/main" id="{2BFD5FE5-7AC4-4DFF-B92E-51E906EA65E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5" name="Text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5400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6" name="Text">
            <a:extLst>
              <a:ext uri="{FF2B5EF4-FFF2-40B4-BE49-F238E27FC236}">
                <a16:creationId xmlns:a16="http://schemas.microsoft.com/office/drawing/2014/main" id="{A6A55C99-A5B8-4FC7-858A-4806CC497751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28404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7" name="Text">
            <a:extLst>
              <a:ext uri="{FF2B5EF4-FFF2-40B4-BE49-F238E27FC236}">
                <a16:creationId xmlns:a16="http://schemas.microsoft.com/office/drawing/2014/main" id="{047E2E09-20FB-45EA-908F-8E846C5E3DB7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51408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382DFAF6-1140-4DB1-BA07-D4355A5782BD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 bwMode="gray">
          <a:xfrm>
            <a:off x="74412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6D0835F0-C127-4EA9-8620-6BDC9F4EDB42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 bwMode="gray">
          <a:xfrm>
            <a:off x="97416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41337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056585AD-BE4A-45E5-B743-D1AAD646B7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41403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CC65B678-D15E-4226-A0C4-8A0311FB67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141469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4">
            <a:extLst>
              <a:ext uri="{FF2B5EF4-FFF2-40B4-BE49-F238E27FC236}">
                <a16:creationId xmlns:a16="http://schemas.microsoft.com/office/drawing/2014/main" id="{6DC9A36B-B757-4910-AE6B-F24CC93D5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441535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5">
            <a:extLst>
              <a:ext uri="{FF2B5EF4-FFF2-40B4-BE49-F238E27FC236}">
                <a16:creationId xmlns:a16="http://schemas.microsoft.com/office/drawing/2014/main" id="{12A4ECE6-A95E-4BEE-93A3-2D319FB5E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9741600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3C1C7C95-AD6C-42C4-95B6-BA8671C37F9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>
          <a:xfrm>
            <a:off x="2186100" y="6300000"/>
            <a:ext cx="7555500" cy="360000"/>
          </a:xfrm>
        </p:spPr>
        <p:txBody>
          <a:bodyPr/>
          <a:lstStyle/>
          <a:p>
            <a:r>
              <a:rPr lang="de-DE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54112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F312635F-21A1-4AC8-9DC0-3D88457F7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40000" y="1512000"/>
            <a:ext cx="11109600" cy="4298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7229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">
            <a:extLst>
              <a:ext uri="{FF2B5EF4-FFF2-40B4-BE49-F238E27FC236}">
                <a16:creationId xmlns:a16="http://schemas.microsoft.com/office/drawing/2014/main" id="{92E61FA1-2862-403F-86EF-AA46AAC539E6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4876166" y="-2"/>
            <a:ext cx="7314247" cy="6090146"/>
          </a:xfrm>
          <a:custGeom>
            <a:avLst/>
            <a:gdLst>
              <a:gd name="connsiteX0" fmla="*/ 0 w 7314247"/>
              <a:gd name="connsiteY0" fmla="*/ 0 h 6090146"/>
              <a:gd name="connsiteX1" fmla="*/ 7314247 w 7314247"/>
              <a:gd name="connsiteY1" fmla="*/ 0 h 6090146"/>
              <a:gd name="connsiteX2" fmla="*/ 7314247 w 7314247"/>
              <a:gd name="connsiteY2" fmla="*/ 6090146 h 6090146"/>
              <a:gd name="connsiteX3" fmla="*/ 6329725 w 7314247"/>
              <a:gd name="connsiteY3" fmla="*/ 6090146 h 6090146"/>
              <a:gd name="connsiteX4" fmla="*/ 6289777 w 7314247"/>
              <a:gd name="connsiteY4" fmla="*/ 6041729 h 6090146"/>
              <a:gd name="connsiteX5" fmla="*/ 5904810 w 7314247"/>
              <a:gd name="connsiteY5" fmla="*/ 5882270 h 6090146"/>
              <a:gd name="connsiteX6" fmla="*/ 5519843 w 7314247"/>
              <a:gd name="connsiteY6" fmla="*/ 6041729 h 6090146"/>
              <a:gd name="connsiteX7" fmla="*/ 5479895 w 7314247"/>
              <a:gd name="connsiteY7" fmla="*/ 6090146 h 6090146"/>
              <a:gd name="connsiteX8" fmla="*/ 0 w 7314247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314247" h="6090146">
                <a:moveTo>
                  <a:pt x="0" y="0"/>
                </a:moveTo>
                <a:lnTo>
                  <a:pt x="7314247" y="0"/>
                </a:lnTo>
                <a:lnTo>
                  <a:pt x="7314247" y="6090146"/>
                </a:lnTo>
                <a:lnTo>
                  <a:pt x="6329725" y="6090146"/>
                </a:lnTo>
                <a:lnTo>
                  <a:pt x="6289777" y="6041729"/>
                </a:lnTo>
                <a:cubicBezTo>
                  <a:pt x="6191255" y="5943207"/>
                  <a:pt x="6055149" y="5882270"/>
                  <a:pt x="5904810" y="5882270"/>
                </a:cubicBezTo>
                <a:cubicBezTo>
                  <a:pt x="5754471" y="5882270"/>
                  <a:pt x="5618365" y="5943207"/>
                  <a:pt x="5519843" y="6041729"/>
                </a:cubicBezTo>
                <a:lnTo>
                  <a:pt x="5479895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5" name="Nummer 1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535928" y="43180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3" name="Nummer 2">
            <a:extLst>
              <a:ext uri="{FF2B5EF4-FFF2-40B4-BE49-F238E27FC236}">
                <a16:creationId xmlns:a16="http://schemas.microsoft.com/office/drawing/2014/main" id="{EF2FD4C2-236D-4DE5-810D-A712893E31A0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 bwMode="gray">
          <a:xfrm>
            <a:off x="535928" y="131312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4" name="Nummer 3">
            <a:extLst>
              <a:ext uri="{FF2B5EF4-FFF2-40B4-BE49-F238E27FC236}">
                <a16:creationId xmlns:a16="http://schemas.microsoft.com/office/drawing/2014/main" id="{DFFDE87C-32F9-426F-99E1-5109783BBDA7}"/>
              </a:ext>
            </a:extLst>
          </p:cNvPr>
          <p:cNvSpPr>
            <a:spLocks noGrp="1" noChangeAspect="1"/>
          </p:cNvSpPr>
          <p:nvPr>
            <p:ph type="body" sz="quarter" idx="34" hasCustomPrompt="1"/>
          </p:nvPr>
        </p:nvSpPr>
        <p:spPr bwMode="gray">
          <a:xfrm>
            <a:off x="535928" y="219444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5" name="Nummer 4">
            <a:extLst>
              <a:ext uri="{FF2B5EF4-FFF2-40B4-BE49-F238E27FC236}">
                <a16:creationId xmlns:a16="http://schemas.microsoft.com/office/drawing/2014/main" id="{3F625ED7-60CF-4BA9-A178-10D6E31295F4}"/>
              </a:ext>
            </a:extLst>
          </p:cNvPr>
          <p:cNvSpPr>
            <a:spLocks noGrp="1" noChangeAspect="1"/>
          </p:cNvSpPr>
          <p:nvPr>
            <p:ph type="body" sz="quarter" idx="35" hasCustomPrompt="1"/>
          </p:nvPr>
        </p:nvSpPr>
        <p:spPr bwMode="gray">
          <a:xfrm>
            <a:off x="535928" y="307576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6" name="Nummer 5">
            <a:extLst>
              <a:ext uri="{FF2B5EF4-FFF2-40B4-BE49-F238E27FC236}">
                <a16:creationId xmlns:a16="http://schemas.microsoft.com/office/drawing/2014/main" id="{0B199BDB-698C-4275-A418-81445519D09B}"/>
              </a:ext>
            </a:extLst>
          </p:cNvPr>
          <p:cNvSpPr>
            <a:spLocks noGrp="1" noChangeAspect="1"/>
          </p:cNvSpPr>
          <p:nvPr>
            <p:ph type="body" sz="quarter" idx="36" hasCustomPrompt="1"/>
          </p:nvPr>
        </p:nvSpPr>
        <p:spPr bwMode="gray">
          <a:xfrm>
            <a:off x="535928" y="395708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27" name="Nummer 6">
            <a:extLst>
              <a:ext uri="{FF2B5EF4-FFF2-40B4-BE49-F238E27FC236}">
                <a16:creationId xmlns:a16="http://schemas.microsoft.com/office/drawing/2014/main" id="{7BCECF30-290C-4651-84F9-2D35E59D0547}"/>
              </a:ext>
            </a:extLst>
          </p:cNvPr>
          <p:cNvSpPr>
            <a:spLocks noGrp="1" noChangeAspect="1"/>
          </p:cNvSpPr>
          <p:nvPr>
            <p:ph type="body" sz="quarter" idx="37" hasCustomPrompt="1"/>
          </p:nvPr>
        </p:nvSpPr>
        <p:spPr bwMode="gray">
          <a:xfrm>
            <a:off x="535928" y="4838400"/>
            <a:ext cx="648000" cy="64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tIns="0" anchor="ctr" anchorCtr="0"/>
          <a:lstStyle>
            <a:lvl1pPr marL="0" indent="0" algn="ctr">
              <a:buNone/>
              <a:defRPr sz="3200" b="1">
                <a:solidFill>
                  <a:schemeClr val="accent3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noProof="0"/>
              <a:t>Nr</a:t>
            </a:r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620000" y="43180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28" name="Text 2">
            <a:extLst>
              <a:ext uri="{FF2B5EF4-FFF2-40B4-BE49-F238E27FC236}">
                <a16:creationId xmlns:a16="http://schemas.microsoft.com/office/drawing/2014/main" id="{910FB161-DAF6-46CB-8B48-635723402D4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620000" y="131312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29" name="Text 3">
            <a:extLst>
              <a:ext uri="{FF2B5EF4-FFF2-40B4-BE49-F238E27FC236}">
                <a16:creationId xmlns:a16="http://schemas.microsoft.com/office/drawing/2014/main" id="{66EEA9CE-413D-4C2F-820A-6F2AADB4877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620000" y="219444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30" name="Text 4">
            <a:extLst>
              <a:ext uri="{FF2B5EF4-FFF2-40B4-BE49-F238E27FC236}">
                <a16:creationId xmlns:a16="http://schemas.microsoft.com/office/drawing/2014/main" id="{347757E6-AC96-44FC-AA1D-59BEAC3DAC5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620000" y="307576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31" name="Text 5">
            <a:extLst>
              <a:ext uri="{FF2B5EF4-FFF2-40B4-BE49-F238E27FC236}">
                <a16:creationId xmlns:a16="http://schemas.microsoft.com/office/drawing/2014/main" id="{1AAD64B7-E970-4016-83E8-AFAE5C20F62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620000" y="395708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32" name="Text 6">
            <a:extLst>
              <a:ext uri="{FF2B5EF4-FFF2-40B4-BE49-F238E27FC236}">
                <a16:creationId xmlns:a16="http://schemas.microsoft.com/office/drawing/2014/main" id="{218BE1F3-3B20-49A3-A628-2FFCFA1A3C1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620000" y="4838400"/>
            <a:ext cx="2718000" cy="648000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600">
                <a:solidFill>
                  <a:schemeClr val="accent3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noProof="0"/>
              <a:t>Das ist ein Agendapunkt</a:t>
            </a:r>
          </a:p>
        </p:txBody>
      </p:sp>
      <p:sp>
        <p:nvSpPr>
          <p:cNvPr id="21" name="Form">
            <a:extLst>
              <a:ext uri="{FF2B5EF4-FFF2-40B4-BE49-F238E27FC236}">
                <a16:creationId xmlns:a16="http://schemas.microsoft.com/office/drawing/2014/main" id="{AC7B29B8-D37B-4C42-83DA-A8A032AE3CB1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3C1C7C95-AD6C-42C4-95B6-BA8671C37F9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519379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grau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41308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2890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F312635F-21A1-4AC8-9DC0-3D88457F7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40000" y="1512000"/>
            <a:ext cx="11109600" cy="4298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7229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C6555B80-FEC4-4F48-A8EB-528F7C8A0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 bwMode="gray">
          <a:xfrm>
            <a:off x="54000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46A130D1-C529-4C85-B44C-67CCFCE2162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246671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Inhalt 3"/>
          <p:cNvSpPr>
            <a:spLocks noGrp="1"/>
          </p:cNvSpPr>
          <p:nvPr>
            <p:ph sz="half" idx="14" hasCustomPrompt="1"/>
          </p:nvPr>
        </p:nvSpPr>
        <p:spPr bwMode="gray">
          <a:xfrm>
            <a:off x="439343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 algn="ctr">
              <a:buNone/>
              <a:defRPr sz="14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endParaRPr lang="de-DE" noProof="0"/>
          </a:p>
        </p:txBody>
      </p:sp>
      <p:sp>
        <p:nvSpPr>
          <p:cNvPr id="4" name="Inhalt 4"/>
          <p:cNvSpPr>
            <a:spLocks noGrp="1"/>
          </p:cNvSpPr>
          <p:nvPr>
            <p:ph sz="half" idx="2" hasCustomPrompt="1"/>
          </p:nvPr>
        </p:nvSpPr>
        <p:spPr bwMode="gray">
          <a:xfrm>
            <a:off x="632014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Inhalt 5">
            <a:extLst>
              <a:ext uri="{FF2B5EF4-FFF2-40B4-BE49-F238E27FC236}">
                <a16:creationId xmlns:a16="http://schemas.microsoft.com/office/drawing/2014/main" id="{8721FB0B-FC51-49F3-8FB9-30799BCD855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824686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Inhalt 6">
            <a:extLst>
              <a:ext uri="{FF2B5EF4-FFF2-40B4-BE49-F238E27FC236}">
                <a16:creationId xmlns:a16="http://schemas.microsoft.com/office/drawing/2014/main" id="{ED5E96AF-7AAC-4335-9EE7-89A25628881C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10173577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9984A72B-A91E-464D-8CB5-D8E43378CDE2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3B297F5-648C-4D0A-81CD-05527CF0F63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55BA45C2-022A-40A2-88BC-778F115D9A49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E54C221C-BE5B-4A15-BE58-B24C7447660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2186100" y="6300000"/>
            <a:ext cx="7521024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60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">
            <a:extLst>
              <a:ext uri="{FF2B5EF4-FFF2-40B4-BE49-F238E27FC236}">
                <a16:creationId xmlns:a16="http://schemas.microsoft.com/office/drawing/2014/main" id="{E0E713BA-89AB-4425-B399-E145F1B274FA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cxnSp>
        <p:nvCxnSpPr>
          <p:cNvPr id="7" name="Linie 1">
            <a:extLst>
              <a:ext uri="{FF2B5EF4-FFF2-40B4-BE49-F238E27FC236}">
                <a16:creationId xmlns:a16="http://schemas.microsoft.com/office/drawing/2014/main" id="{C9064D9F-B951-4C83-98B5-755EE70B54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BAD8EE41-403F-4A48-B1D9-59F5C8F2F1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2634C2BB-8434-4B74-B0E7-547A2713A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Kreis">
            <a:extLst>
              <a:ext uri="{FF2B5EF4-FFF2-40B4-BE49-F238E27FC236}">
                <a16:creationId xmlns:a16="http://schemas.microsoft.com/office/drawing/2014/main" id="{90E9D527-DFF9-4F85-B1A2-0169589ACE74}"/>
              </a:ext>
            </a:extLst>
          </p:cNvPr>
          <p:cNvSpPr>
            <a:spLocks noGrp="1" noChangeAspect="1"/>
          </p:cNvSpPr>
          <p:nvPr>
            <p:ph type="body" sz="quarter" idx="32"/>
          </p:nvPr>
        </p:nvSpPr>
        <p:spPr bwMode="gray">
          <a:xfrm>
            <a:off x="5015206" y="2635200"/>
            <a:ext cx="2160000" cy="2160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lIns="0" rIns="0" anchor="ctr"/>
          <a:lstStyle>
            <a:lvl1pPr marL="0" indent="0" algn="ctr">
              <a:buNone/>
              <a:defRPr lang="de-DE" sz="2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79FE2F73-4C50-4BEA-BA8C-06EF1BBA314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F950371D-2325-4314-A83B-C07C50C3AD5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8736B850-542D-4264-9EC5-4444FB9224E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 bwMode="gray">
          <a:xfrm>
            <a:off x="2186099" y="6300000"/>
            <a:ext cx="7575709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72680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Linie 1">
            <a:extLst>
              <a:ext uri="{FF2B5EF4-FFF2-40B4-BE49-F238E27FC236}">
                <a16:creationId xmlns:a16="http://schemas.microsoft.com/office/drawing/2014/main" id="{C9064D9F-B951-4C83-98B5-755EE70B54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BAD8EE41-403F-4A48-B1D9-59F5C8F2F1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2634C2BB-8434-4B74-B0E7-547A2713A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Kreis">
            <a:extLst>
              <a:ext uri="{FF2B5EF4-FFF2-40B4-BE49-F238E27FC236}">
                <a16:creationId xmlns:a16="http://schemas.microsoft.com/office/drawing/2014/main" id="{90E9D527-DFF9-4F85-B1A2-0169589ACE74}"/>
              </a:ext>
            </a:extLst>
          </p:cNvPr>
          <p:cNvSpPr>
            <a:spLocks noGrp="1" noChangeAspect="1"/>
          </p:cNvSpPr>
          <p:nvPr>
            <p:ph type="body" sz="quarter" idx="32"/>
          </p:nvPr>
        </p:nvSpPr>
        <p:spPr bwMode="gray">
          <a:xfrm>
            <a:off x="5015206" y="2635200"/>
            <a:ext cx="2160000" cy="2160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txBody>
          <a:bodyPr lIns="0" rIns="0" anchor="ctr"/>
          <a:lstStyle>
            <a:lvl1pPr marL="0" indent="0" algn="ctr">
              <a:buNone/>
              <a:defRPr lang="de-DE" sz="20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79FE2F73-4C50-4BEA-BA8C-06EF1BBA314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F950371D-2325-4314-A83B-C07C50C3AD5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8736B850-542D-4264-9EC5-4444FB9224E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 bwMode="gray">
          <a:xfrm>
            <a:off x="2186099" y="6300000"/>
            <a:ext cx="752628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6578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">
            <a:extLst>
              <a:ext uri="{FF2B5EF4-FFF2-40B4-BE49-F238E27FC236}">
                <a16:creationId xmlns:a16="http://schemas.microsoft.com/office/drawing/2014/main" id="{9B4E86DA-98B2-4C2F-9787-543BC397018E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D90BAA20-FDEF-45E6-91AE-BC87F7456B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554986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9A3EF7B2-9B34-475A-9FFE-708775C680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811765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41528210-6C8E-4156-85F2-26AC82FE48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5068545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4DCE1052-B5EA-4FEE-80B5-333566DE07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7325325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 5">
            <a:extLst>
              <a:ext uri="{FF2B5EF4-FFF2-40B4-BE49-F238E27FC236}">
                <a16:creationId xmlns:a16="http://schemas.microsoft.com/office/drawing/2014/main" id="{8BDA7EF0-199A-4B0D-8C49-FE26ED2B31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9582104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Foliennummer">
            <a:extLst>
              <a:ext uri="{FF2B5EF4-FFF2-40B4-BE49-F238E27FC236}">
                <a16:creationId xmlns:a16="http://schemas.microsoft.com/office/drawing/2014/main" id="{38BB0998-EA11-4EA3-B64A-2439AE457C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Datum">
            <a:extLst>
              <a:ext uri="{FF2B5EF4-FFF2-40B4-BE49-F238E27FC236}">
                <a16:creationId xmlns:a16="http://schemas.microsoft.com/office/drawing/2014/main" id="{740C6E7A-561B-485C-8E5B-6BB93DF1886A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6D6A4D7B-9B3F-4ABE-998C-725F48B0818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18517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39999" y="432000"/>
            <a:ext cx="11109601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741D75DC-FE62-4050-BF49-3EF60908B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1"/>
            <a:ext cx="6095206" cy="45781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8" name="Inhalt 1">
            <a:extLst>
              <a:ext uri="{FF2B5EF4-FFF2-40B4-BE49-F238E27FC236}">
                <a16:creationId xmlns:a16="http://schemas.microsoft.com/office/drawing/2014/main" id="{5CB7901B-7295-410F-81BD-33951C07D3C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7689600" y="2078471"/>
            <a:ext cx="3960000" cy="81041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2">
            <a:extLst>
              <a:ext uri="{FF2B5EF4-FFF2-40B4-BE49-F238E27FC236}">
                <a16:creationId xmlns:a16="http://schemas.microsoft.com/office/drawing/2014/main" id="{DEDBE632-E268-4A30-BCE3-DB4BE10284E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7689600" y="3395864"/>
            <a:ext cx="3960000" cy="81041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0" name="Inhalt 3">
            <a:extLst>
              <a:ext uri="{FF2B5EF4-FFF2-40B4-BE49-F238E27FC236}">
                <a16:creationId xmlns:a16="http://schemas.microsoft.com/office/drawing/2014/main" id="{D1A4CB82-6BE4-4E31-895D-C51E15DCB0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7689600" y="4713257"/>
            <a:ext cx="3960000" cy="81041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D8F3324B-806D-478E-B175-0F14B5B70139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6787DE7E-70C3-46DC-BDB1-4244F4281D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77B3D5A9-695B-4A9F-875C-3DB563B12AC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2" name="Fußzeile">
            <a:extLst>
              <a:ext uri="{FF2B5EF4-FFF2-40B4-BE49-F238E27FC236}">
                <a16:creationId xmlns:a16="http://schemas.microsoft.com/office/drawing/2014/main" id="{E1FE2A1E-2909-47CA-BAFD-C67CF1749D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11807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C596D226-8F8B-4B4F-A6BA-8F59BEB83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12190412" cy="4578144"/>
          </a:xfrm>
          <a:custGeom>
            <a:avLst/>
            <a:gdLst>
              <a:gd name="connsiteX0" fmla="*/ 0 w 12190412"/>
              <a:gd name="connsiteY0" fmla="*/ 0 h 4578144"/>
              <a:gd name="connsiteX1" fmla="*/ 12190412 w 12190412"/>
              <a:gd name="connsiteY1" fmla="*/ 0 h 4578144"/>
              <a:gd name="connsiteX2" fmla="*/ 12190412 w 12190412"/>
              <a:gd name="connsiteY2" fmla="*/ 4578144 h 4578144"/>
              <a:gd name="connsiteX3" fmla="*/ 11205890 w 12190412"/>
              <a:gd name="connsiteY3" fmla="*/ 4578144 h 4578144"/>
              <a:gd name="connsiteX4" fmla="*/ 11165942 w 12190412"/>
              <a:gd name="connsiteY4" fmla="*/ 4529727 h 4578144"/>
              <a:gd name="connsiteX5" fmla="*/ 10780975 w 12190412"/>
              <a:gd name="connsiteY5" fmla="*/ 4370268 h 4578144"/>
              <a:gd name="connsiteX6" fmla="*/ 10396008 w 12190412"/>
              <a:gd name="connsiteY6" fmla="*/ 4529727 h 4578144"/>
              <a:gd name="connsiteX7" fmla="*/ 10356060 w 12190412"/>
              <a:gd name="connsiteY7" fmla="*/ 4578144 h 4578144"/>
              <a:gd name="connsiteX8" fmla="*/ 0 w 12190412"/>
              <a:gd name="connsiteY8" fmla="*/ 4578144 h 4578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2" h="4578144">
                <a:moveTo>
                  <a:pt x="0" y="0"/>
                </a:moveTo>
                <a:lnTo>
                  <a:pt x="12190412" y="0"/>
                </a:lnTo>
                <a:lnTo>
                  <a:pt x="12190412" y="4578144"/>
                </a:lnTo>
                <a:lnTo>
                  <a:pt x="11205890" y="4578144"/>
                </a:lnTo>
                <a:lnTo>
                  <a:pt x="11165942" y="4529727"/>
                </a:lnTo>
                <a:cubicBezTo>
                  <a:pt x="11067420" y="4431205"/>
                  <a:pt x="10931314" y="4370268"/>
                  <a:pt x="10780975" y="4370268"/>
                </a:cubicBezTo>
                <a:cubicBezTo>
                  <a:pt x="10630636" y="4370268"/>
                  <a:pt x="10494530" y="4431205"/>
                  <a:pt x="10396008" y="4529727"/>
                </a:cubicBezTo>
                <a:lnTo>
                  <a:pt x="10356060" y="4578144"/>
                </a:lnTo>
                <a:lnTo>
                  <a:pt x="0" y="4578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7" name="Text 1">
            <a:extLst>
              <a:ext uri="{FF2B5EF4-FFF2-40B4-BE49-F238E27FC236}">
                <a16:creationId xmlns:a16="http://schemas.microsoft.com/office/drawing/2014/main" id="{1E78131E-F322-41F9-8C9A-A42B6CD3DD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9582" y="18720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l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Text 2">
            <a:extLst>
              <a:ext uri="{FF2B5EF4-FFF2-40B4-BE49-F238E27FC236}">
                <a16:creationId xmlns:a16="http://schemas.microsoft.com/office/drawing/2014/main" id="{3EF7D546-FD5A-4C9C-BEFF-91D418A9A19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69582" y="31320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l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221F9525-B0ED-4C1F-9BBC-8AFF27A3AE6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929127" y="33984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r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3" name="Text 4">
            <a:extLst>
              <a:ext uri="{FF2B5EF4-FFF2-40B4-BE49-F238E27FC236}">
                <a16:creationId xmlns:a16="http://schemas.microsoft.com/office/drawing/2014/main" id="{AF2A2909-392E-4E33-BEA5-AC88A1FC1FE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929127" y="46584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r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82075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C6555B80-FEC4-4F48-A8EB-528F7C8A0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 bwMode="gray">
          <a:xfrm>
            <a:off x="54000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46A130D1-C529-4C85-B44C-67CCFCE2162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246671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Inhalt 3"/>
          <p:cNvSpPr>
            <a:spLocks noGrp="1"/>
          </p:cNvSpPr>
          <p:nvPr>
            <p:ph sz="half" idx="14" hasCustomPrompt="1"/>
          </p:nvPr>
        </p:nvSpPr>
        <p:spPr bwMode="gray">
          <a:xfrm>
            <a:off x="439343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 algn="ctr">
              <a:buNone/>
              <a:defRPr sz="14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endParaRPr lang="de-DE" noProof="0"/>
          </a:p>
        </p:txBody>
      </p:sp>
      <p:sp>
        <p:nvSpPr>
          <p:cNvPr id="4" name="Inhalt 4"/>
          <p:cNvSpPr>
            <a:spLocks noGrp="1"/>
          </p:cNvSpPr>
          <p:nvPr>
            <p:ph sz="half" idx="2" hasCustomPrompt="1"/>
          </p:nvPr>
        </p:nvSpPr>
        <p:spPr bwMode="gray">
          <a:xfrm>
            <a:off x="632014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Inhalt 5">
            <a:extLst>
              <a:ext uri="{FF2B5EF4-FFF2-40B4-BE49-F238E27FC236}">
                <a16:creationId xmlns:a16="http://schemas.microsoft.com/office/drawing/2014/main" id="{8721FB0B-FC51-49F3-8FB9-30799BCD855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824686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Inhalt 6">
            <a:extLst>
              <a:ext uri="{FF2B5EF4-FFF2-40B4-BE49-F238E27FC236}">
                <a16:creationId xmlns:a16="http://schemas.microsoft.com/office/drawing/2014/main" id="{ED5E96AF-7AAC-4335-9EE7-89A25628881C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10173577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9984A72B-A91E-464D-8CB5-D8E43378CDE2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3B297F5-648C-4D0A-81CD-05527CF0F63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9" name="Datum">
            <a:extLst>
              <a:ext uri="{FF2B5EF4-FFF2-40B4-BE49-F238E27FC236}">
                <a16:creationId xmlns:a16="http://schemas.microsoft.com/office/drawing/2014/main" id="{55BA45C2-022A-40A2-88BC-778F115D9A49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0" name="Fußzeile">
            <a:extLst>
              <a:ext uri="{FF2B5EF4-FFF2-40B4-BE49-F238E27FC236}">
                <a16:creationId xmlns:a16="http://schemas.microsoft.com/office/drawing/2014/main" id="{E54C221C-BE5B-4A15-BE58-B24C7447660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2186100" y="6300000"/>
            <a:ext cx="7521024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60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">
            <a:extLst>
              <a:ext uri="{FF2B5EF4-FFF2-40B4-BE49-F238E27FC236}">
                <a16:creationId xmlns:a16="http://schemas.microsoft.com/office/drawing/2014/main" id="{E956635E-5F2E-40B8-B86F-C5BD10005B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12190412" cy="4578144"/>
          </a:xfrm>
          <a:custGeom>
            <a:avLst/>
            <a:gdLst>
              <a:gd name="connsiteX0" fmla="*/ 0 w 12190412"/>
              <a:gd name="connsiteY0" fmla="*/ 0 h 4578144"/>
              <a:gd name="connsiteX1" fmla="*/ 12190412 w 12190412"/>
              <a:gd name="connsiteY1" fmla="*/ 0 h 4578144"/>
              <a:gd name="connsiteX2" fmla="*/ 12190412 w 12190412"/>
              <a:gd name="connsiteY2" fmla="*/ 4578144 h 4578144"/>
              <a:gd name="connsiteX3" fmla="*/ 11205890 w 12190412"/>
              <a:gd name="connsiteY3" fmla="*/ 4578144 h 4578144"/>
              <a:gd name="connsiteX4" fmla="*/ 11165942 w 12190412"/>
              <a:gd name="connsiteY4" fmla="*/ 4529727 h 4578144"/>
              <a:gd name="connsiteX5" fmla="*/ 10780975 w 12190412"/>
              <a:gd name="connsiteY5" fmla="*/ 4370268 h 4578144"/>
              <a:gd name="connsiteX6" fmla="*/ 10396008 w 12190412"/>
              <a:gd name="connsiteY6" fmla="*/ 4529727 h 4578144"/>
              <a:gd name="connsiteX7" fmla="*/ 10356060 w 12190412"/>
              <a:gd name="connsiteY7" fmla="*/ 4578144 h 4578144"/>
              <a:gd name="connsiteX8" fmla="*/ 0 w 12190412"/>
              <a:gd name="connsiteY8" fmla="*/ 4578144 h 4578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2" h="4578144">
                <a:moveTo>
                  <a:pt x="0" y="0"/>
                </a:moveTo>
                <a:lnTo>
                  <a:pt x="12190412" y="0"/>
                </a:lnTo>
                <a:lnTo>
                  <a:pt x="12190412" y="4578144"/>
                </a:lnTo>
                <a:lnTo>
                  <a:pt x="11205890" y="4578144"/>
                </a:lnTo>
                <a:lnTo>
                  <a:pt x="11165942" y="4529727"/>
                </a:lnTo>
                <a:cubicBezTo>
                  <a:pt x="11067420" y="4431205"/>
                  <a:pt x="10931314" y="4370268"/>
                  <a:pt x="10780975" y="4370268"/>
                </a:cubicBezTo>
                <a:cubicBezTo>
                  <a:pt x="10630636" y="4370268"/>
                  <a:pt x="10494530" y="4431205"/>
                  <a:pt x="10396008" y="4529727"/>
                </a:cubicBezTo>
                <a:lnTo>
                  <a:pt x="10356060" y="4578144"/>
                </a:lnTo>
                <a:lnTo>
                  <a:pt x="0" y="4578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3" name="Inhalt 4">
            <a:extLst>
              <a:ext uri="{FF2B5EF4-FFF2-40B4-BE49-F238E27FC236}">
                <a16:creationId xmlns:a16="http://schemas.microsoft.com/office/drawing/2014/main" id="{90E260A5-FC78-4681-900F-E826056781C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7594809" y="2167101"/>
            <a:ext cx="3096000" cy="3096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1600">
                <a:solidFill>
                  <a:schemeClr val="accent1"/>
                </a:solidFill>
              </a:defRPr>
            </a:lvl1pPr>
            <a:lvl2pPr marL="450000" indent="0" algn="ctr">
              <a:buFontTx/>
              <a:buNone/>
              <a:defRPr sz="1400">
                <a:solidFill>
                  <a:schemeClr val="bg1"/>
                </a:solidFill>
              </a:defRPr>
            </a:lvl2pPr>
            <a:lvl3pPr marL="810000" indent="0"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marL="1170000" indent="0" algn="ctr">
              <a:buFontTx/>
              <a:buNone/>
              <a:defRPr sz="1100">
                <a:solidFill>
                  <a:schemeClr val="bg1"/>
                </a:solidFill>
              </a:defRPr>
            </a:lvl4pPr>
            <a:lvl5pPr marL="1530000" indent="0" algn="ctr">
              <a:buFontTx/>
              <a:buNone/>
              <a:defRPr sz="11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E16B58-0925-41DB-A230-1382938C8B3F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3679B3-7B75-488F-908D-EFC7A5CEA67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2E5462-67E8-4410-9603-B69E836A41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E4F04A3-91D6-4B74-A940-C963B9FE2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982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8" name="Bild 1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12762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2" name="Bild 2"/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1228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7" name="Bild 3"/>
          <p:cNvSpPr>
            <a:spLocks noGrp="1" noChangeAspect="1"/>
          </p:cNvSpPr>
          <p:nvPr>
            <p:ph type="pic" sz="quarter" idx="32"/>
          </p:nvPr>
        </p:nvSpPr>
        <p:spPr bwMode="gray">
          <a:xfrm>
            <a:off x="89694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9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233500"/>
            <a:ext cx="3416400" cy="157675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3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386600" y="4233500"/>
            <a:ext cx="3416400" cy="157675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8" name="Text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233200" y="4233500"/>
            <a:ext cx="3416400" cy="157675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Form">
            <a:extLst>
              <a:ext uri="{FF2B5EF4-FFF2-40B4-BE49-F238E27FC236}">
                <a16:creationId xmlns:a16="http://schemas.microsoft.com/office/drawing/2014/main" id="{FC08AAE2-6B1E-4BB2-85E9-3B133D9E7644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68825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D90BAA20-FDEF-45E6-91AE-BC87F7456B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27400" y="1512000"/>
            <a:ext cx="2520000" cy="878400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9A3EF7B2-9B34-475A-9FFE-708775C680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4834800" y="1512000"/>
            <a:ext cx="2520000" cy="878400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41528210-6C8E-4156-85F2-26AC82FE48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2200" y="1512000"/>
            <a:ext cx="2520000" cy="878400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Bild">
            <a:extLst>
              <a:ext uri="{FF2B5EF4-FFF2-40B4-BE49-F238E27FC236}">
                <a16:creationId xmlns:a16="http://schemas.microsoft.com/office/drawing/2014/main" id="{3F9E8CA4-7B70-46F6-BBA4-97BD85894A28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3429000"/>
            <a:ext cx="12190413" cy="2661144"/>
          </a:xfrm>
          <a:custGeom>
            <a:avLst/>
            <a:gdLst>
              <a:gd name="connsiteX0" fmla="*/ 0 w 12190413"/>
              <a:gd name="connsiteY0" fmla="*/ 0 h 2661144"/>
              <a:gd name="connsiteX1" fmla="*/ 12190413 w 12190413"/>
              <a:gd name="connsiteY1" fmla="*/ 0 h 2661144"/>
              <a:gd name="connsiteX2" fmla="*/ 12190413 w 12190413"/>
              <a:gd name="connsiteY2" fmla="*/ 2661144 h 2661144"/>
              <a:gd name="connsiteX3" fmla="*/ 11205891 w 12190413"/>
              <a:gd name="connsiteY3" fmla="*/ 2661144 h 2661144"/>
              <a:gd name="connsiteX4" fmla="*/ 11165943 w 12190413"/>
              <a:gd name="connsiteY4" fmla="*/ 2612727 h 2661144"/>
              <a:gd name="connsiteX5" fmla="*/ 10780976 w 12190413"/>
              <a:gd name="connsiteY5" fmla="*/ 2453268 h 2661144"/>
              <a:gd name="connsiteX6" fmla="*/ 10396009 w 12190413"/>
              <a:gd name="connsiteY6" fmla="*/ 2612727 h 2661144"/>
              <a:gd name="connsiteX7" fmla="*/ 10356061 w 12190413"/>
              <a:gd name="connsiteY7" fmla="*/ 2661144 h 2661144"/>
              <a:gd name="connsiteX8" fmla="*/ 0 w 12190413"/>
              <a:gd name="connsiteY8" fmla="*/ 2661144 h 266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2661144">
                <a:moveTo>
                  <a:pt x="0" y="0"/>
                </a:moveTo>
                <a:lnTo>
                  <a:pt x="12190413" y="0"/>
                </a:lnTo>
                <a:lnTo>
                  <a:pt x="12190413" y="2661144"/>
                </a:lnTo>
                <a:lnTo>
                  <a:pt x="11205891" y="2661144"/>
                </a:lnTo>
                <a:lnTo>
                  <a:pt x="11165943" y="2612727"/>
                </a:lnTo>
                <a:cubicBezTo>
                  <a:pt x="11067421" y="2514205"/>
                  <a:pt x="10931315" y="2453268"/>
                  <a:pt x="10780976" y="2453268"/>
                </a:cubicBezTo>
                <a:cubicBezTo>
                  <a:pt x="10630637" y="2453268"/>
                  <a:pt x="10494531" y="2514205"/>
                  <a:pt x="10396009" y="2612727"/>
                </a:cubicBezTo>
                <a:lnTo>
                  <a:pt x="10356061" y="2661144"/>
                </a:lnTo>
                <a:lnTo>
                  <a:pt x="0" y="2661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9" name="Text 1">
            <a:extLst>
              <a:ext uri="{FF2B5EF4-FFF2-40B4-BE49-F238E27FC236}">
                <a16:creationId xmlns:a16="http://schemas.microsoft.com/office/drawing/2014/main" id="{8A0D3638-97F4-4F23-84F6-043848F005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877400" y="2619000"/>
            <a:ext cx="1620000" cy="16200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 anchorCtr="0"/>
          <a:lstStyle>
            <a:lvl1pPr marL="0" indent="0" algn="ctr">
              <a:buNone/>
              <a:defRPr lang="de-DE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 2">
            <a:extLst>
              <a:ext uri="{FF2B5EF4-FFF2-40B4-BE49-F238E27FC236}">
                <a16:creationId xmlns:a16="http://schemas.microsoft.com/office/drawing/2014/main" id="{0869F75D-6B54-4650-8733-5FFAD8A5CE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285206" y="2619000"/>
            <a:ext cx="1620000" cy="16200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 anchorCtr="0"/>
          <a:lstStyle>
            <a:lvl1pPr marL="0" indent="0" algn="ctr">
              <a:buNone/>
              <a:defRPr lang="de-DE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 3">
            <a:extLst>
              <a:ext uri="{FF2B5EF4-FFF2-40B4-BE49-F238E27FC236}">
                <a16:creationId xmlns:a16="http://schemas.microsoft.com/office/drawing/2014/main" id="{19187AA5-347E-422B-A190-F8D2AD349EB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8692200" y="2619000"/>
            <a:ext cx="1620000" cy="16200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 anchorCtr="0"/>
          <a:lstStyle>
            <a:lvl1pPr marL="0" indent="0" algn="ctr">
              <a:buNone/>
              <a:defRPr lang="de-DE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Foliennummer">
            <a:extLst>
              <a:ext uri="{FF2B5EF4-FFF2-40B4-BE49-F238E27FC236}">
                <a16:creationId xmlns:a16="http://schemas.microsoft.com/office/drawing/2014/main" id="{38BB0998-EA11-4EA3-B64A-2439AE457C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Datum">
            <a:extLst>
              <a:ext uri="{FF2B5EF4-FFF2-40B4-BE49-F238E27FC236}">
                <a16:creationId xmlns:a16="http://schemas.microsoft.com/office/drawing/2014/main" id="{740C6E7A-561B-485C-8E5B-6BB93DF1886A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6D6A4D7B-9B3F-4ABE-998C-725F48B0818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40367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Hintergrund_Bild_Text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39ED2CFF-8044-4FC6-93C8-45C3C10A1E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835206" y="1512000"/>
            <a:ext cx="2520000" cy="25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Form">
            <a:extLst>
              <a:ext uri="{FF2B5EF4-FFF2-40B4-BE49-F238E27FC236}">
                <a16:creationId xmlns:a16="http://schemas.microsoft.com/office/drawing/2014/main" id="{1BBF12AD-3D4E-4B29-88B9-E5A3E5F3F5B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36813" y="1512000"/>
            <a:ext cx="718393" cy="540000"/>
          </a:xfrm>
          <a:custGeom>
            <a:avLst/>
            <a:gdLst>
              <a:gd name="connsiteX0" fmla="*/ 604287 w 718393"/>
              <a:gd name="connsiteY0" fmla="*/ 0 h 540000"/>
              <a:gd name="connsiteX1" fmla="*/ 657322 w 718393"/>
              <a:gd name="connsiteY1" fmla="*/ 3215 h 540000"/>
              <a:gd name="connsiteX2" fmla="*/ 692679 w 718393"/>
              <a:gd name="connsiteY2" fmla="*/ 16071 h 540000"/>
              <a:gd name="connsiteX3" fmla="*/ 713572 w 718393"/>
              <a:gd name="connsiteY3" fmla="*/ 45000 h 540000"/>
              <a:gd name="connsiteX4" fmla="*/ 718393 w 718393"/>
              <a:gd name="connsiteY4" fmla="*/ 98036 h 540000"/>
              <a:gd name="connsiteX5" fmla="*/ 715179 w 718393"/>
              <a:gd name="connsiteY5" fmla="*/ 163929 h 540000"/>
              <a:gd name="connsiteX6" fmla="*/ 705536 w 718393"/>
              <a:gd name="connsiteY6" fmla="*/ 221786 h 540000"/>
              <a:gd name="connsiteX7" fmla="*/ 684643 w 718393"/>
              <a:gd name="connsiteY7" fmla="*/ 274821 h 540000"/>
              <a:gd name="connsiteX8" fmla="*/ 654108 w 718393"/>
              <a:gd name="connsiteY8" fmla="*/ 326250 h 540000"/>
              <a:gd name="connsiteX9" fmla="*/ 533572 w 718393"/>
              <a:gd name="connsiteY9" fmla="*/ 506250 h 540000"/>
              <a:gd name="connsiteX10" fmla="*/ 520714 w 718393"/>
              <a:gd name="connsiteY10" fmla="*/ 522321 h 540000"/>
              <a:gd name="connsiteX11" fmla="*/ 501429 w 718393"/>
              <a:gd name="connsiteY11" fmla="*/ 531964 h 540000"/>
              <a:gd name="connsiteX12" fmla="*/ 475715 w 718393"/>
              <a:gd name="connsiteY12" fmla="*/ 538393 h 540000"/>
              <a:gd name="connsiteX13" fmla="*/ 438750 w 718393"/>
              <a:gd name="connsiteY13" fmla="*/ 540000 h 540000"/>
              <a:gd name="connsiteX14" fmla="*/ 398572 w 718393"/>
              <a:gd name="connsiteY14" fmla="*/ 538393 h 540000"/>
              <a:gd name="connsiteX15" fmla="*/ 377679 w 718393"/>
              <a:gd name="connsiteY15" fmla="*/ 531964 h 540000"/>
              <a:gd name="connsiteX16" fmla="*/ 369643 w 718393"/>
              <a:gd name="connsiteY16" fmla="*/ 519108 h 540000"/>
              <a:gd name="connsiteX17" fmla="*/ 372858 w 718393"/>
              <a:gd name="connsiteY17" fmla="*/ 501429 h 540000"/>
              <a:gd name="connsiteX18" fmla="*/ 483751 w 718393"/>
              <a:gd name="connsiteY18" fmla="*/ 244286 h 540000"/>
              <a:gd name="connsiteX19" fmla="*/ 483751 w 718393"/>
              <a:gd name="connsiteY19" fmla="*/ 98036 h 540000"/>
              <a:gd name="connsiteX20" fmla="*/ 490179 w 718393"/>
              <a:gd name="connsiteY20" fmla="*/ 46608 h 540000"/>
              <a:gd name="connsiteX21" fmla="*/ 511071 w 718393"/>
              <a:gd name="connsiteY21" fmla="*/ 17679 h 540000"/>
              <a:gd name="connsiteX22" fmla="*/ 548036 w 718393"/>
              <a:gd name="connsiteY22" fmla="*/ 4821 h 540000"/>
              <a:gd name="connsiteX23" fmla="*/ 604287 w 718393"/>
              <a:gd name="connsiteY23" fmla="*/ 0 h 540000"/>
              <a:gd name="connsiteX24" fmla="*/ 234643 w 718393"/>
              <a:gd name="connsiteY24" fmla="*/ 0 h 540000"/>
              <a:gd name="connsiteX25" fmla="*/ 287678 w 718393"/>
              <a:gd name="connsiteY25" fmla="*/ 3215 h 540000"/>
              <a:gd name="connsiteX26" fmla="*/ 323036 w 718393"/>
              <a:gd name="connsiteY26" fmla="*/ 16071 h 540000"/>
              <a:gd name="connsiteX27" fmla="*/ 343929 w 718393"/>
              <a:gd name="connsiteY27" fmla="*/ 45000 h 540000"/>
              <a:gd name="connsiteX28" fmla="*/ 350357 w 718393"/>
              <a:gd name="connsiteY28" fmla="*/ 98036 h 540000"/>
              <a:gd name="connsiteX29" fmla="*/ 347144 w 718393"/>
              <a:gd name="connsiteY29" fmla="*/ 163929 h 540000"/>
              <a:gd name="connsiteX30" fmla="*/ 335893 w 718393"/>
              <a:gd name="connsiteY30" fmla="*/ 221786 h 540000"/>
              <a:gd name="connsiteX31" fmla="*/ 315000 w 718393"/>
              <a:gd name="connsiteY31" fmla="*/ 274821 h 540000"/>
              <a:gd name="connsiteX32" fmla="*/ 284465 w 718393"/>
              <a:gd name="connsiteY32" fmla="*/ 326250 h 540000"/>
              <a:gd name="connsiteX33" fmla="*/ 163929 w 718393"/>
              <a:gd name="connsiteY33" fmla="*/ 506250 h 540000"/>
              <a:gd name="connsiteX34" fmla="*/ 151071 w 718393"/>
              <a:gd name="connsiteY34" fmla="*/ 522321 h 540000"/>
              <a:gd name="connsiteX35" fmla="*/ 131786 w 718393"/>
              <a:gd name="connsiteY35" fmla="*/ 531964 h 540000"/>
              <a:gd name="connsiteX36" fmla="*/ 106072 w 718393"/>
              <a:gd name="connsiteY36" fmla="*/ 538393 h 540000"/>
              <a:gd name="connsiteX37" fmla="*/ 70715 w 718393"/>
              <a:gd name="connsiteY37" fmla="*/ 540000 h 540000"/>
              <a:gd name="connsiteX38" fmla="*/ 30535 w 718393"/>
              <a:gd name="connsiteY38" fmla="*/ 538393 h 540000"/>
              <a:gd name="connsiteX39" fmla="*/ 8036 w 718393"/>
              <a:gd name="connsiteY39" fmla="*/ 531964 h 540000"/>
              <a:gd name="connsiteX40" fmla="*/ 0 w 718393"/>
              <a:gd name="connsiteY40" fmla="*/ 519108 h 540000"/>
              <a:gd name="connsiteX41" fmla="*/ 4821 w 718393"/>
              <a:gd name="connsiteY41" fmla="*/ 501429 h 540000"/>
              <a:gd name="connsiteX42" fmla="*/ 115715 w 718393"/>
              <a:gd name="connsiteY42" fmla="*/ 244286 h 540000"/>
              <a:gd name="connsiteX43" fmla="*/ 115715 w 718393"/>
              <a:gd name="connsiteY43" fmla="*/ 98036 h 540000"/>
              <a:gd name="connsiteX44" fmla="*/ 122143 w 718393"/>
              <a:gd name="connsiteY44" fmla="*/ 46608 h 540000"/>
              <a:gd name="connsiteX45" fmla="*/ 143036 w 718393"/>
              <a:gd name="connsiteY45" fmla="*/ 17679 h 540000"/>
              <a:gd name="connsiteX46" fmla="*/ 180000 w 718393"/>
              <a:gd name="connsiteY46" fmla="*/ 4821 h 540000"/>
              <a:gd name="connsiteX47" fmla="*/ 234643 w 718393"/>
              <a:gd name="connsiteY47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718393" h="540000">
                <a:moveTo>
                  <a:pt x="604287" y="0"/>
                </a:moveTo>
                <a:cubicBezTo>
                  <a:pt x="625179" y="0"/>
                  <a:pt x="642858" y="1607"/>
                  <a:pt x="657322" y="3215"/>
                </a:cubicBezTo>
                <a:cubicBezTo>
                  <a:pt x="671786" y="6428"/>
                  <a:pt x="683036" y="9643"/>
                  <a:pt x="692679" y="16071"/>
                </a:cubicBezTo>
                <a:cubicBezTo>
                  <a:pt x="702322" y="22500"/>
                  <a:pt x="708750" y="32143"/>
                  <a:pt x="713572" y="45000"/>
                </a:cubicBezTo>
                <a:cubicBezTo>
                  <a:pt x="718393" y="57857"/>
                  <a:pt x="718393" y="77143"/>
                  <a:pt x="718393" y="98036"/>
                </a:cubicBezTo>
                <a:cubicBezTo>
                  <a:pt x="718393" y="122143"/>
                  <a:pt x="716786" y="144643"/>
                  <a:pt x="715179" y="163929"/>
                </a:cubicBezTo>
                <a:cubicBezTo>
                  <a:pt x="713572" y="183215"/>
                  <a:pt x="710357" y="204107"/>
                  <a:pt x="705536" y="221786"/>
                </a:cubicBezTo>
                <a:cubicBezTo>
                  <a:pt x="700715" y="239464"/>
                  <a:pt x="692679" y="257143"/>
                  <a:pt x="684643" y="274821"/>
                </a:cubicBezTo>
                <a:cubicBezTo>
                  <a:pt x="676608" y="292500"/>
                  <a:pt x="666965" y="308571"/>
                  <a:pt x="654108" y="326250"/>
                </a:cubicBezTo>
                <a:lnTo>
                  <a:pt x="533572" y="506250"/>
                </a:lnTo>
                <a:cubicBezTo>
                  <a:pt x="528750" y="512678"/>
                  <a:pt x="523929" y="517500"/>
                  <a:pt x="520714" y="522321"/>
                </a:cubicBezTo>
                <a:cubicBezTo>
                  <a:pt x="517501" y="527143"/>
                  <a:pt x="509465" y="530357"/>
                  <a:pt x="501429" y="531964"/>
                </a:cubicBezTo>
                <a:cubicBezTo>
                  <a:pt x="493393" y="533572"/>
                  <a:pt x="485357" y="536786"/>
                  <a:pt x="475715" y="538393"/>
                </a:cubicBezTo>
                <a:cubicBezTo>
                  <a:pt x="466072" y="540000"/>
                  <a:pt x="453215" y="540000"/>
                  <a:pt x="438750" y="540000"/>
                </a:cubicBezTo>
                <a:cubicBezTo>
                  <a:pt x="422679" y="540000"/>
                  <a:pt x="409822" y="540000"/>
                  <a:pt x="398572" y="538393"/>
                </a:cubicBezTo>
                <a:cubicBezTo>
                  <a:pt x="387322" y="536786"/>
                  <a:pt x="382500" y="535179"/>
                  <a:pt x="377679" y="531964"/>
                </a:cubicBezTo>
                <a:cubicBezTo>
                  <a:pt x="372858" y="528751"/>
                  <a:pt x="369643" y="523929"/>
                  <a:pt x="369643" y="519108"/>
                </a:cubicBezTo>
                <a:cubicBezTo>
                  <a:pt x="369643" y="514286"/>
                  <a:pt x="369643" y="507857"/>
                  <a:pt x="372858" y="501429"/>
                </a:cubicBezTo>
                <a:lnTo>
                  <a:pt x="483751" y="244286"/>
                </a:lnTo>
                <a:lnTo>
                  <a:pt x="483751" y="98036"/>
                </a:lnTo>
                <a:cubicBezTo>
                  <a:pt x="483751" y="77143"/>
                  <a:pt x="485357" y="59464"/>
                  <a:pt x="490179" y="46608"/>
                </a:cubicBezTo>
                <a:cubicBezTo>
                  <a:pt x="495000" y="33750"/>
                  <a:pt x="501429" y="24107"/>
                  <a:pt x="511071" y="17679"/>
                </a:cubicBezTo>
                <a:cubicBezTo>
                  <a:pt x="520714" y="11250"/>
                  <a:pt x="533572" y="6428"/>
                  <a:pt x="548036" y="4821"/>
                </a:cubicBezTo>
                <a:cubicBezTo>
                  <a:pt x="562500" y="3215"/>
                  <a:pt x="583393" y="0"/>
                  <a:pt x="604287" y="0"/>
                </a:cubicBezTo>
                <a:close/>
                <a:moveTo>
                  <a:pt x="234643" y="0"/>
                </a:moveTo>
                <a:cubicBezTo>
                  <a:pt x="255536" y="0"/>
                  <a:pt x="273214" y="1607"/>
                  <a:pt x="287678" y="3215"/>
                </a:cubicBezTo>
                <a:cubicBezTo>
                  <a:pt x="302143" y="4821"/>
                  <a:pt x="313393" y="9643"/>
                  <a:pt x="323036" y="16071"/>
                </a:cubicBezTo>
                <a:cubicBezTo>
                  <a:pt x="332679" y="22500"/>
                  <a:pt x="339107" y="32143"/>
                  <a:pt x="343929" y="45000"/>
                </a:cubicBezTo>
                <a:cubicBezTo>
                  <a:pt x="348750" y="57857"/>
                  <a:pt x="350357" y="77143"/>
                  <a:pt x="350357" y="98036"/>
                </a:cubicBezTo>
                <a:cubicBezTo>
                  <a:pt x="350357" y="122143"/>
                  <a:pt x="348750" y="144643"/>
                  <a:pt x="347144" y="163929"/>
                </a:cubicBezTo>
                <a:cubicBezTo>
                  <a:pt x="345536" y="183215"/>
                  <a:pt x="340714" y="204107"/>
                  <a:pt x="335893" y="221786"/>
                </a:cubicBezTo>
                <a:cubicBezTo>
                  <a:pt x="331071" y="239464"/>
                  <a:pt x="324643" y="257143"/>
                  <a:pt x="315000" y="274821"/>
                </a:cubicBezTo>
                <a:cubicBezTo>
                  <a:pt x="305357" y="292500"/>
                  <a:pt x="297321" y="308571"/>
                  <a:pt x="284465" y="326250"/>
                </a:cubicBezTo>
                <a:lnTo>
                  <a:pt x="163929" y="506250"/>
                </a:lnTo>
                <a:cubicBezTo>
                  <a:pt x="160714" y="512678"/>
                  <a:pt x="155893" y="517500"/>
                  <a:pt x="151071" y="522321"/>
                </a:cubicBezTo>
                <a:cubicBezTo>
                  <a:pt x="146250" y="527143"/>
                  <a:pt x="139822" y="530357"/>
                  <a:pt x="131786" y="531964"/>
                </a:cubicBezTo>
                <a:cubicBezTo>
                  <a:pt x="123751" y="533572"/>
                  <a:pt x="115715" y="536786"/>
                  <a:pt x="106072" y="538393"/>
                </a:cubicBezTo>
                <a:cubicBezTo>
                  <a:pt x="96429" y="540000"/>
                  <a:pt x="85179" y="540000"/>
                  <a:pt x="70715" y="540000"/>
                </a:cubicBezTo>
                <a:cubicBezTo>
                  <a:pt x="54643" y="540000"/>
                  <a:pt x="41786" y="540000"/>
                  <a:pt x="30535" y="538393"/>
                </a:cubicBezTo>
                <a:cubicBezTo>
                  <a:pt x="19286" y="536786"/>
                  <a:pt x="12858" y="535179"/>
                  <a:pt x="8036" y="531964"/>
                </a:cubicBezTo>
                <a:cubicBezTo>
                  <a:pt x="3215" y="528751"/>
                  <a:pt x="0" y="523929"/>
                  <a:pt x="0" y="519108"/>
                </a:cubicBezTo>
                <a:cubicBezTo>
                  <a:pt x="0" y="514286"/>
                  <a:pt x="1607" y="507857"/>
                  <a:pt x="4821" y="501429"/>
                </a:cubicBezTo>
                <a:lnTo>
                  <a:pt x="115715" y="244286"/>
                </a:lnTo>
                <a:lnTo>
                  <a:pt x="115715" y="98036"/>
                </a:lnTo>
                <a:cubicBezTo>
                  <a:pt x="115715" y="77143"/>
                  <a:pt x="117321" y="59464"/>
                  <a:pt x="122143" y="46608"/>
                </a:cubicBezTo>
                <a:cubicBezTo>
                  <a:pt x="126964" y="33750"/>
                  <a:pt x="133393" y="24107"/>
                  <a:pt x="143036" y="17679"/>
                </a:cubicBezTo>
                <a:cubicBezTo>
                  <a:pt x="152679" y="11250"/>
                  <a:pt x="165536" y="6428"/>
                  <a:pt x="180000" y="4821"/>
                </a:cubicBezTo>
                <a:cubicBezTo>
                  <a:pt x="194464" y="3215"/>
                  <a:pt x="213750" y="0"/>
                  <a:pt x="234643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595206" y="4212000"/>
            <a:ext cx="9000000" cy="720000"/>
          </a:xfrm>
          <a:prstGeom prst="rect">
            <a:avLst/>
          </a:prstGeom>
        </p:spPr>
        <p:txBody>
          <a:bodyPr rIns="0" anchor="b" anchorCtr="0"/>
          <a:lstStyle>
            <a:lvl1pPr marL="0" indent="0" algn="ctr">
              <a:buFontTx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F96C59BA-BE22-4B29-AD36-09FA94D9680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595206" y="5112000"/>
            <a:ext cx="9000000" cy="445838"/>
          </a:xfrm>
          <a:prstGeom prst="rect">
            <a:avLst/>
          </a:prstGeom>
        </p:spPr>
        <p:txBody>
          <a:bodyPr rIns="0" anchor="t" anchorCtr="0"/>
          <a:lstStyle>
            <a:lvl1pPr marL="0" indent="0" algn="ctr">
              <a:buFontTx/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611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Hintergrund_Bild_Text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Linie 1">
            <a:extLst>
              <a:ext uri="{FF2B5EF4-FFF2-40B4-BE49-F238E27FC236}">
                <a16:creationId xmlns:a16="http://schemas.microsoft.com/office/drawing/2014/main" id="{460BAA3B-171B-4D22-B9AB-DC36BFCA051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F9661A75-ABF9-4098-B4E4-22976361AC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CA4056E2-86C5-4903-A2D5-BA5FD40B3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 bwMode="gray">
          <a:xfrm>
            <a:off x="4251741" y="1872562"/>
            <a:ext cx="3686932" cy="368527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4C1D2ACF-529C-4292-9D08-FD20D2D8593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E477596D-A8F3-4703-80ED-0798DFAA16C7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191E0D61-13EE-4677-8307-85A7F63C746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2186099" y="6300000"/>
            <a:ext cx="7501587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82926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Linie 1">
            <a:extLst>
              <a:ext uri="{FF2B5EF4-FFF2-40B4-BE49-F238E27FC236}">
                <a16:creationId xmlns:a16="http://schemas.microsoft.com/office/drawing/2014/main" id="{460BAA3B-171B-4D22-B9AB-DC36BFCA051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F9661A75-ABF9-4098-B4E4-22976361AC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CA4056E2-86C5-4903-A2D5-BA5FD40B3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 bwMode="gray">
          <a:xfrm>
            <a:off x="4251741" y="1872562"/>
            <a:ext cx="3686932" cy="368527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4C1D2ACF-529C-4292-9D08-FD20D2D8593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E477596D-A8F3-4703-80ED-0798DFAA16C7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191E0D61-13EE-4677-8307-85A7F63C746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2186099" y="6300000"/>
            <a:ext cx="74686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01213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39999" y="2736139"/>
            <a:ext cx="3600000" cy="1597561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673206" y="2112919"/>
            <a:ext cx="2844000" cy="28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0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049600" y="2736139"/>
            <a:ext cx="3600000" cy="159756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1685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nie">
            <a:extLst>
              <a:ext uri="{FF2B5EF4-FFF2-40B4-BE49-F238E27FC236}">
                <a16:creationId xmlns:a16="http://schemas.microsoft.com/office/drawing/2014/main" id="{CFD4C627-3EDC-40D2-829D-1FEDFB67E21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3672000"/>
            <a:ext cx="0" cy="3186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Ellipse">
            <a:extLst>
              <a:ext uri="{FF2B5EF4-FFF2-40B4-BE49-F238E27FC236}">
                <a16:creationId xmlns:a16="http://schemas.microsoft.com/office/drawing/2014/main" id="{B2324544-18CB-4ADE-A361-AE4771C6402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872C575-800C-481B-9E21-57874F011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9B363C7E-AB4B-415C-AA91-3D39EEE1FF5D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015206" y="1512000"/>
            <a:ext cx="2160000" cy="21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5ADECE05-E3F2-4E59-9CD3-A06F4A44B6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27A749E6-4642-4BD2-9222-2FCE7838556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1091B776-F8FF-4514-B227-23880F01DC5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0159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3378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Linie">
            <a:extLst>
              <a:ext uri="{FF2B5EF4-FFF2-40B4-BE49-F238E27FC236}">
                <a16:creationId xmlns:a16="http://schemas.microsoft.com/office/drawing/2014/main" id="{ED9BA028-009A-4CAB-B0E2-D389C9960A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Ellipse 1">
            <a:extLst>
              <a:ext uri="{FF2B5EF4-FFF2-40B4-BE49-F238E27FC236}">
                <a16:creationId xmlns:a16="http://schemas.microsoft.com/office/drawing/2014/main" id="{E5D5FBC6-32B9-4B0C-BB75-AA569CDF9F0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188999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4" name="Ellipse 2">
            <a:extLst>
              <a:ext uri="{FF2B5EF4-FFF2-40B4-BE49-F238E27FC236}">
                <a16:creationId xmlns:a16="http://schemas.microsoft.com/office/drawing/2014/main" id="{2D4D7C40-3F32-4F01-BA33-B1987A25DA2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346291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7" name="Ellipse 3">
            <a:extLst>
              <a:ext uri="{FF2B5EF4-FFF2-40B4-BE49-F238E27FC236}">
                <a16:creationId xmlns:a16="http://schemas.microsoft.com/office/drawing/2014/main" id="{7693EFA4-2E8F-479D-9C23-B60BBF5789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432FB5BB-C0A6-48A9-AFEA-323F7F165439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 bwMode="gray">
          <a:xfrm>
            <a:off x="1062925" y="151199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Inhalt 2">
            <a:extLst>
              <a:ext uri="{FF2B5EF4-FFF2-40B4-BE49-F238E27FC236}">
                <a16:creationId xmlns:a16="http://schemas.microsoft.com/office/drawing/2014/main" id="{0771D76F-6B60-4F65-9A7A-D5826C2B98F9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 bwMode="gray">
          <a:xfrm>
            <a:off x="1062925" y="308491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3">
            <a:extLst>
              <a:ext uri="{FF2B5EF4-FFF2-40B4-BE49-F238E27FC236}">
                <a16:creationId xmlns:a16="http://schemas.microsoft.com/office/drawing/2014/main" id="{6EC08D63-9BF3-469D-B60A-957DAA4BF25A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Inhalt 4">
            <a:extLst>
              <a:ext uri="{FF2B5EF4-FFF2-40B4-BE49-F238E27FC236}">
                <a16:creationId xmlns:a16="http://schemas.microsoft.com/office/drawing/2014/main" id="{E61BC949-8478-432F-BAC9-D59A65E7135D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 bwMode="gray">
          <a:xfrm>
            <a:off x="6409961" y="151199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0" name="Inhalt 5">
            <a:extLst>
              <a:ext uri="{FF2B5EF4-FFF2-40B4-BE49-F238E27FC236}">
                <a16:creationId xmlns:a16="http://schemas.microsoft.com/office/drawing/2014/main" id="{4C6B609E-388D-48E1-800F-C0A85655CD7F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 bwMode="gray">
          <a:xfrm>
            <a:off x="6409961" y="308491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Inhalt 6">
            <a:extLst>
              <a:ext uri="{FF2B5EF4-FFF2-40B4-BE49-F238E27FC236}">
                <a16:creationId xmlns:a16="http://schemas.microsoft.com/office/drawing/2014/main" id="{48CB1EA9-203C-4E42-A308-04A5A08DD20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D1F7B944-8A45-40CF-89E5-A218E37E269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0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7397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6" name="Form">
            <a:extLst>
              <a:ext uri="{FF2B5EF4-FFF2-40B4-BE49-F238E27FC236}">
                <a16:creationId xmlns:a16="http://schemas.microsoft.com/office/drawing/2014/main" id="{ABE7071D-F074-45F7-B1B6-E48BC4775EE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4618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370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rm">
            <a:extLst>
              <a:ext uri="{FF2B5EF4-FFF2-40B4-BE49-F238E27FC236}">
                <a16:creationId xmlns:a16="http://schemas.microsoft.com/office/drawing/2014/main" id="{E0E713BA-89AB-4425-B399-E145F1B274FA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cxnSp>
        <p:nvCxnSpPr>
          <p:cNvPr id="7" name="Linie 1">
            <a:extLst>
              <a:ext uri="{FF2B5EF4-FFF2-40B4-BE49-F238E27FC236}">
                <a16:creationId xmlns:a16="http://schemas.microsoft.com/office/drawing/2014/main" id="{C9064D9F-B951-4C83-98B5-755EE70B54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BAD8EE41-403F-4A48-B1D9-59F5C8F2F1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2634C2BB-8434-4B74-B0E7-547A2713A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Kreis">
            <a:extLst>
              <a:ext uri="{FF2B5EF4-FFF2-40B4-BE49-F238E27FC236}">
                <a16:creationId xmlns:a16="http://schemas.microsoft.com/office/drawing/2014/main" id="{90E9D527-DFF9-4F85-B1A2-0169589ACE74}"/>
              </a:ext>
            </a:extLst>
          </p:cNvPr>
          <p:cNvSpPr>
            <a:spLocks noGrp="1" noChangeAspect="1"/>
          </p:cNvSpPr>
          <p:nvPr>
            <p:ph type="body" sz="quarter" idx="32"/>
          </p:nvPr>
        </p:nvSpPr>
        <p:spPr bwMode="gray">
          <a:xfrm>
            <a:off x="5015206" y="2635200"/>
            <a:ext cx="2160000" cy="2160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lIns="0" rIns="0" anchor="ctr"/>
          <a:lstStyle>
            <a:lvl1pPr marL="0" indent="0" algn="ctr">
              <a:buNone/>
              <a:defRPr lang="de-DE" sz="2000" b="1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79FE2F73-4C50-4BEA-BA8C-06EF1BBA314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F950371D-2325-4314-A83B-C07C50C3AD5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8736B850-542D-4264-9EC5-4444FB9224E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 bwMode="gray">
          <a:xfrm>
            <a:off x="2186099" y="6300000"/>
            <a:ext cx="7575709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72680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melin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4618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4792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Weltkart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eltkarte">
            <a:extLst>
              <a:ext uri="{FF2B5EF4-FFF2-40B4-BE49-F238E27FC236}">
                <a16:creationId xmlns:a16="http://schemas.microsoft.com/office/drawing/2014/main" id="{A4477C10-B2A8-4541-BCA5-CD24548967F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947018" y="1512000"/>
            <a:ext cx="8296377" cy="4046400"/>
          </a:xfrm>
          <a:custGeom>
            <a:avLst/>
            <a:gdLst>
              <a:gd name="T0" fmla="*/ 2629 w 3071"/>
              <a:gd name="T1" fmla="*/ 937 h 1498"/>
              <a:gd name="T2" fmla="*/ 2624 w 3071"/>
              <a:gd name="T3" fmla="*/ 809 h 1498"/>
              <a:gd name="T4" fmla="*/ 2682 w 3071"/>
              <a:gd name="T5" fmla="*/ 915 h 1498"/>
              <a:gd name="T6" fmla="*/ 2547 w 3071"/>
              <a:gd name="T7" fmla="*/ 953 h 1498"/>
              <a:gd name="T8" fmla="*/ 2461 w 3071"/>
              <a:gd name="T9" fmla="*/ 919 h 1498"/>
              <a:gd name="T10" fmla="*/ 2747 w 3071"/>
              <a:gd name="T11" fmla="*/ 1052 h 1498"/>
              <a:gd name="T12" fmla="*/ 2583 w 3071"/>
              <a:gd name="T13" fmla="*/ 1255 h 1498"/>
              <a:gd name="T14" fmla="*/ 2387 w 3071"/>
              <a:gd name="T15" fmla="*/ 878 h 1498"/>
              <a:gd name="T16" fmla="*/ 2948 w 3071"/>
              <a:gd name="T17" fmla="*/ 1383 h 1498"/>
              <a:gd name="T18" fmla="*/ 1378 w 3071"/>
              <a:gd name="T19" fmla="*/ 255 h 1498"/>
              <a:gd name="T20" fmla="*/ 1659 w 3071"/>
              <a:gd name="T21" fmla="*/ 449 h 1498"/>
              <a:gd name="T22" fmla="*/ 1415 w 3071"/>
              <a:gd name="T23" fmla="*/ 257 h 1498"/>
              <a:gd name="T24" fmla="*/ 1829 w 3071"/>
              <a:gd name="T25" fmla="*/ 60 h 1498"/>
              <a:gd name="T26" fmla="*/ 1433 w 3071"/>
              <a:gd name="T27" fmla="*/ 438 h 1498"/>
              <a:gd name="T28" fmla="*/ 183 w 3071"/>
              <a:gd name="T29" fmla="*/ 237 h 1498"/>
              <a:gd name="T30" fmla="*/ 623 w 3071"/>
              <a:gd name="T31" fmla="*/ 92 h 1498"/>
              <a:gd name="T32" fmla="*/ 765 w 3071"/>
              <a:gd name="T33" fmla="*/ 95 h 1498"/>
              <a:gd name="T34" fmla="*/ 650 w 3071"/>
              <a:gd name="T35" fmla="*/ 65 h 1498"/>
              <a:gd name="T36" fmla="*/ 890 w 3071"/>
              <a:gd name="T37" fmla="*/ 182 h 1498"/>
              <a:gd name="T38" fmla="*/ 1040 w 3071"/>
              <a:gd name="T39" fmla="*/ 15 h 1498"/>
              <a:gd name="T40" fmla="*/ 1280 w 3071"/>
              <a:gd name="T41" fmla="*/ 82 h 1498"/>
              <a:gd name="T42" fmla="*/ 986 w 3071"/>
              <a:gd name="T43" fmla="*/ 48 h 1498"/>
              <a:gd name="T44" fmla="*/ 1077 w 3071"/>
              <a:gd name="T45" fmla="*/ 200 h 1498"/>
              <a:gd name="T46" fmla="*/ 329 w 3071"/>
              <a:gd name="T47" fmla="*/ 266 h 1498"/>
              <a:gd name="T48" fmla="*/ 908 w 3071"/>
              <a:gd name="T49" fmla="*/ 878 h 1498"/>
              <a:gd name="T50" fmla="*/ 1059 w 3071"/>
              <a:gd name="T51" fmla="*/ 935 h 1498"/>
              <a:gd name="T52" fmla="*/ 650 w 3071"/>
              <a:gd name="T53" fmla="*/ 785 h 1498"/>
              <a:gd name="T54" fmla="*/ 571 w 3071"/>
              <a:gd name="T55" fmla="*/ 536 h 1498"/>
              <a:gd name="T56" fmla="*/ 846 w 3071"/>
              <a:gd name="T57" fmla="*/ 370 h 1498"/>
              <a:gd name="T58" fmla="*/ 882 w 3071"/>
              <a:gd name="T59" fmla="*/ 203 h 1498"/>
              <a:gd name="T60" fmla="*/ 761 w 3071"/>
              <a:gd name="T61" fmla="*/ 106 h 1498"/>
              <a:gd name="T62" fmla="*/ 190 w 3071"/>
              <a:gd name="T63" fmla="*/ 165 h 1498"/>
              <a:gd name="T64" fmla="*/ 294 w 3071"/>
              <a:gd name="T65" fmla="*/ 210 h 1498"/>
              <a:gd name="T66" fmla="*/ 312 w 3071"/>
              <a:gd name="T67" fmla="*/ 536 h 1498"/>
              <a:gd name="T68" fmla="*/ 645 w 3071"/>
              <a:gd name="T69" fmla="*/ 814 h 1498"/>
              <a:gd name="T70" fmla="*/ 761 w 3071"/>
              <a:gd name="T71" fmla="*/ 1395 h 1498"/>
              <a:gd name="T72" fmla="*/ 887 w 3071"/>
              <a:gd name="T73" fmla="*/ 1307 h 1498"/>
              <a:gd name="T74" fmla="*/ 634 w 3071"/>
              <a:gd name="T75" fmla="*/ 384 h 1498"/>
              <a:gd name="T76" fmla="*/ 604 w 3071"/>
              <a:gd name="T77" fmla="*/ 286 h 1498"/>
              <a:gd name="T78" fmla="*/ 759 w 3071"/>
              <a:gd name="T79" fmla="*/ 1370 h 1498"/>
              <a:gd name="T80" fmla="*/ 1654 w 3071"/>
              <a:gd name="T81" fmla="*/ 426 h 1498"/>
              <a:gd name="T82" fmla="*/ 2428 w 3071"/>
              <a:gd name="T83" fmla="*/ 63 h 1498"/>
              <a:gd name="T84" fmla="*/ 2628 w 3071"/>
              <a:gd name="T85" fmla="*/ 294 h 1498"/>
              <a:gd name="T86" fmla="*/ 2448 w 3071"/>
              <a:gd name="T87" fmla="*/ 780 h 1498"/>
              <a:gd name="T88" fmla="*/ 2558 w 3071"/>
              <a:gd name="T89" fmla="*/ 427 h 1498"/>
              <a:gd name="T90" fmla="*/ 2670 w 3071"/>
              <a:gd name="T91" fmla="*/ 219 h 1498"/>
              <a:gd name="T92" fmla="*/ 2813 w 3071"/>
              <a:gd name="T93" fmla="*/ 144 h 1498"/>
              <a:gd name="T94" fmla="*/ 2186 w 3071"/>
              <a:gd name="T95" fmla="*/ 83 h 1498"/>
              <a:gd name="T96" fmla="*/ 1934 w 3071"/>
              <a:gd name="T97" fmla="*/ 126 h 1498"/>
              <a:gd name="T98" fmla="*/ 1560 w 3071"/>
              <a:gd name="T99" fmla="*/ 124 h 1498"/>
              <a:gd name="T100" fmla="*/ 1562 w 3071"/>
              <a:gd name="T101" fmla="*/ 228 h 1498"/>
              <a:gd name="T102" fmla="*/ 1502 w 3071"/>
              <a:gd name="T103" fmla="*/ 269 h 1498"/>
              <a:gd name="T104" fmla="*/ 1515 w 3071"/>
              <a:gd name="T105" fmla="*/ 391 h 1498"/>
              <a:gd name="T106" fmla="*/ 1752 w 3071"/>
              <a:gd name="T107" fmla="*/ 472 h 1498"/>
              <a:gd name="T108" fmla="*/ 1252 w 3071"/>
              <a:gd name="T109" fmla="*/ 626 h 1498"/>
              <a:gd name="T110" fmla="*/ 1498 w 3071"/>
              <a:gd name="T111" fmla="*/ 885 h 1498"/>
              <a:gd name="T112" fmla="*/ 1805 w 3071"/>
              <a:gd name="T113" fmla="*/ 989 h 1498"/>
              <a:gd name="T114" fmla="*/ 1957 w 3071"/>
              <a:gd name="T115" fmla="*/ 674 h 1498"/>
              <a:gd name="T116" fmla="*/ 2200 w 3071"/>
              <a:gd name="T117" fmla="*/ 717 h 1498"/>
              <a:gd name="T118" fmla="*/ 1755 w 3071"/>
              <a:gd name="T119" fmla="*/ 882 h 1498"/>
              <a:gd name="T120" fmla="*/ 1835 w 3071"/>
              <a:gd name="T121" fmla="*/ 313 h 1498"/>
              <a:gd name="T122" fmla="*/ 1906 w 3071"/>
              <a:gd name="T123" fmla="*/ 434 h 1498"/>
              <a:gd name="T124" fmla="*/ 2656 w 3071"/>
              <a:gd name="T125" fmla="*/ 500 h 1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71" h="1498">
                <a:moveTo>
                  <a:pt x="2691" y="854"/>
                </a:moveTo>
                <a:cubicBezTo>
                  <a:pt x="2694" y="851"/>
                  <a:pt x="2693" y="850"/>
                  <a:pt x="2690" y="849"/>
                </a:cubicBezTo>
                <a:cubicBezTo>
                  <a:pt x="2688" y="848"/>
                  <a:pt x="2687" y="849"/>
                  <a:pt x="2687" y="849"/>
                </a:cubicBezTo>
                <a:cubicBezTo>
                  <a:pt x="2687" y="849"/>
                  <a:pt x="2690" y="855"/>
                  <a:pt x="2691" y="854"/>
                </a:cubicBezTo>
                <a:close/>
                <a:moveTo>
                  <a:pt x="2678" y="874"/>
                </a:moveTo>
                <a:cubicBezTo>
                  <a:pt x="2678" y="876"/>
                  <a:pt x="2676" y="878"/>
                  <a:pt x="2678" y="880"/>
                </a:cubicBezTo>
                <a:cubicBezTo>
                  <a:pt x="2679" y="881"/>
                  <a:pt x="2687" y="888"/>
                  <a:pt x="2689" y="888"/>
                </a:cubicBezTo>
                <a:cubicBezTo>
                  <a:pt x="2691" y="887"/>
                  <a:pt x="2689" y="884"/>
                  <a:pt x="2687" y="883"/>
                </a:cubicBezTo>
                <a:cubicBezTo>
                  <a:pt x="2685" y="882"/>
                  <a:pt x="2683" y="879"/>
                  <a:pt x="2685" y="877"/>
                </a:cubicBezTo>
                <a:cubicBezTo>
                  <a:pt x="2688" y="875"/>
                  <a:pt x="2692" y="877"/>
                  <a:pt x="2692" y="877"/>
                </a:cubicBezTo>
                <a:cubicBezTo>
                  <a:pt x="2694" y="876"/>
                  <a:pt x="2694" y="876"/>
                  <a:pt x="2694" y="876"/>
                </a:cubicBezTo>
                <a:cubicBezTo>
                  <a:pt x="2690" y="873"/>
                  <a:pt x="2690" y="873"/>
                  <a:pt x="2690" y="873"/>
                </a:cubicBezTo>
                <a:cubicBezTo>
                  <a:pt x="2690" y="873"/>
                  <a:pt x="2693" y="872"/>
                  <a:pt x="2694" y="869"/>
                </a:cubicBezTo>
                <a:cubicBezTo>
                  <a:pt x="2694" y="867"/>
                  <a:pt x="2691" y="865"/>
                  <a:pt x="2689" y="865"/>
                </a:cubicBezTo>
                <a:cubicBezTo>
                  <a:pt x="2687" y="865"/>
                  <a:pt x="2685" y="870"/>
                  <a:pt x="2682" y="871"/>
                </a:cubicBezTo>
                <a:cubicBezTo>
                  <a:pt x="2680" y="871"/>
                  <a:pt x="2680" y="865"/>
                  <a:pt x="2680" y="865"/>
                </a:cubicBezTo>
                <a:cubicBezTo>
                  <a:pt x="2680" y="865"/>
                  <a:pt x="2683" y="863"/>
                  <a:pt x="2683" y="861"/>
                </a:cubicBezTo>
                <a:cubicBezTo>
                  <a:pt x="2684" y="858"/>
                  <a:pt x="2683" y="857"/>
                  <a:pt x="2683" y="857"/>
                </a:cubicBezTo>
                <a:cubicBezTo>
                  <a:pt x="2684" y="852"/>
                  <a:pt x="2684" y="852"/>
                  <a:pt x="2684" y="852"/>
                </a:cubicBezTo>
                <a:cubicBezTo>
                  <a:pt x="2679" y="857"/>
                  <a:pt x="2679" y="857"/>
                  <a:pt x="2679" y="857"/>
                </a:cubicBezTo>
                <a:cubicBezTo>
                  <a:pt x="2679" y="861"/>
                  <a:pt x="2679" y="861"/>
                  <a:pt x="2679" y="861"/>
                </a:cubicBezTo>
                <a:cubicBezTo>
                  <a:pt x="2679" y="861"/>
                  <a:pt x="2674" y="863"/>
                  <a:pt x="2674" y="868"/>
                </a:cubicBezTo>
                <a:cubicBezTo>
                  <a:pt x="2675" y="872"/>
                  <a:pt x="2677" y="872"/>
                  <a:pt x="2678" y="874"/>
                </a:cubicBezTo>
                <a:close/>
                <a:moveTo>
                  <a:pt x="2683" y="895"/>
                </a:moveTo>
                <a:cubicBezTo>
                  <a:pt x="2681" y="893"/>
                  <a:pt x="2677" y="890"/>
                  <a:pt x="2677" y="890"/>
                </a:cubicBezTo>
                <a:cubicBezTo>
                  <a:pt x="2677" y="897"/>
                  <a:pt x="2677" y="897"/>
                  <a:pt x="2677" y="897"/>
                </a:cubicBezTo>
                <a:cubicBezTo>
                  <a:pt x="2679" y="898"/>
                  <a:pt x="2685" y="898"/>
                  <a:pt x="2683" y="895"/>
                </a:cubicBezTo>
                <a:close/>
                <a:moveTo>
                  <a:pt x="2700" y="905"/>
                </a:moveTo>
                <a:cubicBezTo>
                  <a:pt x="2705" y="903"/>
                  <a:pt x="2705" y="899"/>
                  <a:pt x="2705" y="899"/>
                </a:cubicBezTo>
                <a:cubicBezTo>
                  <a:pt x="2695" y="899"/>
                  <a:pt x="2695" y="899"/>
                  <a:pt x="2695" y="899"/>
                </a:cubicBezTo>
                <a:cubicBezTo>
                  <a:pt x="2695" y="899"/>
                  <a:pt x="2696" y="907"/>
                  <a:pt x="2700" y="905"/>
                </a:cubicBezTo>
                <a:close/>
                <a:moveTo>
                  <a:pt x="2635" y="995"/>
                </a:moveTo>
                <a:cubicBezTo>
                  <a:pt x="2638" y="997"/>
                  <a:pt x="2646" y="989"/>
                  <a:pt x="2649" y="986"/>
                </a:cubicBezTo>
                <a:cubicBezTo>
                  <a:pt x="2650" y="986"/>
                  <a:pt x="2650" y="985"/>
                  <a:pt x="2650" y="985"/>
                </a:cubicBezTo>
                <a:cubicBezTo>
                  <a:pt x="2652" y="985"/>
                  <a:pt x="2652" y="985"/>
                  <a:pt x="2652" y="985"/>
                </a:cubicBezTo>
                <a:cubicBezTo>
                  <a:pt x="2657" y="981"/>
                  <a:pt x="2657" y="981"/>
                  <a:pt x="2657" y="981"/>
                </a:cubicBezTo>
                <a:cubicBezTo>
                  <a:pt x="2657" y="981"/>
                  <a:pt x="2659" y="983"/>
                  <a:pt x="2662" y="983"/>
                </a:cubicBezTo>
                <a:cubicBezTo>
                  <a:pt x="2664" y="982"/>
                  <a:pt x="2674" y="972"/>
                  <a:pt x="2674" y="972"/>
                </a:cubicBezTo>
                <a:cubicBezTo>
                  <a:pt x="2670" y="970"/>
                  <a:pt x="2670" y="970"/>
                  <a:pt x="2670" y="970"/>
                </a:cubicBezTo>
                <a:cubicBezTo>
                  <a:pt x="2667" y="973"/>
                  <a:pt x="2667" y="973"/>
                  <a:pt x="2667" y="973"/>
                </a:cubicBezTo>
                <a:cubicBezTo>
                  <a:pt x="2667" y="973"/>
                  <a:pt x="2658" y="973"/>
                  <a:pt x="2656" y="973"/>
                </a:cubicBezTo>
                <a:cubicBezTo>
                  <a:pt x="2654" y="973"/>
                  <a:pt x="2652" y="977"/>
                  <a:pt x="2652" y="977"/>
                </a:cubicBezTo>
                <a:cubicBezTo>
                  <a:pt x="2652" y="977"/>
                  <a:pt x="2651" y="977"/>
                  <a:pt x="2649" y="977"/>
                </a:cubicBezTo>
                <a:cubicBezTo>
                  <a:pt x="2649" y="977"/>
                  <a:pt x="2649" y="977"/>
                  <a:pt x="2649" y="977"/>
                </a:cubicBezTo>
                <a:cubicBezTo>
                  <a:pt x="2648" y="977"/>
                  <a:pt x="2647" y="978"/>
                  <a:pt x="2646" y="978"/>
                </a:cubicBezTo>
                <a:cubicBezTo>
                  <a:pt x="2645" y="979"/>
                  <a:pt x="2644" y="980"/>
                  <a:pt x="2644" y="980"/>
                </a:cubicBezTo>
                <a:cubicBezTo>
                  <a:pt x="2644" y="980"/>
                  <a:pt x="2644" y="980"/>
                  <a:pt x="2644" y="980"/>
                </a:cubicBezTo>
                <a:cubicBezTo>
                  <a:pt x="2641" y="980"/>
                  <a:pt x="2641" y="980"/>
                  <a:pt x="2641" y="980"/>
                </a:cubicBezTo>
                <a:cubicBezTo>
                  <a:pt x="2638" y="982"/>
                  <a:pt x="2638" y="982"/>
                  <a:pt x="2638" y="982"/>
                </a:cubicBezTo>
                <a:cubicBezTo>
                  <a:pt x="2639" y="984"/>
                  <a:pt x="2639" y="984"/>
                  <a:pt x="2639" y="984"/>
                </a:cubicBezTo>
                <a:cubicBezTo>
                  <a:pt x="2639" y="984"/>
                  <a:pt x="2639" y="984"/>
                  <a:pt x="2639" y="985"/>
                </a:cubicBezTo>
                <a:cubicBezTo>
                  <a:pt x="2636" y="987"/>
                  <a:pt x="2631" y="992"/>
                  <a:pt x="2635" y="995"/>
                </a:cubicBezTo>
                <a:close/>
                <a:moveTo>
                  <a:pt x="2609" y="943"/>
                </a:moveTo>
                <a:cubicBezTo>
                  <a:pt x="2605" y="950"/>
                  <a:pt x="2605" y="950"/>
                  <a:pt x="2605" y="950"/>
                </a:cubicBezTo>
                <a:cubicBezTo>
                  <a:pt x="2608" y="950"/>
                  <a:pt x="2608" y="950"/>
                  <a:pt x="2608" y="950"/>
                </a:cubicBezTo>
                <a:cubicBezTo>
                  <a:pt x="2610" y="946"/>
                  <a:pt x="2610" y="946"/>
                  <a:pt x="2610" y="946"/>
                </a:cubicBezTo>
                <a:cubicBezTo>
                  <a:pt x="2609" y="943"/>
                  <a:pt x="2609" y="943"/>
                  <a:pt x="2609" y="943"/>
                </a:cubicBezTo>
                <a:cubicBezTo>
                  <a:pt x="2609" y="943"/>
                  <a:pt x="2609" y="943"/>
                  <a:pt x="2609" y="943"/>
                </a:cubicBezTo>
                <a:close/>
                <a:moveTo>
                  <a:pt x="2609" y="976"/>
                </a:moveTo>
                <a:cubicBezTo>
                  <a:pt x="2622" y="976"/>
                  <a:pt x="2622" y="976"/>
                  <a:pt x="2622" y="976"/>
                </a:cubicBezTo>
                <a:cubicBezTo>
                  <a:pt x="2628" y="975"/>
                  <a:pt x="2628" y="975"/>
                  <a:pt x="2628" y="975"/>
                </a:cubicBezTo>
                <a:cubicBezTo>
                  <a:pt x="2634" y="970"/>
                  <a:pt x="2634" y="970"/>
                  <a:pt x="2634" y="970"/>
                </a:cubicBezTo>
                <a:cubicBezTo>
                  <a:pt x="2634" y="968"/>
                  <a:pt x="2634" y="968"/>
                  <a:pt x="2634" y="968"/>
                </a:cubicBezTo>
                <a:cubicBezTo>
                  <a:pt x="2629" y="970"/>
                  <a:pt x="2629" y="970"/>
                  <a:pt x="2629" y="970"/>
                </a:cubicBezTo>
                <a:cubicBezTo>
                  <a:pt x="2625" y="974"/>
                  <a:pt x="2625" y="974"/>
                  <a:pt x="2625" y="974"/>
                </a:cubicBezTo>
                <a:cubicBezTo>
                  <a:pt x="2625" y="974"/>
                  <a:pt x="2623" y="971"/>
                  <a:pt x="2621" y="971"/>
                </a:cubicBezTo>
                <a:cubicBezTo>
                  <a:pt x="2619" y="972"/>
                  <a:pt x="2616" y="974"/>
                  <a:pt x="2616" y="974"/>
                </a:cubicBezTo>
                <a:cubicBezTo>
                  <a:pt x="2616" y="974"/>
                  <a:pt x="2614" y="969"/>
                  <a:pt x="2610" y="970"/>
                </a:cubicBezTo>
                <a:cubicBezTo>
                  <a:pt x="2607" y="970"/>
                  <a:pt x="2602" y="976"/>
                  <a:pt x="2602" y="976"/>
                </a:cubicBezTo>
                <a:cubicBezTo>
                  <a:pt x="2597" y="975"/>
                  <a:pt x="2597" y="975"/>
                  <a:pt x="2597" y="975"/>
                </a:cubicBezTo>
                <a:cubicBezTo>
                  <a:pt x="2596" y="978"/>
                  <a:pt x="2596" y="978"/>
                  <a:pt x="2596" y="978"/>
                </a:cubicBezTo>
                <a:cubicBezTo>
                  <a:pt x="2599" y="977"/>
                  <a:pt x="2599" y="977"/>
                  <a:pt x="2599" y="977"/>
                </a:cubicBezTo>
                <a:cubicBezTo>
                  <a:pt x="2599" y="977"/>
                  <a:pt x="2601" y="978"/>
                  <a:pt x="2604" y="979"/>
                </a:cubicBezTo>
                <a:cubicBezTo>
                  <a:pt x="2606" y="980"/>
                  <a:pt x="2609" y="976"/>
                  <a:pt x="2609" y="976"/>
                </a:cubicBezTo>
                <a:close/>
                <a:moveTo>
                  <a:pt x="2636" y="933"/>
                </a:moveTo>
                <a:cubicBezTo>
                  <a:pt x="2636" y="930"/>
                  <a:pt x="2635" y="927"/>
                  <a:pt x="2635" y="927"/>
                </a:cubicBezTo>
                <a:cubicBezTo>
                  <a:pt x="2635" y="927"/>
                  <a:pt x="2627" y="921"/>
                  <a:pt x="2627" y="918"/>
                </a:cubicBezTo>
                <a:cubicBezTo>
                  <a:pt x="2628" y="916"/>
                  <a:pt x="2632" y="913"/>
                  <a:pt x="2629" y="911"/>
                </a:cubicBezTo>
                <a:cubicBezTo>
                  <a:pt x="2627" y="909"/>
                  <a:pt x="2625" y="908"/>
                  <a:pt x="2625" y="906"/>
                </a:cubicBezTo>
                <a:cubicBezTo>
                  <a:pt x="2625" y="904"/>
                  <a:pt x="2628" y="900"/>
                  <a:pt x="2625" y="899"/>
                </a:cubicBezTo>
                <a:cubicBezTo>
                  <a:pt x="2622" y="898"/>
                  <a:pt x="2618" y="895"/>
                  <a:pt x="2618" y="895"/>
                </a:cubicBezTo>
                <a:cubicBezTo>
                  <a:pt x="2618" y="895"/>
                  <a:pt x="2622" y="896"/>
                  <a:pt x="2624" y="894"/>
                </a:cubicBezTo>
                <a:cubicBezTo>
                  <a:pt x="2626" y="892"/>
                  <a:pt x="2628" y="887"/>
                  <a:pt x="2628" y="887"/>
                </a:cubicBezTo>
                <a:cubicBezTo>
                  <a:pt x="2628" y="887"/>
                  <a:pt x="2637" y="888"/>
                  <a:pt x="2637" y="886"/>
                </a:cubicBezTo>
                <a:cubicBezTo>
                  <a:pt x="2637" y="884"/>
                  <a:pt x="2635" y="881"/>
                  <a:pt x="2633" y="881"/>
                </a:cubicBezTo>
                <a:cubicBezTo>
                  <a:pt x="2630" y="881"/>
                  <a:pt x="2629" y="884"/>
                  <a:pt x="2629" y="884"/>
                </a:cubicBezTo>
                <a:cubicBezTo>
                  <a:pt x="2629" y="884"/>
                  <a:pt x="2623" y="883"/>
                  <a:pt x="2620" y="884"/>
                </a:cubicBezTo>
                <a:cubicBezTo>
                  <a:pt x="2618" y="884"/>
                  <a:pt x="2617" y="890"/>
                  <a:pt x="2614" y="890"/>
                </a:cubicBezTo>
                <a:cubicBezTo>
                  <a:pt x="2612" y="890"/>
                  <a:pt x="2612" y="886"/>
                  <a:pt x="2608" y="884"/>
                </a:cubicBezTo>
                <a:cubicBezTo>
                  <a:pt x="2605" y="882"/>
                  <a:pt x="2603" y="883"/>
                  <a:pt x="2603" y="883"/>
                </a:cubicBezTo>
                <a:cubicBezTo>
                  <a:pt x="2603" y="883"/>
                  <a:pt x="2604" y="870"/>
                  <a:pt x="2608" y="870"/>
                </a:cubicBezTo>
                <a:cubicBezTo>
                  <a:pt x="2611" y="870"/>
                  <a:pt x="2617" y="872"/>
                  <a:pt x="2620" y="871"/>
                </a:cubicBezTo>
                <a:cubicBezTo>
                  <a:pt x="2623" y="871"/>
                  <a:pt x="2621" y="868"/>
                  <a:pt x="2623" y="869"/>
                </a:cubicBezTo>
                <a:cubicBezTo>
                  <a:pt x="2626" y="869"/>
                  <a:pt x="2637" y="874"/>
                  <a:pt x="2639" y="875"/>
                </a:cubicBezTo>
                <a:cubicBezTo>
                  <a:pt x="2641" y="875"/>
                  <a:pt x="2642" y="873"/>
                  <a:pt x="2643" y="872"/>
                </a:cubicBezTo>
                <a:cubicBezTo>
                  <a:pt x="2645" y="871"/>
                  <a:pt x="2647" y="872"/>
                  <a:pt x="2649" y="871"/>
                </a:cubicBezTo>
                <a:cubicBezTo>
                  <a:pt x="2651" y="870"/>
                  <a:pt x="2649" y="869"/>
                  <a:pt x="2651" y="867"/>
                </a:cubicBezTo>
                <a:cubicBezTo>
                  <a:pt x="2652" y="865"/>
                  <a:pt x="2657" y="863"/>
                  <a:pt x="2657" y="863"/>
                </a:cubicBezTo>
                <a:cubicBezTo>
                  <a:pt x="2655" y="859"/>
                  <a:pt x="2655" y="859"/>
                  <a:pt x="2655" y="859"/>
                </a:cubicBezTo>
                <a:cubicBezTo>
                  <a:pt x="2644" y="864"/>
                  <a:pt x="2644" y="864"/>
                  <a:pt x="2644" y="864"/>
                </a:cubicBezTo>
                <a:cubicBezTo>
                  <a:pt x="2644" y="864"/>
                  <a:pt x="2647" y="866"/>
                  <a:pt x="2644" y="867"/>
                </a:cubicBezTo>
                <a:cubicBezTo>
                  <a:pt x="2640" y="867"/>
                  <a:pt x="2638" y="865"/>
                  <a:pt x="2636" y="865"/>
                </a:cubicBezTo>
                <a:cubicBezTo>
                  <a:pt x="2634" y="865"/>
                  <a:pt x="2631" y="868"/>
                  <a:pt x="2629" y="867"/>
                </a:cubicBezTo>
                <a:cubicBezTo>
                  <a:pt x="2627" y="867"/>
                  <a:pt x="2621" y="864"/>
                  <a:pt x="2620" y="864"/>
                </a:cubicBezTo>
                <a:cubicBezTo>
                  <a:pt x="2619" y="864"/>
                  <a:pt x="2615" y="864"/>
                  <a:pt x="2615" y="864"/>
                </a:cubicBezTo>
                <a:cubicBezTo>
                  <a:pt x="2617" y="862"/>
                  <a:pt x="2617" y="862"/>
                  <a:pt x="2617" y="862"/>
                </a:cubicBezTo>
                <a:cubicBezTo>
                  <a:pt x="2617" y="862"/>
                  <a:pt x="2611" y="860"/>
                  <a:pt x="2611" y="861"/>
                </a:cubicBezTo>
                <a:cubicBezTo>
                  <a:pt x="2610" y="862"/>
                  <a:pt x="2611" y="865"/>
                  <a:pt x="2608" y="867"/>
                </a:cubicBezTo>
                <a:cubicBezTo>
                  <a:pt x="2606" y="868"/>
                  <a:pt x="2601" y="868"/>
                  <a:pt x="2601" y="869"/>
                </a:cubicBezTo>
                <a:cubicBezTo>
                  <a:pt x="2601" y="870"/>
                  <a:pt x="2601" y="873"/>
                  <a:pt x="2601" y="873"/>
                </a:cubicBezTo>
                <a:cubicBezTo>
                  <a:pt x="2598" y="874"/>
                  <a:pt x="2598" y="874"/>
                  <a:pt x="2598" y="874"/>
                </a:cubicBezTo>
                <a:cubicBezTo>
                  <a:pt x="2600" y="883"/>
                  <a:pt x="2600" y="883"/>
                  <a:pt x="2600" y="883"/>
                </a:cubicBezTo>
                <a:cubicBezTo>
                  <a:pt x="2598" y="883"/>
                  <a:pt x="2598" y="883"/>
                  <a:pt x="2598" y="883"/>
                </a:cubicBezTo>
                <a:cubicBezTo>
                  <a:pt x="2598" y="883"/>
                  <a:pt x="2595" y="888"/>
                  <a:pt x="2594" y="890"/>
                </a:cubicBezTo>
                <a:cubicBezTo>
                  <a:pt x="2594" y="893"/>
                  <a:pt x="2598" y="897"/>
                  <a:pt x="2596" y="899"/>
                </a:cubicBezTo>
                <a:cubicBezTo>
                  <a:pt x="2594" y="900"/>
                  <a:pt x="2589" y="902"/>
                  <a:pt x="2589" y="904"/>
                </a:cubicBezTo>
                <a:cubicBezTo>
                  <a:pt x="2589" y="907"/>
                  <a:pt x="2591" y="910"/>
                  <a:pt x="2591" y="910"/>
                </a:cubicBezTo>
                <a:cubicBezTo>
                  <a:pt x="2591" y="910"/>
                  <a:pt x="2588" y="913"/>
                  <a:pt x="2590" y="915"/>
                </a:cubicBezTo>
                <a:cubicBezTo>
                  <a:pt x="2592" y="916"/>
                  <a:pt x="2596" y="913"/>
                  <a:pt x="2597" y="915"/>
                </a:cubicBezTo>
                <a:cubicBezTo>
                  <a:pt x="2598" y="918"/>
                  <a:pt x="2596" y="920"/>
                  <a:pt x="2596" y="920"/>
                </a:cubicBezTo>
                <a:cubicBezTo>
                  <a:pt x="2598" y="923"/>
                  <a:pt x="2598" y="923"/>
                  <a:pt x="2598" y="923"/>
                </a:cubicBezTo>
                <a:cubicBezTo>
                  <a:pt x="2597" y="932"/>
                  <a:pt x="2597" y="932"/>
                  <a:pt x="2597" y="932"/>
                </a:cubicBezTo>
                <a:cubicBezTo>
                  <a:pt x="2597" y="932"/>
                  <a:pt x="2592" y="935"/>
                  <a:pt x="2594" y="940"/>
                </a:cubicBezTo>
                <a:cubicBezTo>
                  <a:pt x="2597" y="945"/>
                  <a:pt x="2600" y="945"/>
                  <a:pt x="2604" y="941"/>
                </a:cubicBezTo>
                <a:cubicBezTo>
                  <a:pt x="2607" y="938"/>
                  <a:pt x="2603" y="931"/>
                  <a:pt x="2603" y="931"/>
                </a:cubicBezTo>
                <a:cubicBezTo>
                  <a:pt x="2603" y="931"/>
                  <a:pt x="2608" y="928"/>
                  <a:pt x="2608" y="924"/>
                </a:cubicBezTo>
                <a:cubicBezTo>
                  <a:pt x="2607" y="919"/>
                  <a:pt x="2609" y="915"/>
                  <a:pt x="2608" y="913"/>
                </a:cubicBezTo>
                <a:cubicBezTo>
                  <a:pt x="2606" y="910"/>
                  <a:pt x="2605" y="905"/>
                  <a:pt x="2606" y="904"/>
                </a:cubicBezTo>
                <a:cubicBezTo>
                  <a:pt x="2606" y="903"/>
                  <a:pt x="2607" y="897"/>
                  <a:pt x="2609" y="901"/>
                </a:cubicBezTo>
                <a:cubicBezTo>
                  <a:pt x="2612" y="904"/>
                  <a:pt x="2612" y="911"/>
                  <a:pt x="2612" y="911"/>
                </a:cubicBezTo>
                <a:cubicBezTo>
                  <a:pt x="2616" y="916"/>
                  <a:pt x="2616" y="916"/>
                  <a:pt x="2616" y="916"/>
                </a:cubicBezTo>
                <a:cubicBezTo>
                  <a:pt x="2616" y="924"/>
                  <a:pt x="2616" y="924"/>
                  <a:pt x="2616" y="924"/>
                </a:cubicBezTo>
                <a:cubicBezTo>
                  <a:pt x="2619" y="928"/>
                  <a:pt x="2619" y="928"/>
                  <a:pt x="2619" y="928"/>
                </a:cubicBezTo>
                <a:cubicBezTo>
                  <a:pt x="2620" y="933"/>
                  <a:pt x="2620" y="933"/>
                  <a:pt x="2620" y="933"/>
                </a:cubicBezTo>
                <a:cubicBezTo>
                  <a:pt x="2621" y="944"/>
                  <a:pt x="2621" y="944"/>
                  <a:pt x="2621" y="944"/>
                </a:cubicBezTo>
                <a:cubicBezTo>
                  <a:pt x="2624" y="942"/>
                  <a:pt x="2624" y="942"/>
                  <a:pt x="2624" y="942"/>
                </a:cubicBezTo>
                <a:cubicBezTo>
                  <a:pt x="2629" y="943"/>
                  <a:pt x="2629" y="943"/>
                  <a:pt x="2629" y="943"/>
                </a:cubicBezTo>
                <a:cubicBezTo>
                  <a:pt x="2629" y="943"/>
                  <a:pt x="2630" y="940"/>
                  <a:pt x="2629" y="937"/>
                </a:cubicBezTo>
                <a:cubicBezTo>
                  <a:pt x="2629" y="934"/>
                  <a:pt x="2631" y="933"/>
                  <a:pt x="2631" y="933"/>
                </a:cubicBezTo>
                <a:cubicBezTo>
                  <a:pt x="2632" y="936"/>
                  <a:pt x="2632" y="936"/>
                  <a:pt x="2632" y="936"/>
                </a:cubicBezTo>
                <a:cubicBezTo>
                  <a:pt x="2632" y="936"/>
                  <a:pt x="2635" y="936"/>
                  <a:pt x="2636" y="933"/>
                </a:cubicBezTo>
                <a:close/>
                <a:moveTo>
                  <a:pt x="2633" y="894"/>
                </a:moveTo>
                <a:cubicBezTo>
                  <a:pt x="2633" y="897"/>
                  <a:pt x="2633" y="897"/>
                  <a:pt x="2633" y="897"/>
                </a:cubicBezTo>
                <a:cubicBezTo>
                  <a:pt x="2633" y="897"/>
                  <a:pt x="2636" y="899"/>
                  <a:pt x="2637" y="896"/>
                </a:cubicBezTo>
                <a:cubicBezTo>
                  <a:pt x="2639" y="892"/>
                  <a:pt x="2633" y="894"/>
                  <a:pt x="2633" y="894"/>
                </a:cubicBezTo>
                <a:close/>
                <a:moveTo>
                  <a:pt x="2738" y="1322"/>
                </a:moveTo>
                <a:cubicBezTo>
                  <a:pt x="2737" y="1328"/>
                  <a:pt x="2737" y="1328"/>
                  <a:pt x="2737" y="1328"/>
                </a:cubicBezTo>
                <a:cubicBezTo>
                  <a:pt x="2744" y="1321"/>
                  <a:pt x="2744" y="1321"/>
                  <a:pt x="2744" y="1321"/>
                </a:cubicBezTo>
                <a:cubicBezTo>
                  <a:pt x="2738" y="1322"/>
                  <a:pt x="2738" y="1322"/>
                  <a:pt x="2738" y="1322"/>
                </a:cubicBezTo>
                <a:cubicBezTo>
                  <a:pt x="2738" y="1322"/>
                  <a:pt x="2738" y="1322"/>
                  <a:pt x="2738" y="1322"/>
                </a:cubicBezTo>
                <a:close/>
                <a:moveTo>
                  <a:pt x="2453" y="876"/>
                </a:moveTo>
                <a:cubicBezTo>
                  <a:pt x="2450" y="873"/>
                  <a:pt x="2450" y="873"/>
                  <a:pt x="2450" y="873"/>
                </a:cubicBezTo>
                <a:cubicBezTo>
                  <a:pt x="2449" y="878"/>
                  <a:pt x="2449" y="878"/>
                  <a:pt x="2449" y="878"/>
                </a:cubicBezTo>
                <a:cubicBezTo>
                  <a:pt x="2453" y="880"/>
                  <a:pt x="2453" y="880"/>
                  <a:pt x="2453" y="880"/>
                </a:cubicBezTo>
                <a:cubicBezTo>
                  <a:pt x="2453" y="876"/>
                  <a:pt x="2453" y="876"/>
                  <a:pt x="2453" y="876"/>
                </a:cubicBezTo>
                <a:cubicBezTo>
                  <a:pt x="2453" y="876"/>
                  <a:pt x="2453" y="876"/>
                  <a:pt x="2453" y="876"/>
                </a:cubicBezTo>
                <a:close/>
                <a:moveTo>
                  <a:pt x="2451" y="865"/>
                </a:moveTo>
                <a:cubicBezTo>
                  <a:pt x="2450" y="863"/>
                  <a:pt x="2447" y="864"/>
                  <a:pt x="2449" y="867"/>
                </a:cubicBezTo>
                <a:cubicBezTo>
                  <a:pt x="2451" y="871"/>
                  <a:pt x="2452" y="868"/>
                  <a:pt x="2451" y="865"/>
                </a:cubicBezTo>
                <a:close/>
                <a:moveTo>
                  <a:pt x="2420" y="857"/>
                </a:moveTo>
                <a:cubicBezTo>
                  <a:pt x="2420" y="860"/>
                  <a:pt x="2426" y="857"/>
                  <a:pt x="2423" y="855"/>
                </a:cubicBezTo>
                <a:cubicBezTo>
                  <a:pt x="2421" y="853"/>
                  <a:pt x="2418" y="854"/>
                  <a:pt x="2420" y="857"/>
                </a:cubicBezTo>
                <a:close/>
                <a:moveTo>
                  <a:pt x="2362" y="845"/>
                </a:moveTo>
                <a:cubicBezTo>
                  <a:pt x="2361" y="846"/>
                  <a:pt x="2361" y="849"/>
                  <a:pt x="2363" y="849"/>
                </a:cubicBezTo>
                <a:cubicBezTo>
                  <a:pt x="2366" y="850"/>
                  <a:pt x="2366" y="853"/>
                  <a:pt x="2369" y="851"/>
                </a:cubicBezTo>
                <a:cubicBezTo>
                  <a:pt x="2370" y="850"/>
                  <a:pt x="2363" y="844"/>
                  <a:pt x="2362" y="845"/>
                </a:cubicBezTo>
                <a:close/>
                <a:moveTo>
                  <a:pt x="2712" y="879"/>
                </a:moveTo>
                <a:cubicBezTo>
                  <a:pt x="2708" y="878"/>
                  <a:pt x="2706" y="879"/>
                  <a:pt x="2706" y="879"/>
                </a:cubicBezTo>
                <a:cubicBezTo>
                  <a:pt x="2707" y="883"/>
                  <a:pt x="2707" y="883"/>
                  <a:pt x="2707" y="883"/>
                </a:cubicBezTo>
                <a:cubicBezTo>
                  <a:pt x="2709" y="883"/>
                  <a:pt x="2715" y="882"/>
                  <a:pt x="2715" y="882"/>
                </a:cubicBezTo>
                <a:cubicBezTo>
                  <a:pt x="2715" y="882"/>
                  <a:pt x="2716" y="879"/>
                  <a:pt x="2712" y="879"/>
                </a:cubicBezTo>
                <a:close/>
                <a:moveTo>
                  <a:pt x="2451" y="889"/>
                </a:moveTo>
                <a:cubicBezTo>
                  <a:pt x="2450" y="882"/>
                  <a:pt x="2450" y="882"/>
                  <a:pt x="2450" y="882"/>
                </a:cubicBezTo>
                <a:cubicBezTo>
                  <a:pt x="2447" y="885"/>
                  <a:pt x="2447" y="885"/>
                  <a:pt x="2447" y="885"/>
                </a:cubicBezTo>
                <a:cubicBezTo>
                  <a:pt x="2451" y="889"/>
                  <a:pt x="2451" y="889"/>
                  <a:pt x="2451" y="889"/>
                </a:cubicBezTo>
                <a:cubicBezTo>
                  <a:pt x="2451" y="889"/>
                  <a:pt x="2451" y="889"/>
                  <a:pt x="2451" y="889"/>
                </a:cubicBezTo>
                <a:close/>
                <a:moveTo>
                  <a:pt x="2597" y="989"/>
                </a:moveTo>
                <a:cubicBezTo>
                  <a:pt x="2600" y="989"/>
                  <a:pt x="2598" y="991"/>
                  <a:pt x="2600" y="993"/>
                </a:cubicBezTo>
                <a:cubicBezTo>
                  <a:pt x="2602" y="995"/>
                  <a:pt x="2607" y="994"/>
                  <a:pt x="2607" y="994"/>
                </a:cubicBezTo>
                <a:cubicBezTo>
                  <a:pt x="2607" y="994"/>
                  <a:pt x="2606" y="990"/>
                  <a:pt x="2603" y="986"/>
                </a:cubicBezTo>
                <a:cubicBezTo>
                  <a:pt x="2600" y="982"/>
                  <a:pt x="2595" y="985"/>
                  <a:pt x="2595" y="985"/>
                </a:cubicBezTo>
                <a:cubicBezTo>
                  <a:pt x="2590" y="984"/>
                  <a:pt x="2590" y="984"/>
                  <a:pt x="2590" y="984"/>
                </a:cubicBezTo>
                <a:cubicBezTo>
                  <a:pt x="2589" y="985"/>
                  <a:pt x="2589" y="985"/>
                  <a:pt x="2591" y="988"/>
                </a:cubicBezTo>
                <a:cubicBezTo>
                  <a:pt x="2593" y="992"/>
                  <a:pt x="2595" y="989"/>
                  <a:pt x="2597" y="989"/>
                </a:cubicBezTo>
                <a:close/>
                <a:moveTo>
                  <a:pt x="2481" y="906"/>
                </a:moveTo>
                <a:cubicBezTo>
                  <a:pt x="2477" y="907"/>
                  <a:pt x="2478" y="911"/>
                  <a:pt x="2479" y="914"/>
                </a:cubicBezTo>
                <a:cubicBezTo>
                  <a:pt x="2483" y="913"/>
                  <a:pt x="2483" y="913"/>
                  <a:pt x="2483" y="913"/>
                </a:cubicBezTo>
                <a:cubicBezTo>
                  <a:pt x="2485" y="916"/>
                  <a:pt x="2485" y="916"/>
                  <a:pt x="2485" y="916"/>
                </a:cubicBezTo>
                <a:cubicBezTo>
                  <a:pt x="2487" y="912"/>
                  <a:pt x="2487" y="912"/>
                  <a:pt x="2487" y="912"/>
                </a:cubicBezTo>
                <a:cubicBezTo>
                  <a:pt x="2487" y="912"/>
                  <a:pt x="2485" y="906"/>
                  <a:pt x="2481" y="906"/>
                </a:cubicBezTo>
                <a:close/>
                <a:moveTo>
                  <a:pt x="2455" y="901"/>
                </a:moveTo>
                <a:cubicBezTo>
                  <a:pt x="2461" y="900"/>
                  <a:pt x="2461" y="900"/>
                  <a:pt x="2461" y="900"/>
                </a:cubicBezTo>
                <a:cubicBezTo>
                  <a:pt x="2461" y="900"/>
                  <a:pt x="2462" y="907"/>
                  <a:pt x="2464" y="909"/>
                </a:cubicBezTo>
                <a:cubicBezTo>
                  <a:pt x="2466" y="912"/>
                  <a:pt x="2472" y="912"/>
                  <a:pt x="2472" y="912"/>
                </a:cubicBezTo>
                <a:cubicBezTo>
                  <a:pt x="2471" y="906"/>
                  <a:pt x="2471" y="906"/>
                  <a:pt x="2471" y="906"/>
                </a:cubicBezTo>
                <a:cubicBezTo>
                  <a:pt x="2469" y="904"/>
                  <a:pt x="2469" y="904"/>
                  <a:pt x="2469" y="904"/>
                </a:cubicBezTo>
                <a:cubicBezTo>
                  <a:pt x="2469" y="900"/>
                  <a:pt x="2469" y="900"/>
                  <a:pt x="2469" y="900"/>
                </a:cubicBezTo>
                <a:cubicBezTo>
                  <a:pt x="2469" y="900"/>
                  <a:pt x="2466" y="895"/>
                  <a:pt x="2461" y="893"/>
                </a:cubicBezTo>
                <a:cubicBezTo>
                  <a:pt x="2456" y="892"/>
                  <a:pt x="2457" y="897"/>
                  <a:pt x="2457" y="897"/>
                </a:cubicBezTo>
                <a:cubicBezTo>
                  <a:pt x="2457" y="897"/>
                  <a:pt x="2454" y="897"/>
                  <a:pt x="2455" y="901"/>
                </a:cubicBezTo>
                <a:close/>
                <a:moveTo>
                  <a:pt x="2662" y="776"/>
                </a:moveTo>
                <a:cubicBezTo>
                  <a:pt x="2660" y="775"/>
                  <a:pt x="2654" y="768"/>
                  <a:pt x="2652" y="770"/>
                </a:cubicBezTo>
                <a:cubicBezTo>
                  <a:pt x="2651" y="771"/>
                  <a:pt x="2657" y="776"/>
                  <a:pt x="2656" y="777"/>
                </a:cubicBezTo>
                <a:cubicBezTo>
                  <a:pt x="2655" y="777"/>
                  <a:pt x="2648" y="778"/>
                  <a:pt x="2648" y="778"/>
                </a:cubicBezTo>
                <a:cubicBezTo>
                  <a:pt x="2648" y="782"/>
                  <a:pt x="2648" y="782"/>
                  <a:pt x="2648" y="782"/>
                </a:cubicBezTo>
                <a:cubicBezTo>
                  <a:pt x="2645" y="782"/>
                  <a:pt x="2645" y="782"/>
                  <a:pt x="2645" y="782"/>
                </a:cubicBezTo>
                <a:cubicBezTo>
                  <a:pt x="2644" y="785"/>
                  <a:pt x="2644" y="785"/>
                  <a:pt x="2644" y="785"/>
                </a:cubicBezTo>
                <a:cubicBezTo>
                  <a:pt x="2641" y="787"/>
                  <a:pt x="2641" y="787"/>
                  <a:pt x="2641" y="787"/>
                </a:cubicBezTo>
                <a:cubicBezTo>
                  <a:pt x="2641" y="787"/>
                  <a:pt x="2636" y="784"/>
                  <a:pt x="2634" y="786"/>
                </a:cubicBezTo>
                <a:cubicBezTo>
                  <a:pt x="2632" y="787"/>
                  <a:pt x="2629" y="793"/>
                  <a:pt x="2629" y="793"/>
                </a:cubicBezTo>
                <a:cubicBezTo>
                  <a:pt x="2629" y="793"/>
                  <a:pt x="2627" y="789"/>
                  <a:pt x="2626" y="791"/>
                </a:cubicBezTo>
                <a:cubicBezTo>
                  <a:pt x="2625" y="793"/>
                  <a:pt x="2622" y="798"/>
                  <a:pt x="2622" y="798"/>
                </a:cubicBezTo>
                <a:cubicBezTo>
                  <a:pt x="2625" y="801"/>
                  <a:pt x="2625" y="801"/>
                  <a:pt x="2625" y="801"/>
                </a:cubicBezTo>
                <a:cubicBezTo>
                  <a:pt x="2628" y="798"/>
                  <a:pt x="2628" y="798"/>
                  <a:pt x="2628" y="798"/>
                </a:cubicBezTo>
                <a:cubicBezTo>
                  <a:pt x="2630" y="801"/>
                  <a:pt x="2630" y="801"/>
                  <a:pt x="2630" y="801"/>
                </a:cubicBezTo>
                <a:cubicBezTo>
                  <a:pt x="2630" y="801"/>
                  <a:pt x="2635" y="797"/>
                  <a:pt x="2637" y="797"/>
                </a:cubicBezTo>
                <a:cubicBezTo>
                  <a:pt x="2638" y="797"/>
                  <a:pt x="2643" y="801"/>
                  <a:pt x="2643" y="801"/>
                </a:cubicBezTo>
                <a:cubicBezTo>
                  <a:pt x="2643" y="801"/>
                  <a:pt x="2641" y="802"/>
                  <a:pt x="2641" y="804"/>
                </a:cubicBezTo>
                <a:cubicBezTo>
                  <a:pt x="2641" y="806"/>
                  <a:pt x="2644" y="813"/>
                  <a:pt x="2646" y="814"/>
                </a:cubicBezTo>
                <a:cubicBezTo>
                  <a:pt x="2648" y="815"/>
                  <a:pt x="2653" y="816"/>
                  <a:pt x="2653" y="816"/>
                </a:cubicBezTo>
                <a:cubicBezTo>
                  <a:pt x="2656" y="813"/>
                  <a:pt x="2656" y="813"/>
                  <a:pt x="2656" y="813"/>
                </a:cubicBezTo>
                <a:cubicBezTo>
                  <a:pt x="2656" y="817"/>
                  <a:pt x="2656" y="817"/>
                  <a:pt x="2656" y="817"/>
                </a:cubicBezTo>
                <a:cubicBezTo>
                  <a:pt x="2659" y="817"/>
                  <a:pt x="2659" y="817"/>
                  <a:pt x="2659" y="817"/>
                </a:cubicBezTo>
                <a:cubicBezTo>
                  <a:pt x="2660" y="812"/>
                  <a:pt x="2660" y="812"/>
                  <a:pt x="2660" y="812"/>
                </a:cubicBezTo>
                <a:cubicBezTo>
                  <a:pt x="2660" y="812"/>
                  <a:pt x="2655" y="807"/>
                  <a:pt x="2656" y="804"/>
                </a:cubicBezTo>
                <a:cubicBezTo>
                  <a:pt x="2657" y="802"/>
                  <a:pt x="2659" y="801"/>
                  <a:pt x="2659" y="801"/>
                </a:cubicBezTo>
                <a:cubicBezTo>
                  <a:pt x="2662" y="808"/>
                  <a:pt x="2662" y="808"/>
                  <a:pt x="2662" y="808"/>
                </a:cubicBezTo>
                <a:cubicBezTo>
                  <a:pt x="2662" y="808"/>
                  <a:pt x="2666" y="803"/>
                  <a:pt x="2666" y="799"/>
                </a:cubicBezTo>
                <a:cubicBezTo>
                  <a:pt x="2666" y="796"/>
                  <a:pt x="2664" y="792"/>
                  <a:pt x="2664" y="792"/>
                </a:cubicBezTo>
                <a:cubicBezTo>
                  <a:pt x="2664" y="784"/>
                  <a:pt x="2664" y="784"/>
                  <a:pt x="2664" y="784"/>
                </a:cubicBezTo>
                <a:cubicBezTo>
                  <a:pt x="2664" y="784"/>
                  <a:pt x="2664" y="777"/>
                  <a:pt x="2662" y="776"/>
                </a:cubicBezTo>
                <a:close/>
                <a:moveTo>
                  <a:pt x="2653" y="900"/>
                </a:moveTo>
                <a:cubicBezTo>
                  <a:pt x="2664" y="898"/>
                  <a:pt x="2664" y="898"/>
                  <a:pt x="2664" y="898"/>
                </a:cubicBezTo>
                <a:cubicBezTo>
                  <a:pt x="2653" y="897"/>
                  <a:pt x="2653" y="897"/>
                  <a:pt x="2653" y="897"/>
                </a:cubicBezTo>
                <a:cubicBezTo>
                  <a:pt x="2653" y="897"/>
                  <a:pt x="2649" y="895"/>
                  <a:pt x="2647" y="895"/>
                </a:cubicBezTo>
                <a:cubicBezTo>
                  <a:pt x="2646" y="896"/>
                  <a:pt x="2645" y="898"/>
                  <a:pt x="2645" y="898"/>
                </a:cubicBezTo>
                <a:cubicBezTo>
                  <a:pt x="2647" y="901"/>
                  <a:pt x="2653" y="900"/>
                  <a:pt x="2653" y="900"/>
                </a:cubicBezTo>
                <a:close/>
                <a:moveTo>
                  <a:pt x="2648" y="972"/>
                </a:moveTo>
                <a:cubicBezTo>
                  <a:pt x="2648" y="968"/>
                  <a:pt x="2648" y="968"/>
                  <a:pt x="2648" y="968"/>
                </a:cubicBezTo>
                <a:cubicBezTo>
                  <a:pt x="2643" y="971"/>
                  <a:pt x="2643" y="971"/>
                  <a:pt x="2643" y="971"/>
                </a:cubicBezTo>
                <a:cubicBezTo>
                  <a:pt x="2648" y="972"/>
                  <a:pt x="2648" y="972"/>
                  <a:pt x="2648" y="972"/>
                </a:cubicBezTo>
                <a:cubicBezTo>
                  <a:pt x="2648" y="972"/>
                  <a:pt x="2648" y="972"/>
                  <a:pt x="2648" y="972"/>
                </a:cubicBezTo>
                <a:close/>
                <a:moveTo>
                  <a:pt x="2658" y="963"/>
                </a:moveTo>
                <a:cubicBezTo>
                  <a:pt x="2655" y="968"/>
                  <a:pt x="2655" y="968"/>
                  <a:pt x="2655" y="968"/>
                </a:cubicBezTo>
                <a:cubicBezTo>
                  <a:pt x="2666" y="965"/>
                  <a:pt x="2666" y="965"/>
                  <a:pt x="2666" y="965"/>
                </a:cubicBezTo>
                <a:cubicBezTo>
                  <a:pt x="2658" y="963"/>
                  <a:pt x="2658" y="963"/>
                  <a:pt x="2658" y="963"/>
                </a:cubicBezTo>
                <a:cubicBezTo>
                  <a:pt x="2658" y="963"/>
                  <a:pt x="2658" y="963"/>
                  <a:pt x="2658" y="963"/>
                </a:cubicBezTo>
                <a:close/>
                <a:moveTo>
                  <a:pt x="2671" y="826"/>
                </a:moveTo>
                <a:cubicBezTo>
                  <a:pt x="2669" y="826"/>
                  <a:pt x="2669" y="826"/>
                  <a:pt x="2669" y="826"/>
                </a:cubicBezTo>
                <a:cubicBezTo>
                  <a:pt x="2668" y="830"/>
                  <a:pt x="2668" y="830"/>
                  <a:pt x="2668" y="830"/>
                </a:cubicBezTo>
                <a:cubicBezTo>
                  <a:pt x="2669" y="834"/>
                  <a:pt x="2669" y="834"/>
                  <a:pt x="2669" y="834"/>
                </a:cubicBezTo>
                <a:cubicBezTo>
                  <a:pt x="2671" y="832"/>
                  <a:pt x="2671" y="832"/>
                  <a:pt x="2671" y="832"/>
                </a:cubicBezTo>
                <a:cubicBezTo>
                  <a:pt x="2671" y="826"/>
                  <a:pt x="2671" y="826"/>
                  <a:pt x="2671" y="826"/>
                </a:cubicBezTo>
                <a:cubicBezTo>
                  <a:pt x="2671" y="826"/>
                  <a:pt x="2671" y="826"/>
                  <a:pt x="2671" y="826"/>
                </a:cubicBezTo>
                <a:close/>
                <a:moveTo>
                  <a:pt x="2618" y="758"/>
                </a:moveTo>
                <a:cubicBezTo>
                  <a:pt x="2619" y="760"/>
                  <a:pt x="2621" y="762"/>
                  <a:pt x="2621" y="762"/>
                </a:cubicBezTo>
                <a:cubicBezTo>
                  <a:pt x="2621" y="762"/>
                  <a:pt x="2624" y="758"/>
                  <a:pt x="2625" y="759"/>
                </a:cubicBezTo>
                <a:cubicBezTo>
                  <a:pt x="2626" y="760"/>
                  <a:pt x="2626" y="764"/>
                  <a:pt x="2626" y="764"/>
                </a:cubicBezTo>
                <a:cubicBezTo>
                  <a:pt x="2628" y="766"/>
                  <a:pt x="2628" y="766"/>
                  <a:pt x="2628" y="766"/>
                </a:cubicBezTo>
                <a:cubicBezTo>
                  <a:pt x="2628" y="766"/>
                  <a:pt x="2623" y="773"/>
                  <a:pt x="2623" y="774"/>
                </a:cubicBezTo>
                <a:cubicBezTo>
                  <a:pt x="2623" y="775"/>
                  <a:pt x="2623" y="780"/>
                  <a:pt x="2627" y="779"/>
                </a:cubicBezTo>
                <a:cubicBezTo>
                  <a:pt x="2630" y="778"/>
                  <a:pt x="2635" y="777"/>
                  <a:pt x="2633" y="774"/>
                </a:cubicBezTo>
                <a:cubicBezTo>
                  <a:pt x="2631" y="771"/>
                  <a:pt x="2631" y="768"/>
                  <a:pt x="2632" y="764"/>
                </a:cubicBezTo>
                <a:cubicBezTo>
                  <a:pt x="2634" y="759"/>
                  <a:pt x="2633" y="755"/>
                  <a:pt x="2631" y="757"/>
                </a:cubicBezTo>
                <a:cubicBezTo>
                  <a:pt x="2630" y="758"/>
                  <a:pt x="2627" y="760"/>
                  <a:pt x="2627" y="758"/>
                </a:cubicBezTo>
                <a:cubicBezTo>
                  <a:pt x="2627" y="757"/>
                  <a:pt x="2631" y="750"/>
                  <a:pt x="2629" y="749"/>
                </a:cubicBezTo>
                <a:cubicBezTo>
                  <a:pt x="2626" y="749"/>
                  <a:pt x="2622" y="746"/>
                  <a:pt x="2622" y="746"/>
                </a:cubicBezTo>
                <a:cubicBezTo>
                  <a:pt x="2622" y="746"/>
                  <a:pt x="2617" y="745"/>
                  <a:pt x="2617" y="746"/>
                </a:cubicBezTo>
                <a:cubicBezTo>
                  <a:pt x="2617" y="748"/>
                  <a:pt x="2620" y="750"/>
                  <a:pt x="2620" y="750"/>
                </a:cubicBezTo>
                <a:cubicBezTo>
                  <a:pt x="2620" y="750"/>
                  <a:pt x="2617" y="755"/>
                  <a:pt x="2618" y="758"/>
                </a:cubicBezTo>
                <a:close/>
                <a:moveTo>
                  <a:pt x="2624" y="809"/>
                </a:moveTo>
                <a:cubicBezTo>
                  <a:pt x="2621" y="807"/>
                  <a:pt x="2621" y="807"/>
                  <a:pt x="2621" y="807"/>
                </a:cubicBezTo>
                <a:cubicBezTo>
                  <a:pt x="2618" y="810"/>
                  <a:pt x="2618" y="810"/>
                  <a:pt x="2618" y="810"/>
                </a:cubicBezTo>
                <a:cubicBezTo>
                  <a:pt x="2623" y="814"/>
                  <a:pt x="2623" y="814"/>
                  <a:pt x="2623" y="814"/>
                </a:cubicBezTo>
                <a:cubicBezTo>
                  <a:pt x="2624" y="809"/>
                  <a:pt x="2624" y="809"/>
                  <a:pt x="2624" y="809"/>
                </a:cubicBezTo>
                <a:cubicBezTo>
                  <a:pt x="2624" y="809"/>
                  <a:pt x="2624" y="809"/>
                  <a:pt x="2624" y="809"/>
                </a:cubicBezTo>
                <a:close/>
                <a:moveTo>
                  <a:pt x="2651" y="759"/>
                </a:moveTo>
                <a:cubicBezTo>
                  <a:pt x="2647" y="758"/>
                  <a:pt x="2647" y="758"/>
                  <a:pt x="2647" y="758"/>
                </a:cubicBezTo>
                <a:cubicBezTo>
                  <a:pt x="2647" y="758"/>
                  <a:pt x="2646" y="755"/>
                  <a:pt x="2645" y="754"/>
                </a:cubicBezTo>
                <a:cubicBezTo>
                  <a:pt x="2644" y="752"/>
                  <a:pt x="2639" y="753"/>
                  <a:pt x="2639" y="753"/>
                </a:cubicBezTo>
                <a:cubicBezTo>
                  <a:pt x="2640" y="759"/>
                  <a:pt x="2640" y="759"/>
                  <a:pt x="2640" y="759"/>
                </a:cubicBezTo>
                <a:cubicBezTo>
                  <a:pt x="2643" y="758"/>
                  <a:pt x="2643" y="758"/>
                  <a:pt x="2643" y="758"/>
                </a:cubicBezTo>
                <a:cubicBezTo>
                  <a:pt x="2644" y="761"/>
                  <a:pt x="2644" y="761"/>
                  <a:pt x="2644" y="761"/>
                </a:cubicBezTo>
                <a:cubicBezTo>
                  <a:pt x="2651" y="767"/>
                  <a:pt x="2651" y="767"/>
                  <a:pt x="2651" y="767"/>
                </a:cubicBezTo>
                <a:cubicBezTo>
                  <a:pt x="2651" y="759"/>
                  <a:pt x="2651" y="759"/>
                  <a:pt x="2651" y="759"/>
                </a:cubicBezTo>
                <a:cubicBezTo>
                  <a:pt x="2651" y="759"/>
                  <a:pt x="2651" y="759"/>
                  <a:pt x="2651" y="759"/>
                </a:cubicBezTo>
                <a:close/>
                <a:moveTo>
                  <a:pt x="2665" y="912"/>
                </a:moveTo>
                <a:cubicBezTo>
                  <a:pt x="2665" y="912"/>
                  <a:pt x="2663" y="916"/>
                  <a:pt x="2666" y="918"/>
                </a:cubicBezTo>
                <a:cubicBezTo>
                  <a:pt x="2669" y="920"/>
                  <a:pt x="2673" y="920"/>
                  <a:pt x="2673" y="920"/>
                </a:cubicBezTo>
                <a:cubicBezTo>
                  <a:pt x="2675" y="917"/>
                  <a:pt x="2672" y="912"/>
                  <a:pt x="2672" y="912"/>
                </a:cubicBezTo>
                <a:cubicBezTo>
                  <a:pt x="2670" y="912"/>
                  <a:pt x="2670" y="912"/>
                  <a:pt x="2670" y="912"/>
                </a:cubicBezTo>
                <a:cubicBezTo>
                  <a:pt x="2668" y="910"/>
                  <a:pt x="2668" y="910"/>
                  <a:pt x="2668" y="910"/>
                </a:cubicBezTo>
                <a:cubicBezTo>
                  <a:pt x="2665" y="912"/>
                  <a:pt x="2665" y="912"/>
                  <a:pt x="2665" y="912"/>
                </a:cubicBezTo>
                <a:cubicBezTo>
                  <a:pt x="2665" y="912"/>
                  <a:pt x="2665" y="912"/>
                  <a:pt x="2665" y="912"/>
                </a:cubicBezTo>
                <a:close/>
                <a:moveTo>
                  <a:pt x="2653" y="831"/>
                </a:moveTo>
                <a:cubicBezTo>
                  <a:pt x="2655" y="826"/>
                  <a:pt x="2655" y="826"/>
                  <a:pt x="2655" y="826"/>
                </a:cubicBezTo>
                <a:cubicBezTo>
                  <a:pt x="2652" y="825"/>
                  <a:pt x="2652" y="825"/>
                  <a:pt x="2652" y="825"/>
                </a:cubicBezTo>
                <a:cubicBezTo>
                  <a:pt x="2653" y="831"/>
                  <a:pt x="2653" y="831"/>
                  <a:pt x="2653" y="831"/>
                </a:cubicBezTo>
                <a:cubicBezTo>
                  <a:pt x="2653" y="831"/>
                  <a:pt x="2653" y="831"/>
                  <a:pt x="2653" y="831"/>
                </a:cubicBezTo>
                <a:close/>
                <a:moveTo>
                  <a:pt x="2640" y="770"/>
                </a:moveTo>
                <a:cubicBezTo>
                  <a:pt x="2644" y="770"/>
                  <a:pt x="2644" y="770"/>
                  <a:pt x="2644" y="770"/>
                </a:cubicBezTo>
                <a:cubicBezTo>
                  <a:pt x="2645" y="766"/>
                  <a:pt x="2645" y="766"/>
                  <a:pt x="2645" y="766"/>
                </a:cubicBezTo>
                <a:cubicBezTo>
                  <a:pt x="2641" y="765"/>
                  <a:pt x="2641" y="765"/>
                  <a:pt x="2641" y="765"/>
                </a:cubicBezTo>
                <a:cubicBezTo>
                  <a:pt x="2640" y="770"/>
                  <a:pt x="2640" y="770"/>
                  <a:pt x="2640" y="770"/>
                </a:cubicBezTo>
                <a:cubicBezTo>
                  <a:pt x="2640" y="770"/>
                  <a:pt x="2640" y="770"/>
                  <a:pt x="2640" y="770"/>
                </a:cubicBezTo>
                <a:close/>
                <a:moveTo>
                  <a:pt x="2592" y="975"/>
                </a:moveTo>
                <a:cubicBezTo>
                  <a:pt x="2593" y="972"/>
                  <a:pt x="2592" y="969"/>
                  <a:pt x="2590" y="969"/>
                </a:cubicBezTo>
                <a:cubicBezTo>
                  <a:pt x="2589" y="968"/>
                  <a:pt x="2587" y="969"/>
                  <a:pt x="2587" y="969"/>
                </a:cubicBezTo>
                <a:cubicBezTo>
                  <a:pt x="2581" y="968"/>
                  <a:pt x="2581" y="968"/>
                  <a:pt x="2581" y="968"/>
                </a:cubicBezTo>
                <a:cubicBezTo>
                  <a:pt x="2585" y="973"/>
                  <a:pt x="2585" y="973"/>
                  <a:pt x="2585" y="973"/>
                </a:cubicBezTo>
                <a:cubicBezTo>
                  <a:pt x="2585" y="973"/>
                  <a:pt x="2590" y="979"/>
                  <a:pt x="2592" y="975"/>
                </a:cubicBezTo>
                <a:close/>
                <a:moveTo>
                  <a:pt x="2573" y="983"/>
                </a:moveTo>
                <a:cubicBezTo>
                  <a:pt x="2576" y="982"/>
                  <a:pt x="2576" y="982"/>
                  <a:pt x="2576" y="982"/>
                </a:cubicBezTo>
                <a:cubicBezTo>
                  <a:pt x="2577" y="979"/>
                  <a:pt x="2577" y="979"/>
                  <a:pt x="2577" y="979"/>
                </a:cubicBezTo>
                <a:cubicBezTo>
                  <a:pt x="2581" y="981"/>
                  <a:pt x="2581" y="981"/>
                  <a:pt x="2581" y="981"/>
                </a:cubicBezTo>
                <a:cubicBezTo>
                  <a:pt x="2585" y="977"/>
                  <a:pt x="2585" y="977"/>
                  <a:pt x="2585" y="977"/>
                </a:cubicBezTo>
                <a:cubicBezTo>
                  <a:pt x="2578" y="974"/>
                  <a:pt x="2578" y="974"/>
                  <a:pt x="2578" y="974"/>
                </a:cubicBezTo>
                <a:cubicBezTo>
                  <a:pt x="2576" y="975"/>
                  <a:pt x="2576" y="975"/>
                  <a:pt x="2576" y="975"/>
                </a:cubicBezTo>
                <a:cubicBezTo>
                  <a:pt x="2576" y="975"/>
                  <a:pt x="2573" y="972"/>
                  <a:pt x="2571" y="972"/>
                </a:cubicBezTo>
                <a:cubicBezTo>
                  <a:pt x="2569" y="972"/>
                  <a:pt x="2565" y="979"/>
                  <a:pt x="2565" y="979"/>
                </a:cubicBezTo>
                <a:cubicBezTo>
                  <a:pt x="2572" y="980"/>
                  <a:pt x="2572" y="980"/>
                  <a:pt x="2572" y="980"/>
                </a:cubicBezTo>
                <a:cubicBezTo>
                  <a:pt x="2573" y="983"/>
                  <a:pt x="2573" y="983"/>
                  <a:pt x="2573" y="983"/>
                </a:cubicBezTo>
                <a:cubicBezTo>
                  <a:pt x="2573" y="983"/>
                  <a:pt x="2573" y="983"/>
                  <a:pt x="2573" y="983"/>
                </a:cubicBezTo>
                <a:close/>
                <a:moveTo>
                  <a:pt x="2572" y="787"/>
                </a:moveTo>
                <a:cubicBezTo>
                  <a:pt x="2576" y="783"/>
                  <a:pt x="2576" y="783"/>
                  <a:pt x="2576" y="783"/>
                </a:cubicBezTo>
                <a:cubicBezTo>
                  <a:pt x="2576" y="783"/>
                  <a:pt x="2575" y="780"/>
                  <a:pt x="2577" y="780"/>
                </a:cubicBezTo>
                <a:cubicBezTo>
                  <a:pt x="2579" y="780"/>
                  <a:pt x="2581" y="780"/>
                  <a:pt x="2583" y="778"/>
                </a:cubicBezTo>
                <a:cubicBezTo>
                  <a:pt x="2584" y="777"/>
                  <a:pt x="2583" y="774"/>
                  <a:pt x="2584" y="772"/>
                </a:cubicBezTo>
                <a:cubicBezTo>
                  <a:pt x="2586" y="770"/>
                  <a:pt x="2596" y="767"/>
                  <a:pt x="2596" y="764"/>
                </a:cubicBezTo>
                <a:cubicBezTo>
                  <a:pt x="2596" y="762"/>
                  <a:pt x="2594" y="760"/>
                  <a:pt x="2594" y="758"/>
                </a:cubicBezTo>
                <a:cubicBezTo>
                  <a:pt x="2593" y="755"/>
                  <a:pt x="2594" y="751"/>
                  <a:pt x="2594" y="751"/>
                </a:cubicBezTo>
                <a:cubicBezTo>
                  <a:pt x="2592" y="748"/>
                  <a:pt x="2592" y="748"/>
                  <a:pt x="2592" y="748"/>
                </a:cubicBezTo>
                <a:cubicBezTo>
                  <a:pt x="2591" y="752"/>
                  <a:pt x="2591" y="752"/>
                  <a:pt x="2591" y="752"/>
                </a:cubicBezTo>
                <a:cubicBezTo>
                  <a:pt x="2591" y="752"/>
                  <a:pt x="2587" y="755"/>
                  <a:pt x="2589" y="758"/>
                </a:cubicBezTo>
                <a:cubicBezTo>
                  <a:pt x="2590" y="761"/>
                  <a:pt x="2594" y="761"/>
                  <a:pt x="2592" y="762"/>
                </a:cubicBezTo>
                <a:cubicBezTo>
                  <a:pt x="2589" y="764"/>
                  <a:pt x="2586" y="766"/>
                  <a:pt x="2586" y="766"/>
                </a:cubicBezTo>
                <a:cubicBezTo>
                  <a:pt x="2585" y="769"/>
                  <a:pt x="2585" y="769"/>
                  <a:pt x="2585" y="769"/>
                </a:cubicBezTo>
                <a:cubicBezTo>
                  <a:pt x="2581" y="771"/>
                  <a:pt x="2581" y="771"/>
                  <a:pt x="2581" y="771"/>
                </a:cubicBezTo>
                <a:cubicBezTo>
                  <a:pt x="2581" y="771"/>
                  <a:pt x="2583" y="773"/>
                  <a:pt x="2581" y="774"/>
                </a:cubicBezTo>
                <a:cubicBezTo>
                  <a:pt x="2580" y="776"/>
                  <a:pt x="2574" y="778"/>
                  <a:pt x="2574" y="778"/>
                </a:cubicBezTo>
                <a:cubicBezTo>
                  <a:pt x="2574" y="778"/>
                  <a:pt x="2570" y="786"/>
                  <a:pt x="2572" y="787"/>
                </a:cubicBezTo>
                <a:close/>
                <a:moveTo>
                  <a:pt x="2590" y="678"/>
                </a:moveTo>
                <a:cubicBezTo>
                  <a:pt x="2589" y="680"/>
                  <a:pt x="2589" y="679"/>
                  <a:pt x="2591" y="681"/>
                </a:cubicBezTo>
                <a:cubicBezTo>
                  <a:pt x="2591" y="682"/>
                  <a:pt x="2592" y="684"/>
                  <a:pt x="2593" y="685"/>
                </a:cubicBezTo>
                <a:cubicBezTo>
                  <a:pt x="2593" y="687"/>
                  <a:pt x="2593" y="688"/>
                  <a:pt x="2593" y="690"/>
                </a:cubicBezTo>
                <a:cubicBezTo>
                  <a:pt x="2593" y="691"/>
                  <a:pt x="2591" y="692"/>
                  <a:pt x="2591" y="693"/>
                </a:cubicBezTo>
                <a:cubicBezTo>
                  <a:pt x="2591" y="695"/>
                  <a:pt x="2593" y="695"/>
                  <a:pt x="2593" y="697"/>
                </a:cubicBezTo>
                <a:cubicBezTo>
                  <a:pt x="2592" y="698"/>
                  <a:pt x="2590" y="699"/>
                  <a:pt x="2589" y="699"/>
                </a:cubicBezTo>
                <a:cubicBezTo>
                  <a:pt x="2589" y="697"/>
                  <a:pt x="2588" y="696"/>
                  <a:pt x="2587" y="696"/>
                </a:cubicBezTo>
                <a:cubicBezTo>
                  <a:pt x="2587" y="700"/>
                  <a:pt x="2588" y="703"/>
                  <a:pt x="2591" y="707"/>
                </a:cubicBezTo>
                <a:cubicBezTo>
                  <a:pt x="2594" y="710"/>
                  <a:pt x="2596" y="712"/>
                  <a:pt x="2598" y="716"/>
                </a:cubicBezTo>
                <a:cubicBezTo>
                  <a:pt x="2599" y="718"/>
                  <a:pt x="2602" y="724"/>
                  <a:pt x="2605" y="724"/>
                </a:cubicBezTo>
                <a:cubicBezTo>
                  <a:pt x="2607" y="724"/>
                  <a:pt x="2608" y="721"/>
                  <a:pt x="2611" y="721"/>
                </a:cubicBezTo>
                <a:cubicBezTo>
                  <a:pt x="2613" y="721"/>
                  <a:pt x="2614" y="723"/>
                  <a:pt x="2615" y="724"/>
                </a:cubicBezTo>
                <a:cubicBezTo>
                  <a:pt x="2620" y="728"/>
                  <a:pt x="2620" y="724"/>
                  <a:pt x="2618" y="721"/>
                </a:cubicBezTo>
                <a:cubicBezTo>
                  <a:pt x="2621" y="720"/>
                  <a:pt x="2623" y="722"/>
                  <a:pt x="2624" y="725"/>
                </a:cubicBezTo>
                <a:cubicBezTo>
                  <a:pt x="2624" y="728"/>
                  <a:pt x="2626" y="730"/>
                  <a:pt x="2629" y="731"/>
                </a:cubicBezTo>
                <a:cubicBezTo>
                  <a:pt x="2635" y="734"/>
                  <a:pt x="2635" y="721"/>
                  <a:pt x="2629" y="722"/>
                </a:cubicBezTo>
                <a:cubicBezTo>
                  <a:pt x="2628" y="721"/>
                  <a:pt x="2629" y="720"/>
                  <a:pt x="2630" y="719"/>
                </a:cubicBezTo>
                <a:cubicBezTo>
                  <a:pt x="2627" y="719"/>
                  <a:pt x="2626" y="716"/>
                  <a:pt x="2624" y="717"/>
                </a:cubicBezTo>
                <a:cubicBezTo>
                  <a:pt x="2622" y="721"/>
                  <a:pt x="2619" y="716"/>
                  <a:pt x="2616" y="716"/>
                </a:cubicBezTo>
                <a:cubicBezTo>
                  <a:pt x="2613" y="716"/>
                  <a:pt x="2612" y="721"/>
                  <a:pt x="2609" y="717"/>
                </a:cubicBezTo>
                <a:cubicBezTo>
                  <a:pt x="2607" y="714"/>
                  <a:pt x="2608" y="711"/>
                  <a:pt x="2608" y="709"/>
                </a:cubicBezTo>
                <a:cubicBezTo>
                  <a:pt x="2608" y="706"/>
                  <a:pt x="2607" y="702"/>
                  <a:pt x="2608" y="700"/>
                </a:cubicBezTo>
                <a:cubicBezTo>
                  <a:pt x="2610" y="697"/>
                  <a:pt x="2612" y="698"/>
                  <a:pt x="2612" y="694"/>
                </a:cubicBezTo>
                <a:cubicBezTo>
                  <a:pt x="2612" y="691"/>
                  <a:pt x="2610" y="689"/>
                  <a:pt x="2610" y="686"/>
                </a:cubicBezTo>
                <a:cubicBezTo>
                  <a:pt x="2610" y="683"/>
                  <a:pt x="2612" y="680"/>
                  <a:pt x="2611" y="677"/>
                </a:cubicBezTo>
                <a:cubicBezTo>
                  <a:pt x="2610" y="676"/>
                  <a:pt x="2609" y="675"/>
                  <a:pt x="2608" y="674"/>
                </a:cubicBezTo>
                <a:cubicBezTo>
                  <a:pt x="2608" y="673"/>
                  <a:pt x="2608" y="671"/>
                  <a:pt x="2608" y="670"/>
                </a:cubicBezTo>
                <a:cubicBezTo>
                  <a:pt x="2608" y="669"/>
                  <a:pt x="2607" y="667"/>
                  <a:pt x="2606" y="667"/>
                </a:cubicBezTo>
                <a:cubicBezTo>
                  <a:pt x="2605" y="667"/>
                  <a:pt x="2604" y="669"/>
                  <a:pt x="2603" y="669"/>
                </a:cubicBezTo>
                <a:cubicBezTo>
                  <a:pt x="2600" y="672"/>
                  <a:pt x="2599" y="669"/>
                  <a:pt x="2596" y="669"/>
                </a:cubicBezTo>
                <a:cubicBezTo>
                  <a:pt x="2594" y="669"/>
                  <a:pt x="2594" y="669"/>
                  <a:pt x="2594" y="669"/>
                </a:cubicBezTo>
                <a:cubicBezTo>
                  <a:pt x="2593" y="671"/>
                  <a:pt x="2594" y="672"/>
                  <a:pt x="2594" y="674"/>
                </a:cubicBezTo>
                <a:cubicBezTo>
                  <a:pt x="2593" y="675"/>
                  <a:pt x="2591" y="677"/>
                  <a:pt x="2590" y="678"/>
                </a:cubicBezTo>
                <a:close/>
                <a:moveTo>
                  <a:pt x="2606" y="812"/>
                </a:moveTo>
                <a:cubicBezTo>
                  <a:pt x="2609" y="813"/>
                  <a:pt x="2609" y="813"/>
                  <a:pt x="2609" y="813"/>
                </a:cubicBezTo>
                <a:cubicBezTo>
                  <a:pt x="2611" y="809"/>
                  <a:pt x="2611" y="809"/>
                  <a:pt x="2611" y="809"/>
                </a:cubicBezTo>
                <a:cubicBezTo>
                  <a:pt x="2608" y="807"/>
                  <a:pt x="2608" y="807"/>
                  <a:pt x="2608" y="807"/>
                </a:cubicBezTo>
                <a:cubicBezTo>
                  <a:pt x="2606" y="812"/>
                  <a:pt x="2606" y="812"/>
                  <a:pt x="2606" y="812"/>
                </a:cubicBezTo>
                <a:cubicBezTo>
                  <a:pt x="2606" y="812"/>
                  <a:pt x="2606" y="812"/>
                  <a:pt x="2606" y="812"/>
                </a:cubicBezTo>
                <a:close/>
                <a:moveTo>
                  <a:pt x="2637" y="737"/>
                </a:moveTo>
                <a:cubicBezTo>
                  <a:pt x="2635" y="741"/>
                  <a:pt x="2642" y="745"/>
                  <a:pt x="2642" y="745"/>
                </a:cubicBezTo>
                <a:cubicBezTo>
                  <a:pt x="2647" y="747"/>
                  <a:pt x="2647" y="747"/>
                  <a:pt x="2647" y="747"/>
                </a:cubicBezTo>
                <a:cubicBezTo>
                  <a:pt x="2647" y="751"/>
                  <a:pt x="2642" y="749"/>
                  <a:pt x="2642" y="749"/>
                </a:cubicBezTo>
                <a:cubicBezTo>
                  <a:pt x="2651" y="756"/>
                  <a:pt x="2651" y="756"/>
                  <a:pt x="2651" y="756"/>
                </a:cubicBezTo>
                <a:cubicBezTo>
                  <a:pt x="2651" y="753"/>
                  <a:pt x="2651" y="753"/>
                  <a:pt x="2651" y="753"/>
                </a:cubicBezTo>
                <a:cubicBezTo>
                  <a:pt x="2655" y="754"/>
                  <a:pt x="2655" y="754"/>
                  <a:pt x="2655" y="754"/>
                </a:cubicBezTo>
                <a:cubicBezTo>
                  <a:pt x="2652" y="749"/>
                  <a:pt x="2652" y="749"/>
                  <a:pt x="2652" y="749"/>
                </a:cubicBezTo>
                <a:cubicBezTo>
                  <a:pt x="2652" y="749"/>
                  <a:pt x="2651" y="744"/>
                  <a:pt x="2649" y="741"/>
                </a:cubicBezTo>
                <a:cubicBezTo>
                  <a:pt x="2646" y="739"/>
                  <a:pt x="2638" y="734"/>
                  <a:pt x="2637" y="737"/>
                </a:cubicBezTo>
                <a:close/>
                <a:moveTo>
                  <a:pt x="2610" y="733"/>
                </a:moveTo>
                <a:cubicBezTo>
                  <a:pt x="2610" y="733"/>
                  <a:pt x="2609" y="728"/>
                  <a:pt x="2608" y="727"/>
                </a:cubicBezTo>
                <a:cubicBezTo>
                  <a:pt x="2606" y="726"/>
                  <a:pt x="2600" y="726"/>
                  <a:pt x="2600" y="726"/>
                </a:cubicBezTo>
                <a:cubicBezTo>
                  <a:pt x="2605" y="732"/>
                  <a:pt x="2605" y="732"/>
                  <a:pt x="2605" y="732"/>
                </a:cubicBezTo>
                <a:cubicBezTo>
                  <a:pt x="2607" y="741"/>
                  <a:pt x="2607" y="741"/>
                  <a:pt x="2607" y="741"/>
                </a:cubicBezTo>
                <a:cubicBezTo>
                  <a:pt x="2607" y="741"/>
                  <a:pt x="2610" y="739"/>
                  <a:pt x="2611" y="738"/>
                </a:cubicBezTo>
                <a:cubicBezTo>
                  <a:pt x="2612" y="736"/>
                  <a:pt x="2610" y="733"/>
                  <a:pt x="2610" y="733"/>
                </a:cubicBezTo>
                <a:close/>
                <a:moveTo>
                  <a:pt x="2636" y="760"/>
                </a:moveTo>
                <a:cubicBezTo>
                  <a:pt x="2638" y="771"/>
                  <a:pt x="2638" y="771"/>
                  <a:pt x="2638" y="771"/>
                </a:cubicBezTo>
                <a:cubicBezTo>
                  <a:pt x="2639" y="761"/>
                  <a:pt x="2639" y="761"/>
                  <a:pt x="2639" y="761"/>
                </a:cubicBezTo>
                <a:cubicBezTo>
                  <a:pt x="2636" y="753"/>
                  <a:pt x="2636" y="753"/>
                  <a:pt x="2636" y="753"/>
                </a:cubicBezTo>
                <a:cubicBezTo>
                  <a:pt x="2633" y="753"/>
                  <a:pt x="2633" y="753"/>
                  <a:pt x="2633" y="753"/>
                </a:cubicBezTo>
                <a:cubicBezTo>
                  <a:pt x="2636" y="760"/>
                  <a:pt x="2636" y="760"/>
                  <a:pt x="2636" y="760"/>
                </a:cubicBezTo>
                <a:cubicBezTo>
                  <a:pt x="2636" y="760"/>
                  <a:pt x="2636" y="760"/>
                  <a:pt x="2636" y="760"/>
                </a:cubicBezTo>
                <a:close/>
                <a:moveTo>
                  <a:pt x="2378" y="859"/>
                </a:moveTo>
                <a:cubicBezTo>
                  <a:pt x="2376" y="859"/>
                  <a:pt x="2374" y="862"/>
                  <a:pt x="2377" y="864"/>
                </a:cubicBezTo>
                <a:cubicBezTo>
                  <a:pt x="2379" y="865"/>
                  <a:pt x="2380" y="872"/>
                  <a:pt x="2383" y="872"/>
                </a:cubicBezTo>
                <a:cubicBezTo>
                  <a:pt x="2384" y="872"/>
                  <a:pt x="2384" y="865"/>
                  <a:pt x="2384" y="864"/>
                </a:cubicBezTo>
                <a:cubicBezTo>
                  <a:pt x="2383" y="863"/>
                  <a:pt x="2380" y="859"/>
                  <a:pt x="2378" y="859"/>
                </a:cubicBezTo>
                <a:close/>
                <a:moveTo>
                  <a:pt x="2697" y="907"/>
                </a:moveTo>
                <a:cubicBezTo>
                  <a:pt x="2693" y="906"/>
                  <a:pt x="2691" y="908"/>
                  <a:pt x="2689" y="909"/>
                </a:cubicBezTo>
                <a:cubicBezTo>
                  <a:pt x="2688" y="909"/>
                  <a:pt x="2686" y="909"/>
                  <a:pt x="2685" y="909"/>
                </a:cubicBezTo>
                <a:cubicBezTo>
                  <a:pt x="2682" y="911"/>
                  <a:pt x="2681" y="914"/>
                  <a:pt x="2682" y="915"/>
                </a:cubicBezTo>
                <a:cubicBezTo>
                  <a:pt x="2684" y="916"/>
                  <a:pt x="2685" y="913"/>
                  <a:pt x="2685" y="913"/>
                </a:cubicBezTo>
                <a:cubicBezTo>
                  <a:pt x="2685" y="913"/>
                  <a:pt x="2685" y="917"/>
                  <a:pt x="2688" y="917"/>
                </a:cubicBezTo>
                <a:cubicBezTo>
                  <a:pt x="2690" y="917"/>
                  <a:pt x="2690" y="913"/>
                  <a:pt x="2690" y="913"/>
                </a:cubicBezTo>
                <a:cubicBezTo>
                  <a:pt x="2690" y="913"/>
                  <a:pt x="2692" y="915"/>
                  <a:pt x="2693" y="915"/>
                </a:cubicBezTo>
                <a:cubicBezTo>
                  <a:pt x="2695" y="915"/>
                  <a:pt x="2699" y="912"/>
                  <a:pt x="2699" y="912"/>
                </a:cubicBezTo>
                <a:cubicBezTo>
                  <a:pt x="2701" y="920"/>
                  <a:pt x="2701" y="920"/>
                  <a:pt x="2701" y="920"/>
                </a:cubicBezTo>
                <a:cubicBezTo>
                  <a:pt x="2705" y="917"/>
                  <a:pt x="2705" y="917"/>
                  <a:pt x="2705" y="917"/>
                </a:cubicBezTo>
                <a:cubicBezTo>
                  <a:pt x="2709" y="922"/>
                  <a:pt x="2709" y="922"/>
                  <a:pt x="2709" y="922"/>
                </a:cubicBezTo>
                <a:cubicBezTo>
                  <a:pt x="2710" y="918"/>
                  <a:pt x="2710" y="918"/>
                  <a:pt x="2710" y="918"/>
                </a:cubicBezTo>
                <a:cubicBezTo>
                  <a:pt x="2707" y="916"/>
                  <a:pt x="2707" y="916"/>
                  <a:pt x="2707" y="916"/>
                </a:cubicBezTo>
                <a:cubicBezTo>
                  <a:pt x="2708" y="913"/>
                  <a:pt x="2708" y="913"/>
                  <a:pt x="2708" y="913"/>
                </a:cubicBezTo>
                <a:cubicBezTo>
                  <a:pt x="2708" y="913"/>
                  <a:pt x="2706" y="909"/>
                  <a:pt x="2697" y="907"/>
                </a:cubicBezTo>
                <a:close/>
                <a:moveTo>
                  <a:pt x="2968" y="966"/>
                </a:moveTo>
                <a:cubicBezTo>
                  <a:pt x="2964" y="967"/>
                  <a:pt x="2964" y="967"/>
                  <a:pt x="2964" y="967"/>
                </a:cubicBezTo>
                <a:cubicBezTo>
                  <a:pt x="2964" y="970"/>
                  <a:pt x="2964" y="970"/>
                  <a:pt x="2964" y="970"/>
                </a:cubicBezTo>
                <a:cubicBezTo>
                  <a:pt x="2966" y="971"/>
                  <a:pt x="2966" y="971"/>
                  <a:pt x="2966" y="971"/>
                </a:cubicBezTo>
                <a:cubicBezTo>
                  <a:pt x="2968" y="966"/>
                  <a:pt x="2968" y="966"/>
                  <a:pt x="2968" y="966"/>
                </a:cubicBezTo>
                <a:cubicBezTo>
                  <a:pt x="2968" y="966"/>
                  <a:pt x="2968" y="966"/>
                  <a:pt x="2968" y="966"/>
                </a:cubicBezTo>
                <a:close/>
                <a:moveTo>
                  <a:pt x="2756" y="887"/>
                </a:moveTo>
                <a:cubicBezTo>
                  <a:pt x="2760" y="889"/>
                  <a:pt x="2762" y="887"/>
                  <a:pt x="2758" y="885"/>
                </a:cubicBezTo>
                <a:cubicBezTo>
                  <a:pt x="2756" y="884"/>
                  <a:pt x="2754" y="886"/>
                  <a:pt x="2756" y="887"/>
                </a:cubicBezTo>
                <a:close/>
                <a:moveTo>
                  <a:pt x="2968" y="955"/>
                </a:moveTo>
                <a:cubicBezTo>
                  <a:pt x="2965" y="952"/>
                  <a:pt x="2965" y="952"/>
                  <a:pt x="2965" y="952"/>
                </a:cubicBezTo>
                <a:cubicBezTo>
                  <a:pt x="2964" y="956"/>
                  <a:pt x="2964" y="956"/>
                  <a:pt x="2964" y="956"/>
                </a:cubicBezTo>
                <a:cubicBezTo>
                  <a:pt x="2967" y="959"/>
                  <a:pt x="2967" y="959"/>
                  <a:pt x="2967" y="959"/>
                </a:cubicBezTo>
                <a:cubicBezTo>
                  <a:pt x="2968" y="955"/>
                  <a:pt x="2968" y="955"/>
                  <a:pt x="2968" y="955"/>
                </a:cubicBezTo>
                <a:cubicBezTo>
                  <a:pt x="2968" y="955"/>
                  <a:pt x="2968" y="955"/>
                  <a:pt x="2968" y="955"/>
                </a:cubicBezTo>
                <a:close/>
                <a:moveTo>
                  <a:pt x="2770" y="898"/>
                </a:moveTo>
                <a:cubicBezTo>
                  <a:pt x="2770" y="898"/>
                  <a:pt x="2765" y="896"/>
                  <a:pt x="2764" y="896"/>
                </a:cubicBezTo>
                <a:cubicBezTo>
                  <a:pt x="2763" y="895"/>
                  <a:pt x="2757" y="897"/>
                  <a:pt x="2757" y="897"/>
                </a:cubicBezTo>
                <a:cubicBezTo>
                  <a:pt x="2757" y="897"/>
                  <a:pt x="2761" y="899"/>
                  <a:pt x="2763" y="899"/>
                </a:cubicBezTo>
                <a:cubicBezTo>
                  <a:pt x="2765" y="899"/>
                  <a:pt x="2770" y="898"/>
                  <a:pt x="2770" y="898"/>
                </a:cubicBezTo>
                <a:close/>
                <a:moveTo>
                  <a:pt x="2944" y="944"/>
                </a:moveTo>
                <a:cubicBezTo>
                  <a:pt x="2948" y="950"/>
                  <a:pt x="2948" y="950"/>
                  <a:pt x="2948" y="950"/>
                </a:cubicBezTo>
                <a:cubicBezTo>
                  <a:pt x="2957" y="959"/>
                  <a:pt x="2957" y="959"/>
                  <a:pt x="2957" y="959"/>
                </a:cubicBezTo>
                <a:cubicBezTo>
                  <a:pt x="2956" y="949"/>
                  <a:pt x="2956" y="949"/>
                  <a:pt x="2956" y="949"/>
                </a:cubicBezTo>
                <a:cubicBezTo>
                  <a:pt x="2948" y="939"/>
                  <a:pt x="2948" y="939"/>
                  <a:pt x="2948" y="939"/>
                </a:cubicBezTo>
                <a:cubicBezTo>
                  <a:pt x="2948" y="939"/>
                  <a:pt x="2947" y="934"/>
                  <a:pt x="2943" y="935"/>
                </a:cubicBezTo>
                <a:cubicBezTo>
                  <a:pt x="2940" y="936"/>
                  <a:pt x="2942" y="940"/>
                  <a:pt x="2942" y="940"/>
                </a:cubicBezTo>
                <a:cubicBezTo>
                  <a:pt x="2944" y="944"/>
                  <a:pt x="2944" y="944"/>
                  <a:pt x="2944" y="944"/>
                </a:cubicBezTo>
                <a:cubicBezTo>
                  <a:pt x="2944" y="944"/>
                  <a:pt x="2944" y="944"/>
                  <a:pt x="2944" y="944"/>
                </a:cubicBezTo>
                <a:close/>
                <a:moveTo>
                  <a:pt x="3068" y="1300"/>
                </a:moveTo>
                <a:cubicBezTo>
                  <a:pt x="3066" y="1298"/>
                  <a:pt x="3064" y="1302"/>
                  <a:pt x="3064" y="1302"/>
                </a:cubicBezTo>
                <a:cubicBezTo>
                  <a:pt x="3064" y="1302"/>
                  <a:pt x="3063" y="1302"/>
                  <a:pt x="3061" y="1302"/>
                </a:cubicBezTo>
                <a:cubicBezTo>
                  <a:pt x="3060" y="1301"/>
                  <a:pt x="3056" y="1304"/>
                  <a:pt x="3053" y="1303"/>
                </a:cubicBezTo>
                <a:cubicBezTo>
                  <a:pt x="3051" y="1303"/>
                  <a:pt x="3052" y="1293"/>
                  <a:pt x="3052" y="1293"/>
                </a:cubicBezTo>
                <a:cubicBezTo>
                  <a:pt x="3055" y="1288"/>
                  <a:pt x="3055" y="1288"/>
                  <a:pt x="3055" y="1288"/>
                </a:cubicBezTo>
                <a:cubicBezTo>
                  <a:pt x="3055" y="1288"/>
                  <a:pt x="3055" y="1284"/>
                  <a:pt x="3053" y="1285"/>
                </a:cubicBezTo>
                <a:cubicBezTo>
                  <a:pt x="3051" y="1285"/>
                  <a:pt x="3051" y="1288"/>
                  <a:pt x="3051" y="1290"/>
                </a:cubicBezTo>
                <a:cubicBezTo>
                  <a:pt x="3051" y="1292"/>
                  <a:pt x="3048" y="1294"/>
                  <a:pt x="3048" y="1294"/>
                </a:cubicBezTo>
                <a:cubicBezTo>
                  <a:pt x="3047" y="1290"/>
                  <a:pt x="3047" y="1290"/>
                  <a:pt x="3047" y="1290"/>
                </a:cubicBezTo>
                <a:cubicBezTo>
                  <a:pt x="3044" y="1287"/>
                  <a:pt x="3044" y="1287"/>
                  <a:pt x="3044" y="1287"/>
                </a:cubicBezTo>
                <a:cubicBezTo>
                  <a:pt x="3044" y="1287"/>
                  <a:pt x="3049" y="1280"/>
                  <a:pt x="3049" y="1276"/>
                </a:cubicBezTo>
                <a:cubicBezTo>
                  <a:pt x="3050" y="1272"/>
                  <a:pt x="3043" y="1272"/>
                  <a:pt x="3043" y="1272"/>
                </a:cubicBezTo>
                <a:cubicBezTo>
                  <a:pt x="3043" y="1269"/>
                  <a:pt x="3043" y="1269"/>
                  <a:pt x="3043" y="1269"/>
                </a:cubicBezTo>
                <a:cubicBezTo>
                  <a:pt x="3041" y="1268"/>
                  <a:pt x="3041" y="1268"/>
                  <a:pt x="3041" y="1268"/>
                </a:cubicBezTo>
                <a:cubicBezTo>
                  <a:pt x="3037" y="1265"/>
                  <a:pt x="3037" y="1265"/>
                  <a:pt x="3037" y="1265"/>
                </a:cubicBezTo>
                <a:cubicBezTo>
                  <a:pt x="3039" y="1263"/>
                  <a:pt x="3039" y="1263"/>
                  <a:pt x="3039" y="1263"/>
                </a:cubicBezTo>
                <a:cubicBezTo>
                  <a:pt x="3035" y="1266"/>
                  <a:pt x="3035" y="1266"/>
                  <a:pt x="3035" y="1266"/>
                </a:cubicBezTo>
                <a:cubicBezTo>
                  <a:pt x="3037" y="1270"/>
                  <a:pt x="3037" y="1270"/>
                  <a:pt x="3037" y="1270"/>
                </a:cubicBezTo>
                <a:cubicBezTo>
                  <a:pt x="3036" y="1276"/>
                  <a:pt x="3036" y="1276"/>
                  <a:pt x="3036" y="1276"/>
                </a:cubicBezTo>
                <a:cubicBezTo>
                  <a:pt x="3039" y="1277"/>
                  <a:pt x="3039" y="1277"/>
                  <a:pt x="3039" y="1277"/>
                </a:cubicBezTo>
                <a:cubicBezTo>
                  <a:pt x="3037" y="1278"/>
                  <a:pt x="3037" y="1278"/>
                  <a:pt x="3037" y="1278"/>
                </a:cubicBezTo>
                <a:cubicBezTo>
                  <a:pt x="3038" y="1281"/>
                  <a:pt x="3038" y="1281"/>
                  <a:pt x="3038" y="1281"/>
                </a:cubicBezTo>
                <a:cubicBezTo>
                  <a:pt x="3042" y="1282"/>
                  <a:pt x="3042" y="1282"/>
                  <a:pt x="3042" y="1282"/>
                </a:cubicBezTo>
                <a:cubicBezTo>
                  <a:pt x="3038" y="1283"/>
                  <a:pt x="3038" y="1283"/>
                  <a:pt x="3038" y="1283"/>
                </a:cubicBezTo>
                <a:cubicBezTo>
                  <a:pt x="3040" y="1284"/>
                  <a:pt x="3040" y="1284"/>
                  <a:pt x="3040" y="1284"/>
                </a:cubicBezTo>
                <a:cubicBezTo>
                  <a:pt x="3040" y="1284"/>
                  <a:pt x="3039" y="1287"/>
                  <a:pt x="3039" y="1289"/>
                </a:cubicBezTo>
                <a:cubicBezTo>
                  <a:pt x="3039" y="1290"/>
                  <a:pt x="3042" y="1292"/>
                  <a:pt x="3042" y="1292"/>
                </a:cubicBezTo>
                <a:cubicBezTo>
                  <a:pt x="3039" y="1292"/>
                  <a:pt x="3039" y="1292"/>
                  <a:pt x="3039" y="1292"/>
                </a:cubicBezTo>
                <a:cubicBezTo>
                  <a:pt x="3038" y="1294"/>
                  <a:pt x="3038" y="1294"/>
                  <a:pt x="3038" y="1294"/>
                </a:cubicBezTo>
                <a:cubicBezTo>
                  <a:pt x="3040" y="1295"/>
                  <a:pt x="3040" y="1295"/>
                  <a:pt x="3040" y="1295"/>
                </a:cubicBezTo>
                <a:cubicBezTo>
                  <a:pt x="3040" y="1295"/>
                  <a:pt x="3036" y="1300"/>
                  <a:pt x="3035" y="1302"/>
                </a:cubicBezTo>
                <a:cubicBezTo>
                  <a:pt x="3035" y="1304"/>
                  <a:pt x="3037" y="1305"/>
                  <a:pt x="3037" y="1305"/>
                </a:cubicBezTo>
                <a:cubicBezTo>
                  <a:pt x="3037" y="1305"/>
                  <a:pt x="3033" y="1306"/>
                  <a:pt x="3030" y="1307"/>
                </a:cubicBezTo>
                <a:cubicBezTo>
                  <a:pt x="3027" y="1308"/>
                  <a:pt x="3028" y="1309"/>
                  <a:pt x="3024" y="1311"/>
                </a:cubicBezTo>
                <a:cubicBezTo>
                  <a:pt x="3021" y="1314"/>
                  <a:pt x="3018" y="1314"/>
                  <a:pt x="3014" y="1316"/>
                </a:cubicBezTo>
                <a:cubicBezTo>
                  <a:pt x="3009" y="1319"/>
                  <a:pt x="3013" y="1326"/>
                  <a:pt x="3013" y="1326"/>
                </a:cubicBezTo>
                <a:cubicBezTo>
                  <a:pt x="3013" y="1326"/>
                  <a:pt x="3018" y="1326"/>
                  <a:pt x="3020" y="1326"/>
                </a:cubicBezTo>
                <a:cubicBezTo>
                  <a:pt x="3022" y="1327"/>
                  <a:pt x="3020" y="1331"/>
                  <a:pt x="3020" y="1334"/>
                </a:cubicBezTo>
                <a:cubicBezTo>
                  <a:pt x="3020" y="1337"/>
                  <a:pt x="3017" y="1337"/>
                  <a:pt x="3013" y="1338"/>
                </a:cubicBezTo>
                <a:cubicBezTo>
                  <a:pt x="3010" y="1340"/>
                  <a:pt x="3011" y="1341"/>
                  <a:pt x="3011" y="1341"/>
                </a:cubicBezTo>
                <a:cubicBezTo>
                  <a:pt x="3009" y="1343"/>
                  <a:pt x="3009" y="1343"/>
                  <a:pt x="3009" y="1343"/>
                </a:cubicBezTo>
                <a:cubicBezTo>
                  <a:pt x="3009" y="1343"/>
                  <a:pt x="3013" y="1346"/>
                  <a:pt x="3016" y="1345"/>
                </a:cubicBezTo>
                <a:cubicBezTo>
                  <a:pt x="3019" y="1344"/>
                  <a:pt x="3025" y="1337"/>
                  <a:pt x="3027" y="1334"/>
                </a:cubicBezTo>
                <a:cubicBezTo>
                  <a:pt x="3030" y="1332"/>
                  <a:pt x="3035" y="1330"/>
                  <a:pt x="3036" y="1330"/>
                </a:cubicBezTo>
                <a:cubicBezTo>
                  <a:pt x="3037" y="1330"/>
                  <a:pt x="3038" y="1328"/>
                  <a:pt x="3038" y="1328"/>
                </a:cubicBezTo>
                <a:cubicBezTo>
                  <a:pt x="3038" y="1328"/>
                  <a:pt x="3040" y="1327"/>
                  <a:pt x="3042" y="1326"/>
                </a:cubicBezTo>
                <a:cubicBezTo>
                  <a:pt x="3044" y="1325"/>
                  <a:pt x="3042" y="1321"/>
                  <a:pt x="3042" y="1321"/>
                </a:cubicBezTo>
                <a:cubicBezTo>
                  <a:pt x="3042" y="1321"/>
                  <a:pt x="3044" y="1319"/>
                  <a:pt x="3047" y="1318"/>
                </a:cubicBezTo>
                <a:cubicBezTo>
                  <a:pt x="3050" y="1317"/>
                  <a:pt x="3052" y="1319"/>
                  <a:pt x="3055" y="1319"/>
                </a:cubicBezTo>
                <a:cubicBezTo>
                  <a:pt x="3057" y="1318"/>
                  <a:pt x="3056" y="1313"/>
                  <a:pt x="3056" y="1313"/>
                </a:cubicBezTo>
                <a:cubicBezTo>
                  <a:pt x="3056" y="1313"/>
                  <a:pt x="3058" y="1313"/>
                  <a:pt x="3061" y="1313"/>
                </a:cubicBezTo>
                <a:cubicBezTo>
                  <a:pt x="3063" y="1312"/>
                  <a:pt x="3062" y="1309"/>
                  <a:pt x="3063" y="1308"/>
                </a:cubicBezTo>
                <a:cubicBezTo>
                  <a:pt x="3065" y="1307"/>
                  <a:pt x="3066" y="1308"/>
                  <a:pt x="3069" y="1306"/>
                </a:cubicBezTo>
                <a:cubicBezTo>
                  <a:pt x="3071" y="1304"/>
                  <a:pt x="3070" y="1301"/>
                  <a:pt x="3068" y="1300"/>
                </a:cubicBezTo>
                <a:close/>
                <a:moveTo>
                  <a:pt x="2873" y="898"/>
                </a:moveTo>
                <a:cubicBezTo>
                  <a:pt x="2870" y="897"/>
                  <a:pt x="2866" y="900"/>
                  <a:pt x="2866" y="900"/>
                </a:cubicBezTo>
                <a:cubicBezTo>
                  <a:pt x="2870" y="903"/>
                  <a:pt x="2870" y="903"/>
                  <a:pt x="2870" y="903"/>
                </a:cubicBezTo>
                <a:cubicBezTo>
                  <a:pt x="2874" y="904"/>
                  <a:pt x="2876" y="899"/>
                  <a:pt x="2873" y="898"/>
                </a:cubicBezTo>
                <a:close/>
                <a:moveTo>
                  <a:pt x="2972" y="979"/>
                </a:moveTo>
                <a:cubicBezTo>
                  <a:pt x="2977" y="978"/>
                  <a:pt x="2977" y="978"/>
                  <a:pt x="2977" y="978"/>
                </a:cubicBezTo>
                <a:cubicBezTo>
                  <a:pt x="2970" y="974"/>
                  <a:pt x="2970" y="974"/>
                  <a:pt x="2970" y="974"/>
                </a:cubicBezTo>
                <a:cubicBezTo>
                  <a:pt x="2972" y="979"/>
                  <a:pt x="2972" y="979"/>
                  <a:pt x="2972" y="979"/>
                </a:cubicBezTo>
                <a:cubicBezTo>
                  <a:pt x="2972" y="979"/>
                  <a:pt x="2972" y="979"/>
                  <a:pt x="2972" y="979"/>
                </a:cubicBezTo>
                <a:close/>
                <a:moveTo>
                  <a:pt x="2918" y="918"/>
                </a:moveTo>
                <a:cubicBezTo>
                  <a:pt x="2919" y="919"/>
                  <a:pt x="2923" y="919"/>
                  <a:pt x="2924" y="922"/>
                </a:cubicBezTo>
                <a:cubicBezTo>
                  <a:pt x="2925" y="925"/>
                  <a:pt x="2921" y="934"/>
                  <a:pt x="2927" y="934"/>
                </a:cubicBezTo>
                <a:cubicBezTo>
                  <a:pt x="2930" y="935"/>
                  <a:pt x="2932" y="928"/>
                  <a:pt x="2929" y="924"/>
                </a:cubicBezTo>
                <a:cubicBezTo>
                  <a:pt x="2926" y="920"/>
                  <a:pt x="2922" y="916"/>
                  <a:pt x="2922" y="916"/>
                </a:cubicBezTo>
                <a:cubicBezTo>
                  <a:pt x="2920" y="916"/>
                  <a:pt x="2920" y="916"/>
                  <a:pt x="2920" y="916"/>
                </a:cubicBezTo>
                <a:cubicBezTo>
                  <a:pt x="2920" y="916"/>
                  <a:pt x="2914" y="909"/>
                  <a:pt x="2913" y="909"/>
                </a:cubicBezTo>
                <a:cubicBezTo>
                  <a:pt x="2912" y="908"/>
                  <a:pt x="2910" y="908"/>
                  <a:pt x="2910" y="908"/>
                </a:cubicBezTo>
                <a:cubicBezTo>
                  <a:pt x="2907" y="903"/>
                  <a:pt x="2907" y="903"/>
                  <a:pt x="2907" y="903"/>
                </a:cubicBezTo>
                <a:cubicBezTo>
                  <a:pt x="2906" y="910"/>
                  <a:pt x="2906" y="910"/>
                  <a:pt x="2906" y="910"/>
                </a:cubicBezTo>
                <a:cubicBezTo>
                  <a:pt x="2912" y="911"/>
                  <a:pt x="2912" y="911"/>
                  <a:pt x="2912" y="911"/>
                </a:cubicBezTo>
                <a:cubicBezTo>
                  <a:pt x="2912" y="911"/>
                  <a:pt x="2917" y="917"/>
                  <a:pt x="2918" y="918"/>
                </a:cubicBezTo>
                <a:close/>
                <a:moveTo>
                  <a:pt x="2901" y="951"/>
                </a:moveTo>
                <a:cubicBezTo>
                  <a:pt x="2903" y="949"/>
                  <a:pt x="2903" y="949"/>
                  <a:pt x="2903" y="949"/>
                </a:cubicBezTo>
                <a:cubicBezTo>
                  <a:pt x="2903" y="949"/>
                  <a:pt x="2906" y="949"/>
                  <a:pt x="2908" y="949"/>
                </a:cubicBezTo>
                <a:cubicBezTo>
                  <a:pt x="2911" y="948"/>
                  <a:pt x="2913" y="944"/>
                  <a:pt x="2913" y="944"/>
                </a:cubicBezTo>
                <a:cubicBezTo>
                  <a:pt x="2917" y="943"/>
                  <a:pt x="2917" y="943"/>
                  <a:pt x="2917" y="943"/>
                </a:cubicBezTo>
                <a:cubicBezTo>
                  <a:pt x="2916" y="940"/>
                  <a:pt x="2916" y="940"/>
                  <a:pt x="2916" y="940"/>
                </a:cubicBezTo>
                <a:cubicBezTo>
                  <a:pt x="2920" y="940"/>
                  <a:pt x="2920" y="940"/>
                  <a:pt x="2920" y="940"/>
                </a:cubicBezTo>
                <a:cubicBezTo>
                  <a:pt x="2920" y="940"/>
                  <a:pt x="2921" y="929"/>
                  <a:pt x="2920" y="926"/>
                </a:cubicBezTo>
                <a:cubicBezTo>
                  <a:pt x="2919" y="922"/>
                  <a:pt x="2912" y="926"/>
                  <a:pt x="2910" y="928"/>
                </a:cubicBezTo>
                <a:cubicBezTo>
                  <a:pt x="2908" y="930"/>
                  <a:pt x="2913" y="932"/>
                  <a:pt x="2913" y="932"/>
                </a:cubicBezTo>
                <a:cubicBezTo>
                  <a:pt x="2913" y="935"/>
                  <a:pt x="2913" y="935"/>
                  <a:pt x="2913" y="935"/>
                </a:cubicBezTo>
                <a:cubicBezTo>
                  <a:pt x="2903" y="940"/>
                  <a:pt x="2903" y="940"/>
                  <a:pt x="2903" y="940"/>
                </a:cubicBezTo>
                <a:cubicBezTo>
                  <a:pt x="2903" y="940"/>
                  <a:pt x="2898" y="940"/>
                  <a:pt x="2895" y="940"/>
                </a:cubicBezTo>
                <a:cubicBezTo>
                  <a:pt x="2892" y="941"/>
                  <a:pt x="2890" y="943"/>
                  <a:pt x="2888" y="944"/>
                </a:cubicBezTo>
                <a:cubicBezTo>
                  <a:pt x="2886" y="945"/>
                  <a:pt x="2885" y="943"/>
                  <a:pt x="2884" y="945"/>
                </a:cubicBezTo>
                <a:cubicBezTo>
                  <a:pt x="2887" y="950"/>
                  <a:pt x="2887" y="950"/>
                  <a:pt x="2887" y="950"/>
                </a:cubicBezTo>
                <a:cubicBezTo>
                  <a:pt x="2901" y="951"/>
                  <a:pt x="2901" y="951"/>
                  <a:pt x="2901" y="951"/>
                </a:cubicBezTo>
                <a:cubicBezTo>
                  <a:pt x="2901" y="951"/>
                  <a:pt x="2901" y="951"/>
                  <a:pt x="2901" y="951"/>
                </a:cubicBezTo>
                <a:close/>
                <a:moveTo>
                  <a:pt x="2535" y="955"/>
                </a:moveTo>
                <a:cubicBezTo>
                  <a:pt x="2534" y="960"/>
                  <a:pt x="2539" y="959"/>
                  <a:pt x="2539" y="959"/>
                </a:cubicBezTo>
                <a:cubicBezTo>
                  <a:pt x="2547" y="953"/>
                  <a:pt x="2547" y="953"/>
                  <a:pt x="2547" y="953"/>
                </a:cubicBezTo>
                <a:cubicBezTo>
                  <a:pt x="2546" y="952"/>
                  <a:pt x="2546" y="952"/>
                  <a:pt x="2546" y="952"/>
                </a:cubicBezTo>
                <a:cubicBezTo>
                  <a:pt x="2546" y="952"/>
                  <a:pt x="2535" y="953"/>
                  <a:pt x="2535" y="955"/>
                </a:cubicBezTo>
                <a:close/>
                <a:moveTo>
                  <a:pt x="2975" y="971"/>
                </a:moveTo>
                <a:cubicBezTo>
                  <a:pt x="2974" y="969"/>
                  <a:pt x="2974" y="969"/>
                  <a:pt x="2974" y="969"/>
                </a:cubicBezTo>
                <a:cubicBezTo>
                  <a:pt x="2969" y="969"/>
                  <a:pt x="2969" y="969"/>
                  <a:pt x="2969" y="969"/>
                </a:cubicBezTo>
                <a:cubicBezTo>
                  <a:pt x="2969" y="972"/>
                  <a:pt x="2969" y="972"/>
                  <a:pt x="2969" y="972"/>
                </a:cubicBezTo>
                <a:cubicBezTo>
                  <a:pt x="2975" y="971"/>
                  <a:pt x="2975" y="971"/>
                  <a:pt x="2975" y="971"/>
                </a:cubicBezTo>
                <a:cubicBezTo>
                  <a:pt x="2975" y="971"/>
                  <a:pt x="2975" y="971"/>
                  <a:pt x="2975" y="971"/>
                </a:cubicBezTo>
                <a:close/>
                <a:moveTo>
                  <a:pt x="2992" y="974"/>
                </a:moveTo>
                <a:cubicBezTo>
                  <a:pt x="2996" y="973"/>
                  <a:pt x="2982" y="958"/>
                  <a:pt x="2980" y="961"/>
                </a:cubicBezTo>
                <a:cubicBezTo>
                  <a:pt x="2979" y="963"/>
                  <a:pt x="2991" y="974"/>
                  <a:pt x="2992" y="974"/>
                </a:cubicBezTo>
                <a:close/>
                <a:moveTo>
                  <a:pt x="3015" y="997"/>
                </a:moveTo>
                <a:cubicBezTo>
                  <a:pt x="3006" y="993"/>
                  <a:pt x="3006" y="993"/>
                  <a:pt x="3006" y="993"/>
                </a:cubicBezTo>
                <a:cubicBezTo>
                  <a:pt x="3013" y="1001"/>
                  <a:pt x="3013" y="1001"/>
                  <a:pt x="3013" y="1001"/>
                </a:cubicBezTo>
                <a:cubicBezTo>
                  <a:pt x="3015" y="997"/>
                  <a:pt x="3015" y="997"/>
                  <a:pt x="3015" y="997"/>
                </a:cubicBezTo>
                <a:cubicBezTo>
                  <a:pt x="3015" y="997"/>
                  <a:pt x="3015" y="997"/>
                  <a:pt x="3015" y="997"/>
                </a:cubicBezTo>
                <a:close/>
                <a:moveTo>
                  <a:pt x="2990" y="982"/>
                </a:moveTo>
                <a:cubicBezTo>
                  <a:pt x="2990" y="982"/>
                  <a:pt x="2989" y="986"/>
                  <a:pt x="2993" y="988"/>
                </a:cubicBezTo>
                <a:cubicBezTo>
                  <a:pt x="2999" y="990"/>
                  <a:pt x="3002" y="988"/>
                  <a:pt x="3002" y="988"/>
                </a:cubicBezTo>
                <a:cubicBezTo>
                  <a:pt x="3002" y="988"/>
                  <a:pt x="3002" y="986"/>
                  <a:pt x="2998" y="983"/>
                </a:cubicBezTo>
                <a:cubicBezTo>
                  <a:pt x="2994" y="981"/>
                  <a:pt x="2990" y="982"/>
                  <a:pt x="2990" y="982"/>
                </a:cubicBezTo>
                <a:close/>
                <a:moveTo>
                  <a:pt x="2570" y="909"/>
                </a:moveTo>
                <a:cubicBezTo>
                  <a:pt x="2571" y="908"/>
                  <a:pt x="2575" y="897"/>
                  <a:pt x="2575" y="897"/>
                </a:cubicBezTo>
                <a:cubicBezTo>
                  <a:pt x="2575" y="897"/>
                  <a:pt x="2572" y="897"/>
                  <a:pt x="2571" y="894"/>
                </a:cubicBezTo>
                <a:cubicBezTo>
                  <a:pt x="2570" y="892"/>
                  <a:pt x="2572" y="889"/>
                  <a:pt x="2573" y="886"/>
                </a:cubicBezTo>
                <a:cubicBezTo>
                  <a:pt x="2574" y="883"/>
                  <a:pt x="2579" y="883"/>
                  <a:pt x="2581" y="883"/>
                </a:cubicBezTo>
                <a:cubicBezTo>
                  <a:pt x="2584" y="883"/>
                  <a:pt x="2585" y="878"/>
                  <a:pt x="2585" y="876"/>
                </a:cubicBezTo>
                <a:cubicBezTo>
                  <a:pt x="2585" y="874"/>
                  <a:pt x="2580" y="876"/>
                  <a:pt x="2580" y="876"/>
                </a:cubicBezTo>
                <a:cubicBezTo>
                  <a:pt x="2580" y="876"/>
                  <a:pt x="2580" y="873"/>
                  <a:pt x="2582" y="871"/>
                </a:cubicBezTo>
                <a:cubicBezTo>
                  <a:pt x="2585" y="868"/>
                  <a:pt x="2591" y="869"/>
                  <a:pt x="2593" y="870"/>
                </a:cubicBezTo>
                <a:cubicBezTo>
                  <a:pt x="2595" y="870"/>
                  <a:pt x="2595" y="867"/>
                  <a:pt x="2595" y="867"/>
                </a:cubicBezTo>
                <a:cubicBezTo>
                  <a:pt x="2590" y="862"/>
                  <a:pt x="2590" y="862"/>
                  <a:pt x="2590" y="862"/>
                </a:cubicBezTo>
                <a:cubicBezTo>
                  <a:pt x="2590" y="857"/>
                  <a:pt x="2590" y="857"/>
                  <a:pt x="2590" y="857"/>
                </a:cubicBezTo>
                <a:cubicBezTo>
                  <a:pt x="2590" y="857"/>
                  <a:pt x="2586" y="856"/>
                  <a:pt x="2586" y="855"/>
                </a:cubicBezTo>
                <a:cubicBezTo>
                  <a:pt x="2586" y="853"/>
                  <a:pt x="2588" y="850"/>
                  <a:pt x="2588" y="848"/>
                </a:cubicBezTo>
                <a:cubicBezTo>
                  <a:pt x="2588" y="846"/>
                  <a:pt x="2581" y="845"/>
                  <a:pt x="2581" y="845"/>
                </a:cubicBezTo>
                <a:cubicBezTo>
                  <a:pt x="2583" y="841"/>
                  <a:pt x="2583" y="841"/>
                  <a:pt x="2583" y="841"/>
                </a:cubicBezTo>
                <a:cubicBezTo>
                  <a:pt x="2581" y="840"/>
                  <a:pt x="2581" y="840"/>
                  <a:pt x="2581" y="840"/>
                </a:cubicBezTo>
                <a:cubicBezTo>
                  <a:pt x="2582" y="836"/>
                  <a:pt x="2582" y="836"/>
                  <a:pt x="2582" y="836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3" y="833"/>
                  <a:pt x="2583" y="833"/>
                  <a:pt x="2583" y="833"/>
                </a:cubicBezTo>
                <a:cubicBezTo>
                  <a:pt x="2581" y="824"/>
                  <a:pt x="2581" y="824"/>
                  <a:pt x="2581" y="824"/>
                </a:cubicBezTo>
                <a:cubicBezTo>
                  <a:pt x="2581" y="824"/>
                  <a:pt x="2584" y="827"/>
                  <a:pt x="2586" y="828"/>
                </a:cubicBezTo>
                <a:cubicBezTo>
                  <a:pt x="2588" y="828"/>
                  <a:pt x="2591" y="827"/>
                  <a:pt x="2591" y="827"/>
                </a:cubicBezTo>
                <a:cubicBezTo>
                  <a:pt x="2591" y="827"/>
                  <a:pt x="2586" y="822"/>
                  <a:pt x="2587" y="820"/>
                </a:cubicBezTo>
                <a:cubicBezTo>
                  <a:pt x="2588" y="818"/>
                  <a:pt x="2595" y="821"/>
                  <a:pt x="2595" y="821"/>
                </a:cubicBezTo>
                <a:cubicBezTo>
                  <a:pt x="2598" y="817"/>
                  <a:pt x="2598" y="817"/>
                  <a:pt x="2598" y="817"/>
                </a:cubicBezTo>
                <a:cubicBezTo>
                  <a:pt x="2595" y="816"/>
                  <a:pt x="2595" y="816"/>
                  <a:pt x="2595" y="816"/>
                </a:cubicBezTo>
                <a:cubicBezTo>
                  <a:pt x="2595" y="816"/>
                  <a:pt x="2594" y="813"/>
                  <a:pt x="2592" y="812"/>
                </a:cubicBezTo>
                <a:cubicBezTo>
                  <a:pt x="2591" y="811"/>
                  <a:pt x="2584" y="810"/>
                  <a:pt x="2584" y="810"/>
                </a:cubicBezTo>
                <a:cubicBezTo>
                  <a:pt x="2584" y="810"/>
                  <a:pt x="2584" y="806"/>
                  <a:pt x="2581" y="804"/>
                </a:cubicBezTo>
                <a:cubicBezTo>
                  <a:pt x="2579" y="801"/>
                  <a:pt x="2576" y="803"/>
                  <a:pt x="2576" y="803"/>
                </a:cubicBezTo>
                <a:cubicBezTo>
                  <a:pt x="2574" y="794"/>
                  <a:pt x="2574" y="794"/>
                  <a:pt x="2574" y="794"/>
                </a:cubicBezTo>
                <a:cubicBezTo>
                  <a:pt x="2573" y="797"/>
                  <a:pt x="2573" y="797"/>
                  <a:pt x="2573" y="797"/>
                </a:cubicBezTo>
                <a:cubicBezTo>
                  <a:pt x="2571" y="794"/>
                  <a:pt x="2571" y="794"/>
                  <a:pt x="2571" y="794"/>
                </a:cubicBezTo>
                <a:cubicBezTo>
                  <a:pt x="2569" y="803"/>
                  <a:pt x="2569" y="803"/>
                  <a:pt x="2569" y="803"/>
                </a:cubicBezTo>
                <a:cubicBezTo>
                  <a:pt x="2569" y="803"/>
                  <a:pt x="2566" y="803"/>
                  <a:pt x="2565" y="804"/>
                </a:cubicBezTo>
                <a:cubicBezTo>
                  <a:pt x="2563" y="805"/>
                  <a:pt x="2563" y="810"/>
                  <a:pt x="2563" y="810"/>
                </a:cubicBezTo>
                <a:cubicBezTo>
                  <a:pt x="2560" y="811"/>
                  <a:pt x="2560" y="811"/>
                  <a:pt x="2560" y="811"/>
                </a:cubicBezTo>
                <a:cubicBezTo>
                  <a:pt x="2561" y="816"/>
                  <a:pt x="2561" y="816"/>
                  <a:pt x="2561" y="816"/>
                </a:cubicBezTo>
                <a:cubicBezTo>
                  <a:pt x="2561" y="816"/>
                  <a:pt x="2556" y="816"/>
                  <a:pt x="2553" y="815"/>
                </a:cubicBezTo>
                <a:cubicBezTo>
                  <a:pt x="2549" y="814"/>
                  <a:pt x="2549" y="822"/>
                  <a:pt x="2549" y="822"/>
                </a:cubicBezTo>
                <a:cubicBezTo>
                  <a:pt x="2544" y="829"/>
                  <a:pt x="2544" y="829"/>
                  <a:pt x="2544" y="829"/>
                </a:cubicBezTo>
                <a:cubicBezTo>
                  <a:pt x="2544" y="829"/>
                  <a:pt x="2542" y="836"/>
                  <a:pt x="2539" y="839"/>
                </a:cubicBezTo>
                <a:cubicBezTo>
                  <a:pt x="2535" y="841"/>
                  <a:pt x="2527" y="843"/>
                  <a:pt x="2525" y="843"/>
                </a:cubicBezTo>
                <a:cubicBezTo>
                  <a:pt x="2523" y="844"/>
                  <a:pt x="2516" y="849"/>
                  <a:pt x="2516" y="849"/>
                </a:cubicBezTo>
                <a:cubicBezTo>
                  <a:pt x="2514" y="854"/>
                  <a:pt x="2514" y="854"/>
                  <a:pt x="2514" y="854"/>
                </a:cubicBezTo>
                <a:cubicBezTo>
                  <a:pt x="2514" y="854"/>
                  <a:pt x="2519" y="857"/>
                  <a:pt x="2515" y="860"/>
                </a:cubicBezTo>
                <a:cubicBezTo>
                  <a:pt x="2512" y="863"/>
                  <a:pt x="2509" y="858"/>
                  <a:pt x="2507" y="858"/>
                </a:cubicBezTo>
                <a:cubicBezTo>
                  <a:pt x="2504" y="857"/>
                  <a:pt x="2502" y="861"/>
                  <a:pt x="2502" y="861"/>
                </a:cubicBezTo>
                <a:cubicBezTo>
                  <a:pt x="2502" y="861"/>
                  <a:pt x="2498" y="858"/>
                  <a:pt x="2495" y="861"/>
                </a:cubicBezTo>
                <a:cubicBezTo>
                  <a:pt x="2492" y="864"/>
                  <a:pt x="2491" y="871"/>
                  <a:pt x="2491" y="871"/>
                </a:cubicBezTo>
                <a:cubicBezTo>
                  <a:pt x="2494" y="876"/>
                  <a:pt x="2494" y="876"/>
                  <a:pt x="2494" y="876"/>
                </a:cubicBezTo>
                <a:cubicBezTo>
                  <a:pt x="2496" y="883"/>
                  <a:pt x="2496" y="883"/>
                  <a:pt x="2496" y="883"/>
                </a:cubicBezTo>
                <a:cubicBezTo>
                  <a:pt x="2502" y="887"/>
                  <a:pt x="2502" y="887"/>
                  <a:pt x="2502" y="887"/>
                </a:cubicBezTo>
                <a:cubicBezTo>
                  <a:pt x="2501" y="892"/>
                  <a:pt x="2501" y="892"/>
                  <a:pt x="2501" y="892"/>
                </a:cubicBezTo>
                <a:cubicBezTo>
                  <a:pt x="2504" y="894"/>
                  <a:pt x="2504" y="894"/>
                  <a:pt x="2504" y="894"/>
                </a:cubicBezTo>
                <a:cubicBezTo>
                  <a:pt x="2502" y="898"/>
                  <a:pt x="2502" y="898"/>
                  <a:pt x="2502" y="898"/>
                </a:cubicBezTo>
                <a:cubicBezTo>
                  <a:pt x="2505" y="902"/>
                  <a:pt x="2505" y="902"/>
                  <a:pt x="2505" y="902"/>
                </a:cubicBezTo>
                <a:cubicBezTo>
                  <a:pt x="2503" y="903"/>
                  <a:pt x="2503" y="903"/>
                  <a:pt x="2503" y="903"/>
                </a:cubicBezTo>
                <a:cubicBezTo>
                  <a:pt x="2505" y="911"/>
                  <a:pt x="2505" y="911"/>
                  <a:pt x="2505" y="911"/>
                </a:cubicBezTo>
                <a:cubicBezTo>
                  <a:pt x="2511" y="911"/>
                  <a:pt x="2511" y="911"/>
                  <a:pt x="2511" y="911"/>
                </a:cubicBezTo>
                <a:cubicBezTo>
                  <a:pt x="2515" y="912"/>
                  <a:pt x="2515" y="912"/>
                  <a:pt x="2515" y="912"/>
                </a:cubicBezTo>
                <a:cubicBezTo>
                  <a:pt x="2515" y="912"/>
                  <a:pt x="2517" y="907"/>
                  <a:pt x="2520" y="907"/>
                </a:cubicBezTo>
                <a:cubicBezTo>
                  <a:pt x="2522" y="907"/>
                  <a:pt x="2520" y="914"/>
                  <a:pt x="2522" y="916"/>
                </a:cubicBezTo>
                <a:cubicBezTo>
                  <a:pt x="2525" y="918"/>
                  <a:pt x="2527" y="912"/>
                  <a:pt x="2527" y="912"/>
                </a:cubicBezTo>
                <a:cubicBezTo>
                  <a:pt x="2530" y="914"/>
                  <a:pt x="2530" y="914"/>
                  <a:pt x="2530" y="914"/>
                </a:cubicBezTo>
                <a:cubicBezTo>
                  <a:pt x="2530" y="914"/>
                  <a:pt x="2534" y="911"/>
                  <a:pt x="2536" y="911"/>
                </a:cubicBezTo>
                <a:cubicBezTo>
                  <a:pt x="2538" y="911"/>
                  <a:pt x="2536" y="917"/>
                  <a:pt x="2538" y="917"/>
                </a:cubicBezTo>
                <a:cubicBezTo>
                  <a:pt x="2540" y="918"/>
                  <a:pt x="2547" y="915"/>
                  <a:pt x="2550" y="915"/>
                </a:cubicBezTo>
                <a:cubicBezTo>
                  <a:pt x="2554" y="916"/>
                  <a:pt x="2551" y="926"/>
                  <a:pt x="2551" y="926"/>
                </a:cubicBezTo>
                <a:cubicBezTo>
                  <a:pt x="2551" y="926"/>
                  <a:pt x="2553" y="926"/>
                  <a:pt x="2557" y="924"/>
                </a:cubicBezTo>
                <a:cubicBezTo>
                  <a:pt x="2560" y="922"/>
                  <a:pt x="2565" y="914"/>
                  <a:pt x="2565" y="914"/>
                </a:cubicBezTo>
                <a:cubicBezTo>
                  <a:pt x="2565" y="914"/>
                  <a:pt x="2569" y="911"/>
                  <a:pt x="2570" y="909"/>
                </a:cubicBezTo>
                <a:close/>
                <a:moveTo>
                  <a:pt x="2711" y="969"/>
                </a:moveTo>
                <a:cubicBezTo>
                  <a:pt x="2715" y="966"/>
                  <a:pt x="2715" y="966"/>
                  <a:pt x="2715" y="966"/>
                </a:cubicBezTo>
                <a:cubicBezTo>
                  <a:pt x="2715" y="966"/>
                  <a:pt x="2719" y="967"/>
                  <a:pt x="2719" y="963"/>
                </a:cubicBezTo>
                <a:cubicBezTo>
                  <a:pt x="2719" y="958"/>
                  <a:pt x="2708" y="964"/>
                  <a:pt x="2708" y="968"/>
                </a:cubicBezTo>
                <a:cubicBezTo>
                  <a:pt x="2711" y="969"/>
                  <a:pt x="2711" y="969"/>
                  <a:pt x="2711" y="969"/>
                </a:cubicBezTo>
                <a:cubicBezTo>
                  <a:pt x="2711" y="969"/>
                  <a:pt x="2711" y="969"/>
                  <a:pt x="2711" y="969"/>
                </a:cubicBezTo>
                <a:close/>
                <a:moveTo>
                  <a:pt x="2550" y="969"/>
                </a:moveTo>
                <a:cubicBezTo>
                  <a:pt x="2549" y="973"/>
                  <a:pt x="2549" y="973"/>
                  <a:pt x="2549" y="973"/>
                </a:cubicBezTo>
                <a:cubicBezTo>
                  <a:pt x="2549" y="973"/>
                  <a:pt x="2551" y="979"/>
                  <a:pt x="2554" y="977"/>
                </a:cubicBezTo>
                <a:cubicBezTo>
                  <a:pt x="2557" y="975"/>
                  <a:pt x="2557" y="969"/>
                  <a:pt x="2555" y="969"/>
                </a:cubicBezTo>
                <a:cubicBezTo>
                  <a:pt x="2553" y="969"/>
                  <a:pt x="2550" y="969"/>
                  <a:pt x="2550" y="969"/>
                </a:cubicBezTo>
                <a:close/>
                <a:moveTo>
                  <a:pt x="2700" y="1011"/>
                </a:moveTo>
                <a:cubicBezTo>
                  <a:pt x="2702" y="1013"/>
                  <a:pt x="2705" y="1006"/>
                  <a:pt x="2705" y="1006"/>
                </a:cubicBezTo>
                <a:cubicBezTo>
                  <a:pt x="2703" y="1003"/>
                  <a:pt x="2698" y="1008"/>
                  <a:pt x="2700" y="1011"/>
                </a:cubicBezTo>
                <a:close/>
                <a:moveTo>
                  <a:pt x="2562" y="969"/>
                </a:moveTo>
                <a:cubicBezTo>
                  <a:pt x="2560" y="969"/>
                  <a:pt x="2558" y="971"/>
                  <a:pt x="2558" y="971"/>
                </a:cubicBezTo>
                <a:cubicBezTo>
                  <a:pt x="2558" y="971"/>
                  <a:pt x="2562" y="974"/>
                  <a:pt x="2564" y="973"/>
                </a:cubicBezTo>
                <a:cubicBezTo>
                  <a:pt x="2566" y="971"/>
                  <a:pt x="2564" y="969"/>
                  <a:pt x="2562" y="969"/>
                </a:cubicBezTo>
                <a:close/>
                <a:moveTo>
                  <a:pt x="2748" y="940"/>
                </a:moveTo>
                <a:cubicBezTo>
                  <a:pt x="2744" y="941"/>
                  <a:pt x="2744" y="941"/>
                  <a:pt x="2744" y="941"/>
                </a:cubicBezTo>
                <a:cubicBezTo>
                  <a:pt x="2743" y="945"/>
                  <a:pt x="2743" y="945"/>
                  <a:pt x="2743" y="945"/>
                </a:cubicBezTo>
                <a:cubicBezTo>
                  <a:pt x="2741" y="947"/>
                  <a:pt x="2741" y="947"/>
                  <a:pt x="2741" y="947"/>
                </a:cubicBezTo>
                <a:cubicBezTo>
                  <a:pt x="2742" y="954"/>
                  <a:pt x="2742" y="954"/>
                  <a:pt x="2742" y="954"/>
                </a:cubicBezTo>
                <a:cubicBezTo>
                  <a:pt x="2744" y="955"/>
                  <a:pt x="2744" y="955"/>
                  <a:pt x="2744" y="955"/>
                </a:cubicBezTo>
                <a:cubicBezTo>
                  <a:pt x="2744" y="952"/>
                  <a:pt x="2744" y="952"/>
                  <a:pt x="2744" y="952"/>
                </a:cubicBezTo>
                <a:cubicBezTo>
                  <a:pt x="2745" y="952"/>
                  <a:pt x="2745" y="952"/>
                  <a:pt x="2745" y="952"/>
                </a:cubicBezTo>
                <a:cubicBezTo>
                  <a:pt x="2745" y="949"/>
                  <a:pt x="2745" y="949"/>
                  <a:pt x="2745" y="949"/>
                </a:cubicBezTo>
                <a:cubicBezTo>
                  <a:pt x="2743" y="949"/>
                  <a:pt x="2743" y="949"/>
                  <a:pt x="2743" y="949"/>
                </a:cubicBezTo>
                <a:cubicBezTo>
                  <a:pt x="2746" y="944"/>
                  <a:pt x="2746" y="944"/>
                  <a:pt x="2746" y="944"/>
                </a:cubicBezTo>
                <a:cubicBezTo>
                  <a:pt x="2748" y="940"/>
                  <a:pt x="2748" y="940"/>
                  <a:pt x="2748" y="940"/>
                </a:cubicBezTo>
                <a:cubicBezTo>
                  <a:pt x="2748" y="940"/>
                  <a:pt x="2748" y="940"/>
                  <a:pt x="2748" y="940"/>
                </a:cubicBezTo>
                <a:close/>
                <a:moveTo>
                  <a:pt x="3003" y="970"/>
                </a:moveTo>
                <a:cubicBezTo>
                  <a:pt x="3003" y="970"/>
                  <a:pt x="3001" y="977"/>
                  <a:pt x="3002" y="979"/>
                </a:cubicBezTo>
                <a:cubicBezTo>
                  <a:pt x="3003" y="981"/>
                  <a:pt x="3009" y="986"/>
                  <a:pt x="3009" y="986"/>
                </a:cubicBezTo>
                <a:cubicBezTo>
                  <a:pt x="3003" y="970"/>
                  <a:pt x="3003" y="970"/>
                  <a:pt x="3003" y="970"/>
                </a:cubicBezTo>
                <a:cubicBezTo>
                  <a:pt x="3003" y="970"/>
                  <a:pt x="3003" y="970"/>
                  <a:pt x="3003" y="970"/>
                </a:cubicBezTo>
                <a:close/>
                <a:moveTo>
                  <a:pt x="2454" y="943"/>
                </a:moveTo>
                <a:cubicBezTo>
                  <a:pt x="2455" y="942"/>
                  <a:pt x="2455" y="939"/>
                  <a:pt x="2455" y="939"/>
                </a:cubicBezTo>
                <a:cubicBezTo>
                  <a:pt x="2459" y="943"/>
                  <a:pt x="2459" y="943"/>
                  <a:pt x="2459" y="943"/>
                </a:cubicBezTo>
                <a:cubicBezTo>
                  <a:pt x="2459" y="943"/>
                  <a:pt x="2461" y="938"/>
                  <a:pt x="2461" y="935"/>
                </a:cubicBezTo>
                <a:cubicBezTo>
                  <a:pt x="2461" y="931"/>
                  <a:pt x="2463" y="922"/>
                  <a:pt x="2463" y="922"/>
                </a:cubicBezTo>
                <a:cubicBezTo>
                  <a:pt x="2463" y="922"/>
                  <a:pt x="2461" y="921"/>
                  <a:pt x="2461" y="919"/>
                </a:cubicBezTo>
                <a:cubicBezTo>
                  <a:pt x="2461" y="917"/>
                  <a:pt x="2465" y="914"/>
                  <a:pt x="2463" y="913"/>
                </a:cubicBezTo>
                <a:cubicBezTo>
                  <a:pt x="2462" y="912"/>
                  <a:pt x="2461" y="911"/>
                  <a:pt x="2461" y="911"/>
                </a:cubicBezTo>
                <a:cubicBezTo>
                  <a:pt x="2460" y="904"/>
                  <a:pt x="2460" y="904"/>
                  <a:pt x="2460" y="904"/>
                </a:cubicBezTo>
                <a:cubicBezTo>
                  <a:pt x="2454" y="905"/>
                  <a:pt x="2454" y="905"/>
                  <a:pt x="2454" y="905"/>
                </a:cubicBezTo>
                <a:cubicBezTo>
                  <a:pt x="2454" y="905"/>
                  <a:pt x="2455" y="901"/>
                  <a:pt x="2453" y="900"/>
                </a:cubicBezTo>
                <a:cubicBezTo>
                  <a:pt x="2452" y="899"/>
                  <a:pt x="2449" y="899"/>
                  <a:pt x="2449" y="899"/>
                </a:cubicBezTo>
                <a:cubicBezTo>
                  <a:pt x="2448" y="890"/>
                  <a:pt x="2448" y="890"/>
                  <a:pt x="2448" y="890"/>
                </a:cubicBezTo>
                <a:cubicBezTo>
                  <a:pt x="2448" y="890"/>
                  <a:pt x="2439" y="890"/>
                  <a:pt x="2438" y="888"/>
                </a:cubicBezTo>
                <a:cubicBezTo>
                  <a:pt x="2438" y="885"/>
                  <a:pt x="2440" y="882"/>
                  <a:pt x="2440" y="882"/>
                </a:cubicBezTo>
                <a:cubicBezTo>
                  <a:pt x="2437" y="881"/>
                  <a:pt x="2437" y="881"/>
                  <a:pt x="2437" y="881"/>
                </a:cubicBezTo>
                <a:cubicBezTo>
                  <a:pt x="2437" y="881"/>
                  <a:pt x="2442" y="875"/>
                  <a:pt x="2440" y="874"/>
                </a:cubicBezTo>
                <a:cubicBezTo>
                  <a:pt x="2438" y="872"/>
                  <a:pt x="2430" y="876"/>
                  <a:pt x="2430" y="876"/>
                </a:cubicBezTo>
                <a:cubicBezTo>
                  <a:pt x="2430" y="876"/>
                  <a:pt x="2435" y="871"/>
                  <a:pt x="2433" y="870"/>
                </a:cubicBezTo>
                <a:cubicBezTo>
                  <a:pt x="2431" y="869"/>
                  <a:pt x="2426" y="868"/>
                  <a:pt x="2426" y="868"/>
                </a:cubicBezTo>
                <a:cubicBezTo>
                  <a:pt x="2426" y="868"/>
                  <a:pt x="2429" y="867"/>
                  <a:pt x="2426" y="863"/>
                </a:cubicBezTo>
                <a:cubicBezTo>
                  <a:pt x="2423" y="859"/>
                  <a:pt x="2418" y="859"/>
                  <a:pt x="2418" y="859"/>
                </a:cubicBezTo>
                <a:cubicBezTo>
                  <a:pt x="2418" y="859"/>
                  <a:pt x="2417" y="855"/>
                  <a:pt x="2416" y="853"/>
                </a:cubicBezTo>
                <a:cubicBezTo>
                  <a:pt x="2414" y="852"/>
                  <a:pt x="2412" y="853"/>
                  <a:pt x="2412" y="853"/>
                </a:cubicBezTo>
                <a:cubicBezTo>
                  <a:pt x="2413" y="856"/>
                  <a:pt x="2413" y="856"/>
                  <a:pt x="2413" y="856"/>
                </a:cubicBezTo>
                <a:cubicBezTo>
                  <a:pt x="2413" y="856"/>
                  <a:pt x="2408" y="852"/>
                  <a:pt x="2407" y="851"/>
                </a:cubicBezTo>
                <a:cubicBezTo>
                  <a:pt x="2406" y="849"/>
                  <a:pt x="2403" y="844"/>
                  <a:pt x="2403" y="844"/>
                </a:cubicBezTo>
                <a:cubicBezTo>
                  <a:pt x="2403" y="844"/>
                  <a:pt x="2397" y="839"/>
                  <a:pt x="2394" y="837"/>
                </a:cubicBezTo>
                <a:cubicBezTo>
                  <a:pt x="2391" y="834"/>
                  <a:pt x="2387" y="830"/>
                  <a:pt x="2387" y="830"/>
                </a:cubicBezTo>
                <a:cubicBezTo>
                  <a:pt x="2387" y="830"/>
                  <a:pt x="2387" y="829"/>
                  <a:pt x="2386" y="828"/>
                </a:cubicBezTo>
                <a:cubicBezTo>
                  <a:pt x="2385" y="827"/>
                  <a:pt x="2384" y="826"/>
                  <a:pt x="2384" y="826"/>
                </a:cubicBezTo>
                <a:cubicBezTo>
                  <a:pt x="2384" y="826"/>
                  <a:pt x="2381" y="822"/>
                  <a:pt x="2380" y="820"/>
                </a:cubicBezTo>
                <a:cubicBezTo>
                  <a:pt x="2378" y="819"/>
                  <a:pt x="2376" y="819"/>
                  <a:pt x="2376" y="819"/>
                </a:cubicBezTo>
                <a:cubicBezTo>
                  <a:pt x="2365" y="818"/>
                  <a:pt x="2365" y="818"/>
                  <a:pt x="2365" y="818"/>
                </a:cubicBezTo>
                <a:cubicBezTo>
                  <a:pt x="2365" y="818"/>
                  <a:pt x="2360" y="813"/>
                  <a:pt x="2358" y="813"/>
                </a:cubicBezTo>
                <a:cubicBezTo>
                  <a:pt x="2356" y="814"/>
                  <a:pt x="2355" y="819"/>
                  <a:pt x="2356" y="822"/>
                </a:cubicBezTo>
                <a:cubicBezTo>
                  <a:pt x="2358" y="824"/>
                  <a:pt x="2373" y="838"/>
                  <a:pt x="2373" y="838"/>
                </a:cubicBezTo>
                <a:cubicBezTo>
                  <a:pt x="2378" y="846"/>
                  <a:pt x="2378" y="846"/>
                  <a:pt x="2378" y="846"/>
                </a:cubicBezTo>
                <a:cubicBezTo>
                  <a:pt x="2380" y="845"/>
                  <a:pt x="2380" y="845"/>
                  <a:pt x="2380" y="845"/>
                </a:cubicBezTo>
                <a:cubicBezTo>
                  <a:pt x="2380" y="845"/>
                  <a:pt x="2380" y="850"/>
                  <a:pt x="2381" y="852"/>
                </a:cubicBezTo>
                <a:cubicBezTo>
                  <a:pt x="2383" y="853"/>
                  <a:pt x="2390" y="855"/>
                  <a:pt x="2392" y="859"/>
                </a:cubicBezTo>
                <a:cubicBezTo>
                  <a:pt x="2394" y="862"/>
                  <a:pt x="2395" y="869"/>
                  <a:pt x="2395" y="869"/>
                </a:cubicBezTo>
                <a:cubicBezTo>
                  <a:pt x="2395" y="869"/>
                  <a:pt x="2395" y="876"/>
                  <a:pt x="2396" y="876"/>
                </a:cubicBezTo>
                <a:cubicBezTo>
                  <a:pt x="2398" y="876"/>
                  <a:pt x="2401" y="874"/>
                  <a:pt x="2401" y="876"/>
                </a:cubicBezTo>
                <a:cubicBezTo>
                  <a:pt x="2402" y="878"/>
                  <a:pt x="2403" y="882"/>
                  <a:pt x="2403" y="882"/>
                </a:cubicBezTo>
                <a:cubicBezTo>
                  <a:pt x="2408" y="886"/>
                  <a:pt x="2408" y="886"/>
                  <a:pt x="2408" y="886"/>
                </a:cubicBezTo>
                <a:cubicBezTo>
                  <a:pt x="2408" y="889"/>
                  <a:pt x="2408" y="889"/>
                  <a:pt x="2408" y="889"/>
                </a:cubicBezTo>
                <a:cubicBezTo>
                  <a:pt x="2412" y="898"/>
                  <a:pt x="2412" y="898"/>
                  <a:pt x="2412" y="898"/>
                </a:cubicBezTo>
                <a:cubicBezTo>
                  <a:pt x="2412" y="898"/>
                  <a:pt x="2411" y="901"/>
                  <a:pt x="2413" y="904"/>
                </a:cubicBezTo>
                <a:cubicBezTo>
                  <a:pt x="2415" y="907"/>
                  <a:pt x="2417" y="908"/>
                  <a:pt x="2417" y="908"/>
                </a:cubicBezTo>
                <a:cubicBezTo>
                  <a:pt x="2417" y="908"/>
                  <a:pt x="2419" y="913"/>
                  <a:pt x="2420" y="915"/>
                </a:cubicBezTo>
                <a:cubicBezTo>
                  <a:pt x="2422" y="916"/>
                  <a:pt x="2426" y="918"/>
                  <a:pt x="2426" y="918"/>
                </a:cubicBezTo>
                <a:cubicBezTo>
                  <a:pt x="2426" y="923"/>
                  <a:pt x="2426" y="923"/>
                  <a:pt x="2426" y="923"/>
                </a:cubicBezTo>
                <a:cubicBezTo>
                  <a:pt x="2426" y="923"/>
                  <a:pt x="2437" y="932"/>
                  <a:pt x="2437" y="933"/>
                </a:cubicBezTo>
                <a:cubicBezTo>
                  <a:pt x="2438" y="934"/>
                  <a:pt x="2441" y="934"/>
                  <a:pt x="2441" y="934"/>
                </a:cubicBezTo>
                <a:cubicBezTo>
                  <a:pt x="2441" y="934"/>
                  <a:pt x="2443" y="939"/>
                  <a:pt x="2445" y="940"/>
                </a:cubicBezTo>
                <a:cubicBezTo>
                  <a:pt x="2446" y="941"/>
                  <a:pt x="2447" y="945"/>
                  <a:pt x="2448" y="945"/>
                </a:cubicBezTo>
                <a:cubicBezTo>
                  <a:pt x="2448" y="945"/>
                  <a:pt x="2447" y="940"/>
                  <a:pt x="2448" y="940"/>
                </a:cubicBezTo>
                <a:cubicBezTo>
                  <a:pt x="2449" y="939"/>
                  <a:pt x="2453" y="944"/>
                  <a:pt x="2454" y="943"/>
                </a:cubicBezTo>
                <a:close/>
                <a:moveTo>
                  <a:pt x="2770" y="1339"/>
                </a:moveTo>
                <a:cubicBezTo>
                  <a:pt x="2768" y="1337"/>
                  <a:pt x="2765" y="1342"/>
                  <a:pt x="2765" y="1342"/>
                </a:cubicBezTo>
                <a:cubicBezTo>
                  <a:pt x="2765" y="1342"/>
                  <a:pt x="2765" y="1340"/>
                  <a:pt x="2764" y="1340"/>
                </a:cubicBezTo>
                <a:cubicBezTo>
                  <a:pt x="2763" y="1340"/>
                  <a:pt x="2758" y="1341"/>
                  <a:pt x="2758" y="1341"/>
                </a:cubicBezTo>
                <a:cubicBezTo>
                  <a:pt x="2757" y="1343"/>
                  <a:pt x="2757" y="1343"/>
                  <a:pt x="2757" y="1343"/>
                </a:cubicBezTo>
                <a:cubicBezTo>
                  <a:pt x="2755" y="1340"/>
                  <a:pt x="2755" y="1340"/>
                  <a:pt x="2755" y="1340"/>
                </a:cubicBezTo>
                <a:cubicBezTo>
                  <a:pt x="2749" y="1340"/>
                  <a:pt x="2749" y="1340"/>
                  <a:pt x="2749" y="1340"/>
                </a:cubicBezTo>
                <a:cubicBezTo>
                  <a:pt x="2746" y="1336"/>
                  <a:pt x="2746" y="1336"/>
                  <a:pt x="2746" y="1336"/>
                </a:cubicBezTo>
                <a:cubicBezTo>
                  <a:pt x="2746" y="1336"/>
                  <a:pt x="2745" y="1337"/>
                  <a:pt x="2744" y="1337"/>
                </a:cubicBezTo>
                <a:cubicBezTo>
                  <a:pt x="2743" y="1337"/>
                  <a:pt x="2739" y="1333"/>
                  <a:pt x="2739" y="1333"/>
                </a:cubicBezTo>
                <a:cubicBezTo>
                  <a:pt x="2739" y="1335"/>
                  <a:pt x="2739" y="1335"/>
                  <a:pt x="2739" y="1335"/>
                </a:cubicBezTo>
                <a:cubicBezTo>
                  <a:pt x="2739" y="1338"/>
                  <a:pt x="2739" y="1338"/>
                  <a:pt x="2739" y="1338"/>
                </a:cubicBezTo>
                <a:cubicBezTo>
                  <a:pt x="2739" y="1338"/>
                  <a:pt x="2740" y="1341"/>
                  <a:pt x="2739" y="1342"/>
                </a:cubicBezTo>
                <a:cubicBezTo>
                  <a:pt x="2739" y="1343"/>
                  <a:pt x="2738" y="1345"/>
                  <a:pt x="2739" y="1347"/>
                </a:cubicBezTo>
                <a:cubicBezTo>
                  <a:pt x="2740" y="1350"/>
                  <a:pt x="2739" y="1351"/>
                  <a:pt x="2737" y="1352"/>
                </a:cubicBezTo>
                <a:cubicBezTo>
                  <a:pt x="2735" y="1352"/>
                  <a:pt x="2734" y="1350"/>
                  <a:pt x="2734" y="1350"/>
                </a:cubicBezTo>
                <a:cubicBezTo>
                  <a:pt x="2734" y="1350"/>
                  <a:pt x="2733" y="1353"/>
                  <a:pt x="2733" y="1356"/>
                </a:cubicBezTo>
                <a:cubicBezTo>
                  <a:pt x="2732" y="1359"/>
                  <a:pt x="2735" y="1363"/>
                  <a:pt x="2735" y="1363"/>
                </a:cubicBezTo>
                <a:cubicBezTo>
                  <a:pt x="2738" y="1363"/>
                  <a:pt x="2738" y="1363"/>
                  <a:pt x="2738" y="1363"/>
                </a:cubicBezTo>
                <a:cubicBezTo>
                  <a:pt x="2735" y="1365"/>
                  <a:pt x="2735" y="1365"/>
                  <a:pt x="2735" y="1365"/>
                </a:cubicBezTo>
                <a:cubicBezTo>
                  <a:pt x="2736" y="1368"/>
                  <a:pt x="2736" y="1368"/>
                  <a:pt x="2736" y="1368"/>
                </a:cubicBezTo>
                <a:cubicBezTo>
                  <a:pt x="2736" y="1368"/>
                  <a:pt x="2739" y="1367"/>
                  <a:pt x="2740" y="1367"/>
                </a:cubicBezTo>
                <a:cubicBezTo>
                  <a:pt x="2742" y="1366"/>
                  <a:pt x="2743" y="1368"/>
                  <a:pt x="2745" y="1367"/>
                </a:cubicBezTo>
                <a:cubicBezTo>
                  <a:pt x="2747" y="1366"/>
                  <a:pt x="2749" y="1363"/>
                  <a:pt x="2750" y="1364"/>
                </a:cubicBezTo>
                <a:cubicBezTo>
                  <a:pt x="2752" y="1365"/>
                  <a:pt x="2749" y="1367"/>
                  <a:pt x="2749" y="1367"/>
                </a:cubicBezTo>
                <a:cubicBezTo>
                  <a:pt x="2752" y="1368"/>
                  <a:pt x="2752" y="1368"/>
                  <a:pt x="2752" y="1368"/>
                </a:cubicBezTo>
                <a:cubicBezTo>
                  <a:pt x="2752" y="1368"/>
                  <a:pt x="2756" y="1362"/>
                  <a:pt x="2758" y="1361"/>
                </a:cubicBezTo>
                <a:cubicBezTo>
                  <a:pt x="2760" y="1360"/>
                  <a:pt x="2756" y="1358"/>
                  <a:pt x="2756" y="1358"/>
                </a:cubicBezTo>
                <a:cubicBezTo>
                  <a:pt x="2759" y="1354"/>
                  <a:pt x="2759" y="1354"/>
                  <a:pt x="2759" y="1354"/>
                </a:cubicBezTo>
                <a:cubicBezTo>
                  <a:pt x="2759" y="1354"/>
                  <a:pt x="2761" y="1355"/>
                  <a:pt x="2764" y="1354"/>
                </a:cubicBezTo>
                <a:cubicBezTo>
                  <a:pt x="2766" y="1353"/>
                  <a:pt x="2764" y="1348"/>
                  <a:pt x="2766" y="1346"/>
                </a:cubicBezTo>
                <a:cubicBezTo>
                  <a:pt x="2768" y="1344"/>
                  <a:pt x="2771" y="1340"/>
                  <a:pt x="2770" y="1339"/>
                </a:cubicBezTo>
                <a:close/>
                <a:moveTo>
                  <a:pt x="2402" y="906"/>
                </a:moveTo>
                <a:cubicBezTo>
                  <a:pt x="2401" y="908"/>
                  <a:pt x="2404" y="910"/>
                  <a:pt x="2404" y="910"/>
                </a:cubicBezTo>
                <a:cubicBezTo>
                  <a:pt x="2404" y="910"/>
                  <a:pt x="2407" y="915"/>
                  <a:pt x="2409" y="913"/>
                </a:cubicBezTo>
                <a:cubicBezTo>
                  <a:pt x="2410" y="911"/>
                  <a:pt x="2404" y="906"/>
                  <a:pt x="2402" y="906"/>
                </a:cubicBezTo>
                <a:close/>
                <a:moveTo>
                  <a:pt x="2882" y="1159"/>
                </a:moveTo>
                <a:cubicBezTo>
                  <a:pt x="2882" y="1159"/>
                  <a:pt x="2881" y="1151"/>
                  <a:pt x="2881" y="1149"/>
                </a:cubicBezTo>
                <a:cubicBezTo>
                  <a:pt x="2881" y="1148"/>
                  <a:pt x="2876" y="1148"/>
                  <a:pt x="2876" y="1148"/>
                </a:cubicBezTo>
                <a:cubicBezTo>
                  <a:pt x="2876" y="1145"/>
                  <a:pt x="2876" y="1145"/>
                  <a:pt x="2876" y="1145"/>
                </a:cubicBezTo>
                <a:cubicBezTo>
                  <a:pt x="2874" y="1143"/>
                  <a:pt x="2874" y="1143"/>
                  <a:pt x="2874" y="1143"/>
                </a:cubicBezTo>
                <a:cubicBezTo>
                  <a:pt x="2874" y="1143"/>
                  <a:pt x="2875" y="1140"/>
                  <a:pt x="2874" y="1138"/>
                </a:cubicBezTo>
                <a:cubicBezTo>
                  <a:pt x="2873" y="1137"/>
                  <a:pt x="2869" y="1135"/>
                  <a:pt x="2869" y="1135"/>
                </a:cubicBezTo>
                <a:cubicBezTo>
                  <a:pt x="2869" y="1135"/>
                  <a:pt x="2876" y="1134"/>
                  <a:pt x="2876" y="1131"/>
                </a:cubicBezTo>
                <a:cubicBezTo>
                  <a:pt x="2877" y="1128"/>
                  <a:pt x="2872" y="1128"/>
                  <a:pt x="2872" y="1128"/>
                </a:cubicBezTo>
                <a:cubicBezTo>
                  <a:pt x="2872" y="1128"/>
                  <a:pt x="2871" y="1123"/>
                  <a:pt x="2868" y="1123"/>
                </a:cubicBezTo>
                <a:cubicBezTo>
                  <a:pt x="2866" y="1124"/>
                  <a:pt x="2867" y="1127"/>
                  <a:pt x="2867" y="1127"/>
                </a:cubicBezTo>
                <a:cubicBezTo>
                  <a:pt x="2864" y="1127"/>
                  <a:pt x="2864" y="1127"/>
                  <a:pt x="2864" y="1127"/>
                </a:cubicBezTo>
                <a:cubicBezTo>
                  <a:pt x="2864" y="1127"/>
                  <a:pt x="2867" y="1118"/>
                  <a:pt x="2867" y="1116"/>
                </a:cubicBezTo>
                <a:cubicBezTo>
                  <a:pt x="2866" y="1114"/>
                  <a:pt x="2862" y="1114"/>
                  <a:pt x="2861" y="1112"/>
                </a:cubicBezTo>
                <a:cubicBezTo>
                  <a:pt x="2861" y="1110"/>
                  <a:pt x="2864" y="1106"/>
                  <a:pt x="2863" y="1103"/>
                </a:cubicBezTo>
                <a:cubicBezTo>
                  <a:pt x="2862" y="1101"/>
                  <a:pt x="2849" y="1094"/>
                  <a:pt x="2849" y="1094"/>
                </a:cubicBezTo>
                <a:cubicBezTo>
                  <a:pt x="2848" y="1096"/>
                  <a:pt x="2848" y="1096"/>
                  <a:pt x="2848" y="1096"/>
                </a:cubicBezTo>
                <a:cubicBezTo>
                  <a:pt x="2848" y="1096"/>
                  <a:pt x="2842" y="1089"/>
                  <a:pt x="2842" y="1084"/>
                </a:cubicBezTo>
                <a:cubicBezTo>
                  <a:pt x="2842" y="1080"/>
                  <a:pt x="2843" y="1077"/>
                  <a:pt x="2843" y="1073"/>
                </a:cubicBezTo>
                <a:cubicBezTo>
                  <a:pt x="2843" y="1069"/>
                  <a:pt x="2839" y="1060"/>
                  <a:pt x="2839" y="1056"/>
                </a:cubicBezTo>
                <a:cubicBezTo>
                  <a:pt x="2838" y="1053"/>
                  <a:pt x="2840" y="1051"/>
                  <a:pt x="2840" y="1049"/>
                </a:cubicBezTo>
                <a:cubicBezTo>
                  <a:pt x="2841" y="1047"/>
                  <a:pt x="2839" y="1039"/>
                  <a:pt x="2839" y="1039"/>
                </a:cubicBezTo>
                <a:cubicBezTo>
                  <a:pt x="2836" y="1037"/>
                  <a:pt x="2836" y="1037"/>
                  <a:pt x="2836" y="1037"/>
                </a:cubicBezTo>
                <a:cubicBezTo>
                  <a:pt x="2836" y="1037"/>
                  <a:pt x="2833" y="1034"/>
                  <a:pt x="2831" y="1034"/>
                </a:cubicBezTo>
                <a:cubicBezTo>
                  <a:pt x="2829" y="1034"/>
                  <a:pt x="2828" y="1037"/>
                  <a:pt x="2828" y="1037"/>
                </a:cubicBezTo>
                <a:cubicBezTo>
                  <a:pt x="2828" y="1037"/>
                  <a:pt x="2826" y="1034"/>
                  <a:pt x="2826" y="1032"/>
                </a:cubicBezTo>
                <a:cubicBezTo>
                  <a:pt x="2826" y="1030"/>
                  <a:pt x="2827" y="1025"/>
                  <a:pt x="2827" y="1025"/>
                </a:cubicBezTo>
                <a:cubicBezTo>
                  <a:pt x="2825" y="1022"/>
                  <a:pt x="2825" y="1022"/>
                  <a:pt x="2825" y="1022"/>
                </a:cubicBezTo>
                <a:cubicBezTo>
                  <a:pt x="2825" y="1011"/>
                  <a:pt x="2825" y="1011"/>
                  <a:pt x="2825" y="1011"/>
                </a:cubicBezTo>
                <a:cubicBezTo>
                  <a:pt x="2825" y="1011"/>
                  <a:pt x="2820" y="1008"/>
                  <a:pt x="2821" y="1006"/>
                </a:cubicBezTo>
                <a:cubicBezTo>
                  <a:pt x="2822" y="1004"/>
                  <a:pt x="2823" y="1001"/>
                  <a:pt x="2822" y="1000"/>
                </a:cubicBezTo>
                <a:cubicBezTo>
                  <a:pt x="2821" y="999"/>
                  <a:pt x="2818" y="999"/>
                  <a:pt x="2818" y="999"/>
                </a:cubicBezTo>
                <a:cubicBezTo>
                  <a:pt x="2818" y="997"/>
                  <a:pt x="2818" y="997"/>
                  <a:pt x="2818" y="997"/>
                </a:cubicBezTo>
                <a:cubicBezTo>
                  <a:pt x="2814" y="998"/>
                  <a:pt x="2814" y="998"/>
                  <a:pt x="2814" y="998"/>
                </a:cubicBezTo>
                <a:cubicBezTo>
                  <a:pt x="2813" y="1001"/>
                  <a:pt x="2813" y="1001"/>
                  <a:pt x="2813" y="1001"/>
                </a:cubicBezTo>
                <a:cubicBezTo>
                  <a:pt x="2813" y="1001"/>
                  <a:pt x="2811" y="1003"/>
                  <a:pt x="2810" y="1003"/>
                </a:cubicBezTo>
                <a:cubicBezTo>
                  <a:pt x="2808" y="1004"/>
                  <a:pt x="2811" y="1010"/>
                  <a:pt x="2811" y="1012"/>
                </a:cubicBezTo>
                <a:cubicBezTo>
                  <a:pt x="2811" y="1014"/>
                  <a:pt x="2804" y="1022"/>
                  <a:pt x="2804" y="1022"/>
                </a:cubicBezTo>
                <a:cubicBezTo>
                  <a:pt x="2806" y="1024"/>
                  <a:pt x="2806" y="1024"/>
                  <a:pt x="2806" y="1024"/>
                </a:cubicBezTo>
                <a:cubicBezTo>
                  <a:pt x="2806" y="1024"/>
                  <a:pt x="2803" y="1028"/>
                  <a:pt x="2803" y="1030"/>
                </a:cubicBezTo>
                <a:cubicBezTo>
                  <a:pt x="2802" y="1031"/>
                  <a:pt x="2803" y="1037"/>
                  <a:pt x="2803" y="1037"/>
                </a:cubicBezTo>
                <a:cubicBezTo>
                  <a:pt x="2803" y="1037"/>
                  <a:pt x="2799" y="1054"/>
                  <a:pt x="2799" y="1057"/>
                </a:cubicBezTo>
                <a:cubicBezTo>
                  <a:pt x="2799" y="1059"/>
                  <a:pt x="2793" y="1065"/>
                  <a:pt x="2793" y="1065"/>
                </a:cubicBezTo>
                <a:cubicBezTo>
                  <a:pt x="2793" y="1065"/>
                  <a:pt x="2793" y="1072"/>
                  <a:pt x="2790" y="1074"/>
                </a:cubicBezTo>
                <a:cubicBezTo>
                  <a:pt x="2786" y="1075"/>
                  <a:pt x="2779" y="1077"/>
                  <a:pt x="2779" y="1077"/>
                </a:cubicBezTo>
                <a:cubicBezTo>
                  <a:pt x="2779" y="1077"/>
                  <a:pt x="2774" y="1070"/>
                  <a:pt x="2773" y="1068"/>
                </a:cubicBezTo>
                <a:cubicBezTo>
                  <a:pt x="2772" y="1066"/>
                  <a:pt x="2764" y="1063"/>
                  <a:pt x="2759" y="1061"/>
                </a:cubicBezTo>
                <a:cubicBezTo>
                  <a:pt x="2755" y="1060"/>
                  <a:pt x="2752" y="1053"/>
                  <a:pt x="2752" y="1052"/>
                </a:cubicBezTo>
                <a:cubicBezTo>
                  <a:pt x="2751" y="1051"/>
                  <a:pt x="2747" y="1052"/>
                  <a:pt x="2747" y="1052"/>
                </a:cubicBezTo>
                <a:cubicBezTo>
                  <a:pt x="2743" y="1046"/>
                  <a:pt x="2743" y="1046"/>
                  <a:pt x="2743" y="1046"/>
                </a:cubicBezTo>
                <a:cubicBezTo>
                  <a:pt x="2746" y="1043"/>
                  <a:pt x="2746" y="1043"/>
                  <a:pt x="2746" y="1043"/>
                </a:cubicBezTo>
                <a:cubicBezTo>
                  <a:pt x="2746" y="1043"/>
                  <a:pt x="2745" y="1040"/>
                  <a:pt x="2746" y="1038"/>
                </a:cubicBezTo>
                <a:cubicBezTo>
                  <a:pt x="2748" y="1036"/>
                  <a:pt x="2750" y="1035"/>
                  <a:pt x="2750" y="1035"/>
                </a:cubicBezTo>
                <a:cubicBezTo>
                  <a:pt x="2749" y="1029"/>
                  <a:pt x="2749" y="1029"/>
                  <a:pt x="2749" y="1029"/>
                </a:cubicBezTo>
                <a:cubicBezTo>
                  <a:pt x="2752" y="1026"/>
                  <a:pt x="2752" y="1026"/>
                  <a:pt x="2752" y="1026"/>
                </a:cubicBezTo>
                <a:cubicBezTo>
                  <a:pt x="2752" y="1026"/>
                  <a:pt x="2755" y="1028"/>
                  <a:pt x="2756" y="1027"/>
                </a:cubicBezTo>
                <a:cubicBezTo>
                  <a:pt x="2757" y="1027"/>
                  <a:pt x="2757" y="1022"/>
                  <a:pt x="2757" y="1022"/>
                </a:cubicBezTo>
                <a:cubicBezTo>
                  <a:pt x="2763" y="1017"/>
                  <a:pt x="2763" y="1017"/>
                  <a:pt x="2763" y="1017"/>
                </a:cubicBezTo>
                <a:cubicBezTo>
                  <a:pt x="2763" y="1017"/>
                  <a:pt x="2760" y="1012"/>
                  <a:pt x="2756" y="1012"/>
                </a:cubicBezTo>
                <a:cubicBezTo>
                  <a:pt x="2753" y="1011"/>
                  <a:pt x="2748" y="1016"/>
                  <a:pt x="2748" y="1016"/>
                </a:cubicBezTo>
                <a:cubicBezTo>
                  <a:pt x="2748" y="1013"/>
                  <a:pt x="2748" y="1013"/>
                  <a:pt x="2748" y="1013"/>
                </a:cubicBezTo>
                <a:cubicBezTo>
                  <a:pt x="2744" y="1014"/>
                  <a:pt x="2744" y="1014"/>
                  <a:pt x="2744" y="1014"/>
                </a:cubicBezTo>
                <a:cubicBezTo>
                  <a:pt x="2742" y="1016"/>
                  <a:pt x="2742" y="1016"/>
                  <a:pt x="2742" y="1016"/>
                </a:cubicBezTo>
                <a:cubicBezTo>
                  <a:pt x="2741" y="1013"/>
                  <a:pt x="2741" y="1013"/>
                  <a:pt x="2741" y="1013"/>
                </a:cubicBezTo>
                <a:cubicBezTo>
                  <a:pt x="2736" y="1013"/>
                  <a:pt x="2736" y="1013"/>
                  <a:pt x="2736" y="1013"/>
                </a:cubicBezTo>
                <a:cubicBezTo>
                  <a:pt x="2736" y="1013"/>
                  <a:pt x="2730" y="1009"/>
                  <a:pt x="2729" y="1009"/>
                </a:cubicBezTo>
                <a:cubicBezTo>
                  <a:pt x="2728" y="1009"/>
                  <a:pt x="2721" y="1008"/>
                  <a:pt x="2721" y="1008"/>
                </a:cubicBezTo>
                <a:cubicBezTo>
                  <a:pt x="2721" y="1008"/>
                  <a:pt x="2720" y="1004"/>
                  <a:pt x="2718" y="1003"/>
                </a:cubicBezTo>
                <a:cubicBezTo>
                  <a:pt x="2717" y="1002"/>
                  <a:pt x="2716" y="1005"/>
                  <a:pt x="2716" y="1005"/>
                </a:cubicBezTo>
                <a:cubicBezTo>
                  <a:pt x="2716" y="1005"/>
                  <a:pt x="2711" y="1002"/>
                  <a:pt x="2710" y="1003"/>
                </a:cubicBezTo>
                <a:cubicBezTo>
                  <a:pt x="2709" y="1004"/>
                  <a:pt x="2711" y="1006"/>
                  <a:pt x="2711" y="1006"/>
                </a:cubicBezTo>
                <a:cubicBezTo>
                  <a:pt x="2711" y="1006"/>
                  <a:pt x="2708" y="1006"/>
                  <a:pt x="2707" y="1007"/>
                </a:cubicBezTo>
                <a:cubicBezTo>
                  <a:pt x="2707" y="1008"/>
                  <a:pt x="2710" y="1009"/>
                  <a:pt x="2713" y="1010"/>
                </a:cubicBezTo>
                <a:cubicBezTo>
                  <a:pt x="2715" y="1011"/>
                  <a:pt x="2716" y="1009"/>
                  <a:pt x="2716" y="1009"/>
                </a:cubicBezTo>
                <a:cubicBezTo>
                  <a:pt x="2721" y="1011"/>
                  <a:pt x="2721" y="1011"/>
                  <a:pt x="2721" y="1011"/>
                </a:cubicBezTo>
                <a:cubicBezTo>
                  <a:pt x="2721" y="1011"/>
                  <a:pt x="2716" y="1013"/>
                  <a:pt x="2714" y="1015"/>
                </a:cubicBezTo>
                <a:cubicBezTo>
                  <a:pt x="2711" y="1016"/>
                  <a:pt x="2704" y="1015"/>
                  <a:pt x="2703" y="1015"/>
                </a:cubicBezTo>
                <a:cubicBezTo>
                  <a:pt x="2701" y="1016"/>
                  <a:pt x="2691" y="1021"/>
                  <a:pt x="2691" y="1021"/>
                </a:cubicBezTo>
                <a:cubicBezTo>
                  <a:pt x="2691" y="1021"/>
                  <a:pt x="2689" y="1025"/>
                  <a:pt x="2689" y="1027"/>
                </a:cubicBezTo>
                <a:cubicBezTo>
                  <a:pt x="2689" y="1029"/>
                  <a:pt x="2693" y="1031"/>
                  <a:pt x="2693" y="1031"/>
                </a:cubicBezTo>
                <a:cubicBezTo>
                  <a:pt x="2687" y="1031"/>
                  <a:pt x="2687" y="1031"/>
                  <a:pt x="2687" y="1031"/>
                </a:cubicBezTo>
                <a:cubicBezTo>
                  <a:pt x="2682" y="1036"/>
                  <a:pt x="2682" y="1036"/>
                  <a:pt x="2682" y="1036"/>
                </a:cubicBezTo>
                <a:cubicBezTo>
                  <a:pt x="2682" y="1036"/>
                  <a:pt x="2683" y="1040"/>
                  <a:pt x="2681" y="1042"/>
                </a:cubicBezTo>
                <a:cubicBezTo>
                  <a:pt x="2680" y="1043"/>
                  <a:pt x="2685" y="1044"/>
                  <a:pt x="2687" y="1046"/>
                </a:cubicBezTo>
                <a:cubicBezTo>
                  <a:pt x="2689" y="1046"/>
                  <a:pt x="2688" y="1051"/>
                  <a:pt x="2688" y="1051"/>
                </a:cubicBezTo>
                <a:cubicBezTo>
                  <a:pt x="2685" y="1048"/>
                  <a:pt x="2685" y="1048"/>
                  <a:pt x="2685" y="1048"/>
                </a:cubicBezTo>
                <a:cubicBezTo>
                  <a:pt x="2681" y="1048"/>
                  <a:pt x="2681" y="1048"/>
                  <a:pt x="2681" y="1048"/>
                </a:cubicBezTo>
                <a:cubicBezTo>
                  <a:pt x="2679" y="1051"/>
                  <a:pt x="2679" y="1051"/>
                  <a:pt x="2679" y="1051"/>
                </a:cubicBezTo>
                <a:cubicBezTo>
                  <a:pt x="2673" y="1046"/>
                  <a:pt x="2673" y="1046"/>
                  <a:pt x="2673" y="1046"/>
                </a:cubicBezTo>
                <a:cubicBezTo>
                  <a:pt x="2673" y="1051"/>
                  <a:pt x="2673" y="1051"/>
                  <a:pt x="2673" y="1051"/>
                </a:cubicBezTo>
                <a:cubicBezTo>
                  <a:pt x="2669" y="1052"/>
                  <a:pt x="2669" y="1052"/>
                  <a:pt x="2669" y="1052"/>
                </a:cubicBezTo>
                <a:cubicBezTo>
                  <a:pt x="2670" y="1056"/>
                  <a:pt x="2670" y="1056"/>
                  <a:pt x="2670" y="1056"/>
                </a:cubicBezTo>
                <a:cubicBezTo>
                  <a:pt x="2666" y="1055"/>
                  <a:pt x="2666" y="1055"/>
                  <a:pt x="2666" y="1055"/>
                </a:cubicBezTo>
                <a:cubicBezTo>
                  <a:pt x="2670" y="1046"/>
                  <a:pt x="2670" y="1046"/>
                  <a:pt x="2670" y="1046"/>
                </a:cubicBezTo>
                <a:cubicBezTo>
                  <a:pt x="2670" y="1046"/>
                  <a:pt x="2669" y="1044"/>
                  <a:pt x="2668" y="1042"/>
                </a:cubicBezTo>
                <a:cubicBezTo>
                  <a:pt x="2668" y="1040"/>
                  <a:pt x="2664" y="1040"/>
                  <a:pt x="2664" y="1040"/>
                </a:cubicBezTo>
                <a:cubicBezTo>
                  <a:pt x="2662" y="1036"/>
                  <a:pt x="2662" y="1036"/>
                  <a:pt x="2662" y="1036"/>
                </a:cubicBezTo>
                <a:cubicBezTo>
                  <a:pt x="2662" y="1036"/>
                  <a:pt x="2663" y="1032"/>
                  <a:pt x="2661" y="1030"/>
                </a:cubicBezTo>
                <a:cubicBezTo>
                  <a:pt x="2659" y="1029"/>
                  <a:pt x="2656" y="1031"/>
                  <a:pt x="2656" y="1033"/>
                </a:cubicBezTo>
                <a:cubicBezTo>
                  <a:pt x="2655" y="1034"/>
                  <a:pt x="2657" y="1034"/>
                  <a:pt x="2657" y="1034"/>
                </a:cubicBezTo>
                <a:cubicBezTo>
                  <a:pt x="2656" y="1036"/>
                  <a:pt x="2656" y="1036"/>
                  <a:pt x="2656" y="1036"/>
                </a:cubicBezTo>
                <a:cubicBezTo>
                  <a:pt x="2652" y="1036"/>
                  <a:pt x="2652" y="1036"/>
                  <a:pt x="2652" y="1036"/>
                </a:cubicBezTo>
                <a:cubicBezTo>
                  <a:pt x="2652" y="1039"/>
                  <a:pt x="2652" y="1039"/>
                  <a:pt x="2652" y="1039"/>
                </a:cubicBezTo>
                <a:cubicBezTo>
                  <a:pt x="2649" y="1038"/>
                  <a:pt x="2649" y="1038"/>
                  <a:pt x="2649" y="1038"/>
                </a:cubicBezTo>
                <a:cubicBezTo>
                  <a:pt x="2647" y="1039"/>
                  <a:pt x="2647" y="1039"/>
                  <a:pt x="2647" y="1039"/>
                </a:cubicBezTo>
                <a:cubicBezTo>
                  <a:pt x="2647" y="1039"/>
                  <a:pt x="2648" y="1041"/>
                  <a:pt x="2648" y="1043"/>
                </a:cubicBezTo>
                <a:cubicBezTo>
                  <a:pt x="2647" y="1045"/>
                  <a:pt x="2644" y="1047"/>
                  <a:pt x="2644" y="1047"/>
                </a:cubicBezTo>
                <a:cubicBezTo>
                  <a:pt x="2645" y="1042"/>
                  <a:pt x="2645" y="1042"/>
                  <a:pt x="2645" y="1042"/>
                </a:cubicBezTo>
                <a:cubicBezTo>
                  <a:pt x="2642" y="1045"/>
                  <a:pt x="2642" y="1045"/>
                  <a:pt x="2642" y="1045"/>
                </a:cubicBezTo>
                <a:cubicBezTo>
                  <a:pt x="2642" y="1045"/>
                  <a:pt x="2640" y="1045"/>
                  <a:pt x="2639" y="1047"/>
                </a:cubicBezTo>
                <a:cubicBezTo>
                  <a:pt x="2637" y="1049"/>
                  <a:pt x="2639" y="1053"/>
                  <a:pt x="2639" y="1053"/>
                </a:cubicBezTo>
                <a:cubicBezTo>
                  <a:pt x="2633" y="1051"/>
                  <a:pt x="2633" y="1051"/>
                  <a:pt x="2633" y="1051"/>
                </a:cubicBezTo>
                <a:cubicBezTo>
                  <a:pt x="2632" y="1056"/>
                  <a:pt x="2632" y="1056"/>
                  <a:pt x="2632" y="1056"/>
                </a:cubicBezTo>
                <a:cubicBezTo>
                  <a:pt x="2630" y="1056"/>
                  <a:pt x="2630" y="1056"/>
                  <a:pt x="2630" y="1056"/>
                </a:cubicBezTo>
                <a:cubicBezTo>
                  <a:pt x="2632" y="1060"/>
                  <a:pt x="2632" y="1060"/>
                  <a:pt x="2632" y="1060"/>
                </a:cubicBezTo>
                <a:cubicBezTo>
                  <a:pt x="2635" y="1059"/>
                  <a:pt x="2635" y="1059"/>
                  <a:pt x="2635" y="1059"/>
                </a:cubicBezTo>
                <a:cubicBezTo>
                  <a:pt x="2634" y="1062"/>
                  <a:pt x="2634" y="1062"/>
                  <a:pt x="2634" y="1062"/>
                </a:cubicBezTo>
                <a:cubicBezTo>
                  <a:pt x="2624" y="1062"/>
                  <a:pt x="2624" y="1062"/>
                  <a:pt x="2624" y="1062"/>
                </a:cubicBezTo>
                <a:cubicBezTo>
                  <a:pt x="2624" y="1062"/>
                  <a:pt x="2621" y="1060"/>
                  <a:pt x="2619" y="1062"/>
                </a:cubicBezTo>
                <a:cubicBezTo>
                  <a:pt x="2617" y="1064"/>
                  <a:pt x="2621" y="1068"/>
                  <a:pt x="2621" y="1068"/>
                </a:cubicBezTo>
                <a:cubicBezTo>
                  <a:pt x="2621" y="1072"/>
                  <a:pt x="2621" y="1072"/>
                  <a:pt x="2621" y="1072"/>
                </a:cubicBezTo>
                <a:cubicBezTo>
                  <a:pt x="2620" y="1075"/>
                  <a:pt x="2620" y="1075"/>
                  <a:pt x="2620" y="1075"/>
                </a:cubicBezTo>
                <a:cubicBezTo>
                  <a:pt x="2621" y="1081"/>
                  <a:pt x="2621" y="1081"/>
                  <a:pt x="2621" y="1081"/>
                </a:cubicBezTo>
                <a:cubicBezTo>
                  <a:pt x="2618" y="1081"/>
                  <a:pt x="2618" y="1081"/>
                  <a:pt x="2618" y="1081"/>
                </a:cubicBezTo>
                <a:cubicBezTo>
                  <a:pt x="2618" y="1070"/>
                  <a:pt x="2618" y="1070"/>
                  <a:pt x="2618" y="1070"/>
                </a:cubicBezTo>
                <a:cubicBezTo>
                  <a:pt x="2615" y="1068"/>
                  <a:pt x="2615" y="1068"/>
                  <a:pt x="2615" y="1068"/>
                </a:cubicBezTo>
                <a:cubicBezTo>
                  <a:pt x="2615" y="1063"/>
                  <a:pt x="2615" y="1063"/>
                  <a:pt x="2615" y="1063"/>
                </a:cubicBezTo>
                <a:cubicBezTo>
                  <a:pt x="2612" y="1064"/>
                  <a:pt x="2612" y="1064"/>
                  <a:pt x="2612" y="1064"/>
                </a:cubicBezTo>
                <a:cubicBezTo>
                  <a:pt x="2610" y="1067"/>
                  <a:pt x="2610" y="1067"/>
                  <a:pt x="2610" y="1067"/>
                </a:cubicBezTo>
                <a:cubicBezTo>
                  <a:pt x="2610" y="1067"/>
                  <a:pt x="2607" y="1069"/>
                  <a:pt x="2603" y="1073"/>
                </a:cubicBezTo>
                <a:cubicBezTo>
                  <a:pt x="2599" y="1076"/>
                  <a:pt x="2602" y="1083"/>
                  <a:pt x="2602" y="1083"/>
                </a:cubicBezTo>
                <a:cubicBezTo>
                  <a:pt x="2602" y="1083"/>
                  <a:pt x="2606" y="1084"/>
                  <a:pt x="2605" y="1086"/>
                </a:cubicBezTo>
                <a:cubicBezTo>
                  <a:pt x="2605" y="1088"/>
                  <a:pt x="2598" y="1090"/>
                  <a:pt x="2596" y="1091"/>
                </a:cubicBezTo>
                <a:cubicBezTo>
                  <a:pt x="2595" y="1092"/>
                  <a:pt x="2596" y="1094"/>
                  <a:pt x="2596" y="1094"/>
                </a:cubicBezTo>
                <a:cubicBezTo>
                  <a:pt x="2596" y="1094"/>
                  <a:pt x="2591" y="1098"/>
                  <a:pt x="2588" y="1101"/>
                </a:cubicBezTo>
                <a:cubicBezTo>
                  <a:pt x="2584" y="1103"/>
                  <a:pt x="2573" y="1104"/>
                  <a:pt x="2573" y="1104"/>
                </a:cubicBezTo>
                <a:cubicBezTo>
                  <a:pt x="2566" y="1103"/>
                  <a:pt x="2566" y="1103"/>
                  <a:pt x="2566" y="1103"/>
                </a:cubicBezTo>
                <a:cubicBezTo>
                  <a:pt x="2560" y="1106"/>
                  <a:pt x="2560" y="1106"/>
                  <a:pt x="2560" y="1106"/>
                </a:cubicBezTo>
                <a:cubicBezTo>
                  <a:pt x="2553" y="1107"/>
                  <a:pt x="2553" y="1107"/>
                  <a:pt x="2553" y="1107"/>
                </a:cubicBezTo>
                <a:cubicBezTo>
                  <a:pt x="2552" y="1108"/>
                  <a:pt x="2552" y="1108"/>
                  <a:pt x="2552" y="1108"/>
                </a:cubicBezTo>
                <a:cubicBezTo>
                  <a:pt x="2552" y="1108"/>
                  <a:pt x="2549" y="1108"/>
                  <a:pt x="2548" y="1109"/>
                </a:cubicBezTo>
                <a:cubicBezTo>
                  <a:pt x="2546" y="1110"/>
                  <a:pt x="2543" y="1112"/>
                  <a:pt x="2543" y="1112"/>
                </a:cubicBezTo>
                <a:cubicBezTo>
                  <a:pt x="2543" y="1112"/>
                  <a:pt x="2539" y="1112"/>
                  <a:pt x="2537" y="1113"/>
                </a:cubicBezTo>
                <a:cubicBezTo>
                  <a:pt x="2534" y="1114"/>
                  <a:pt x="2530" y="1120"/>
                  <a:pt x="2530" y="1120"/>
                </a:cubicBezTo>
                <a:cubicBezTo>
                  <a:pt x="2530" y="1120"/>
                  <a:pt x="2523" y="1122"/>
                  <a:pt x="2521" y="1123"/>
                </a:cubicBezTo>
                <a:cubicBezTo>
                  <a:pt x="2520" y="1124"/>
                  <a:pt x="2512" y="1133"/>
                  <a:pt x="2512" y="1133"/>
                </a:cubicBezTo>
                <a:cubicBezTo>
                  <a:pt x="2514" y="1124"/>
                  <a:pt x="2514" y="1124"/>
                  <a:pt x="2514" y="1124"/>
                </a:cubicBezTo>
                <a:cubicBezTo>
                  <a:pt x="2511" y="1125"/>
                  <a:pt x="2511" y="1125"/>
                  <a:pt x="2511" y="1125"/>
                </a:cubicBezTo>
                <a:cubicBezTo>
                  <a:pt x="2508" y="1133"/>
                  <a:pt x="2508" y="1133"/>
                  <a:pt x="2508" y="1133"/>
                </a:cubicBezTo>
                <a:cubicBezTo>
                  <a:pt x="2508" y="1133"/>
                  <a:pt x="2505" y="1138"/>
                  <a:pt x="2504" y="1142"/>
                </a:cubicBezTo>
                <a:cubicBezTo>
                  <a:pt x="2503" y="1145"/>
                  <a:pt x="2507" y="1146"/>
                  <a:pt x="2507" y="1146"/>
                </a:cubicBezTo>
                <a:cubicBezTo>
                  <a:pt x="2507" y="1146"/>
                  <a:pt x="2503" y="1150"/>
                  <a:pt x="2501" y="1152"/>
                </a:cubicBezTo>
                <a:cubicBezTo>
                  <a:pt x="2499" y="1154"/>
                  <a:pt x="2503" y="1162"/>
                  <a:pt x="2503" y="1164"/>
                </a:cubicBezTo>
                <a:cubicBezTo>
                  <a:pt x="2503" y="1165"/>
                  <a:pt x="2508" y="1174"/>
                  <a:pt x="2507" y="1175"/>
                </a:cubicBezTo>
                <a:cubicBezTo>
                  <a:pt x="2506" y="1176"/>
                  <a:pt x="2501" y="1167"/>
                  <a:pt x="2501" y="1167"/>
                </a:cubicBezTo>
                <a:cubicBezTo>
                  <a:pt x="2498" y="1167"/>
                  <a:pt x="2498" y="1167"/>
                  <a:pt x="2498" y="1167"/>
                </a:cubicBezTo>
                <a:cubicBezTo>
                  <a:pt x="2501" y="1173"/>
                  <a:pt x="2501" y="1173"/>
                  <a:pt x="2501" y="1173"/>
                </a:cubicBezTo>
                <a:cubicBezTo>
                  <a:pt x="2496" y="1169"/>
                  <a:pt x="2496" y="1169"/>
                  <a:pt x="2496" y="1169"/>
                </a:cubicBezTo>
                <a:cubicBezTo>
                  <a:pt x="2496" y="1169"/>
                  <a:pt x="2495" y="1174"/>
                  <a:pt x="2496" y="1177"/>
                </a:cubicBezTo>
                <a:cubicBezTo>
                  <a:pt x="2496" y="1180"/>
                  <a:pt x="2501" y="1187"/>
                  <a:pt x="2501" y="1187"/>
                </a:cubicBezTo>
                <a:cubicBezTo>
                  <a:pt x="2501" y="1187"/>
                  <a:pt x="2499" y="1192"/>
                  <a:pt x="2498" y="1193"/>
                </a:cubicBezTo>
                <a:cubicBezTo>
                  <a:pt x="2498" y="1195"/>
                  <a:pt x="2504" y="1200"/>
                  <a:pt x="2504" y="1201"/>
                </a:cubicBezTo>
                <a:cubicBezTo>
                  <a:pt x="2504" y="1202"/>
                  <a:pt x="2505" y="1207"/>
                  <a:pt x="2503" y="1209"/>
                </a:cubicBezTo>
                <a:cubicBezTo>
                  <a:pt x="2502" y="1210"/>
                  <a:pt x="2505" y="1220"/>
                  <a:pt x="2505" y="1220"/>
                </a:cubicBezTo>
                <a:cubicBezTo>
                  <a:pt x="2505" y="1220"/>
                  <a:pt x="2504" y="1220"/>
                  <a:pt x="2503" y="1222"/>
                </a:cubicBezTo>
                <a:cubicBezTo>
                  <a:pt x="2501" y="1223"/>
                  <a:pt x="2504" y="1230"/>
                  <a:pt x="2504" y="1230"/>
                </a:cubicBezTo>
                <a:cubicBezTo>
                  <a:pt x="2504" y="1230"/>
                  <a:pt x="2509" y="1232"/>
                  <a:pt x="2509" y="1236"/>
                </a:cubicBezTo>
                <a:cubicBezTo>
                  <a:pt x="2510" y="1239"/>
                  <a:pt x="2503" y="1245"/>
                  <a:pt x="2503" y="1245"/>
                </a:cubicBezTo>
                <a:cubicBezTo>
                  <a:pt x="2503" y="1245"/>
                  <a:pt x="2505" y="1252"/>
                  <a:pt x="2502" y="1256"/>
                </a:cubicBezTo>
                <a:cubicBezTo>
                  <a:pt x="2498" y="1259"/>
                  <a:pt x="2492" y="1257"/>
                  <a:pt x="2492" y="1257"/>
                </a:cubicBezTo>
                <a:cubicBezTo>
                  <a:pt x="2491" y="1264"/>
                  <a:pt x="2491" y="1264"/>
                  <a:pt x="2491" y="1264"/>
                </a:cubicBezTo>
                <a:cubicBezTo>
                  <a:pt x="2491" y="1264"/>
                  <a:pt x="2498" y="1266"/>
                  <a:pt x="2499" y="1267"/>
                </a:cubicBezTo>
                <a:cubicBezTo>
                  <a:pt x="2501" y="1268"/>
                  <a:pt x="2503" y="1270"/>
                  <a:pt x="2503" y="1270"/>
                </a:cubicBezTo>
                <a:cubicBezTo>
                  <a:pt x="2506" y="1270"/>
                  <a:pt x="2506" y="1270"/>
                  <a:pt x="2506" y="1270"/>
                </a:cubicBezTo>
                <a:cubicBezTo>
                  <a:pt x="2506" y="1270"/>
                  <a:pt x="2508" y="1272"/>
                  <a:pt x="2511" y="1273"/>
                </a:cubicBezTo>
                <a:cubicBezTo>
                  <a:pt x="2514" y="1274"/>
                  <a:pt x="2520" y="1272"/>
                  <a:pt x="2523" y="1272"/>
                </a:cubicBezTo>
                <a:cubicBezTo>
                  <a:pt x="2525" y="1272"/>
                  <a:pt x="2523" y="1268"/>
                  <a:pt x="2523" y="1268"/>
                </a:cubicBezTo>
                <a:cubicBezTo>
                  <a:pt x="2529" y="1269"/>
                  <a:pt x="2529" y="1269"/>
                  <a:pt x="2529" y="1269"/>
                </a:cubicBezTo>
                <a:cubicBezTo>
                  <a:pt x="2530" y="1266"/>
                  <a:pt x="2530" y="1266"/>
                  <a:pt x="2530" y="1266"/>
                </a:cubicBezTo>
                <a:cubicBezTo>
                  <a:pt x="2535" y="1265"/>
                  <a:pt x="2535" y="1265"/>
                  <a:pt x="2535" y="1265"/>
                </a:cubicBezTo>
                <a:cubicBezTo>
                  <a:pt x="2535" y="1265"/>
                  <a:pt x="2540" y="1260"/>
                  <a:pt x="2543" y="1260"/>
                </a:cubicBezTo>
                <a:cubicBezTo>
                  <a:pt x="2546" y="1260"/>
                  <a:pt x="2548" y="1263"/>
                  <a:pt x="2550" y="1263"/>
                </a:cubicBezTo>
                <a:cubicBezTo>
                  <a:pt x="2551" y="1262"/>
                  <a:pt x="2559" y="1258"/>
                  <a:pt x="2559" y="1258"/>
                </a:cubicBezTo>
                <a:cubicBezTo>
                  <a:pt x="2559" y="1258"/>
                  <a:pt x="2564" y="1260"/>
                  <a:pt x="2566" y="1260"/>
                </a:cubicBezTo>
                <a:cubicBezTo>
                  <a:pt x="2568" y="1260"/>
                  <a:pt x="2570" y="1258"/>
                  <a:pt x="2571" y="1257"/>
                </a:cubicBezTo>
                <a:cubicBezTo>
                  <a:pt x="2573" y="1257"/>
                  <a:pt x="2577" y="1260"/>
                  <a:pt x="2580" y="1259"/>
                </a:cubicBezTo>
                <a:cubicBezTo>
                  <a:pt x="2583" y="1259"/>
                  <a:pt x="2583" y="1255"/>
                  <a:pt x="2583" y="1255"/>
                </a:cubicBezTo>
                <a:cubicBezTo>
                  <a:pt x="2583" y="1255"/>
                  <a:pt x="2585" y="1254"/>
                  <a:pt x="2586" y="1254"/>
                </a:cubicBezTo>
                <a:cubicBezTo>
                  <a:pt x="2587" y="1253"/>
                  <a:pt x="2588" y="1247"/>
                  <a:pt x="2591" y="1245"/>
                </a:cubicBezTo>
                <a:cubicBezTo>
                  <a:pt x="2594" y="1242"/>
                  <a:pt x="2601" y="1244"/>
                  <a:pt x="2603" y="1243"/>
                </a:cubicBezTo>
                <a:cubicBezTo>
                  <a:pt x="2605" y="1243"/>
                  <a:pt x="2612" y="1239"/>
                  <a:pt x="2615" y="1238"/>
                </a:cubicBezTo>
                <a:cubicBezTo>
                  <a:pt x="2619" y="1238"/>
                  <a:pt x="2619" y="1239"/>
                  <a:pt x="2623" y="1240"/>
                </a:cubicBezTo>
                <a:cubicBezTo>
                  <a:pt x="2627" y="1241"/>
                  <a:pt x="2637" y="1234"/>
                  <a:pt x="2641" y="1233"/>
                </a:cubicBezTo>
                <a:cubicBezTo>
                  <a:pt x="2645" y="1231"/>
                  <a:pt x="2662" y="1230"/>
                  <a:pt x="2662" y="1230"/>
                </a:cubicBezTo>
                <a:cubicBezTo>
                  <a:pt x="2664" y="1229"/>
                  <a:pt x="2664" y="1229"/>
                  <a:pt x="2664" y="1229"/>
                </a:cubicBezTo>
                <a:cubicBezTo>
                  <a:pt x="2664" y="1229"/>
                  <a:pt x="2670" y="1234"/>
                  <a:pt x="2673" y="1235"/>
                </a:cubicBezTo>
                <a:cubicBezTo>
                  <a:pt x="2677" y="1237"/>
                  <a:pt x="2678" y="1235"/>
                  <a:pt x="2678" y="1235"/>
                </a:cubicBezTo>
                <a:cubicBezTo>
                  <a:pt x="2678" y="1235"/>
                  <a:pt x="2679" y="1238"/>
                  <a:pt x="2681" y="1239"/>
                </a:cubicBezTo>
                <a:cubicBezTo>
                  <a:pt x="2682" y="1240"/>
                  <a:pt x="2683" y="1238"/>
                  <a:pt x="2683" y="1238"/>
                </a:cubicBezTo>
                <a:cubicBezTo>
                  <a:pt x="2684" y="1241"/>
                  <a:pt x="2684" y="1241"/>
                  <a:pt x="2684" y="1241"/>
                </a:cubicBezTo>
                <a:cubicBezTo>
                  <a:pt x="2684" y="1241"/>
                  <a:pt x="2687" y="1241"/>
                  <a:pt x="2687" y="1243"/>
                </a:cubicBezTo>
                <a:cubicBezTo>
                  <a:pt x="2687" y="1245"/>
                  <a:pt x="2683" y="1250"/>
                  <a:pt x="2683" y="1250"/>
                </a:cubicBezTo>
                <a:cubicBezTo>
                  <a:pt x="2686" y="1254"/>
                  <a:pt x="2686" y="1254"/>
                  <a:pt x="2686" y="1254"/>
                </a:cubicBezTo>
                <a:cubicBezTo>
                  <a:pt x="2688" y="1252"/>
                  <a:pt x="2688" y="1252"/>
                  <a:pt x="2688" y="1252"/>
                </a:cubicBezTo>
                <a:cubicBezTo>
                  <a:pt x="2690" y="1257"/>
                  <a:pt x="2690" y="1257"/>
                  <a:pt x="2690" y="1257"/>
                </a:cubicBezTo>
                <a:cubicBezTo>
                  <a:pt x="2690" y="1257"/>
                  <a:pt x="2692" y="1263"/>
                  <a:pt x="2693" y="1265"/>
                </a:cubicBezTo>
                <a:cubicBezTo>
                  <a:pt x="2693" y="1266"/>
                  <a:pt x="2687" y="1265"/>
                  <a:pt x="2687" y="1265"/>
                </a:cubicBezTo>
                <a:cubicBezTo>
                  <a:pt x="2688" y="1270"/>
                  <a:pt x="2688" y="1270"/>
                  <a:pt x="2688" y="1270"/>
                </a:cubicBezTo>
                <a:cubicBezTo>
                  <a:pt x="2688" y="1270"/>
                  <a:pt x="2690" y="1270"/>
                  <a:pt x="2692" y="1270"/>
                </a:cubicBezTo>
                <a:cubicBezTo>
                  <a:pt x="2694" y="1270"/>
                  <a:pt x="2694" y="1272"/>
                  <a:pt x="2694" y="1272"/>
                </a:cubicBezTo>
                <a:cubicBezTo>
                  <a:pt x="2697" y="1271"/>
                  <a:pt x="2697" y="1271"/>
                  <a:pt x="2697" y="1271"/>
                </a:cubicBezTo>
                <a:cubicBezTo>
                  <a:pt x="2697" y="1271"/>
                  <a:pt x="2696" y="1268"/>
                  <a:pt x="2696" y="1266"/>
                </a:cubicBezTo>
                <a:cubicBezTo>
                  <a:pt x="2696" y="1263"/>
                  <a:pt x="2700" y="1261"/>
                  <a:pt x="2702" y="1261"/>
                </a:cubicBezTo>
                <a:cubicBezTo>
                  <a:pt x="2705" y="1260"/>
                  <a:pt x="2710" y="1253"/>
                  <a:pt x="2710" y="1253"/>
                </a:cubicBezTo>
                <a:cubicBezTo>
                  <a:pt x="2713" y="1253"/>
                  <a:pt x="2713" y="1253"/>
                  <a:pt x="2713" y="1253"/>
                </a:cubicBezTo>
                <a:cubicBezTo>
                  <a:pt x="2716" y="1246"/>
                  <a:pt x="2716" y="1246"/>
                  <a:pt x="2716" y="1246"/>
                </a:cubicBezTo>
                <a:cubicBezTo>
                  <a:pt x="2716" y="1246"/>
                  <a:pt x="2720" y="1246"/>
                  <a:pt x="2721" y="1246"/>
                </a:cubicBezTo>
                <a:cubicBezTo>
                  <a:pt x="2723" y="1245"/>
                  <a:pt x="2724" y="1239"/>
                  <a:pt x="2724" y="1239"/>
                </a:cubicBezTo>
                <a:cubicBezTo>
                  <a:pt x="2724" y="1239"/>
                  <a:pt x="2725" y="1244"/>
                  <a:pt x="2725" y="1246"/>
                </a:cubicBezTo>
                <a:cubicBezTo>
                  <a:pt x="2726" y="1247"/>
                  <a:pt x="2720" y="1250"/>
                  <a:pt x="2720" y="1250"/>
                </a:cubicBezTo>
                <a:cubicBezTo>
                  <a:pt x="2717" y="1250"/>
                  <a:pt x="2717" y="1250"/>
                  <a:pt x="2717" y="1250"/>
                </a:cubicBezTo>
                <a:cubicBezTo>
                  <a:pt x="2716" y="1252"/>
                  <a:pt x="2716" y="1252"/>
                  <a:pt x="2716" y="1252"/>
                </a:cubicBezTo>
                <a:cubicBezTo>
                  <a:pt x="2719" y="1257"/>
                  <a:pt x="2719" y="1257"/>
                  <a:pt x="2719" y="1257"/>
                </a:cubicBezTo>
                <a:cubicBezTo>
                  <a:pt x="2719" y="1257"/>
                  <a:pt x="2717" y="1257"/>
                  <a:pt x="2715" y="1258"/>
                </a:cubicBezTo>
                <a:cubicBezTo>
                  <a:pt x="2714" y="1259"/>
                  <a:pt x="2710" y="1264"/>
                  <a:pt x="2710" y="1264"/>
                </a:cubicBezTo>
                <a:cubicBezTo>
                  <a:pt x="2710" y="1264"/>
                  <a:pt x="2709" y="1268"/>
                  <a:pt x="2707" y="1269"/>
                </a:cubicBezTo>
                <a:cubicBezTo>
                  <a:pt x="2706" y="1270"/>
                  <a:pt x="2701" y="1272"/>
                  <a:pt x="2702" y="1273"/>
                </a:cubicBezTo>
                <a:cubicBezTo>
                  <a:pt x="2704" y="1275"/>
                  <a:pt x="2710" y="1273"/>
                  <a:pt x="2711" y="1272"/>
                </a:cubicBezTo>
                <a:cubicBezTo>
                  <a:pt x="2713" y="1271"/>
                  <a:pt x="2713" y="1268"/>
                  <a:pt x="2715" y="1266"/>
                </a:cubicBezTo>
                <a:cubicBezTo>
                  <a:pt x="2716" y="1264"/>
                  <a:pt x="2719" y="1262"/>
                  <a:pt x="2719" y="1262"/>
                </a:cubicBezTo>
                <a:cubicBezTo>
                  <a:pt x="2719" y="1262"/>
                  <a:pt x="2720" y="1268"/>
                  <a:pt x="2720" y="1269"/>
                </a:cubicBezTo>
                <a:cubicBezTo>
                  <a:pt x="2720" y="1270"/>
                  <a:pt x="2718" y="1272"/>
                  <a:pt x="2716" y="1273"/>
                </a:cubicBezTo>
                <a:cubicBezTo>
                  <a:pt x="2714" y="1274"/>
                  <a:pt x="2714" y="1276"/>
                  <a:pt x="2715" y="1277"/>
                </a:cubicBezTo>
                <a:cubicBezTo>
                  <a:pt x="2717" y="1278"/>
                  <a:pt x="2723" y="1278"/>
                  <a:pt x="2723" y="1278"/>
                </a:cubicBezTo>
                <a:cubicBezTo>
                  <a:pt x="2724" y="1280"/>
                  <a:pt x="2724" y="1280"/>
                  <a:pt x="2724" y="1280"/>
                </a:cubicBezTo>
                <a:cubicBezTo>
                  <a:pt x="2721" y="1283"/>
                  <a:pt x="2721" y="1283"/>
                  <a:pt x="2721" y="1283"/>
                </a:cubicBezTo>
                <a:cubicBezTo>
                  <a:pt x="2721" y="1283"/>
                  <a:pt x="2724" y="1289"/>
                  <a:pt x="2725" y="1291"/>
                </a:cubicBezTo>
                <a:cubicBezTo>
                  <a:pt x="2725" y="1293"/>
                  <a:pt x="2720" y="1296"/>
                  <a:pt x="2719" y="1299"/>
                </a:cubicBezTo>
                <a:cubicBezTo>
                  <a:pt x="2716" y="1301"/>
                  <a:pt x="2723" y="1306"/>
                  <a:pt x="2725" y="1306"/>
                </a:cubicBezTo>
                <a:cubicBezTo>
                  <a:pt x="2726" y="1307"/>
                  <a:pt x="2729" y="1311"/>
                  <a:pt x="2732" y="1312"/>
                </a:cubicBezTo>
                <a:cubicBezTo>
                  <a:pt x="2735" y="1313"/>
                  <a:pt x="2738" y="1311"/>
                  <a:pt x="2741" y="1312"/>
                </a:cubicBezTo>
                <a:cubicBezTo>
                  <a:pt x="2743" y="1313"/>
                  <a:pt x="2744" y="1316"/>
                  <a:pt x="2748" y="1317"/>
                </a:cubicBezTo>
                <a:cubicBezTo>
                  <a:pt x="2752" y="1318"/>
                  <a:pt x="2762" y="1311"/>
                  <a:pt x="2762" y="1311"/>
                </a:cubicBezTo>
                <a:cubicBezTo>
                  <a:pt x="2762" y="1311"/>
                  <a:pt x="2761" y="1308"/>
                  <a:pt x="2764" y="1306"/>
                </a:cubicBezTo>
                <a:cubicBezTo>
                  <a:pt x="2767" y="1304"/>
                  <a:pt x="2767" y="1311"/>
                  <a:pt x="2767" y="1311"/>
                </a:cubicBezTo>
                <a:cubicBezTo>
                  <a:pt x="2769" y="1311"/>
                  <a:pt x="2769" y="1311"/>
                  <a:pt x="2769" y="1311"/>
                </a:cubicBezTo>
                <a:cubicBezTo>
                  <a:pt x="2767" y="1315"/>
                  <a:pt x="2767" y="1315"/>
                  <a:pt x="2767" y="1315"/>
                </a:cubicBezTo>
                <a:cubicBezTo>
                  <a:pt x="2770" y="1315"/>
                  <a:pt x="2770" y="1315"/>
                  <a:pt x="2770" y="1315"/>
                </a:cubicBezTo>
                <a:cubicBezTo>
                  <a:pt x="2770" y="1315"/>
                  <a:pt x="2770" y="1317"/>
                  <a:pt x="2771" y="1319"/>
                </a:cubicBezTo>
                <a:cubicBezTo>
                  <a:pt x="2773" y="1321"/>
                  <a:pt x="2774" y="1320"/>
                  <a:pt x="2774" y="1320"/>
                </a:cubicBezTo>
                <a:cubicBezTo>
                  <a:pt x="2775" y="1318"/>
                  <a:pt x="2775" y="1318"/>
                  <a:pt x="2775" y="1318"/>
                </a:cubicBezTo>
                <a:cubicBezTo>
                  <a:pt x="2775" y="1318"/>
                  <a:pt x="2779" y="1317"/>
                  <a:pt x="2781" y="1315"/>
                </a:cubicBezTo>
                <a:cubicBezTo>
                  <a:pt x="2784" y="1314"/>
                  <a:pt x="2793" y="1307"/>
                  <a:pt x="2793" y="1307"/>
                </a:cubicBezTo>
                <a:cubicBezTo>
                  <a:pt x="2792" y="1305"/>
                  <a:pt x="2792" y="1305"/>
                  <a:pt x="2792" y="1305"/>
                </a:cubicBezTo>
                <a:cubicBezTo>
                  <a:pt x="2797" y="1304"/>
                  <a:pt x="2797" y="1304"/>
                  <a:pt x="2797" y="1304"/>
                </a:cubicBezTo>
                <a:cubicBezTo>
                  <a:pt x="2799" y="1306"/>
                  <a:pt x="2799" y="1306"/>
                  <a:pt x="2799" y="1306"/>
                </a:cubicBezTo>
                <a:cubicBezTo>
                  <a:pt x="2799" y="1306"/>
                  <a:pt x="2807" y="1305"/>
                  <a:pt x="2812" y="1303"/>
                </a:cubicBezTo>
                <a:cubicBezTo>
                  <a:pt x="2816" y="1301"/>
                  <a:pt x="2817" y="1292"/>
                  <a:pt x="2817" y="1289"/>
                </a:cubicBezTo>
                <a:cubicBezTo>
                  <a:pt x="2818" y="1287"/>
                  <a:pt x="2824" y="1284"/>
                  <a:pt x="2824" y="1284"/>
                </a:cubicBezTo>
                <a:cubicBezTo>
                  <a:pt x="2824" y="1281"/>
                  <a:pt x="2824" y="1281"/>
                  <a:pt x="2824" y="1281"/>
                </a:cubicBezTo>
                <a:cubicBezTo>
                  <a:pt x="2824" y="1281"/>
                  <a:pt x="2827" y="1279"/>
                  <a:pt x="2828" y="1277"/>
                </a:cubicBezTo>
                <a:cubicBezTo>
                  <a:pt x="2830" y="1275"/>
                  <a:pt x="2832" y="1272"/>
                  <a:pt x="2832" y="1272"/>
                </a:cubicBezTo>
                <a:cubicBezTo>
                  <a:pt x="2832" y="1272"/>
                  <a:pt x="2833" y="1266"/>
                  <a:pt x="2834" y="1264"/>
                </a:cubicBezTo>
                <a:cubicBezTo>
                  <a:pt x="2836" y="1262"/>
                  <a:pt x="2843" y="1254"/>
                  <a:pt x="2846" y="1253"/>
                </a:cubicBezTo>
                <a:cubicBezTo>
                  <a:pt x="2848" y="1252"/>
                  <a:pt x="2848" y="1245"/>
                  <a:pt x="2848" y="1245"/>
                </a:cubicBezTo>
                <a:cubicBezTo>
                  <a:pt x="2848" y="1245"/>
                  <a:pt x="2853" y="1246"/>
                  <a:pt x="2855" y="1244"/>
                </a:cubicBezTo>
                <a:cubicBezTo>
                  <a:pt x="2857" y="1242"/>
                  <a:pt x="2867" y="1230"/>
                  <a:pt x="2867" y="1228"/>
                </a:cubicBezTo>
                <a:cubicBezTo>
                  <a:pt x="2868" y="1227"/>
                  <a:pt x="2868" y="1220"/>
                  <a:pt x="2870" y="1219"/>
                </a:cubicBezTo>
                <a:cubicBezTo>
                  <a:pt x="2872" y="1218"/>
                  <a:pt x="2881" y="1200"/>
                  <a:pt x="2883" y="1196"/>
                </a:cubicBezTo>
                <a:cubicBezTo>
                  <a:pt x="2885" y="1192"/>
                  <a:pt x="2883" y="1190"/>
                  <a:pt x="2882" y="1187"/>
                </a:cubicBezTo>
                <a:cubicBezTo>
                  <a:pt x="2882" y="1184"/>
                  <a:pt x="2884" y="1180"/>
                  <a:pt x="2886" y="1177"/>
                </a:cubicBezTo>
                <a:cubicBezTo>
                  <a:pt x="2888" y="1174"/>
                  <a:pt x="2886" y="1161"/>
                  <a:pt x="2886" y="1161"/>
                </a:cubicBezTo>
                <a:cubicBezTo>
                  <a:pt x="2882" y="1159"/>
                  <a:pt x="2882" y="1159"/>
                  <a:pt x="2882" y="1159"/>
                </a:cubicBezTo>
                <a:cubicBezTo>
                  <a:pt x="2882" y="1159"/>
                  <a:pt x="2882" y="1159"/>
                  <a:pt x="2882" y="1159"/>
                </a:cubicBezTo>
                <a:close/>
                <a:moveTo>
                  <a:pt x="2509" y="971"/>
                </a:moveTo>
                <a:cubicBezTo>
                  <a:pt x="2511" y="973"/>
                  <a:pt x="2518" y="974"/>
                  <a:pt x="2521" y="975"/>
                </a:cubicBezTo>
                <a:cubicBezTo>
                  <a:pt x="2524" y="975"/>
                  <a:pt x="2525" y="974"/>
                  <a:pt x="2530" y="975"/>
                </a:cubicBezTo>
                <a:cubicBezTo>
                  <a:pt x="2534" y="975"/>
                  <a:pt x="2538" y="981"/>
                  <a:pt x="2540" y="982"/>
                </a:cubicBezTo>
                <a:cubicBezTo>
                  <a:pt x="2542" y="983"/>
                  <a:pt x="2544" y="981"/>
                  <a:pt x="2544" y="981"/>
                </a:cubicBezTo>
                <a:cubicBezTo>
                  <a:pt x="2544" y="981"/>
                  <a:pt x="2547" y="983"/>
                  <a:pt x="2547" y="981"/>
                </a:cubicBezTo>
                <a:cubicBezTo>
                  <a:pt x="2547" y="979"/>
                  <a:pt x="2545" y="976"/>
                  <a:pt x="2545" y="976"/>
                </a:cubicBezTo>
                <a:cubicBezTo>
                  <a:pt x="2545" y="976"/>
                  <a:pt x="2547" y="975"/>
                  <a:pt x="2547" y="971"/>
                </a:cubicBezTo>
                <a:cubicBezTo>
                  <a:pt x="2547" y="967"/>
                  <a:pt x="2542" y="967"/>
                  <a:pt x="2539" y="966"/>
                </a:cubicBezTo>
                <a:cubicBezTo>
                  <a:pt x="2536" y="965"/>
                  <a:pt x="2536" y="972"/>
                  <a:pt x="2536" y="972"/>
                </a:cubicBezTo>
                <a:cubicBezTo>
                  <a:pt x="2531" y="968"/>
                  <a:pt x="2531" y="968"/>
                  <a:pt x="2531" y="968"/>
                </a:cubicBezTo>
                <a:cubicBezTo>
                  <a:pt x="2531" y="968"/>
                  <a:pt x="2532" y="965"/>
                  <a:pt x="2532" y="960"/>
                </a:cubicBezTo>
                <a:cubicBezTo>
                  <a:pt x="2532" y="955"/>
                  <a:pt x="2522" y="957"/>
                  <a:pt x="2522" y="957"/>
                </a:cubicBezTo>
                <a:cubicBezTo>
                  <a:pt x="2517" y="954"/>
                  <a:pt x="2517" y="954"/>
                  <a:pt x="2517" y="954"/>
                </a:cubicBezTo>
                <a:cubicBezTo>
                  <a:pt x="2517" y="951"/>
                  <a:pt x="2517" y="951"/>
                  <a:pt x="2517" y="951"/>
                </a:cubicBezTo>
                <a:cubicBezTo>
                  <a:pt x="2511" y="951"/>
                  <a:pt x="2511" y="951"/>
                  <a:pt x="2511" y="951"/>
                </a:cubicBezTo>
                <a:cubicBezTo>
                  <a:pt x="2511" y="951"/>
                  <a:pt x="2510" y="955"/>
                  <a:pt x="2510" y="956"/>
                </a:cubicBezTo>
                <a:cubicBezTo>
                  <a:pt x="2510" y="957"/>
                  <a:pt x="2503" y="955"/>
                  <a:pt x="2500" y="954"/>
                </a:cubicBezTo>
                <a:cubicBezTo>
                  <a:pt x="2496" y="953"/>
                  <a:pt x="2490" y="954"/>
                  <a:pt x="2490" y="954"/>
                </a:cubicBezTo>
                <a:cubicBezTo>
                  <a:pt x="2490" y="954"/>
                  <a:pt x="2487" y="949"/>
                  <a:pt x="2485" y="947"/>
                </a:cubicBezTo>
                <a:cubicBezTo>
                  <a:pt x="2483" y="945"/>
                  <a:pt x="2480" y="947"/>
                  <a:pt x="2480" y="947"/>
                </a:cubicBezTo>
                <a:cubicBezTo>
                  <a:pt x="2480" y="947"/>
                  <a:pt x="2475" y="944"/>
                  <a:pt x="2473" y="944"/>
                </a:cubicBezTo>
                <a:cubicBezTo>
                  <a:pt x="2472" y="944"/>
                  <a:pt x="2467" y="944"/>
                  <a:pt x="2467" y="944"/>
                </a:cubicBezTo>
                <a:cubicBezTo>
                  <a:pt x="2467" y="944"/>
                  <a:pt x="2464" y="942"/>
                  <a:pt x="2462" y="943"/>
                </a:cubicBezTo>
                <a:cubicBezTo>
                  <a:pt x="2459" y="944"/>
                  <a:pt x="2459" y="949"/>
                  <a:pt x="2457" y="950"/>
                </a:cubicBezTo>
                <a:cubicBezTo>
                  <a:pt x="2456" y="951"/>
                  <a:pt x="2453" y="952"/>
                  <a:pt x="2453" y="955"/>
                </a:cubicBezTo>
                <a:cubicBezTo>
                  <a:pt x="2458" y="954"/>
                  <a:pt x="2458" y="954"/>
                  <a:pt x="2458" y="954"/>
                </a:cubicBezTo>
                <a:cubicBezTo>
                  <a:pt x="2465" y="954"/>
                  <a:pt x="2465" y="954"/>
                  <a:pt x="2465" y="954"/>
                </a:cubicBezTo>
                <a:cubicBezTo>
                  <a:pt x="2465" y="954"/>
                  <a:pt x="2460" y="957"/>
                  <a:pt x="2462" y="959"/>
                </a:cubicBezTo>
                <a:cubicBezTo>
                  <a:pt x="2464" y="961"/>
                  <a:pt x="2471" y="958"/>
                  <a:pt x="2471" y="958"/>
                </a:cubicBezTo>
                <a:cubicBezTo>
                  <a:pt x="2471" y="958"/>
                  <a:pt x="2482" y="963"/>
                  <a:pt x="2485" y="964"/>
                </a:cubicBezTo>
                <a:cubicBezTo>
                  <a:pt x="2488" y="965"/>
                  <a:pt x="2498" y="965"/>
                  <a:pt x="2502" y="965"/>
                </a:cubicBezTo>
                <a:cubicBezTo>
                  <a:pt x="2506" y="965"/>
                  <a:pt x="2507" y="969"/>
                  <a:pt x="2509" y="971"/>
                </a:cubicBezTo>
                <a:close/>
                <a:moveTo>
                  <a:pt x="2697" y="1278"/>
                </a:moveTo>
                <a:cubicBezTo>
                  <a:pt x="2694" y="1278"/>
                  <a:pt x="2690" y="1279"/>
                  <a:pt x="2692" y="1281"/>
                </a:cubicBezTo>
                <a:cubicBezTo>
                  <a:pt x="2693" y="1282"/>
                  <a:pt x="2694" y="1283"/>
                  <a:pt x="2694" y="1283"/>
                </a:cubicBezTo>
                <a:cubicBezTo>
                  <a:pt x="2697" y="1283"/>
                  <a:pt x="2700" y="1282"/>
                  <a:pt x="2700" y="1282"/>
                </a:cubicBezTo>
                <a:cubicBezTo>
                  <a:pt x="2702" y="1282"/>
                  <a:pt x="2702" y="1282"/>
                  <a:pt x="2702" y="1282"/>
                </a:cubicBezTo>
                <a:cubicBezTo>
                  <a:pt x="2702" y="1281"/>
                  <a:pt x="2702" y="1281"/>
                  <a:pt x="2702" y="1281"/>
                </a:cubicBezTo>
                <a:cubicBezTo>
                  <a:pt x="2705" y="1281"/>
                  <a:pt x="2705" y="1281"/>
                  <a:pt x="2705" y="1281"/>
                </a:cubicBezTo>
                <a:cubicBezTo>
                  <a:pt x="2706" y="1280"/>
                  <a:pt x="2706" y="1280"/>
                  <a:pt x="2706" y="1280"/>
                </a:cubicBezTo>
                <a:cubicBezTo>
                  <a:pt x="2702" y="1279"/>
                  <a:pt x="2702" y="1279"/>
                  <a:pt x="2702" y="1279"/>
                </a:cubicBezTo>
                <a:cubicBezTo>
                  <a:pt x="2702" y="1279"/>
                  <a:pt x="2700" y="1278"/>
                  <a:pt x="2697" y="1278"/>
                </a:cubicBezTo>
                <a:close/>
                <a:moveTo>
                  <a:pt x="2403" y="904"/>
                </a:moveTo>
                <a:cubicBezTo>
                  <a:pt x="2405" y="904"/>
                  <a:pt x="2402" y="899"/>
                  <a:pt x="2400" y="900"/>
                </a:cubicBezTo>
                <a:cubicBezTo>
                  <a:pt x="2399" y="901"/>
                  <a:pt x="2401" y="904"/>
                  <a:pt x="2403" y="904"/>
                </a:cubicBezTo>
                <a:close/>
                <a:moveTo>
                  <a:pt x="2773" y="1337"/>
                </a:moveTo>
                <a:cubicBezTo>
                  <a:pt x="2773" y="1338"/>
                  <a:pt x="2778" y="1336"/>
                  <a:pt x="2776" y="1334"/>
                </a:cubicBezTo>
                <a:cubicBezTo>
                  <a:pt x="2774" y="1333"/>
                  <a:pt x="2773" y="1337"/>
                  <a:pt x="2773" y="1337"/>
                </a:cubicBezTo>
                <a:close/>
                <a:moveTo>
                  <a:pt x="2390" y="875"/>
                </a:moveTo>
                <a:cubicBezTo>
                  <a:pt x="2387" y="878"/>
                  <a:pt x="2387" y="878"/>
                  <a:pt x="2387" y="878"/>
                </a:cubicBezTo>
                <a:cubicBezTo>
                  <a:pt x="2389" y="882"/>
                  <a:pt x="2389" y="882"/>
                  <a:pt x="2389" y="882"/>
                </a:cubicBezTo>
                <a:cubicBezTo>
                  <a:pt x="2389" y="882"/>
                  <a:pt x="2387" y="886"/>
                  <a:pt x="2389" y="885"/>
                </a:cubicBezTo>
                <a:cubicBezTo>
                  <a:pt x="2390" y="884"/>
                  <a:pt x="2390" y="879"/>
                  <a:pt x="2390" y="879"/>
                </a:cubicBezTo>
                <a:cubicBezTo>
                  <a:pt x="2391" y="877"/>
                  <a:pt x="2391" y="877"/>
                  <a:pt x="2391" y="877"/>
                </a:cubicBezTo>
                <a:cubicBezTo>
                  <a:pt x="2390" y="875"/>
                  <a:pt x="2390" y="875"/>
                  <a:pt x="2390" y="875"/>
                </a:cubicBezTo>
                <a:cubicBezTo>
                  <a:pt x="2390" y="875"/>
                  <a:pt x="2390" y="875"/>
                  <a:pt x="2390" y="875"/>
                </a:cubicBezTo>
                <a:close/>
                <a:moveTo>
                  <a:pt x="2898" y="994"/>
                </a:moveTo>
                <a:cubicBezTo>
                  <a:pt x="2898" y="991"/>
                  <a:pt x="2898" y="991"/>
                  <a:pt x="2898" y="991"/>
                </a:cubicBezTo>
                <a:cubicBezTo>
                  <a:pt x="2893" y="988"/>
                  <a:pt x="2893" y="988"/>
                  <a:pt x="2893" y="988"/>
                </a:cubicBezTo>
                <a:cubicBezTo>
                  <a:pt x="2895" y="986"/>
                  <a:pt x="2895" y="986"/>
                  <a:pt x="2895" y="986"/>
                </a:cubicBezTo>
                <a:cubicBezTo>
                  <a:pt x="2895" y="986"/>
                  <a:pt x="2890" y="985"/>
                  <a:pt x="2889" y="984"/>
                </a:cubicBezTo>
                <a:cubicBezTo>
                  <a:pt x="2888" y="983"/>
                  <a:pt x="2889" y="980"/>
                  <a:pt x="2889" y="978"/>
                </a:cubicBezTo>
                <a:cubicBezTo>
                  <a:pt x="2889" y="976"/>
                  <a:pt x="2882" y="979"/>
                  <a:pt x="2882" y="979"/>
                </a:cubicBezTo>
                <a:cubicBezTo>
                  <a:pt x="2882" y="975"/>
                  <a:pt x="2882" y="975"/>
                  <a:pt x="2882" y="975"/>
                </a:cubicBezTo>
                <a:cubicBezTo>
                  <a:pt x="2879" y="973"/>
                  <a:pt x="2879" y="973"/>
                  <a:pt x="2879" y="973"/>
                </a:cubicBezTo>
                <a:cubicBezTo>
                  <a:pt x="2879" y="967"/>
                  <a:pt x="2879" y="967"/>
                  <a:pt x="2879" y="967"/>
                </a:cubicBezTo>
                <a:cubicBezTo>
                  <a:pt x="2871" y="962"/>
                  <a:pt x="2871" y="962"/>
                  <a:pt x="2871" y="962"/>
                </a:cubicBezTo>
                <a:cubicBezTo>
                  <a:pt x="2867" y="954"/>
                  <a:pt x="2867" y="954"/>
                  <a:pt x="2867" y="954"/>
                </a:cubicBezTo>
                <a:cubicBezTo>
                  <a:pt x="2867" y="954"/>
                  <a:pt x="2875" y="951"/>
                  <a:pt x="2875" y="948"/>
                </a:cubicBezTo>
                <a:cubicBezTo>
                  <a:pt x="2875" y="944"/>
                  <a:pt x="2868" y="943"/>
                  <a:pt x="2868" y="943"/>
                </a:cubicBezTo>
                <a:cubicBezTo>
                  <a:pt x="2868" y="942"/>
                  <a:pt x="2857" y="939"/>
                  <a:pt x="2857" y="939"/>
                </a:cubicBezTo>
                <a:cubicBezTo>
                  <a:pt x="2857" y="939"/>
                  <a:pt x="2857" y="936"/>
                  <a:pt x="2857" y="932"/>
                </a:cubicBezTo>
                <a:cubicBezTo>
                  <a:pt x="2858" y="928"/>
                  <a:pt x="2852" y="927"/>
                  <a:pt x="2852" y="927"/>
                </a:cubicBezTo>
                <a:cubicBezTo>
                  <a:pt x="2846" y="920"/>
                  <a:pt x="2846" y="920"/>
                  <a:pt x="2846" y="920"/>
                </a:cubicBezTo>
                <a:cubicBezTo>
                  <a:pt x="2840" y="920"/>
                  <a:pt x="2840" y="920"/>
                  <a:pt x="2840" y="920"/>
                </a:cubicBezTo>
                <a:cubicBezTo>
                  <a:pt x="2835" y="916"/>
                  <a:pt x="2835" y="916"/>
                  <a:pt x="2835" y="916"/>
                </a:cubicBezTo>
                <a:cubicBezTo>
                  <a:pt x="2831" y="915"/>
                  <a:pt x="2831" y="915"/>
                  <a:pt x="2831" y="915"/>
                </a:cubicBezTo>
                <a:cubicBezTo>
                  <a:pt x="2814" y="907"/>
                  <a:pt x="2814" y="907"/>
                  <a:pt x="2814" y="907"/>
                </a:cubicBezTo>
                <a:cubicBezTo>
                  <a:pt x="2811" y="908"/>
                  <a:pt x="2811" y="908"/>
                  <a:pt x="2811" y="908"/>
                </a:cubicBezTo>
                <a:cubicBezTo>
                  <a:pt x="2805" y="904"/>
                  <a:pt x="2805" y="904"/>
                  <a:pt x="2805" y="904"/>
                </a:cubicBezTo>
                <a:cubicBezTo>
                  <a:pt x="2805" y="904"/>
                  <a:pt x="2801" y="904"/>
                  <a:pt x="2799" y="904"/>
                </a:cubicBezTo>
                <a:cubicBezTo>
                  <a:pt x="2797" y="904"/>
                  <a:pt x="2783" y="895"/>
                  <a:pt x="2780" y="895"/>
                </a:cubicBezTo>
                <a:cubicBezTo>
                  <a:pt x="2777" y="894"/>
                  <a:pt x="2773" y="898"/>
                  <a:pt x="2773" y="898"/>
                </a:cubicBezTo>
                <a:cubicBezTo>
                  <a:pt x="2775" y="902"/>
                  <a:pt x="2775" y="902"/>
                  <a:pt x="2775" y="902"/>
                </a:cubicBezTo>
                <a:cubicBezTo>
                  <a:pt x="2764" y="903"/>
                  <a:pt x="2764" y="903"/>
                  <a:pt x="2764" y="903"/>
                </a:cubicBezTo>
                <a:cubicBezTo>
                  <a:pt x="2765" y="906"/>
                  <a:pt x="2765" y="906"/>
                  <a:pt x="2765" y="906"/>
                </a:cubicBezTo>
                <a:cubicBezTo>
                  <a:pt x="2765" y="906"/>
                  <a:pt x="2763" y="913"/>
                  <a:pt x="2755" y="914"/>
                </a:cubicBezTo>
                <a:cubicBezTo>
                  <a:pt x="2747" y="916"/>
                  <a:pt x="2749" y="906"/>
                  <a:pt x="2748" y="906"/>
                </a:cubicBezTo>
                <a:cubicBezTo>
                  <a:pt x="2747" y="906"/>
                  <a:pt x="2746" y="910"/>
                  <a:pt x="2746" y="910"/>
                </a:cubicBezTo>
                <a:cubicBezTo>
                  <a:pt x="2746" y="910"/>
                  <a:pt x="2744" y="907"/>
                  <a:pt x="2744" y="905"/>
                </a:cubicBezTo>
                <a:cubicBezTo>
                  <a:pt x="2744" y="903"/>
                  <a:pt x="2744" y="897"/>
                  <a:pt x="2744" y="894"/>
                </a:cubicBezTo>
                <a:cubicBezTo>
                  <a:pt x="2743" y="890"/>
                  <a:pt x="2741" y="886"/>
                  <a:pt x="2741" y="886"/>
                </a:cubicBezTo>
                <a:cubicBezTo>
                  <a:pt x="2735" y="886"/>
                  <a:pt x="2735" y="886"/>
                  <a:pt x="2735" y="886"/>
                </a:cubicBezTo>
                <a:cubicBezTo>
                  <a:pt x="2735" y="886"/>
                  <a:pt x="2731" y="881"/>
                  <a:pt x="2727" y="881"/>
                </a:cubicBezTo>
                <a:cubicBezTo>
                  <a:pt x="2724" y="881"/>
                  <a:pt x="2720" y="886"/>
                  <a:pt x="2720" y="886"/>
                </a:cubicBezTo>
                <a:cubicBezTo>
                  <a:pt x="2716" y="887"/>
                  <a:pt x="2716" y="887"/>
                  <a:pt x="2716" y="887"/>
                </a:cubicBezTo>
                <a:cubicBezTo>
                  <a:pt x="2715" y="890"/>
                  <a:pt x="2715" y="890"/>
                  <a:pt x="2715" y="890"/>
                </a:cubicBezTo>
                <a:cubicBezTo>
                  <a:pt x="2713" y="891"/>
                  <a:pt x="2713" y="891"/>
                  <a:pt x="2713" y="891"/>
                </a:cubicBezTo>
                <a:cubicBezTo>
                  <a:pt x="2713" y="889"/>
                  <a:pt x="2713" y="889"/>
                  <a:pt x="2713" y="889"/>
                </a:cubicBezTo>
                <a:cubicBezTo>
                  <a:pt x="2713" y="889"/>
                  <a:pt x="2711" y="887"/>
                  <a:pt x="2709" y="888"/>
                </a:cubicBezTo>
                <a:cubicBezTo>
                  <a:pt x="2709" y="888"/>
                  <a:pt x="2709" y="890"/>
                  <a:pt x="2711" y="893"/>
                </a:cubicBezTo>
                <a:cubicBezTo>
                  <a:pt x="2713" y="896"/>
                  <a:pt x="2717" y="894"/>
                  <a:pt x="2721" y="895"/>
                </a:cubicBezTo>
                <a:cubicBezTo>
                  <a:pt x="2724" y="896"/>
                  <a:pt x="2721" y="898"/>
                  <a:pt x="2723" y="901"/>
                </a:cubicBezTo>
                <a:cubicBezTo>
                  <a:pt x="2725" y="904"/>
                  <a:pt x="2731" y="902"/>
                  <a:pt x="2736" y="902"/>
                </a:cubicBezTo>
                <a:cubicBezTo>
                  <a:pt x="2740" y="902"/>
                  <a:pt x="2741" y="903"/>
                  <a:pt x="2741" y="905"/>
                </a:cubicBezTo>
                <a:cubicBezTo>
                  <a:pt x="2741" y="907"/>
                  <a:pt x="2735" y="905"/>
                  <a:pt x="2734" y="905"/>
                </a:cubicBezTo>
                <a:cubicBezTo>
                  <a:pt x="2732" y="906"/>
                  <a:pt x="2728" y="908"/>
                  <a:pt x="2728" y="908"/>
                </a:cubicBezTo>
                <a:cubicBezTo>
                  <a:pt x="2728" y="908"/>
                  <a:pt x="2722" y="908"/>
                  <a:pt x="2721" y="909"/>
                </a:cubicBezTo>
                <a:cubicBezTo>
                  <a:pt x="2720" y="911"/>
                  <a:pt x="2726" y="912"/>
                  <a:pt x="2727" y="913"/>
                </a:cubicBezTo>
                <a:cubicBezTo>
                  <a:pt x="2729" y="914"/>
                  <a:pt x="2731" y="917"/>
                  <a:pt x="2731" y="917"/>
                </a:cubicBezTo>
                <a:cubicBezTo>
                  <a:pt x="2731" y="917"/>
                  <a:pt x="2727" y="921"/>
                  <a:pt x="2729" y="924"/>
                </a:cubicBezTo>
                <a:cubicBezTo>
                  <a:pt x="2731" y="927"/>
                  <a:pt x="2735" y="919"/>
                  <a:pt x="2735" y="918"/>
                </a:cubicBezTo>
                <a:cubicBezTo>
                  <a:pt x="2735" y="918"/>
                  <a:pt x="2739" y="912"/>
                  <a:pt x="2739" y="912"/>
                </a:cubicBezTo>
                <a:cubicBezTo>
                  <a:pt x="2739" y="917"/>
                  <a:pt x="2739" y="917"/>
                  <a:pt x="2739" y="917"/>
                </a:cubicBezTo>
                <a:cubicBezTo>
                  <a:pt x="2739" y="917"/>
                  <a:pt x="2742" y="920"/>
                  <a:pt x="2744" y="921"/>
                </a:cubicBezTo>
                <a:cubicBezTo>
                  <a:pt x="2746" y="924"/>
                  <a:pt x="2750" y="922"/>
                  <a:pt x="2750" y="922"/>
                </a:cubicBezTo>
                <a:cubicBezTo>
                  <a:pt x="2748" y="924"/>
                  <a:pt x="2748" y="924"/>
                  <a:pt x="2748" y="924"/>
                </a:cubicBezTo>
                <a:cubicBezTo>
                  <a:pt x="2753" y="928"/>
                  <a:pt x="2753" y="928"/>
                  <a:pt x="2753" y="928"/>
                </a:cubicBezTo>
                <a:cubicBezTo>
                  <a:pt x="2761" y="928"/>
                  <a:pt x="2761" y="928"/>
                  <a:pt x="2761" y="928"/>
                </a:cubicBezTo>
                <a:cubicBezTo>
                  <a:pt x="2766" y="932"/>
                  <a:pt x="2766" y="932"/>
                  <a:pt x="2766" y="932"/>
                </a:cubicBezTo>
                <a:cubicBezTo>
                  <a:pt x="2766" y="932"/>
                  <a:pt x="2774" y="935"/>
                  <a:pt x="2779" y="938"/>
                </a:cubicBezTo>
                <a:cubicBezTo>
                  <a:pt x="2784" y="942"/>
                  <a:pt x="2783" y="943"/>
                  <a:pt x="2783" y="947"/>
                </a:cubicBezTo>
                <a:cubicBezTo>
                  <a:pt x="2784" y="951"/>
                  <a:pt x="2788" y="953"/>
                  <a:pt x="2788" y="953"/>
                </a:cubicBezTo>
                <a:cubicBezTo>
                  <a:pt x="2788" y="953"/>
                  <a:pt x="2785" y="954"/>
                  <a:pt x="2785" y="956"/>
                </a:cubicBezTo>
                <a:cubicBezTo>
                  <a:pt x="2785" y="957"/>
                  <a:pt x="2790" y="958"/>
                  <a:pt x="2790" y="958"/>
                </a:cubicBezTo>
                <a:cubicBezTo>
                  <a:pt x="2787" y="959"/>
                  <a:pt x="2787" y="959"/>
                  <a:pt x="2787" y="959"/>
                </a:cubicBezTo>
                <a:cubicBezTo>
                  <a:pt x="2787" y="961"/>
                  <a:pt x="2787" y="961"/>
                  <a:pt x="2787" y="961"/>
                </a:cubicBezTo>
                <a:cubicBezTo>
                  <a:pt x="2788" y="961"/>
                  <a:pt x="2788" y="961"/>
                  <a:pt x="2788" y="961"/>
                </a:cubicBezTo>
                <a:cubicBezTo>
                  <a:pt x="2789" y="966"/>
                  <a:pt x="2789" y="966"/>
                  <a:pt x="2789" y="966"/>
                </a:cubicBezTo>
                <a:cubicBezTo>
                  <a:pt x="2787" y="970"/>
                  <a:pt x="2787" y="970"/>
                  <a:pt x="2787" y="970"/>
                </a:cubicBezTo>
                <a:cubicBezTo>
                  <a:pt x="2788" y="970"/>
                  <a:pt x="2789" y="970"/>
                  <a:pt x="2790" y="970"/>
                </a:cubicBezTo>
                <a:cubicBezTo>
                  <a:pt x="2791" y="970"/>
                  <a:pt x="2798" y="967"/>
                  <a:pt x="2798" y="967"/>
                </a:cubicBezTo>
                <a:cubicBezTo>
                  <a:pt x="2798" y="971"/>
                  <a:pt x="2798" y="971"/>
                  <a:pt x="2798" y="971"/>
                </a:cubicBezTo>
                <a:cubicBezTo>
                  <a:pt x="2798" y="971"/>
                  <a:pt x="2804" y="978"/>
                  <a:pt x="2806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11" y="981"/>
                  <a:pt x="2820" y="979"/>
                  <a:pt x="2820" y="979"/>
                </a:cubicBezTo>
                <a:cubicBezTo>
                  <a:pt x="2822" y="982"/>
                  <a:pt x="2822" y="982"/>
                  <a:pt x="2822" y="982"/>
                </a:cubicBezTo>
                <a:cubicBezTo>
                  <a:pt x="2822" y="982"/>
                  <a:pt x="2828" y="980"/>
                  <a:pt x="2830" y="978"/>
                </a:cubicBezTo>
                <a:cubicBezTo>
                  <a:pt x="2833" y="975"/>
                  <a:pt x="2819" y="969"/>
                  <a:pt x="2819" y="969"/>
                </a:cubicBezTo>
                <a:cubicBezTo>
                  <a:pt x="2819" y="969"/>
                  <a:pt x="2830" y="971"/>
                  <a:pt x="2833" y="970"/>
                </a:cubicBezTo>
                <a:cubicBezTo>
                  <a:pt x="2835" y="970"/>
                  <a:pt x="2831" y="965"/>
                  <a:pt x="2831" y="965"/>
                </a:cubicBezTo>
                <a:cubicBezTo>
                  <a:pt x="2831" y="965"/>
                  <a:pt x="2834" y="968"/>
                  <a:pt x="2835" y="967"/>
                </a:cubicBezTo>
                <a:cubicBezTo>
                  <a:pt x="2837" y="967"/>
                  <a:pt x="2834" y="962"/>
                  <a:pt x="2834" y="962"/>
                </a:cubicBezTo>
                <a:cubicBezTo>
                  <a:pt x="2834" y="962"/>
                  <a:pt x="2837" y="964"/>
                  <a:pt x="2838" y="964"/>
                </a:cubicBezTo>
                <a:cubicBezTo>
                  <a:pt x="2839" y="965"/>
                  <a:pt x="2841" y="962"/>
                  <a:pt x="2843" y="962"/>
                </a:cubicBezTo>
                <a:cubicBezTo>
                  <a:pt x="2844" y="961"/>
                  <a:pt x="2846" y="965"/>
                  <a:pt x="2848" y="966"/>
                </a:cubicBezTo>
                <a:cubicBezTo>
                  <a:pt x="2849" y="967"/>
                  <a:pt x="2854" y="966"/>
                  <a:pt x="2858" y="968"/>
                </a:cubicBezTo>
                <a:cubicBezTo>
                  <a:pt x="2862" y="970"/>
                  <a:pt x="2860" y="975"/>
                  <a:pt x="2862" y="978"/>
                </a:cubicBezTo>
                <a:cubicBezTo>
                  <a:pt x="2863" y="980"/>
                  <a:pt x="2866" y="979"/>
                  <a:pt x="2867" y="980"/>
                </a:cubicBezTo>
                <a:cubicBezTo>
                  <a:pt x="2868" y="981"/>
                  <a:pt x="2870" y="990"/>
                  <a:pt x="2873" y="992"/>
                </a:cubicBezTo>
                <a:cubicBezTo>
                  <a:pt x="2876" y="994"/>
                  <a:pt x="2889" y="993"/>
                  <a:pt x="2891" y="994"/>
                </a:cubicBezTo>
                <a:cubicBezTo>
                  <a:pt x="2893" y="994"/>
                  <a:pt x="2897" y="999"/>
                  <a:pt x="2900" y="999"/>
                </a:cubicBezTo>
                <a:cubicBezTo>
                  <a:pt x="2902" y="999"/>
                  <a:pt x="2898" y="994"/>
                  <a:pt x="2898" y="994"/>
                </a:cubicBezTo>
                <a:close/>
                <a:moveTo>
                  <a:pt x="2997" y="1342"/>
                </a:moveTo>
                <a:cubicBezTo>
                  <a:pt x="2995" y="1342"/>
                  <a:pt x="2995" y="1342"/>
                  <a:pt x="2995" y="1342"/>
                </a:cubicBezTo>
                <a:cubicBezTo>
                  <a:pt x="2996" y="1336"/>
                  <a:pt x="2996" y="1336"/>
                  <a:pt x="2996" y="1336"/>
                </a:cubicBezTo>
                <a:cubicBezTo>
                  <a:pt x="2992" y="1339"/>
                  <a:pt x="2992" y="1339"/>
                  <a:pt x="2992" y="1339"/>
                </a:cubicBezTo>
                <a:cubicBezTo>
                  <a:pt x="2992" y="1339"/>
                  <a:pt x="2995" y="1333"/>
                  <a:pt x="2993" y="1333"/>
                </a:cubicBezTo>
                <a:cubicBezTo>
                  <a:pt x="2990" y="1333"/>
                  <a:pt x="2988" y="1337"/>
                  <a:pt x="2988" y="1337"/>
                </a:cubicBezTo>
                <a:cubicBezTo>
                  <a:pt x="2986" y="1338"/>
                  <a:pt x="2986" y="1338"/>
                  <a:pt x="2986" y="1338"/>
                </a:cubicBezTo>
                <a:cubicBezTo>
                  <a:pt x="2986" y="1338"/>
                  <a:pt x="2983" y="1340"/>
                  <a:pt x="2982" y="1343"/>
                </a:cubicBezTo>
                <a:cubicBezTo>
                  <a:pt x="2980" y="1345"/>
                  <a:pt x="2975" y="1345"/>
                  <a:pt x="2972" y="1347"/>
                </a:cubicBezTo>
                <a:cubicBezTo>
                  <a:pt x="2969" y="1350"/>
                  <a:pt x="2968" y="1354"/>
                  <a:pt x="2968" y="1354"/>
                </a:cubicBezTo>
                <a:cubicBezTo>
                  <a:pt x="2968" y="1354"/>
                  <a:pt x="2958" y="1356"/>
                  <a:pt x="2955" y="1358"/>
                </a:cubicBezTo>
                <a:cubicBezTo>
                  <a:pt x="2952" y="1360"/>
                  <a:pt x="2947" y="1364"/>
                  <a:pt x="2947" y="1364"/>
                </a:cubicBezTo>
                <a:cubicBezTo>
                  <a:pt x="2947" y="1364"/>
                  <a:pt x="2942" y="1365"/>
                  <a:pt x="2938" y="1367"/>
                </a:cubicBezTo>
                <a:cubicBezTo>
                  <a:pt x="2935" y="1368"/>
                  <a:pt x="2933" y="1369"/>
                  <a:pt x="2930" y="1370"/>
                </a:cubicBezTo>
                <a:cubicBezTo>
                  <a:pt x="2926" y="1372"/>
                  <a:pt x="2920" y="1375"/>
                  <a:pt x="2917" y="1376"/>
                </a:cubicBezTo>
                <a:cubicBezTo>
                  <a:pt x="2915" y="1377"/>
                  <a:pt x="2916" y="1381"/>
                  <a:pt x="2916" y="1381"/>
                </a:cubicBezTo>
                <a:cubicBezTo>
                  <a:pt x="2914" y="1379"/>
                  <a:pt x="2914" y="1379"/>
                  <a:pt x="2914" y="1379"/>
                </a:cubicBezTo>
                <a:cubicBezTo>
                  <a:pt x="2914" y="1379"/>
                  <a:pt x="2907" y="1384"/>
                  <a:pt x="2904" y="1385"/>
                </a:cubicBezTo>
                <a:cubicBezTo>
                  <a:pt x="2902" y="1387"/>
                  <a:pt x="2901" y="1386"/>
                  <a:pt x="2897" y="1387"/>
                </a:cubicBezTo>
                <a:cubicBezTo>
                  <a:pt x="2894" y="1388"/>
                  <a:pt x="2893" y="1390"/>
                  <a:pt x="2893" y="1390"/>
                </a:cubicBezTo>
                <a:cubicBezTo>
                  <a:pt x="2893" y="1390"/>
                  <a:pt x="2897" y="1390"/>
                  <a:pt x="2896" y="1391"/>
                </a:cubicBezTo>
                <a:cubicBezTo>
                  <a:pt x="2896" y="1392"/>
                  <a:pt x="2894" y="1393"/>
                  <a:pt x="2895" y="1395"/>
                </a:cubicBezTo>
                <a:cubicBezTo>
                  <a:pt x="2896" y="1397"/>
                  <a:pt x="2901" y="1394"/>
                  <a:pt x="2901" y="1394"/>
                </a:cubicBezTo>
                <a:cubicBezTo>
                  <a:pt x="2902" y="1395"/>
                  <a:pt x="2902" y="1395"/>
                  <a:pt x="2902" y="1395"/>
                </a:cubicBezTo>
                <a:cubicBezTo>
                  <a:pt x="2906" y="1395"/>
                  <a:pt x="2906" y="1395"/>
                  <a:pt x="2906" y="1395"/>
                </a:cubicBezTo>
                <a:cubicBezTo>
                  <a:pt x="2906" y="1396"/>
                  <a:pt x="2906" y="1396"/>
                  <a:pt x="2906" y="1396"/>
                </a:cubicBezTo>
                <a:cubicBezTo>
                  <a:pt x="2911" y="1396"/>
                  <a:pt x="2911" y="1396"/>
                  <a:pt x="2911" y="1396"/>
                </a:cubicBezTo>
                <a:cubicBezTo>
                  <a:pt x="2913" y="1399"/>
                  <a:pt x="2913" y="1399"/>
                  <a:pt x="2913" y="1399"/>
                </a:cubicBezTo>
                <a:cubicBezTo>
                  <a:pt x="2917" y="1398"/>
                  <a:pt x="2917" y="1398"/>
                  <a:pt x="2917" y="1398"/>
                </a:cubicBezTo>
                <a:cubicBezTo>
                  <a:pt x="2917" y="1398"/>
                  <a:pt x="2921" y="1400"/>
                  <a:pt x="2924" y="1400"/>
                </a:cubicBezTo>
                <a:cubicBezTo>
                  <a:pt x="2928" y="1399"/>
                  <a:pt x="2929" y="1396"/>
                  <a:pt x="2931" y="1394"/>
                </a:cubicBezTo>
                <a:cubicBezTo>
                  <a:pt x="2933" y="1393"/>
                  <a:pt x="2934" y="1395"/>
                  <a:pt x="2938" y="1393"/>
                </a:cubicBezTo>
                <a:cubicBezTo>
                  <a:pt x="2941" y="1391"/>
                  <a:pt x="2939" y="1388"/>
                  <a:pt x="2941" y="1386"/>
                </a:cubicBezTo>
                <a:cubicBezTo>
                  <a:pt x="2943" y="1383"/>
                  <a:pt x="2946" y="1385"/>
                  <a:pt x="2948" y="1383"/>
                </a:cubicBezTo>
                <a:cubicBezTo>
                  <a:pt x="2950" y="1382"/>
                  <a:pt x="2948" y="1380"/>
                  <a:pt x="2948" y="1380"/>
                </a:cubicBezTo>
                <a:cubicBezTo>
                  <a:pt x="2951" y="1380"/>
                  <a:pt x="2951" y="1380"/>
                  <a:pt x="2951" y="1380"/>
                </a:cubicBezTo>
                <a:cubicBezTo>
                  <a:pt x="2959" y="1373"/>
                  <a:pt x="2959" y="1373"/>
                  <a:pt x="2959" y="1373"/>
                </a:cubicBezTo>
                <a:cubicBezTo>
                  <a:pt x="2957" y="1371"/>
                  <a:pt x="2957" y="1371"/>
                  <a:pt x="2957" y="1371"/>
                </a:cubicBezTo>
                <a:cubicBezTo>
                  <a:pt x="2962" y="1373"/>
                  <a:pt x="2962" y="1373"/>
                  <a:pt x="2962" y="1373"/>
                </a:cubicBezTo>
                <a:cubicBezTo>
                  <a:pt x="2962" y="1373"/>
                  <a:pt x="2962" y="1370"/>
                  <a:pt x="2964" y="1370"/>
                </a:cubicBezTo>
                <a:cubicBezTo>
                  <a:pt x="2966" y="1370"/>
                  <a:pt x="2968" y="1371"/>
                  <a:pt x="2970" y="1372"/>
                </a:cubicBezTo>
                <a:cubicBezTo>
                  <a:pt x="2973" y="1372"/>
                  <a:pt x="2974" y="1368"/>
                  <a:pt x="2974" y="1368"/>
                </a:cubicBezTo>
                <a:cubicBezTo>
                  <a:pt x="2972" y="1367"/>
                  <a:pt x="2972" y="1367"/>
                  <a:pt x="2972" y="1367"/>
                </a:cubicBezTo>
                <a:cubicBezTo>
                  <a:pt x="2975" y="1364"/>
                  <a:pt x="2975" y="1364"/>
                  <a:pt x="2975" y="1364"/>
                </a:cubicBezTo>
                <a:cubicBezTo>
                  <a:pt x="2978" y="1361"/>
                  <a:pt x="2978" y="1361"/>
                  <a:pt x="2978" y="1361"/>
                </a:cubicBezTo>
                <a:cubicBezTo>
                  <a:pt x="2978" y="1361"/>
                  <a:pt x="2980" y="1359"/>
                  <a:pt x="2983" y="1359"/>
                </a:cubicBezTo>
                <a:cubicBezTo>
                  <a:pt x="2985" y="1358"/>
                  <a:pt x="2986" y="1354"/>
                  <a:pt x="2986" y="1354"/>
                </a:cubicBezTo>
                <a:cubicBezTo>
                  <a:pt x="2986" y="1354"/>
                  <a:pt x="2988" y="1354"/>
                  <a:pt x="2990" y="1353"/>
                </a:cubicBezTo>
                <a:cubicBezTo>
                  <a:pt x="2993" y="1352"/>
                  <a:pt x="2995" y="1349"/>
                  <a:pt x="2995" y="1349"/>
                </a:cubicBezTo>
                <a:cubicBezTo>
                  <a:pt x="2995" y="1349"/>
                  <a:pt x="2999" y="1347"/>
                  <a:pt x="3001" y="1345"/>
                </a:cubicBezTo>
                <a:cubicBezTo>
                  <a:pt x="3003" y="1342"/>
                  <a:pt x="3001" y="1337"/>
                  <a:pt x="3001" y="1337"/>
                </a:cubicBezTo>
                <a:cubicBezTo>
                  <a:pt x="2997" y="1342"/>
                  <a:pt x="2997" y="1342"/>
                  <a:pt x="2997" y="1342"/>
                </a:cubicBezTo>
                <a:cubicBezTo>
                  <a:pt x="2997" y="1342"/>
                  <a:pt x="2997" y="1342"/>
                  <a:pt x="2997" y="1342"/>
                </a:cubicBezTo>
                <a:close/>
                <a:moveTo>
                  <a:pt x="2787" y="970"/>
                </a:moveTo>
                <a:cubicBezTo>
                  <a:pt x="2788" y="965"/>
                  <a:pt x="2788" y="965"/>
                  <a:pt x="2788" y="965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5" y="960"/>
                  <a:pt x="2781" y="962"/>
                </a:cubicBezTo>
                <a:cubicBezTo>
                  <a:pt x="2776" y="964"/>
                  <a:pt x="2775" y="972"/>
                  <a:pt x="2775" y="972"/>
                </a:cubicBezTo>
                <a:cubicBezTo>
                  <a:pt x="2784" y="971"/>
                  <a:pt x="2784" y="971"/>
                  <a:pt x="2784" y="971"/>
                </a:cubicBezTo>
                <a:cubicBezTo>
                  <a:pt x="2784" y="971"/>
                  <a:pt x="2785" y="970"/>
                  <a:pt x="2787" y="970"/>
                </a:cubicBezTo>
                <a:close/>
                <a:moveTo>
                  <a:pt x="2392" y="888"/>
                </a:moveTo>
                <a:cubicBezTo>
                  <a:pt x="2390" y="891"/>
                  <a:pt x="2392" y="900"/>
                  <a:pt x="2396" y="899"/>
                </a:cubicBezTo>
                <a:cubicBezTo>
                  <a:pt x="2398" y="898"/>
                  <a:pt x="2395" y="886"/>
                  <a:pt x="2392" y="888"/>
                </a:cubicBezTo>
                <a:close/>
                <a:moveTo>
                  <a:pt x="2756" y="1031"/>
                </a:moveTo>
                <a:cubicBezTo>
                  <a:pt x="2755" y="1031"/>
                  <a:pt x="2754" y="1038"/>
                  <a:pt x="2754" y="1038"/>
                </a:cubicBezTo>
                <a:cubicBezTo>
                  <a:pt x="2756" y="1040"/>
                  <a:pt x="2761" y="1038"/>
                  <a:pt x="2761" y="1038"/>
                </a:cubicBezTo>
                <a:cubicBezTo>
                  <a:pt x="2760" y="1036"/>
                  <a:pt x="2760" y="1036"/>
                  <a:pt x="2760" y="1036"/>
                </a:cubicBezTo>
                <a:cubicBezTo>
                  <a:pt x="2761" y="1032"/>
                  <a:pt x="2761" y="1032"/>
                  <a:pt x="2761" y="1032"/>
                </a:cubicBezTo>
                <a:cubicBezTo>
                  <a:pt x="2761" y="1032"/>
                  <a:pt x="2757" y="1031"/>
                  <a:pt x="2756" y="1031"/>
                </a:cubicBezTo>
                <a:close/>
                <a:moveTo>
                  <a:pt x="2775" y="1331"/>
                </a:moveTo>
                <a:cubicBezTo>
                  <a:pt x="2772" y="1326"/>
                  <a:pt x="2772" y="1326"/>
                  <a:pt x="2772" y="1326"/>
                </a:cubicBezTo>
                <a:cubicBezTo>
                  <a:pt x="2772" y="1326"/>
                  <a:pt x="2770" y="1328"/>
                  <a:pt x="2770" y="1329"/>
                </a:cubicBezTo>
                <a:cubicBezTo>
                  <a:pt x="2770" y="1331"/>
                  <a:pt x="2770" y="1331"/>
                  <a:pt x="2772" y="1332"/>
                </a:cubicBezTo>
                <a:cubicBezTo>
                  <a:pt x="2774" y="1333"/>
                  <a:pt x="2775" y="1331"/>
                  <a:pt x="2775" y="1331"/>
                </a:cubicBezTo>
                <a:close/>
                <a:moveTo>
                  <a:pt x="1371" y="240"/>
                </a:moveTo>
                <a:cubicBezTo>
                  <a:pt x="1370" y="238"/>
                  <a:pt x="1370" y="238"/>
                  <a:pt x="1370" y="238"/>
                </a:cubicBezTo>
                <a:cubicBezTo>
                  <a:pt x="1368" y="243"/>
                  <a:pt x="1368" y="243"/>
                  <a:pt x="1368" y="243"/>
                </a:cubicBezTo>
                <a:cubicBezTo>
                  <a:pt x="1371" y="240"/>
                  <a:pt x="1371" y="240"/>
                  <a:pt x="1371" y="240"/>
                </a:cubicBezTo>
                <a:cubicBezTo>
                  <a:pt x="1371" y="240"/>
                  <a:pt x="1371" y="240"/>
                  <a:pt x="1371" y="240"/>
                </a:cubicBezTo>
                <a:close/>
                <a:moveTo>
                  <a:pt x="1382" y="256"/>
                </a:moveTo>
                <a:cubicBezTo>
                  <a:pt x="1381" y="256"/>
                  <a:pt x="1381" y="257"/>
                  <a:pt x="1380" y="261"/>
                </a:cubicBezTo>
                <a:cubicBezTo>
                  <a:pt x="1380" y="263"/>
                  <a:pt x="1384" y="256"/>
                  <a:pt x="1382" y="256"/>
                </a:cubicBezTo>
                <a:close/>
                <a:moveTo>
                  <a:pt x="1378" y="236"/>
                </a:moveTo>
                <a:cubicBezTo>
                  <a:pt x="1376" y="236"/>
                  <a:pt x="1377" y="238"/>
                  <a:pt x="1377" y="238"/>
                </a:cubicBezTo>
                <a:cubicBezTo>
                  <a:pt x="1377" y="238"/>
                  <a:pt x="1376" y="237"/>
                  <a:pt x="1375" y="238"/>
                </a:cubicBezTo>
                <a:cubicBezTo>
                  <a:pt x="1374" y="239"/>
                  <a:pt x="1377" y="240"/>
                  <a:pt x="1377" y="241"/>
                </a:cubicBezTo>
                <a:cubicBezTo>
                  <a:pt x="1378" y="242"/>
                  <a:pt x="1381" y="241"/>
                  <a:pt x="1381" y="241"/>
                </a:cubicBezTo>
                <a:cubicBezTo>
                  <a:pt x="1379" y="239"/>
                  <a:pt x="1379" y="239"/>
                  <a:pt x="1379" y="239"/>
                </a:cubicBezTo>
                <a:cubicBezTo>
                  <a:pt x="1379" y="239"/>
                  <a:pt x="1380" y="236"/>
                  <a:pt x="1378" y="236"/>
                </a:cubicBezTo>
                <a:close/>
                <a:moveTo>
                  <a:pt x="1386" y="259"/>
                </a:moveTo>
                <a:cubicBezTo>
                  <a:pt x="1388" y="258"/>
                  <a:pt x="1386" y="255"/>
                  <a:pt x="1385" y="257"/>
                </a:cubicBezTo>
                <a:cubicBezTo>
                  <a:pt x="1383" y="258"/>
                  <a:pt x="1385" y="260"/>
                  <a:pt x="1386" y="259"/>
                </a:cubicBezTo>
                <a:close/>
                <a:moveTo>
                  <a:pt x="1391" y="271"/>
                </a:moveTo>
                <a:cubicBezTo>
                  <a:pt x="1390" y="267"/>
                  <a:pt x="1389" y="272"/>
                  <a:pt x="1387" y="273"/>
                </a:cubicBezTo>
                <a:cubicBezTo>
                  <a:pt x="1387" y="273"/>
                  <a:pt x="1392" y="274"/>
                  <a:pt x="1391" y="271"/>
                </a:cubicBezTo>
                <a:close/>
                <a:moveTo>
                  <a:pt x="1376" y="230"/>
                </a:moveTo>
                <a:cubicBezTo>
                  <a:pt x="1376" y="230"/>
                  <a:pt x="1374" y="229"/>
                  <a:pt x="1373" y="229"/>
                </a:cubicBezTo>
                <a:cubicBezTo>
                  <a:pt x="1372" y="230"/>
                  <a:pt x="1373" y="235"/>
                  <a:pt x="1373" y="235"/>
                </a:cubicBezTo>
                <a:cubicBezTo>
                  <a:pt x="1375" y="233"/>
                  <a:pt x="1375" y="233"/>
                  <a:pt x="1375" y="233"/>
                </a:cubicBezTo>
                <a:cubicBezTo>
                  <a:pt x="1375" y="233"/>
                  <a:pt x="1376" y="233"/>
                  <a:pt x="1377" y="233"/>
                </a:cubicBezTo>
                <a:cubicBezTo>
                  <a:pt x="1379" y="233"/>
                  <a:pt x="1380" y="227"/>
                  <a:pt x="1380" y="227"/>
                </a:cubicBezTo>
                <a:cubicBezTo>
                  <a:pt x="1380" y="227"/>
                  <a:pt x="1379" y="227"/>
                  <a:pt x="1377" y="228"/>
                </a:cubicBezTo>
                <a:cubicBezTo>
                  <a:pt x="1376" y="229"/>
                  <a:pt x="1376" y="230"/>
                  <a:pt x="1376" y="230"/>
                </a:cubicBezTo>
                <a:close/>
                <a:moveTo>
                  <a:pt x="1333" y="156"/>
                </a:moveTo>
                <a:cubicBezTo>
                  <a:pt x="1330" y="154"/>
                  <a:pt x="1327" y="156"/>
                  <a:pt x="1327" y="156"/>
                </a:cubicBezTo>
                <a:cubicBezTo>
                  <a:pt x="1328" y="154"/>
                  <a:pt x="1328" y="154"/>
                  <a:pt x="1328" y="154"/>
                </a:cubicBezTo>
                <a:cubicBezTo>
                  <a:pt x="1324" y="154"/>
                  <a:pt x="1324" y="154"/>
                  <a:pt x="1324" y="154"/>
                </a:cubicBezTo>
                <a:cubicBezTo>
                  <a:pt x="1326" y="151"/>
                  <a:pt x="1326" y="151"/>
                  <a:pt x="1326" y="151"/>
                </a:cubicBezTo>
                <a:cubicBezTo>
                  <a:pt x="1324" y="150"/>
                  <a:pt x="1324" y="150"/>
                  <a:pt x="1324" y="150"/>
                </a:cubicBezTo>
                <a:cubicBezTo>
                  <a:pt x="1325" y="148"/>
                  <a:pt x="1325" y="148"/>
                  <a:pt x="1325" y="148"/>
                </a:cubicBezTo>
                <a:cubicBezTo>
                  <a:pt x="1321" y="149"/>
                  <a:pt x="1321" y="149"/>
                  <a:pt x="1321" y="149"/>
                </a:cubicBezTo>
                <a:cubicBezTo>
                  <a:pt x="1321" y="149"/>
                  <a:pt x="1316" y="145"/>
                  <a:pt x="1315" y="145"/>
                </a:cubicBezTo>
                <a:cubicBezTo>
                  <a:pt x="1313" y="145"/>
                  <a:pt x="1314" y="149"/>
                  <a:pt x="1314" y="149"/>
                </a:cubicBezTo>
                <a:cubicBezTo>
                  <a:pt x="1311" y="150"/>
                  <a:pt x="1311" y="150"/>
                  <a:pt x="1311" y="150"/>
                </a:cubicBezTo>
                <a:cubicBezTo>
                  <a:pt x="1311" y="150"/>
                  <a:pt x="1309" y="149"/>
                  <a:pt x="1308" y="149"/>
                </a:cubicBezTo>
                <a:cubicBezTo>
                  <a:pt x="1306" y="149"/>
                  <a:pt x="1305" y="151"/>
                  <a:pt x="1305" y="151"/>
                </a:cubicBezTo>
                <a:cubicBezTo>
                  <a:pt x="1305" y="151"/>
                  <a:pt x="1302" y="149"/>
                  <a:pt x="1300" y="149"/>
                </a:cubicBezTo>
                <a:cubicBezTo>
                  <a:pt x="1299" y="150"/>
                  <a:pt x="1300" y="154"/>
                  <a:pt x="1300" y="154"/>
                </a:cubicBezTo>
                <a:cubicBezTo>
                  <a:pt x="1300" y="154"/>
                  <a:pt x="1296" y="149"/>
                  <a:pt x="1295" y="149"/>
                </a:cubicBezTo>
                <a:cubicBezTo>
                  <a:pt x="1293" y="149"/>
                  <a:pt x="1294" y="150"/>
                  <a:pt x="1294" y="150"/>
                </a:cubicBezTo>
                <a:cubicBezTo>
                  <a:pt x="1294" y="150"/>
                  <a:pt x="1291" y="150"/>
                  <a:pt x="1291" y="151"/>
                </a:cubicBezTo>
                <a:cubicBezTo>
                  <a:pt x="1291" y="151"/>
                  <a:pt x="1291" y="153"/>
                  <a:pt x="1291" y="153"/>
                </a:cubicBezTo>
                <a:cubicBezTo>
                  <a:pt x="1289" y="153"/>
                  <a:pt x="1289" y="153"/>
                  <a:pt x="1289" y="153"/>
                </a:cubicBezTo>
                <a:cubicBezTo>
                  <a:pt x="1289" y="153"/>
                  <a:pt x="1285" y="149"/>
                  <a:pt x="1284" y="150"/>
                </a:cubicBezTo>
                <a:cubicBezTo>
                  <a:pt x="1283" y="151"/>
                  <a:pt x="1284" y="156"/>
                  <a:pt x="1283" y="156"/>
                </a:cubicBezTo>
                <a:cubicBezTo>
                  <a:pt x="1282" y="156"/>
                  <a:pt x="1281" y="154"/>
                  <a:pt x="1280" y="154"/>
                </a:cubicBezTo>
                <a:cubicBezTo>
                  <a:pt x="1279" y="154"/>
                  <a:pt x="1276" y="158"/>
                  <a:pt x="1276" y="158"/>
                </a:cubicBezTo>
                <a:cubicBezTo>
                  <a:pt x="1276" y="157"/>
                  <a:pt x="1276" y="157"/>
                  <a:pt x="1276" y="157"/>
                </a:cubicBezTo>
                <a:cubicBezTo>
                  <a:pt x="1274" y="154"/>
                  <a:pt x="1274" y="154"/>
                  <a:pt x="1274" y="154"/>
                </a:cubicBezTo>
                <a:cubicBezTo>
                  <a:pt x="1274" y="154"/>
                  <a:pt x="1277" y="153"/>
                  <a:pt x="1276" y="151"/>
                </a:cubicBezTo>
                <a:cubicBezTo>
                  <a:pt x="1275" y="149"/>
                  <a:pt x="1268" y="146"/>
                  <a:pt x="1267" y="147"/>
                </a:cubicBezTo>
                <a:cubicBezTo>
                  <a:pt x="1266" y="148"/>
                  <a:pt x="1267" y="151"/>
                  <a:pt x="1267" y="151"/>
                </a:cubicBezTo>
                <a:cubicBezTo>
                  <a:pt x="1267" y="151"/>
                  <a:pt x="1263" y="149"/>
                  <a:pt x="1262" y="149"/>
                </a:cubicBezTo>
                <a:cubicBezTo>
                  <a:pt x="1261" y="149"/>
                  <a:pt x="1258" y="152"/>
                  <a:pt x="1258" y="152"/>
                </a:cubicBezTo>
                <a:cubicBezTo>
                  <a:pt x="1260" y="153"/>
                  <a:pt x="1260" y="153"/>
                  <a:pt x="1260" y="153"/>
                </a:cubicBezTo>
                <a:cubicBezTo>
                  <a:pt x="1260" y="153"/>
                  <a:pt x="1258" y="153"/>
                  <a:pt x="1256" y="154"/>
                </a:cubicBezTo>
                <a:cubicBezTo>
                  <a:pt x="1255" y="155"/>
                  <a:pt x="1254" y="155"/>
                  <a:pt x="1254" y="155"/>
                </a:cubicBezTo>
                <a:cubicBezTo>
                  <a:pt x="1254" y="155"/>
                  <a:pt x="1255" y="157"/>
                  <a:pt x="1257" y="157"/>
                </a:cubicBezTo>
                <a:cubicBezTo>
                  <a:pt x="1259" y="157"/>
                  <a:pt x="1264" y="154"/>
                  <a:pt x="1264" y="154"/>
                </a:cubicBezTo>
                <a:cubicBezTo>
                  <a:pt x="1272" y="156"/>
                  <a:pt x="1272" y="156"/>
                  <a:pt x="1272" y="156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6" y="158"/>
                  <a:pt x="1270" y="159"/>
                  <a:pt x="1270" y="160"/>
                </a:cubicBezTo>
                <a:cubicBezTo>
                  <a:pt x="1270" y="160"/>
                  <a:pt x="1261" y="160"/>
                  <a:pt x="1260" y="161"/>
                </a:cubicBezTo>
                <a:cubicBezTo>
                  <a:pt x="1259" y="161"/>
                  <a:pt x="1253" y="160"/>
                  <a:pt x="1254" y="162"/>
                </a:cubicBezTo>
                <a:cubicBezTo>
                  <a:pt x="1255" y="163"/>
                  <a:pt x="1258" y="162"/>
                  <a:pt x="1261" y="162"/>
                </a:cubicBezTo>
                <a:cubicBezTo>
                  <a:pt x="1263" y="163"/>
                  <a:pt x="1266" y="165"/>
                  <a:pt x="1266" y="165"/>
                </a:cubicBezTo>
                <a:cubicBezTo>
                  <a:pt x="1271" y="164"/>
                  <a:pt x="1271" y="164"/>
                  <a:pt x="1271" y="164"/>
                </a:cubicBezTo>
                <a:cubicBezTo>
                  <a:pt x="1268" y="166"/>
                  <a:pt x="1268" y="166"/>
                  <a:pt x="1268" y="166"/>
                </a:cubicBezTo>
                <a:cubicBezTo>
                  <a:pt x="1271" y="167"/>
                  <a:pt x="1271" y="167"/>
                  <a:pt x="1271" y="167"/>
                </a:cubicBezTo>
                <a:cubicBezTo>
                  <a:pt x="1271" y="167"/>
                  <a:pt x="1270" y="169"/>
                  <a:pt x="1268" y="170"/>
                </a:cubicBezTo>
                <a:cubicBezTo>
                  <a:pt x="1267" y="171"/>
                  <a:pt x="1260" y="170"/>
                  <a:pt x="1261" y="171"/>
                </a:cubicBezTo>
                <a:cubicBezTo>
                  <a:pt x="1263" y="173"/>
                  <a:pt x="1268" y="172"/>
                  <a:pt x="1270" y="172"/>
                </a:cubicBezTo>
                <a:cubicBezTo>
                  <a:pt x="1271" y="172"/>
                  <a:pt x="1273" y="171"/>
                  <a:pt x="1273" y="171"/>
                </a:cubicBezTo>
                <a:cubicBezTo>
                  <a:pt x="1277" y="173"/>
                  <a:pt x="1277" y="173"/>
                  <a:pt x="1277" y="173"/>
                </a:cubicBezTo>
                <a:cubicBezTo>
                  <a:pt x="1279" y="172"/>
                  <a:pt x="1279" y="172"/>
                  <a:pt x="1279" y="172"/>
                </a:cubicBezTo>
                <a:cubicBezTo>
                  <a:pt x="1279" y="172"/>
                  <a:pt x="1278" y="173"/>
                  <a:pt x="1280" y="174"/>
                </a:cubicBezTo>
                <a:cubicBezTo>
                  <a:pt x="1282" y="175"/>
                  <a:pt x="1287" y="177"/>
                  <a:pt x="1289" y="177"/>
                </a:cubicBezTo>
                <a:cubicBezTo>
                  <a:pt x="1295" y="175"/>
                  <a:pt x="1295" y="176"/>
                  <a:pt x="1296" y="175"/>
                </a:cubicBezTo>
                <a:cubicBezTo>
                  <a:pt x="1298" y="174"/>
                  <a:pt x="1297" y="173"/>
                  <a:pt x="1297" y="173"/>
                </a:cubicBezTo>
                <a:cubicBezTo>
                  <a:pt x="1297" y="173"/>
                  <a:pt x="1301" y="174"/>
                  <a:pt x="1303" y="174"/>
                </a:cubicBezTo>
                <a:cubicBezTo>
                  <a:pt x="1304" y="173"/>
                  <a:pt x="1304" y="172"/>
                  <a:pt x="1304" y="172"/>
                </a:cubicBezTo>
                <a:cubicBezTo>
                  <a:pt x="1304" y="172"/>
                  <a:pt x="1307" y="172"/>
                  <a:pt x="1308" y="172"/>
                </a:cubicBezTo>
                <a:cubicBezTo>
                  <a:pt x="1309" y="172"/>
                  <a:pt x="1317" y="168"/>
                  <a:pt x="1318" y="167"/>
                </a:cubicBezTo>
                <a:cubicBezTo>
                  <a:pt x="1320" y="167"/>
                  <a:pt x="1322" y="169"/>
                  <a:pt x="1324" y="167"/>
                </a:cubicBezTo>
                <a:cubicBezTo>
                  <a:pt x="1325" y="166"/>
                  <a:pt x="1325" y="163"/>
                  <a:pt x="1325" y="163"/>
                </a:cubicBezTo>
                <a:cubicBezTo>
                  <a:pt x="1325" y="163"/>
                  <a:pt x="1327" y="163"/>
                  <a:pt x="1329" y="163"/>
                </a:cubicBezTo>
                <a:cubicBezTo>
                  <a:pt x="1331" y="162"/>
                  <a:pt x="1333" y="160"/>
                  <a:pt x="1333" y="160"/>
                </a:cubicBezTo>
                <a:cubicBezTo>
                  <a:pt x="1331" y="160"/>
                  <a:pt x="1331" y="160"/>
                  <a:pt x="1331" y="160"/>
                </a:cubicBezTo>
                <a:cubicBezTo>
                  <a:pt x="1331" y="160"/>
                  <a:pt x="1336" y="157"/>
                  <a:pt x="1333" y="156"/>
                </a:cubicBezTo>
                <a:close/>
                <a:moveTo>
                  <a:pt x="1376" y="257"/>
                </a:moveTo>
                <a:cubicBezTo>
                  <a:pt x="1379" y="257"/>
                  <a:pt x="1381" y="255"/>
                  <a:pt x="1378" y="255"/>
                </a:cubicBezTo>
                <a:cubicBezTo>
                  <a:pt x="1376" y="254"/>
                  <a:pt x="1374" y="257"/>
                  <a:pt x="1376" y="257"/>
                </a:cubicBezTo>
                <a:close/>
                <a:moveTo>
                  <a:pt x="1371" y="235"/>
                </a:moveTo>
                <a:cubicBezTo>
                  <a:pt x="1370" y="235"/>
                  <a:pt x="1369" y="235"/>
                  <a:pt x="1369" y="237"/>
                </a:cubicBezTo>
                <a:cubicBezTo>
                  <a:pt x="1372" y="237"/>
                  <a:pt x="1372" y="237"/>
                  <a:pt x="1372" y="237"/>
                </a:cubicBezTo>
                <a:cubicBezTo>
                  <a:pt x="1372" y="237"/>
                  <a:pt x="1372" y="235"/>
                  <a:pt x="1371" y="235"/>
                </a:cubicBezTo>
                <a:close/>
                <a:moveTo>
                  <a:pt x="1376" y="282"/>
                </a:moveTo>
                <a:cubicBezTo>
                  <a:pt x="1376" y="280"/>
                  <a:pt x="1374" y="278"/>
                  <a:pt x="1374" y="278"/>
                </a:cubicBezTo>
                <a:cubicBezTo>
                  <a:pt x="1374" y="278"/>
                  <a:pt x="1374" y="276"/>
                  <a:pt x="1373" y="275"/>
                </a:cubicBezTo>
                <a:cubicBezTo>
                  <a:pt x="1373" y="274"/>
                  <a:pt x="1375" y="274"/>
                  <a:pt x="1376" y="274"/>
                </a:cubicBezTo>
                <a:cubicBezTo>
                  <a:pt x="1377" y="274"/>
                  <a:pt x="1377" y="274"/>
                  <a:pt x="1377" y="273"/>
                </a:cubicBezTo>
                <a:cubicBezTo>
                  <a:pt x="1378" y="273"/>
                  <a:pt x="1379" y="271"/>
                  <a:pt x="1379" y="271"/>
                </a:cubicBezTo>
                <a:cubicBezTo>
                  <a:pt x="1379" y="271"/>
                  <a:pt x="1380" y="273"/>
                  <a:pt x="1380" y="272"/>
                </a:cubicBezTo>
                <a:cubicBezTo>
                  <a:pt x="1381" y="270"/>
                  <a:pt x="1382" y="268"/>
                  <a:pt x="1381" y="267"/>
                </a:cubicBezTo>
                <a:cubicBezTo>
                  <a:pt x="1379" y="266"/>
                  <a:pt x="1379" y="264"/>
                  <a:pt x="1379" y="264"/>
                </a:cubicBezTo>
                <a:cubicBezTo>
                  <a:pt x="1378" y="264"/>
                  <a:pt x="1378" y="264"/>
                  <a:pt x="1378" y="264"/>
                </a:cubicBezTo>
                <a:cubicBezTo>
                  <a:pt x="1378" y="264"/>
                  <a:pt x="1377" y="262"/>
                  <a:pt x="1376" y="261"/>
                </a:cubicBezTo>
                <a:cubicBezTo>
                  <a:pt x="1374" y="261"/>
                  <a:pt x="1371" y="262"/>
                  <a:pt x="1371" y="262"/>
                </a:cubicBezTo>
                <a:cubicBezTo>
                  <a:pt x="1371" y="262"/>
                  <a:pt x="1371" y="262"/>
                  <a:pt x="1371" y="261"/>
                </a:cubicBezTo>
                <a:cubicBezTo>
                  <a:pt x="1370" y="261"/>
                  <a:pt x="1370" y="261"/>
                  <a:pt x="1369" y="260"/>
                </a:cubicBezTo>
                <a:cubicBezTo>
                  <a:pt x="1367" y="260"/>
                  <a:pt x="1366" y="263"/>
                  <a:pt x="1366" y="263"/>
                </a:cubicBezTo>
                <a:cubicBezTo>
                  <a:pt x="1365" y="261"/>
                  <a:pt x="1365" y="261"/>
                  <a:pt x="1365" y="261"/>
                </a:cubicBezTo>
                <a:cubicBezTo>
                  <a:pt x="1365" y="261"/>
                  <a:pt x="1360" y="261"/>
                  <a:pt x="1359" y="262"/>
                </a:cubicBezTo>
                <a:cubicBezTo>
                  <a:pt x="1358" y="263"/>
                  <a:pt x="1358" y="266"/>
                  <a:pt x="1358" y="266"/>
                </a:cubicBezTo>
                <a:cubicBezTo>
                  <a:pt x="1358" y="266"/>
                  <a:pt x="1354" y="266"/>
                  <a:pt x="1354" y="267"/>
                </a:cubicBezTo>
                <a:cubicBezTo>
                  <a:pt x="1354" y="269"/>
                  <a:pt x="1359" y="268"/>
                  <a:pt x="1358" y="269"/>
                </a:cubicBezTo>
                <a:cubicBezTo>
                  <a:pt x="1357" y="271"/>
                  <a:pt x="1357" y="270"/>
                  <a:pt x="1356" y="270"/>
                </a:cubicBezTo>
                <a:cubicBezTo>
                  <a:pt x="1356" y="271"/>
                  <a:pt x="1355" y="272"/>
                  <a:pt x="1355" y="272"/>
                </a:cubicBezTo>
                <a:cubicBezTo>
                  <a:pt x="1351" y="272"/>
                  <a:pt x="1351" y="272"/>
                  <a:pt x="1351" y="272"/>
                </a:cubicBezTo>
                <a:cubicBezTo>
                  <a:pt x="1351" y="273"/>
                  <a:pt x="1351" y="273"/>
                  <a:pt x="1351" y="273"/>
                </a:cubicBezTo>
                <a:cubicBezTo>
                  <a:pt x="1351" y="273"/>
                  <a:pt x="1349" y="270"/>
                  <a:pt x="1347" y="271"/>
                </a:cubicBezTo>
                <a:cubicBezTo>
                  <a:pt x="1345" y="271"/>
                  <a:pt x="1343" y="271"/>
                  <a:pt x="1343" y="271"/>
                </a:cubicBezTo>
                <a:cubicBezTo>
                  <a:pt x="1343" y="271"/>
                  <a:pt x="1343" y="275"/>
                  <a:pt x="1344" y="275"/>
                </a:cubicBezTo>
                <a:cubicBezTo>
                  <a:pt x="1345" y="275"/>
                  <a:pt x="1346" y="276"/>
                  <a:pt x="1346" y="276"/>
                </a:cubicBezTo>
                <a:cubicBezTo>
                  <a:pt x="1343" y="278"/>
                  <a:pt x="1343" y="278"/>
                  <a:pt x="1343" y="278"/>
                </a:cubicBezTo>
                <a:cubicBezTo>
                  <a:pt x="1343" y="278"/>
                  <a:pt x="1341" y="279"/>
                  <a:pt x="1342" y="280"/>
                </a:cubicBezTo>
                <a:cubicBezTo>
                  <a:pt x="1343" y="282"/>
                  <a:pt x="1347" y="282"/>
                  <a:pt x="1347" y="282"/>
                </a:cubicBezTo>
                <a:cubicBezTo>
                  <a:pt x="1347" y="282"/>
                  <a:pt x="1351" y="281"/>
                  <a:pt x="1351" y="282"/>
                </a:cubicBezTo>
                <a:cubicBezTo>
                  <a:pt x="1350" y="284"/>
                  <a:pt x="1347" y="284"/>
                  <a:pt x="1347" y="284"/>
                </a:cubicBezTo>
                <a:cubicBezTo>
                  <a:pt x="1347" y="287"/>
                  <a:pt x="1347" y="287"/>
                  <a:pt x="1347" y="287"/>
                </a:cubicBezTo>
                <a:cubicBezTo>
                  <a:pt x="1347" y="287"/>
                  <a:pt x="1345" y="286"/>
                  <a:pt x="1344" y="288"/>
                </a:cubicBezTo>
                <a:cubicBezTo>
                  <a:pt x="1344" y="290"/>
                  <a:pt x="1343" y="293"/>
                  <a:pt x="1343" y="293"/>
                </a:cubicBezTo>
                <a:cubicBezTo>
                  <a:pt x="1343" y="293"/>
                  <a:pt x="1338" y="293"/>
                  <a:pt x="1338" y="294"/>
                </a:cubicBezTo>
                <a:cubicBezTo>
                  <a:pt x="1338" y="295"/>
                  <a:pt x="1340" y="295"/>
                  <a:pt x="1340" y="295"/>
                </a:cubicBezTo>
                <a:cubicBezTo>
                  <a:pt x="1340" y="295"/>
                  <a:pt x="1337" y="295"/>
                  <a:pt x="1337" y="297"/>
                </a:cubicBezTo>
                <a:cubicBezTo>
                  <a:pt x="1337" y="298"/>
                  <a:pt x="1338" y="298"/>
                  <a:pt x="1338" y="298"/>
                </a:cubicBezTo>
                <a:cubicBezTo>
                  <a:pt x="1343" y="298"/>
                  <a:pt x="1343" y="298"/>
                  <a:pt x="1343" y="298"/>
                </a:cubicBezTo>
                <a:cubicBezTo>
                  <a:pt x="1341" y="300"/>
                  <a:pt x="1341" y="300"/>
                  <a:pt x="1341" y="300"/>
                </a:cubicBezTo>
                <a:cubicBezTo>
                  <a:pt x="1341" y="300"/>
                  <a:pt x="1344" y="299"/>
                  <a:pt x="1344" y="300"/>
                </a:cubicBezTo>
                <a:cubicBezTo>
                  <a:pt x="1344" y="300"/>
                  <a:pt x="1340" y="302"/>
                  <a:pt x="1343" y="302"/>
                </a:cubicBezTo>
                <a:cubicBezTo>
                  <a:pt x="1346" y="302"/>
                  <a:pt x="1350" y="301"/>
                  <a:pt x="1352" y="300"/>
                </a:cubicBezTo>
                <a:cubicBezTo>
                  <a:pt x="1354" y="299"/>
                  <a:pt x="1354" y="297"/>
                  <a:pt x="1354" y="297"/>
                </a:cubicBezTo>
                <a:cubicBezTo>
                  <a:pt x="1354" y="297"/>
                  <a:pt x="1356" y="298"/>
                  <a:pt x="1358" y="297"/>
                </a:cubicBezTo>
                <a:cubicBezTo>
                  <a:pt x="1360" y="296"/>
                  <a:pt x="1360" y="295"/>
                  <a:pt x="1363" y="295"/>
                </a:cubicBezTo>
                <a:cubicBezTo>
                  <a:pt x="1365" y="294"/>
                  <a:pt x="1366" y="294"/>
                  <a:pt x="1366" y="294"/>
                </a:cubicBezTo>
                <a:cubicBezTo>
                  <a:pt x="1367" y="293"/>
                  <a:pt x="1367" y="293"/>
                  <a:pt x="1367" y="293"/>
                </a:cubicBezTo>
                <a:cubicBezTo>
                  <a:pt x="1372" y="293"/>
                  <a:pt x="1372" y="293"/>
                  <a:pt x="1372" y="293"/>
                </a:cubicBezTo>
                <a:cubicBezTo>
                  <a:pt x="1372" y="291"/>
                  <a:pt x="1372" y="291"/>
                  <a:pt x="1372" y="291"/>
                </a:cubicBezTo>
                <a:cubicBezTo>
                  <a:pt x="1372" y="291"/>
                  <a:pt x="1374" y="291"/>
                  <a:pt x="1374" y="291"/>
                </a:cubicBezTo>
                <a:cubicBezTo>
                  <a:pt x="1374" y="290"/>
                  <a:pt x="1373" y="289"/>
                  <a:pt x="1374" y="288"/>
                </a:cubicBezTo>
                <a:cubicBezTo>
                  <a:pt x="1375" y="287"/>
                  <a:pt x="1376" y="284"/>
                  <a:pt x="1376" y="282"/>
                </a:cubicBezTo>
                <a:close/>
                <a:moveTo>
                  <a:pt x="1379" y="247"/>
                </a:moveTo>
                <a:cubicBezTo>
                  <a:pt x="1378" y="247"/>
                  <a:pt x="1377" y="249"/>
                  <a:pt x="1377" y="250"/>
                </a:cubicBezTo>
                <a:cubicBezTo>
                  <a:pt x="1378" y="250"/>
                  <a:pt x="1381" y="249"/>
                  <a:pt x="1381" y="249"/>
                </a:cubicBezTo>
                <a:cubicBezTo>
                  <a:pt x="1381" y="249"/>
                  <a:pt x="1380" y="247"/>
                  <a:pt x="1379" y="247"/>
                </a:cubicBezTo>
                <a:close/>
                <a:moveTo>
                  <a:pt x="1667" y="452"/>
                </a:moveTo>
                <a:cubicBezTo>
                  <a:pt x="1665" y="451"/>
                  <a:pt x="1665" y="454"/>
                  <a:pt x="1665" y="454"/>
                </a:cubicBezTo>
                <a:cubicBezTo>
                  <a:pt x="1668" y="456"/>
                  <a:pt x="1669" y="454"/>
                  <a:pt x="1667" y="452"/>
                </a:cubicBezTo>
                <a:close/>
                <a:moveTo>
                  <a:pt x="1661" y="435"/>
                </a:moveTo>
                <a:cubicBezTo>
                  <a:pt x="1657" y="436"/>
                  <a:pt x="1657" y="436"/>
                  <a:pt x="1657" y="436"/>
                </a:cubicBezTo>
                <a:cubicBezTo>
                  <a:pt x="1657" y="439"/>
                  <a:pt x="1659" y="438"/>
                  <a:pt x="1659" y="438"/>
                </a:cubicBezTo>
                <a:cubicBezTo>
                  <a:pt x="1659" y="438"/>
                  <a:pt x="1661" y="440"/>
                  <a:pt x="1662" y="439"/>
                </a:cubicBezTo>
                <a:cubicBezTo>
                  <a:pt x="1664" y="438"/>
                  <a:pt x="1661" y="435"/>
                  <a:pt x="1661" y="435"/>
                </a:cubicBezTo>
                <a:close/>
                <a:moveTo>
                  <a:pt x="1567" y="30"/>
                </a:moveTo>
                <a:cubicBezTo>
                  <a:pt x="1573" y="30"/>
                  <a:pt x="1573" y="30"/>
                  <a:pt x="1573" y="30"/>
                </a:cubicBezTo>
                <a:cubicBezTo>
                  <a:pt x="1573" y="30"/>
                  <a:pt x="1580" y="32"/>
                  <a:pt x="1580" y="31"/>
                </a:cubicBezTo>
                <a:cubicBezTo>
                  <a:pt x="1581" y="31"/>
                  <a:pt x="1586" y="30"/>
                  <a:pt x="1587" y="30"/>
                </a:cubicBezTo>
                <a:cubicBezTo>
                  <a:pt x="1588" y="30"/>
                  <a:pt x="1598" y="34"/>
                  <a:pt x="1598" y="34"/>
                </a:cubicBezTo>
                <a:cubicBezTo>
                  <a:pt x="1601" y="31"/>
                  <a:pt x="1601" y="31"/>
                  <a:pt x="1601" y="31"/>
                </a:cubicBezTo>
                <a:cubicBezTo>
                  <a:pt x="1609" y="31"/>
                  <a:pt x="1609" y="31"/>
                  <a:pt x="1609" y="31"/>
                </a:cubicBezTo>
                <a:cubicBezTo>
                  <a:pt x="1610" y="29"/>
                  <a:pt x="1610" y="29"/>
                  <a:pt x="1610" y="29"/>
                </a:cubicBezTo>
                <a:cubicBezTo>
                  <a:pt x="1610" y="29"/>
                  <a:pt x="1614" y="30"/>
                  <a:pt x="1616" y="26"/>
                </a:cubicBezTo>
                <a:cubicBezTo>
                  <a:pt x="1619" y="21"/>
                  <a:pt x="1609" y="25"/>
                  <a:pt x="1609" y="25"/>
                </a:cubicBezTo>
                <a:cubicBezTo>
                  <a:pt x="1609" y="25"/>
                  <a:pt x="1608" y="23"/>
                  <a:pt x="1603" y="23"/>
                </a:cubicBezTo>
                <a:cubicBezTo>
                  <a:pt x="1598" y="23"/>
                  <a:pt x="1595" y="25"/>
                  <a:pt x="1593" y="25"/>
                </a:cubicBezTo>
                <a:cubicBezTo>
                  <a:pt x="1592" y="25"/>
                  <a:pt x="1593" y="22"/>
                  <a:pt x="1589" y="22"/>
                </a:cubicBezTo>
                <a:cubicBezTo>
                  <a:pt x="1585" y="22"/>
                  <a:pt x="1584" y="25"/>
                  <a:pt x="1584" y="25"/>
                </a:cubicBezTo>
                <a:cubicBezTo>
                  <a:pt x="1575" y="22"/>
                  <a:pt x="1575" y="22"/>
                  <a:pt x="1575" y="22"/>
                </a:cubicBezTo>
                <a:cubicBezTo>
                  <a:pt x="1575" y="22"/>
                  <a:pt x="1571" y="24"/>
                  <a:pt x="1566" y="25"/>
                </a:cubicBezTo>
                <a:cubicBezTo>
                  <a:pt x="1561" y="25"/>
                  <a:pt x="1565" y="22"/>
                  <a:pt x="1565" y="22"/>
                </a:cubicBezTo>
                <a:cubicBezTo>
                  <a:pt x="1560" y="24"/>
                  <a:pt x="1560" y="24"/>
                  <a:pt x="1560" y="24"/>
                </a:cubicBezTo>
                <a:cubicBezTo>
                  <a:pt x="1562" y="27"/>
                  <a:pt x="1562" y="27"/>
                  <a:pt x="1562" y="27"/>
                </a:cubicBezTo>
                <a:cubicBezTo>
                  <a:pt x="1567" y="30"/>
                  <a:pt x="1567" y="30"/>
                  <a:pt x="1567" y="30"/>
                </a:cubicBezTo>
                <a:cubicBezTo>
                  <a:pt x="1567" y="30"/>
                  <a:pt x="1567" y="30"/>
                  <a:pt x="1567" y="30"/>
                </a:cubicBezTo>
                <a:close/>
                <a:moveTo>
                  <a:pt x="1662" y="467"/>
                </a:moveTo>
                <a:cubicBezTo>
                  <a:pt x="1664" y="468"/>
                  <a:pt x="1666" y="466"/>
                  <a:pt x="1664" y="465"/>
                </a:cubicBezTo>
                <a:cubicBezTo>
                  <a:pt x="1662" y="464"/>
                  <a:pt x="1661" y="466"/>
                  <a:pt x="1662" y="467"/>
                </a:cubicBezTo>
                <a:close/>
                <a:moveTo>
                  <a:pt x="1662" y="454"/>
                </a:moveTo>
                <a:cubicBezTo>
                  <a:pt x="1661" y="454"/>
                  <a:pt x="1658" y="454"/>
                  <a:pt x="1658" y="456"/>
                </a:cubicBezTo>
                <a:cubicBezTo>
                  <a:pt x="1658" y="457"/>
                  <a:pt x="1663" y="455"/>
                  <a:pt x="1662" y="454"/>
                </a:cubicBezTo>
                <a:close/>
                <a:moveTo>
                  <a:pt x="1652" y="460"/>
                </a:moveTo>
                <a:cubicBezTo>
                  <a:pt x="1653" y="463"/>
                  <a:pt x="1655" y="463"/>
                  <a:pt x="1656" y="461"/>
                </a:cubicBezTo>
                <a:cubicBezTo>
                  <a:pt x="1657" y="459"/>
                  <a:pt x="1652" y="457"/>
                  <a:pt x="1652" y="460"/>
                </a:cubicBezTo>
                <a:close/>
                <a:moveTo>
                  <a:pt x="1650" y="455"/>
                </a:moveTo>
                <a:cubicBezTo>
                  <a:pt x="1651" y="453"/>
                  <a:pt x="1651" y="453"/>
                  <a:pt x="1651" y="453"/>
                </a:cubicBezTo>
                <a:cubicBezTo>
                  <a:pt x="1646" y="449"/>
                  <a:pt x="1646" y="449"/>
                  <a:pt x="1646" y="449"/>
                </a:cubicBezTo>
                <a:cubicBezTo>
                  <a:pt x="1650" y="455"/>
                  <a:pt x="1650" y="455"/>
                  <a:pt x="1650" y="455"/>
                </a:cubicBezTo>
                <a:cubicBezTo>
                  <a:pt x="1650" y="455"/>
                  <a:pt x="1650" y="455"/>
                  <a:pt x="1650" y="455"/>
                </a:cubicBezTo>
                <a:close/>
                <a:moveTo>
                  <a:pt x="1789" y="125"/>
                </a:moveTo>
                <a:cubicBezTo>
                  <a:pt x="1794" y="126"/>
                  <a:pt x="1795" y="124"/>
                  <a:pt x="1797" y="124"/>
                </a:cubicBezTo>
                <a:cubicBezTo>
                  <a:pt x="1798" y="123"/>
                  <a:pt x="1799" y="121"/>
                  <a:pt x="1799" y="121"/>
                </a:cubicBezTo>
                <a:cubicBezTo>
                  <a:pt x="1801" y="121"/>
                  <a:pt x="1801" y="121"/>
                  <a:pt x="1801" y="121"/>
                </a:cubicBezTo>
                <a:cubicBezTo>
                  <a:pt x="1801" y="121"/>
                  <a:pt x="1800" y="119"/>
                  <a:pt x="1794" y="117"/>
                </a:cubicBezTo>
                <a:cubicBezTo>
                  <a:pt x="1789" y="116"/>
                  <a:pt x="1786" y="121"/>
                  <a:pt x="1786" y="121"/>
                </a:cubicBezTo>
                <a:cubicBezTo>
                  <a:pt x="1786" y="121"/>
                  <a:pt x="1784" y="124"/>
                  <a:pt x="1789" y="125"/>
                </a:cubicBezTo>
                <a:close/>
                <a:moveTo>
                  <a:pt x="1638" y="480"/>
                </a:moveTo>
                <a:cubicBezTo>
                  <a:pt x="1640" y="482"/>
                  <a:pt x="1641" y="481"/>
                  <a:pt x="1641" y="481"/>
                </a:cubicBezTo>
                <a:cubicBezTo>
                  <a:pt x="1642" y="482"/>
                  <a:pt x="1642" y="482"/>
                  <a:pt x="1642" y="482"/>
                </a:cubicBezTo>
                <a:cubicBezTo>
                  <a:pt x="1647" y="482"/>
                  <a:pt x="1647" y="482"/>
                  <a:pt x="1647" y="482"/>
                </a:cubicBezTo>
                <a:cubicBezTo>
                  <a:pt x="1649" y="485"/>
                  <a:pt x="1649" y="485"/>
                  <a:pt x="1649" y="485"/>
                </a:cubicBezTo>
                <a:cubicBezTo>
                  <a:pt x="1654" y="485"/>
                  <a:pt x="1654" y="485"/>
                  <a:pt x="1654" y="485"/>
                </a:cubicBezTo>
                <a:cubicBezTo>
                  <a:pt x="1655" y="484"/>
                  <a:pt x="1655" y="484"/>
                  <a:pt x="1655" y="484"/>
                </a:cubicBezTo>
                <a:cubicBezTo>
                  <a:pt x="1655" y="484"/>
                  <a:pt x="1663" y="485"/>
                  <a:pt x="1663" y="482"/>
                </a:cubicBezTo>
                <a:cubicBezTo>
                  <a:pt x="1663" y="479"/>
                  <a:pt x="1659" y="482"/>
                  <a:pt x="1658" y="482"/>
                </a:cubicBezTo>
                <a:cubicBezTo>
                  <a:pt x="1658" y="482"/>
                  <a:pt x="1657" y="480"/>
                  <a:pt x="1657" y="480"/>
                </a:cubicBezTo>
                <a:cubicBezTo>
                  <a:pt x="1652" y="480"/>
                  <a:pt x="1652" y="480"/>
                  <a:pt x="1652" y="480"/>
                </a:cubicBezTo>
                <a:cubicBezTo>
                  <a:pt x="1648" y="479"/>
                  <a:pt x="1648" y="479"/>
                  <a:pt x="1648" y="479"/>
                </a:cubicBezTo>
                <a:cubicBezTo>
                  <a:pt x="1644" y="479"/>
                  <a:pt x="1644" y="479"/>
                  <a:pt x="1644" y="479"/>
                </a:cubicBezTo>
                <a:cubicBezTo>
                  <a:pt x="1639" y="476"/>
                  <a:pt x="1639" y="476"/>
                  <a:pt x="1639" y="476"/>
                </a:cubicBezTo>
                <a:cubicBezTo>
                  <a:pt x="1639" y="476"/>
                  <a:pt x="1636" y="478"/>
                  <a:pt x="1638" y="480"/>
                </a:cubicBezTo>
                <a:close/>
                <a:moveTo>
                  <a:pt x="1643" y="426"/>
                </a:moveTo>
                <a:cubicBezTo>
                  <a:pt x="1644" y="425"/>
                  <a:pt x="1644" y="425"/>
                  <a:pt x="1644" y="425"/>
                </a:cubicBezTo>
                <a:cubicBezTo>
                  <a:pt x="1639" y="424"/>
                  <a:pt x="1639" y="424"/>
                  <a:pt x="1639" y="424"/>
                </a:cubicBezTo>
                <a:cubicBezTo>
                  <a:pt x="1643" y="426"/>
                  <a:pt x="1643" y="426"/>
                  <a:pt x="1643" y="426"/>
                </a:cubicBezTo>
                <a:cubicBezTo>
                  <a:pt x="1643" y="426"/>
                  <a:pt x="1643" y="426"/>
                  <a:pt x="1643" y="426"/>
                </a:cubicBezTo>
                <a:close/>
                <a:moveTo>
                  <a:pt x="1660" y="443"/>
                </a:moveTo>
                <a:cubicBezTo>
                  <a:pt x="1657" y="443"/>
                  <a:pt x="1657" y="443"/>
                  <a:pt x="1657" y="443"/>
                </a:cubicBezTo>
                <a:cubicBezTo>
                  <a:pt x="1657" y="446"/>
                  <a:pt x="1657" y="446"/>
                  <a:pt x="1657" y="446"/>
                </a:cubicBezTo>
                <a:cubicBezTo>
                  <a:pt x="1659" y="449"/>
                  <a:pt x="1659" y="449"/>
                  <a:pt x="1659" y="449"/>
                </a:cubicBezTo>
                <a:cubicBezTo>
                  <a:pt x="1660" y="443"/>
                  <a:pt x="1660" y="443"/>
                  <a:pt x="1660" y="443"/>
                </a:cubicBezTo>
                <a:cubicBezTo>
                  <a:pt x="1660" y="443"/>
                  <a:pt x="1660" y="443"/>
                  <a:pt x="1660" y="443"/>
                </a:cubicBezTo>
                <a:close/>
                <a:moveTo>
                  <a:pt x="1667" y="460"/>
                </a:moveTo>
                <a:cubicBezTo>
                  <a:pt x="1668" y="458"/>
                  <a:pt x="1668" y="458"/>
                  <a:pt x="1668" y="458"/>
                </a:cubicBezTo>
                <a:cubicBezTo>
                  <a:pt x="1666" y="458"/>
                  <a:pt x="1666" y="458"/>
                  <a:pt x="1666" y="458"/>
                </a:cubicBezTo>
                <a:cubicBezTo>
                  <a:pt x="1667" y="460"/>
                  <a:pt x="1667" y="460"/>
                  <a:pt x="1667" y="460"/>
                </a:cubicBezTo>
                <a:cubicBezTo>
                  <a:pt x="1667" y="460"/>
                  <a:pt x="1667" y="460"/>
                  <a:pt x="1667" y="460"/>
                </a:cubicBezTo>
                <a:close/>
                <a:moveTo>
                  <a:pt x="1649" y="466"/>
                </a:moveTo>
                <a:cubicBezTo>
                  <a:pt x="1648" y="467"/>
                  <a:pt x="1650" y="467"/>
                  <a:pt x="1650" y="466"/>
                </a:cubicBezTo>
                <a:cubicBezTo>
                  <a:pt x="1650" y="464"/>
                  <a:pt x="1649" y="465"/>
                  <a:pt x="1649" y="466"/>
                </a:cubicBezTo>
                <a:close/>
                <a:moveTo>
                  <a:pt x="1517" y="31"/>
                </a:moveTo>
                <a:cubicBezTo>
                  <a:pt x="1519" y="32"/>
                  <a:pt x="1522" y="32"/>
                  <a:pt x="1522" y="33"/>
                </a:cubicBezTo>
                <a:cubicBezTo>
                  <a:pt x="1523" y="34"/>
                  <a:pt x="1519" y="36"/>
                  <a:pt x="1519" y="36"/>
                </a:cubicBezTo>
                <a:cubicBezTo>
                  <a:pt x="1525" y="38"/>
                  <a:pt x="1525" y="38"/>
                  <a:pt x="1525" y="38"/>
                </a:cubicBezTo>
                <a:cubicBezTo>
                  <a:pt x="1525" y="38"/>
                  <a:pt x="1528" y="40"/>
                  <a:pt x="1531" y="41"/>
                </a:cubicBezTo>
                <a:cubicBezTo>
                  <a:pt x="1534" y="41"/>
                  <a:pt x="1536" y="37"/>
                  <a:pt x="1536" y="37"/>
                </a:cubicBezTo>
                <a:cubicBezTo>
                  <a:pt x="1542" y="36"/>
                  <a:pt x="1542" y="36"/>
                  <a:pt x="1542" y="36"/>
                </a:cubicBezTo>
                <a:cubicBezTo>
                  <a:pt x="1547" y="39"/>
                  <a:pt x="1547" y="39"/>
                  <a:pt x="1547" y="39"/>
                </a:cubicBezTo>
                <a:cubicBezTo>
                  <a:pt x="1547" y="39"/>
                  <a:pt x="1543" y="40"/>
                  <a:pt x="1539" y="41"/>
                </a:cubicBezTo>
                <a:cubicBezTo>
                  <a:pt x="1535" y="42"/>
                  <a:pt x="1536" y="43"/>
                  <a:pt x="1536" y="43"/>
                </a:cubicBezTo>
                <a:cubicBezTo>
                  <a:pt x="1536" y="43"/>
                  <a:pt x="1546" y="44"/>
                  <a:pt x="1545" y="44"/>
                </a:cubicBezTo>
                <a:cubicBezTo>
                  <a:pt x="1543" y="45"/>
                  <a:pt x="1537" y="47"/>
                  <a:pt x="1537" y="47"/>
                </a:cubicBezTo>
                <a:cubicBezTo>
                  <a:pt x="1544" y="50"/>
                  <a:pt x="1544" y="50"/>
                  <a:pt x="1544" y="50"/>
                </a:cubicBezTo>
                <a:cubicBezTo>
                  <a:pt x="1544" y="50"/>
                  <a:pt x="1550" y="53"/>
                  <a:pt x="1555" y="52"/>
                </a:cubicBezTo>
                <a:cubicBezTo>
                  <a:pt x="1561" y="51"/>
                  <a:pt x="1557" y="48"/>
                  <a:pt x="1557" y="47"/>
                </a:cubicBezTo>
                <a:cubicBezTo>
                  <a:pt x="1557" y="45"/>
                  <a:pt x="1563" y="45"/>
                  <a:pt x="1563" y="45"/>
                </a:cubicBezTo>
                <a:cubicBezTo>
                  <a:pt x="1563" y="42"/>
                  <a:pt x="1563" y="42"/>
                  <a:pt x="1563" y="42"/>
                </a:cubicBezTo>
                <a:cubicBezTo>
                  <a:pt x="1567" y="41"/>
                  <a:pt x="1567" y="41"/>
                  <a:pt x="1567" y="41"/>
                </a:cubicBezTo>
                <a:cubicBezTo>
                  <a:pt x="1569" y="37"/>
                  <a:pt x="1569" y="37"/>
                  <a:pt x="1569" y="37"/>
                </a:cubicBezTo>
                <a:cubicBezTo>
                  <a:pt x="1571" y="38"/>
                  <a:pt x="1571" y="38"/>
                  <a:pt x="1571" y="38"/>
                </a:cubicBezTo>
                <a:cubicBezTo>
                  <a:pt x="1575" y="36"/>
                  <a:pt x="1575" y="36"/>
                  <a:pt x="1575" y="36"/>
                </a:cubicBezTo>
                <a:cubicBezTo>
                  <a:pt x="1575" y="36"/>
                  <a:pt x="1577" y="39"/>
                  <a:pt x="1581" y="40"/>
                </a:cubicBezTo>
                <a:cubicBezTo>
                  <a:pt x="1585" y="41"/>
                  <a:pt x="1580" y="47"/>
                  <a:pt x="1580" y="47"/>
                </a:cubicBezTo>
                <a:cubicBezTo>
                  <a:pt x="1588" y="47"/>
                  <a:pt x="1588" y="47"/>
                  <a:pt x="1588" y="47"/>
                </a:cubicBezTo>
                <a:cubicBezTo>
                  <a:pt x="1588" y="47"/>
                  <a:pt x="1592" y="50"/>
                  <a:pt x="1592" y="49"/>
                </a:cubicBezTo>
                <a:cubicBezTo>
                  <a:pt x="1592" y="48"/>
                  <a:pt x="1603" y="45"/>
                  <a:pt x="1604" y="43"/>
                </a:cubicBezTo>
                <a:cubicBezTo>
                  <a:pt x="1605" y="41"/>
                  <a:pt x="1596" y="42"/>
                  <a:pt x="1596" y="42"/>
                </a:cubicBezTo>
                <a:cubicBezTo>
                  <a:pt x="1595" y="39"/>
                  <a:pt x="1595" y="39"/>
                  <a:pt x="1595" y="39"/>
                </a:cubicBezTo>
                <a:cubicBezTo>
                  <a:pt x="1588" y="38"/>
                  <a:pt x="1588" y="38"/>
                  <a:pt x="1588" y="38"/>
                </a:cubicBezTo>
                <a:cubicBezTo>
                  <a:pt x="1588" y="36"/>
                  <a:pt x="1588" y="36"/>
                  <a:pt x="1588" y="36"/>
                </a:cubicBezTo>
                <a:cubicBezTo>
                  <a:pt x="1583" y="36"/>
                  <a:pt x="1583" y="36"/>
                  <a:pt x="1583" y="36"/>
                </a:cubicBezTo>
                <a:cubicBezTo>
                  <a:pt x="1584" y="34"/>
                  <a:pt x="1584" y="34"/>
                  <a:pt x="1584" y="34"/>
                </a:cubicBezTo>
                <a:cubicBezTo>
                  <a:pt x="1573" y="34"/>
                  <a:pt x="1573" y="34"/>
                  <a:pt x="1573" y="34"/>
                </a:cubicBezTo>
                <a:cubicBezTo>
                  <a:pt x="1572" y="32"/>
                  <a:pt x="1572" y="32"/>
                  <a:pt x="1572" y="32"/>
                </a:cubicBezTo>
                <a:cubicBezTo>
                  <a:pt x="1567" y="32"/>
                  <a:pt x="1567" y="32"/>
                  <a:pt x="1567" y="32"/>
                </a:cubicBezTo>
                <a:cubicBezTo>
                  <a:pt x="1567" y="32"/>
                  <a:pt x="1567" y="30"/>
                  <a:pt x="1563" y="29"/>
                </a:cubicBezTo>
                <a:cubicBezTo>
                  <a:pt x="1560" y="28"/>
                  <a:pt x="1559" y="29"/>
                  <a:pt x="1559" y="29"/>
                </a:cubicBezTo>
                <a:cubicBezTo>
                  <a:pt x="1559" y="27"/>
                  <a:pt x="1559" y="27"/>
                  <a:pt x="1559" y="27"/>
                </a:cubicBezTo>
                <a:cubicBezTo>
                  <a:pt x="1559" y="27"/>
                  <a:pt x="1555" y="25"/>
                  <a:pt x="1549" y="26"/>
                </a:cubicBezTo>
                <a:cubicBezTo>
                  <a:pt x="1543" y="26"/>
                  <a:pt x="1551" y="33"/>
                  <a:pt x="1551" y="33"/>
                </a:cubicBezTo>
                <a:cubicBezTo>
                  <a:pt x="1551" y="33"/>
                  <a:pt x="1544" y="27"/>
                  <a:pt x="1541" y="27"/>
                </a:cubicBezTo>
                <a:cubicBezTo>
                  <a:pt x="1538" y="26"/>
                  <a:pt x="1537" y="30"/>
                  <a:pt x="1537" y="30"/>
                </a:cubicBezTo>
                <a:cubicBezTo>
                  <a:pt x="1537" y="30"/>
                  <a:pt x="1532" y="30"/>
                  <a:pt x="1531" y="29"/>
                </a:cubicBezTo>
                <a:cubicBezTo>
                  <a:pt x="1530" y="28"/>
                  <a:pt x="1533" y="26"/>
                  <a:pt x="1533" y="26"/>
                </a:cubicBezTo>
                <a:cubicBezTo>
                  <a:pt x="1526" y="27"/>
                  <a:pt x="1526" y="27"/>
                  <a:pt x="1526" y="27"/>
                </a:cubicBezTo>
                <a:cubicBezTo>
                  <a:pt x="1524" y="29"/>
                  <a:pt x="1524" y="29"/>
                  <a:pt x="1524" y="29"/>
                </a:cubicBezTo>
                <a:cubicBezTo>
                  <a:pt x="1523" y="26"/>
                  <a:pt x="1523" y="26"/>
                  <a:pt x="1523" y="26"/>
                </a:cubicBezTo>
                <a:cubicBezTo>
                  <a:pt x="1523" y="26"/>
                  <a:pt x="1518" y="28"/>
                  <a:pt x="1516" y="29"/>
                </a:cubicBezTo>
                <a:cubicBezTo>
                  <a:pt x="1516" y="29"/>
                  <a:pt x="1516" y="31"/>
                  <a:pt x="1517" y="31"/>
                </a:cubicBezTo>
                <a:close/>
                <a:moveTo>
                  <a:pt x="1658" y="463"/>
                </a:moveTo>
                <a:cubicBezTo>
                  <a:pt x="1658" y="465"/>
                  <a:pt x="1658" y="465"/>
                  <a:pt x="1658" y="465"/>
                </a:cubicBezTo>
                <a:cubicBezTo>
                  <a:pt x="1659" y="463"/>
                  <a:pt x="1659" y="463"/>
                  <a:pt x="1659" y="463"/>
                </a:cubicBezTo>
                <a:cubicBezTo>
                  <a:pt x="1658" y="463"/>
                  <a:pt x="1658" y="463"/>
                  <a:pt x="1658" y="463"/>
                </a:cubicBezTo>
                <a:cubicBezTo>
                  <a:pt x="1658" y="463"/>
                  <a:pt x="1658" y="463"/>
                  <a:pt x="1658" y="463"/>
                </a:cubicBezTo>
                <a:close/>
                <a:moveTo>
                  <a:pt x="1385" y="240"/>
                </a:moveTo>
                <a:cubicBezTo>
                  <a:pt x="1385" y="240"/>
                  <a:pt x="1384" y="241"/>
                  <a:pt x="1383" y="242"/>
                </a:cubicBezTo>
                <a:cubicBezTo>
                  <a:pt x="1382" y="243"/>
                  <a:pt x="1382" y="244"/>
                  <a:pt x="1382" y="244"/>
                </a:cubicBezTo>
                <a:cubicBezTo>
                  <a:pt x="1380" y="245"/>
                  <a:pt x="1380" y="245"/>
                  <a:pt x="1380" y="245"/>
                </a:cubicBezTo>
                <a:cubicBezTo>
                  <a:pt x="1380" y="245"/>
                  <a:pt x="1381" y="247"/>
                  <a:pt x="1383" y="247"/>
                </a:cubicBezTo>
                <a:cubicBezTo>
                  <a:pt x="1384" y="247"/>
                  <a:pt x="1386" y="245"/>
                  <a:pt x="1386" y="245"/>
                </a:cubicBezTo>
                <a:cubicBezTo>
                  <a:pt x="1386" y="247"/>
                  <a:pt x="1386" y="247"/>
                  <a:pt x="1386" y="247"/>
                </a:cubicBezTo>
                <a:cubicBezTo>
                  <a:pt x="1386" y="247"/>
                  <a:pt x="1383" y="249"/>
                  <a:pt x="1382" y="250"/>
                </a:cubicBezTo>
                <a:cubicBezTo>
                  <a:pt x="1381" y="252"/>
                  <a:pt x="1382" y="255"/>
                  <a:pt x="1382" y="255"/>
                </a:cubicBezTo>
                <a:cubicBezTo>
                  <a:pt x="1382" y="255"/>
                  <a:pt x="1384" y="253"/>
                  <a:pt x="1386" y="254"/>
                </a:cubicBezTo>
                <a:cubicBezTo>
                  <a:pt x="1387" y="255"/>
                  <a:pt x="1390" y="253"/>
                  <a:pt x="1390" y="253"/>
                </a:cubicBezTo>
                <a:cubicBezTo>
                  <a:pt x="1388" y="255"/>
                  <a:pt x="1388" y="255"/>
                  <a:pt x="1388" y="255"/>
                </a:cubicBezTo>
                <a:cubicBezTo>
                  <a:pt x="1389" y="259"/>
                  <a:pt x="1389" y="259"/>
                  <a:pt x="1389" y="259"/>
                </a:cubicBezTo>
                <a:cubicBezTo>
                  <a:pt x="1389" y="259"/>
                  <a:pt x="1387" y="262"/>
                  <a:pt x="1385" y="265"/>
                </a:cubicBezTo>
                <a:cubicBezTo>
                  <a:pt x="1384" y="267"/>
                  <a:pt x="1388" y="267"/>
                  <a:pt x="1388" y="267"/>
                </a:cubicBezTo>
                <a:cubicBezTo>
                  <a:pt x="1388" y="267"/>
                  <a:pt x="1391" y="265"/>
                  <a:pt x="1393" y="266"/>
                </a:cubicBezTo>
                <a:cubicBezTo>
                  <a:pt x="1394" y="267"/>
                  <a:pt x="1397" y="264"/>
                  <a:pt x="1397" y="264"/>
                </a:cubicBezTo>
                <a:cubicBezTo>
                  <a:pt x="1402" y="264"/>
                  <a:pt x="1402" y="264"/>
                  <a:pt x="1402" y="264"/>
                </a:cubicBezTo>
                <a:cubicBezTo>
                  <a:pt x="1402" y="264"/>
                  <a:pt x="1397" y="267"/>
                  <a:pt x="1397" y="269"/>
                </a:cubicBezTo>
                <a:cubicBezTo>
                  <a:pt x="1397" y="271"/>
                  <a:pt x="1403" y="273"/>
                  <a:pt x="1403" y="273"/>
                </a:cubicBezTo>
                <a:cubicBezTo>
                  <a:pt x="1403" y="276"/>
                  <a:pt x="1403" y="276"/>
                  <a:pt x="1403" y="276"/>
                </a:cubicBezTo>
                <a:cubicBezTo>
                  <a:pt x="1401" y="278"/>
                  <a:pt x="1401" y="278"/>
                  <a:pt x="1401" y="278"/>
                </a:cubicBezTo>
                <a:cubicBezTo>
                  <a:pt x="1401" y="278"/>
                  <a:pt x="1402" y="281"/>
                  <a:pt x="1401" y="282"/>
                </a:cubicBezTo>
                <a:cubicBezTo>
                  <a:pt x="1400" y="283"/>
                  <a:pt x="1392" y="282"/>
                  <a:pt x="1392" y="282"/>
                </a:cubicBezTo>
                <a:cubicBezTo>
                  <a:pt x="1392" y="282"/>
                  <a:pt x="1390" y="281"/>
                  <a:pt x="1388" y="281"/>
                </a:cubicBezTo>
                <a:cubicBezTo>
                  <a:pt x="1386" y="282"/>
                  <a:pt x="1389" y="284"/>
                  <a:pt x="1389" y="284"/>
                </a:cubicBezTo>
                <a:cubicBezTo>
                  <a:pt x="1386" y="287"/>
                  <a:pt x="1386" y="287"/>
                  <a:pt x="1386" y="287"/>
                </a:cubicBezTo>
                <a:cubicBezTo>
                  <a:pt x="1392" y="286"/>
                  <a:pt x="1392" y="286"/>
                  <a:pt x="1392" y="286"/>
                </a:cubicBezTo>
                <a:cubicBezTo>
                  <a:pt x="1392" y="286"/>
                  <a:pt x="1392" y="291"/>
                  <a:pt x="1390" y="293"/>
                </a:cubicBezTo>
                <a:cubicBezTo>
                  <a:pt x="1389" y="294"/>
                  <a:pt x="1383" y="296"/>
                  <a:pt x="1382" y="296"/>
                </a:cubicBezTo>
                <a:cubicBezTo>
                  <a:pt x="1381" y="297"/>
                  <a:pt x="1382" y="300"/>
                  <a:pt x="1383" y="301"/>
                </a:cubicBezTo>
                <a:cubicBezTo>
                  <a:pt x="1384" y="301"/>
                  <a:pt x="1388" y="298"/>
                  <a:pt x="1388" y="298"/>
                </a:cubicBezTo>
                <a:cubicBezTo>
                  <a:pt x="1388" y="298"/>
                  <a:pt x="1389" y="299"/>
                  <a:pt x="1389" y="300"/>
                </a:cubicBezTo>
                <a:cubicBezTo>
                  <a:pt x="1390" y="301"/>
                  <a:pt x="1392" y="300"/>
                  <a:pt x="1392" y="300"/>
                </a:cubicBezTo>
                <a:cubicBezTo>
                  <a:pt x="1392" y="300"/>
                  <a:pt x="1394" y="302"/>
                  <a:pt x="1396" y="302"/>
                </a:cubicBezTo>
                <a:cubicBezTo>
                  <a:pt x="1398" y="302"/>
                  <a:pt x="1399" y="301"/>
                  <a:pt x="1400" y="300"/>
                </a:cubicBezTo>
                <a:cubicBezTo>
                  <a:pt x="1401" y="299"/>
                  <a:pt x="1404" y="300"/>
                  <a:pt x="1404" y="300"/>
                </a:cubicBezTo>
                <a:cubicBezTo>
                  <a:pt x="1404" y="300"/>
                  <a:pt x="1400" y="303"/>
                  <a:pt x="1398" y="304"/>
                </a:cubicBezTo>
                <a:cubicBezTo>
                  <a:pt x="1396" y="306"/>
                  <a:pt x="1392" y="304"/>
                  <a:pt x="1390" y="304"/>
                </a:cubicBezTo>
                <a:cubicBezTo>
                  <a:pt x="1389" y="304"/>
                  <a:pt x="1389" y="306"/>
                  <a:pt x="1389" y="306"/>
                </a:cubicBezTo>
                <a:cubicBezTo>
                  <a:pt x="1389" y="306"/>
                  <a:pt x="1388" y="306"/>
                  <a:pt x="1386" y="307"/>
                </a:cubicBezTo>
                <a:cubicBezTo>
                  <a:pt x="1384" y="307"/>
                  <a:pt x="1386" y="309"/>
                  <a:pt x="1385" y="311"/>
                </a:cubicBezTo>
                <a:cubicBezTo>
                  <a:pt x="1384" y="312"/>
                  <a:pt x="1382" y="311"/>
                  <a:pt x="1381" y="311"/>
                </a:cubicBezTo>
                <a:cubicBezTo>
                  <a:pt x="1379" y="311"/>
                  <a:pt x="1380" y="314"/>
                  <a:pt x="1379" y="315"/>
                </a:cubicBezTo>
                <a:cubicBezTo>
                  <a:pt x="1377" y="316"/>
                  <a:pt x="1375" y="316"/>
                  <a:pt x="1375" y="317"/>
                </a:cubicBezTo>
                <a:cubicBezTo>
                  <a:pt x="1375" y="318"/>
                  <a:pt x="1379" y="318"/>
                  <a:pt x="1380" y="318"/>
                </a:cubicBezTo>
                <a:cubicBezTo>
                  <a:pt x="1380" y="318"/>
                  <a:pt x="1382" y="315"/>
                  <a:pt x="1383" y="314"/>
                </a:cubicBezTo>
                <a:cubicBezTo>
                  <a:pt x="1385" y="313"/>
                  <a:pt x="1387" y="314"/>
                  <a:pt x="1389" y="314"/>
                </a:cubicBezTo>
                <a:cubicBezTo>
                  <a:pt x="1390" y="314"/>
                  <a:pt x="1391" y="316"/>
                  <a:pt x="1392" y="316"/>
                </a:cubicBezTo>
                <a:cubicBezTo>
                  <a:pt x="1394" y="316"/>
                  <a:pt x="1396" y="310"/>
                  <a:pt x="1398" y="310"/>
                </a:cubicBezTo>
                <a:cubicBezTo>
                  <a:pt x="1399" y="309"/>
                  <a:pt x="1402" y="311"/>
                  <a:pt x="1402" y="311"/>
                </a:cubicBezTo>
                <a:cubicBezTo>
                  <a:pt x="1406" y="311"/>
                  <a:pt x="1406" y="311"/>
                  <a:pt x="1406" y="311"/>
                </a:cubicBezTo>
                <a:cubicBezTo>
                  <a:pt x="1410" y="310"/>
                  <a:pt x="1410" y="310"/>
                  <a:pt x="1410" y="310"/>
                </a:cubicBezTo>
                <a:cubicBezTo>
                  <a:pt x="1410" y="310"/>
                  <a:pt x="1414" y="312"/>
                  <a:pt x="1415" y="311"/>
                </a:cubicBezTo>
                <a:cubicBezTo>
                  <a:pt x="1416" y="311"/>
                  <a:pt x="1413" y="309"/>
                  <a:pt x="1414" y="308"/>
                </a:cubicBezTo>
                <a:cubicBezTo>
                  <a:pt x="1416" y="307"/>
                  <a:pt x="1418" y="310"/>
                  <a:pt x="1418" y="310"/>
                </a:cubicBezTo>
                <a:cubicBezTo>
                  <a:pt x="1419" y="309"/>
                  <a:pt x="1419" y="309"/>
                  <a:pt x="1419" y="309"/>
                </a:cubicBezTo>
                <a:cubicBezTo>
                  <a:pt x="1419" y="309"/>
                  <a:pt x="1430" y="309"/>
                  <a:pt x="1433" y="307"/>
                </a:cubicBezTo>
                <a:cubicBezTo>
                  <a:pt x="1435" y="306"/>
                  <a:pt x="1437" y="303"/>
                  <a:pt x="1437" y="303"/>
                </a:cubicBezTo>
                <a:cubicBezTo>
                  <a:pt x="1429" y="302"/>
                  <a:pt x="1429" y="302"/>
                  <a:pt x="1429" y="302"/>
                </a:cubicBezTo>
                <a:cubicBezTo>
                  <a:pt x="1433" y="301"/>
                  <a:pt x="1433" y="301"/>
                  <a:pt x="1433" y="301"/>
                </a:cubicBezTo>
                <a:cubicBezTo>
                  <a:pt x="1432" y="299"/>
                  <a:pt x="1432" y="299"/>
                  <a:pt x="1432" y="299"/>
                </a:cubicBezTo>
                <a:cubicBezTo>
                  <a:pt x="1432" y="299"/>
                  <a:pt x="1435" y="296"/>
                  <a:pt x="1436" y="296"/>
                </a:cubicBezTo>
                <a:cubicBezTo>
                  <a:pt x="1438" y="296"/>
                  <a:pt x="1440" y="294"/>
                  <a:pt x="1440" y="289"/>
                </a:cubicBezTo>
                <a:cubicBezTo>
                  <a:pt x="1440" y="285"/>
                  <a:pt x="1430" y="285"/>
                  <a:pt x="1430" y="285"/>
                </a:cubicBezTo>
                <a:cubicBezTo>
                  <a:pt x="1430" y="285"/>
                  <a:pt x="1429" y="288"/>
                  <a:pt x="1427" y="287"/>
                </a:cubicBezTo>
                <a:cubicBezTo>
                  <a:pt x="1425" y="285"/>
                  <a:pt x="1429" y="284"/>
                  <a:pt x="1429" y="282"/>
                </a:cubicBezTo>
                <a:cubicBezTo>
                  <a:pt x="1429" y="280"/>
                  <a:pt x="1422" y="279"/>
                  <a:pt x="1422" y="278"/>
                </a:cubicBezTo>
                <a:cubicBezTo>
                  <a:pt x="1422" y="277"/>
                  <a:pt x="1427" y="277"/>
                  <a:pt x="1427" y="277"/>
                </a:cubicBezTo>
                <a:cubicBezTo>
                  <a:pt x="1425" y="276"/>
                  <a:pt x="1425" y="276"/>
                  <a:pt x="1425" y="276"/>
                </a:cubicBezTo>
                <a:cubicBezTo>
                  <a:pt x="1425" y="276"/>
                  <a:pt x="1423" y="271"/>
                  <a:pt x="1422" y="270"/>
                </a:cubicBezTo>
                <a:cubicBezTo>
                  <a:pt x="1421" y="268"/>
                  <a:pt x="1419" y="268"/>
                  <a:pt x="1419" y="268"/>
                </a:cubicBezTo>
                <a:cubicBezTo>
                  <a:pt x="1419" y="268"/>
                  <a:pt x="1417" y="266"/>
                  <a:pt x="1415" y="265"/>
                </a:cubicBezTo>
                <a:cubicBezTo>
                  <a:pt x="1414" y="264"/>
                  <a:pt x="1415" y="257"/>
                  <a:pt x="1415" y="257"/>
                </a:cubicBezTo>
                <a:cubicBezTo>
                  <a:pt x="1413" y="257"/>
                  <a:pt x="1413" y="257"/>
                  <a:pt x="1413" y="257"/>
                </a:cubicBezTo>
                <a:cubicBezTo>
                  <a:pt x="1413" y="257"/>
                  <a:pt x="1413" y="256"/>
                  <a:pt x="1410" y="254"/>
                </a:cubicBezTo>
                <a:cubicBezTo>
                  <a:pt x="1407" y="252"/>
                  <a:pt x="1403" y="254"/>
                  <a:pt x="1401" y="254"/>
                </a:cubicBezTo>
                <a:cubicBezTo>
                  <a:pt x="1400" y="254"/>
                  <a:pt x="1398" y="252"/>
                  <a:pt x="1398" y="252"/>
                </a:cubicBezTo>
                <a:cubicBezTo>
                  <a:pt x="1398" y="252"/>
                  <a:pt x="1401" y="253"/>
                  <a:pt x="1402" y="253"/>
                </a:cubicBezTo>
                <a:cubicBezTo>
                  <a:pt x="1402" y="252"/>
                  <a:pt x="1406" y="252"/>
                  <a:pt x="1406" y="250"/>
                </a:cubicBezTo>
                <a:cubicBezTo>
                  <a:pt x="1407" y="249"/>
                  <a:pt x="1403" y="249"/>
                  <a:pt x="1403" y="249"/>
                </a:cubicBezTo>
                <a:cubicBezTo>
                  <a:pt x="1406" y="248"/>
                  <a:pt x="1406" y="248"/>
                  <a:pt x="1406" y="248"/>
                </a:cubicBezTo>
                <a:cubicBezTo>
                  <a:pt x="1406" y="248"/>
                  <a:pt x="1408" y="247"/>
                  <a:pt x="1409" y="246"/>
                </a:cubicBezTo>
                <a:cubicBezTo>
                  <a:pt x="1410" y="245"/>
                  <a:pt x="1412" y="240"/>
                  <a:pt x="1412" y="240"/>
                </a:cubicBezTo>
                <a:cubicBezTo>
                  <a:pt x="1412" y="240"/>
                  <a:pt x="1416" y="238"/>
                  <a:pt x="1416" y="236"/>
                </a:cubicBezTo>
                <a:cubicBezTo>
                  <a:pt x="1416" y="235"/>
                  <a:pt x="1404" y="236"/>
                  <a:pt x="1404" y="236"/>
                </a:cubicBezTo>
                <a:cubicBezTo>
                  <a:pt x="1404" y="236"/>
                  <a:pt x="1404" y="235"/>
                  <a:pt x="1402" y="235"/>
                </a:cubicBezTo>
                <a:cubicBezTo>
                  <a:pt x="1399" y="235"/>
                  <a:pt x="1395" y="237"/>
                  <a:pt x="1395" y="237"/>
                </a:cubicBezTo>
                <a:cubicBezTo>
                  <a:pt x="1397" y="235"/>
                  <a:pt x="1397" y="235"/>
                  <a:pt x="1397" y="235"/>
                </a:cubicBezTo>
                <a:cubicBezTo>
                  <a:pt x="1395" y="233"/>
                  <a:pt x="1395" y="233"/>
                  <a:pt x="1395" y="233"/>
                </a:cubicBezTo>
                <a:cubicBezTo>
                  <a:pt x="1398" y="233"/>
                  <a:pt x="1398" y="233"/>
                  <a:pt x="1398" y="233"/>
                </a:cubicBezTo>
                <a:cubicBezTo>
                  <a:pt x="1402" y="230"/>
                  <a:pt x="1402" y="230"/>
                  <a:pt x="1402" y="230"/>
                </a:cubicBezTo>
                <a:cubicBezTo>
                  <a:pt x="1402" y="230"/>
                  <a:pt x="1404" y="228"/>
                  <a:pt x="1405" y="226"/>
                </a:cubicBezTo>
                <a:cubicBezTo>
                  <a:pt x="1405" y="225"/>
                  <a:pt x="1402" y="225"/>
                  <a:pt x="1400" y="225"/>
                </a:cubicBezTo>
                <a:cubicBezTo>
                  <a:pt x="1399" y="225"/>
                  <a:pt x="1396" y="227"/>
                  <a:pt x="1394" y="227"/>
                </a:cubicBezTo>
                <a:cubicBezTo>
                  <a:pt x="1393" y="227"/>
                  <a:pt x="1391" y="225"/>
                  <a:pt x="1390" y="226"/>
                </a:cubicBezTo>
                <a:cubicBezTo>
                  <a:pt x="1388" y="226"/>
                  <a:pt x="1390" y="229"/>
                  <a:pt x="1390" y="229"/>
                </a:cubicBezTo>
                <a:cubicBezTo>
                  <a:pt x="1390" y="229"/>
                  <a:pt x="1388" y="229"/>
                  <a:pt x="1387" y="230"/>
                </a:cubicBezTo>
                <a:cubicBezTo>
                  <a:pt x="1386" y="230"/>
                  <a:pt x="1388" y="234"/>
                  <a:pt x="1388" y="234"/>
                </a:cubicBezTo>
                <a:cubicBezTo>
                  <a:pt x="1382" y="234"/>
                  <a:pt x="1382" y="234"/>
                  <a:pt x="1382" y="234"/>
                </a:cubicBezTo>
                <a:cubicBezTo>
                  <a:pt x="1382" y="235"/>
                  <a:pt x="1382" y="235"/>
                  <a:pt x="1382" y="235"/>
                </a:cubicBezTo>
                <a:cubicBezTo>
                  <a:pt x="1383" y="237"/>
                  <a:pt x="1383" y="237"/>
                  <a:pt x="1383" y="237"/>
                </a:cubicBezTo>
                <a:cubicBezTo>
                  <a:pt x="1385" y="240"/>
                  <a:pt x="1385" y="240"/>
                  <a:pt x="1385" y="240"/>
                </a:cubicBezTo>
                <a:cubicBezTo>
                  <a:pt x="1385" y="240"/>
                  <a:pt x="1385" y="240"/>
                  <a:pt x="1385" y="240"/>
                </a:cubicBezTo>
                <a:close/>
                <a:moveTo>
                  <a:pt x="1569" y="241"/>
                </a:moveTo>
                <a:cubicBezTo>
                  <a:pt x="1568" y="238"/>
                  <a:pt x="1568" y="238"/>
                  <a:pt x="1568" y="238"/>
                </a:cubicBezTo>
                <a:cubicBezTo>
                  <a:pt x="1568" y="238"/>
                  <a:pt x="1563" y="245"/>
                  <a:pt x="1563" y="247"/>
                </a:cubicBezTo>
                <a:cubicBezTo>
                  <a:pt x="1563" y="248"/>
                  <a:pt x="1563" y="250"/>
                  <a:pt x="1563" y="250"/>
                </a:cubicBezTo>
                <a:cubicBezTo>
                  <a:pt x="1565" y="250"/>
                  <a:pt x="1566" y="244"/>
                  <a:pt x="1566" y="244"/>
                </a:cubicBezTo>
                <a:cubicBezTo>
                  <a:pt x="1569" y="241"/>
                  <a:pt x="1569" y="241"/>
                  <a:pt x="1569" y="241"/>
                </a:cubicBezTo>
                <a:cubicBezTo>
                  <a:pt x="1569" y="241"/>
                  <a:pt x="1569" y="241"/>
                  <a:pt x="1569" y="241"/>
                </a:cubicBezTo>
                <a:close/>
                <a:moveTo>
                  <a:pt x="1648" y="462"/>
                </a:moveTo>
                <a:cubicBezTo>
                  <a:pt x="1647" y="461"/>
                  <a:pt x="1647" y="461"/>
                  <a:pt x="1647" y="461"/>
                </a:cubicBezTo>
                <a:cubicBezTo>
                  <a:pt x="1646" y="463"/>
                  <a:pt x="1646" y="463"/>
                  <a:pt x="1646" y="463"/>
                </a:cubicBezTo>
                <a:cubicBezTo>
                  <a:pt x="1648" y="462"/>
                  <a:pt x="1648" y="462"/>
                  <a:pt x="1648" y="462"/>
                </a:cubicBezTo>
                <a:cubicBezTo>
                  <a:pt x="1648" y="462"/>
                  <a:pt x="1648" y="462"/>
                  <a:pt x="1648" y="462"/>
                </a:cubicBezTo>
                <a:close/>
                <a:moveTo>
                  <a:pt x="1576" y="237"/>
                </a:moveTo>
                <a:cubicBezTo>
                  <a:pt x="1575" y="239"/>
                  <a:pt x="1578" y="244"/>
                  <a:pt x="1578" y="244"/>
                </a:cubicBezTo>
                <a:cubicBezTo>
                  <a:pt x="1580" y="240"/>
                  <a:pt x="1580" y="240"/>
                  <a:pt x="1580" y="240"/>
                </a:cubicBezTo>
                <a:cubicBezTo>
                  <a:pt x="1580" y="240"/>
                  <a:pt x="1581" y="241"/>
                  <a:pt x="1582" y="239"/>
                </a:cubicBezTo>
                <a:cubicBezTo>
                  <a:pt x="1583" y="237"/>
                  <a:pt x="1582" y="235"/>
                  <a:pt x="1582" y="235"/>
                </a:cubicBezTo>
                <a:cubicBezTo>
                  <a:pt x="1584" y="233"/>
                  <a:pt x="1584" y="233"/>
                  <a:pt x="1584" y="233"/>
                </a:cubicBezTo>
                <a:cubicBezTo>
                  <a:pt x="1584" y="233"/>
                  <a:pt x="1577" y="234"/>
                  <a:pt x="1576" y="237"/>
                </a:cubicBezTo>
                <a:close/>
                <a:moveTo>
                  <a:pt x="1607" y="226"/>
                </a:moveTo>
                <a:cubicBezTo>
                  <a:pt x="1605" y="227"/>
                  <a:pt x="1607" y="230"/>
                  <a:pt x="1607" y="230"/>
                </a:cubicBezTo>
                <a:cubicBezTo>
                  <a:pt x="1608" y="233"/>
                  <a:pt x="1608" y="233"/>
                  <a:pt x="1608" y="233"/>
                </a:cubicBezTo>
                <a:cubicBezTo>
                  <a:pt x="1608" y="233"/>
                  <a:pt x="1611" y="230"/>
                  <a:pt x="1612" y="230"/>
                </a:cubicBezTo>
                <a:cubicBezTo>
                  <a:pt x="1613" y="230"/>
                  <a:pt x="1617" y="227"/>
                  <a:pt x="1617" y="227"/>
                </a:cubicBezTo>
                <a:cubicBezTo>
                  <a:pt x="1616" y="225"/>
                  <a:pt x="1616" y="225"/>
                  <a:pt x="1616" y="225"/>
                </a:cubicBezTo>
                <a:cubicBezTo>
                  <a:pt x="1611" y="226"/>
                  <a:pt x="1611" y="226"/>
                  <a:pt x="1611" y="226"/>
                </a:cubicBezTo>
                <a:cubicBezTo>
                  <a:pt x="1611" y="226"/>
                  <a:pt x="1608" y="226"/>
                  <a:pt x="1607" y="226"/>
                </a:cubicBezTo>
                <a:close/>
                <a:moveTo>
                  <a:pt x="1612" y="220"/>
                </a:moveTo>
                <a:cubicBezTo>
                  <a:pt x="1610" y="221"/>
                  <a:pt x="1608" y="224"/>
                  <a:pt x="1611" y="224"/>
                </a:cubicBezTo>
                <a:cubicBezTo>
                  <a:pt x="1614" y="224"/>
                  <a:pt x="1615" y="220"/>
                  <a:pt x="1612" y="220"/>
                </a:cubicBezTo>
                <a:close/>
                <a:moveTo>
                  <a:pt x="1531" y="253"/>
                </a:moveTo>
                <a:cubicBezTo>
                  <a:pt x="1531" y="253"/>
                  <a:pt x="1529" y="251"/>
                  <a:pt x="1529" y="251"/>
                </a:cubicBezTo>
                <a:cubicBezTo>
                  <a:pt x="1529" y="251"/>
                  <a:pt x="1526" y="252"/>
                  <a:pt x="1526" y="253"/>
                </a:cubicBezTo>
                <a:cubicBezTo>
                  <a:pt x="1526" y="254"/>
                  <a:pt x="1526" y="255"/>
                  <a:pt x="1526" y="255"/>
                </a:cubicBezTo>
                <a:cubicBezTo>
                  <a:pt x="1526" y="255"/>
                  <a:pt x="1524" y="253"/>
                  <a:pt x="1524" y="253"/>
                </a:cubicBezTo>
                <a:cubicBezTo>
                  <a:pt x="1523" y="253"/>
                  <a:pt x="1523" y="254"/>
                  <a:pt x="1523" y="254"/>
                </a:cubicBezTo>
                <a:cubicBezTo>
                  <a:pt x="1519" y="256"/>
                  <a:pt x="1519" y="256"/>
                  <a:pt x="1519" y="256"/>
                </a:cubicBezTo>
                <a:cubicBezTo>
                  <a:pt x="1519" y="256"/>
                  <a:pt x="1521" y="257"/>
                  <a:pt x="1521" y="260"/>
                </a:cubicBezTo>
                <a:cubicBezTo>
                  <a:pt x="1521" y="262"/>
                  <a:pt x="1519" y="262"/>
                  <a:pt x="1521" y="262"/>
                </a:cubicBezTo>
                <a:cubicBezTo>
                  <a:pt x="1524" y="263"/>
                  <a:pt x="1525" y="262"/>
                  <a:pt x="1525" y="262"/>
                </a:cubicBezTo>
                <a:cubicBezTo>
                  <a:pt x="1525" y="262"/>
                  <a:pt x="1527" y="266"/>
                  <a:pt x="1527" y="265"/>
                </a:cubicBezTo>
                <a:cubicBezTo>
                  <a:pt x="1527" y="264"/>
                  <a:pt x="1529" y="261"/>
                  <a:pt x="1530" y="260"/>
                </a:cubicBezTo>
                <a:cubicBezTo>
                  <a:pt x="1530" y="260"/>
                  <a:pt x="1532" y="260"/>
                  <a:pt x="1530" y="259"/>
                </a:cubicBezTo>
                <a:cubicBezTo>
                  <a:pt x="1529" y="258"/>
                  <a:pt x="1527" y="257"/>
                  <a:pt x="1528" y="257"/>
                </a:cubicBezTo>
                <a:cubicBezTo>
                  <a:pt x="1529" y="257"/>
                  <a:pt x="1530" y="257"/>
                  <a:pt x="1529" y="256"/>
                </a:cubicBezTo>
                <a:cubicBezTo>
                  <a:pt x="1528" y="255"/>
                  <a:pt x="1531" y="253"/>
                  <a:pt x="1531" y="253"/>
                </a:cubicBezTo>
                <a:close/>
                <a:moveTo>
                  <a:pt x="1520" y="266"/>
                </a:moveTo>
                <a:cubicBezTo>
                  <a:pt x="1522" y="266"/>
                  <a:pt x="1524" y="268"/>
                  <a:pt x="1524" y="268"/>
                </a:cubicBezTo>
                <a:cubicBezTo>
                  <a:pt x="1524" y="268"/>
                  <a:pt x="1528" y="268"/>
                  <a:pt x="1531" y="267"/>
                </a:cubicBezTo>
                <a:cubicBezTo>
                  <a:pt x="1535" y="266"/>
                  <a:pt x="1532" y="264"/>
                  <a:pt x="1532" y="264"/>
                </a:cubicBezTo>
                <a:cubicBezTo>
                  <a:pt x="1528" y="265"/>
                  <a:pt x="1528" y="265"/>
                  <a:pt x="1528" y="265"/>
                </a:cubicBezTo>
                <a:cubicBezTo>
                  <a:pt x="1528" y="265"/>
                  <a:pt x="1526" y="266"/>
                  <a:pt x="1525" y="266"/>
                </a:cubicBezTo>
                <a:cubicBezTo>
                  <a:pt x="1525" y="266"/>
                  <a:pt x="1521" y="264"/>
                  <a:pt x="1520" y="264"/>
                </a:cubicBezTo>
                <a:cubicBezTo>
                  <a:pt x="1518" y="264"/>
                  <a:pt x="1518" y="266"/>
                  <a:pt x="1520" y="266"/>
                </a:cubicBezTo>
                <a:close/>
                <a:moveTo>
                  <a:pt x="1672" y="479"/>
                </a:moveTo>
                <a:cubicBezTo>
                  <a:pt x="1671" y="474"/>
                  <a:pt x="1671" y="474"/>
                  <a:pt x="1671" y="474"/>
                </a:cubicBezTo>
                <a:cubicBezTo>
                  <a:pt x="1669" y="480"/>
                  <a:pt x="1669" y="480"/>
                  <a:pt x="1669" y="480"/>
                </a:cubicBezTo>
                <a:cubicBezTo>
                  <a:pt x="1672" y="479"/>
                  <a:pt x="1672" y="479"/>
                  <a:pt x="1672" y="479"/>
                </a:cubicBezTo>
                <a:cubicBezTo>
                  <a:pt x="1672" y="479"/>
                  <a:pt x="1672" y="479"/>
                  <a:pt x="1672" y="479"/>
                </a:cubicBezTo>
                <a:close/>
                <a:moveTo>
                  <a:pt x="1672" y="460"/>
                </a:moveTo>
                <a:cubicBezTo>
                  <a:pt x="1669" y="462"/>
                  <a:pt x="1669" y="462"/>
                  <a:pt x="1669" y="462"/>
                </a:cubicBezTo>
                <a:cubicBezTo>
                  <a:pt x="1669" y="465"/>
                  <a:pt x="1669" y="465"/>
                  <a:pt x="1669" y="465"/>
                </a:cubicBezTo>
                <a:cubicBezTo>
                  <a:pt x="1674" y="461"/>
                  <a:pt x="1674" y="461"/>
                  <a:pt x="1674" y="461"/>
                </a:cubicBezTo>
                <a:cubicBezTo>
                  <a:pt x="1672" y="460"/>
                  <a:pt x="1672" y="460"/>
                  <a:pt x="1672" y="460"/>
                </a:cubicBezTo>
                <a:cubicBezTo>
                  <a:pt x="1672" y="460"/>
                  <a:pt x="1672" y="460"/>
                  <a:pt x="1672" y="460"/>
                </a:cubicBezTo>
                <a:close/>
                <a:moveTo>
                  <a:pt x="1680" y="467"/>
                </a:moveTo>
                <a:cubicBezTo>
                  <a:pt x="1679" y="466"/>
                  <a:pt x="1675" y="472"/>
                  <a:pt x="1676" y="474"/>
                </a:cubicBezTo>
                <a:cubicBezTo>
                  <a:pt x="1677" y="475"/>
                  <a:pt x="1681" y="469"/>
                  <a:pt x="1680" y="467"/>
                </a:cubicBezTo>
                <a:close/>
                <a:moveTo>
                  <a:pt x="1856" y="110"/>
                </a:moveTo>
                <a:cubicBezTo>
                  <a:pt x="1855" y="111"/>
                  <a:pt x="1869" y="119"/>
                  <a:pt x="1870" y="115"/>
                </a:cubicBezTo>
                <a:cubicBezTo>
                  <a:pt x="1871" y="112"/>
                  <a:pt x="1857" y="108"/>
                  <a:pt x="1856" y="110"/>
                </a:cubicBezTo>
                <a:close/>
                <a:moveTo>
                  <a:pt x="1511" y="262"/>
                </a:moveTo>
                <a:cubicBezTo>
                  <a:pt x="1512" y="262"/>
                  <a:pt x="1514" y="264"/>
                  <a:pt x="1514" y="264"/>
                </a:cubicBezTo>
                <a:cubicBezTo>
                  <a:pt x="1515" y="260"/>
                  <a:pt x="1515" y="260"/>
                  <a:pt x="1515" y="260"/>
                </a:cubicBezTo>
                <a:cubicBezTo>
                  <a:pt x="1513" y="257"/>
                  <a:pt x="1513" y="257"/>
                  <a:pt x="1513" y="257"/>
                </a:cubicBezTo>
                <a:cubicBezTo>
                  <a:pt x="1510" y="257"/>
                  <a:pt x="1510" y="257"/>
                  <a:pt x="1510" y="257"/>
                </a:cubicBezTo>
                <a:cubicBezTo>
                  <a:pt x="1511" y="262"/>
                  <a:pt x="1511" y="262"/>
                  <a:pt x="1511" y="262"/>
                </a:cubicBezTo>
                <a:cubicBezTo>
                  <a:pt x="1511" y="262"/>
                  <a:pt x="1511" y="262"/>
                  <a:pt x="1511" y="262"/>
                </a:cubicBezTo>
                <a:close/>
                <a:moveTo>
                  <a:pt x="1808" y="97"/>
                </a:moveTo>
                <a:cubicBezTo>
                  <a:pt x="1811" y="97"/>
                  <a:pt x="1815" y="98"/>
                  <a:pt x="1817" y="99"/>
                </a:cubicBezTo>
                <a:cubicBezTo>
                  <a:pt x="1819" y="100"/>
                  <a:pt x="1819" y="104"/>
                  <a:pt x="1819" y="104"/>
                </a:cubicBezTo>
                <a:cubicBezTo>
                  <a:pt x="1820" y="104"/>
                  <a:pt x="1830" y="106"/>
                  <a:pt x="1830" y="106"/>
                </a:cubicBezTo>
                <a:cubicBezTo>
                  <a:pt x="1846" y="105"/>
                  <a:pt x="1846" y="105"/>
                  <a:pt x="1846" y="105"/>
                </a:cubicBezTo>
                <a:cubicBezTo>
                  <a:pt x="1846" y="105"/>
                  <a:pt x="1833" y="104"/>
                  <a:pt x="1830" y="98"/>
                </a:cubicBezTo>
                <a:cubicBezTo>
                  <a:pt x="1826" y="93"/>
                  <a:pt x="1823" y="93"/>
                  <a:pt x="1826" y="88"/>
                </a:cubicBezTo>
                <a:cubicBezTo>
                  <a:pt x="1830" y="83"/>
                  <a:pt x="1826" y="83"/>
                  <a:pt x="1826" y="83"/>
                </a:cubicBezTo>
                <a:cubicBezTo>
                  <a:pt x="1831" y="82"/>
                  <a:pt x="1831" y="82"/>
                  <a:pt x="1831" y="82"/>
                </a:cubicBezTo>
                <a:cubicBezTo>
                  <a:pt x="1829" y="79"/>
                  <a:pt x="1829" y="79"/>
                  <a:pt x="1829" y="79"/>
                </a:cubicBezTo>
                <a:cubicBezTo>
                  <a:pt x="1834" y="80"/>
                  <a:pt x="1834" y="80"/>
                  <a:pt x="1834" y="80"/>
                </a:cubicBezTo>
                <a:cubicBezTo>
                  <a:pt x="1831" y="78"/>
                  <a:pt x="1831" y="78"/>
                  <a:pt x="1831" y="78"/>
                </a:cubicBezTo>
                <a:cubicBezTo>
                  <a:pt x="1835" y="79"/>
                  <a:pt x="1835" y="79"/>
                  <a:pt x="1835" y="79"/>
                </a:cubicBezTo>
                <a:cubicBezTo>
                  <a:pt x="1835" y="76"/>
                  <a:pt x="1835" y="76"/>
                  <a:pt x="1835" y="76"/>
                </a:cubicBezTo>
                <a:cubicBezTo>
                  <a:pt x="1833" y="75"/>
                  <a:pt x="1833" y="75"/>
                  <a:pt x="1833" y="75"/>
                </a:cubicBezTo>
                <a:cubicBezTo>
                  <a:pt x="1833" y="75"/>
                  <a:pt x="1838" y="76"/>
                  <a:pt x="1839" y="75"/>
                </a:cubicBezTo>
                <a:cubicBezTo>
                  <a:pt x="1840" y="74"/>
                  <a:pt x="1837" y="72"/>
                  <a:pt x="1837" y="72"/>
                </a:cubicBezTo>
                <a:cubicBezTo>
                  <a:pt x="1841" y="72"/>
                  <a:pt x="1841" y="72"/>
                  <a:pt x="1841" y="72"/>
                </a:cubicBezTo>
                <a:cubicBezTo>
                  <a:pt x="1841" y="68"/>
                  <a:pt x="1841" y="68"/>
                  <a:pt x="1841" y="68"/>
                </a:cubicBezTo>
                <a:cubicBezTo>
                  <a:pt x="1841" y="68"/>
                  <a:pt x="1844" y="71"/>
                  <a:pt x="1848" y="69"/>
                </a:cubicBezTo>
                <a:cubicBezTo>
                  <a:pt x="1852" y="68"/>
                  <a:pt x="1854" y="65"/>
                  <a:pt x="1854" y="65"/>
                </a:cubicBezTo>
                <a:cubicBezTo>
                  <a:pt x="1854" y="65"/>
                  <a:pt x="1884" y="60"/>
                  <a:pt x="1889" y="58"/>
                </a:cubicBezTo>
                <a:cubicBezTo>
                  <a:pt x="1893" y="56"/>
                  <a:pt x="1898" y="53"/>
                  <a:pt x="1891" y="51"/>
                </a:cubicBezTo>
                <a:cubicBezTo>
                  <a:pt x="1884" y="48"/>
                  <a:pt x="1877" y="52"/>
                  <a:pt x="1874" y="53"/>
                </a:cubicBezTo>
                <a:cubicBezTo>
                  <a:pt x="1871" y="54"/>
                  <a:pt x="1862" y="57"/>
                  <a:pt x="1857" y="57"/>
                </a:cubicBezTo>
                <a:cubicBezTo>
                  <a:pt x="1853" y="56"/>
                  <a:pt x="1847" y="56"/>
                  <a:pt x="1847" y="56"/>
                </a:cubicBezTo>
                <a:cubicBezTo>
                  <a:pt x="1844" y="59"/>
                  <a:pt x="1844" y="59"/>
                  <a:pt x="1844" y="59"/>
                </a:cubicBezTo>
                <a:cubicBezTo>
                  <a:pt x="1841" y="57"/>
                  <a:pt x="1841" y="57"/>
                  <a:pt x="1841" y="57"/>
                </a:cubicBezTo>
                <a:cubicBezTo>
                  <a:pt x="1833" y="60"/>
                  <a:pt x="1833" y="60"/>
                  <a:pt x="1833" y="60"/>
                </a:cubicBezTo>
                <a:cubicBezTo>
                  <a:pt x="1829" y="60"/>
                  <a:pt x="1829" y="60"/>
                  <a:pt x="1829" y="60"/>
                </a:cubicBezTo>
                <a:cubicBezTo>
                  <a:pt x="1825" y="63"/>
                  <a:pt x="1825" y="63"/>
                  <a:pt x="1825" y="63"/>
                </a:cubicBezTo>
                <a:cubicBezTo>
                  <a:pt x="1828" y="64"/>
                  <a:pt x="1828" y="64"/>
                  <a:pt x="1828" y="64"/>
                </a:cubicBezTo>
                <a:cubicBezTo>
                  <a:pt x="1821" y="64"/>
                  <a:pt x="1821" y="64"/>
                  <a:pt x="1821" y="64"/>
                </a:cubicBezTo>
                <a:cubicBezTo>
                  <a:pt x="1817" y="66"/>
                  <a:pt x="1817" y="66"/>
                  <a:pt x="1817" y="66"/>
                </a:cubicBezTo>
                <a:cubicBezTo>
                  <a:pt x="1818" y="67"/>
                  <a:pt x="1818" y="67"/>
                  <a:pt x="1818" y="67"/>
                </a:cubicBezTo>
                <a:cubicBezTo>
                  <a:pt x="1821" y="66"/>
                  <a:pt x="1821" y="66"/>
                  <a:pt x="1821" y="66"/>
                </a:cubicBezTo>
                <a:cubicBezTo>
                  <a:pt x="1821" y="67"/>
                  <a:pt x="1821" y="67"/>
                  <a:pt x="1821" y="67"/>
                </a:cubicBezTo>
                <a:cubicBezTo>
                  <a:pt x="1825" y="68"/>
                  <a:pt x="1825" y="68"/>
                  <a:pt x="1825" y="68"/>
                </a:cubicBezTo>
                <a:cubicBezTo>
                  <a:pt x="1824" y="70"/>
                  <a:pt x="1824" y="70"/>
                  <a:pt x="1824" y="70"/>
                </a:cubicBezTo>
                <a:cubicBezTo>
                  <a:pt x="1819" y="70"/>
                  <a:pt x="1819" y="70"/>
                  <a:pt x="1819" y="70"/>
                </a:cubicBezTo>
                <a:cubicBezTo>
                  <a:pt x="1818" y="71"/>
                  <a:pt x="1818" y="71"/>
                  <a:pt x="1818" y="71"/>
                </a:cubicBezTo>
                <a:cubicBezTo>
                  <a:pt x="1822" y="72"/>
                  <a:pt x="1822" y="72"/>
                  <a:pt x="1822" y="72"/>
                </a:cubicBezTo>
                <a:cubicBezTo>
                  <a:pt x="1815" y="72"/>
                  <a:pt x="1815" y="72"/>
                  <a:pt x="1815" y="72"/>
                </a:cubicBezTo>
                <a:cubicBezTo>
                  <a:pt x="1820" y="74"/>
                  <a:pt x="1820" y="74"/>
                  <a:pt x="1820" y="74"/>
                </a:cubicBezTo>
                <a:cubicBezTo>
                  <a:pt x="1814" y="74"/>
                  <a:pt x="1814" y="74"/>
                  <a:pt x="1814" y="74"/>
                </a:cubicBezTo>
                <a:cubicBezTo>
                  <a:pt x="1813" y="77"/>
                  <a:pt x="1813" y="77"/>
                  <a:pt x="1813" y="77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811" y="81"/>
                  <a:pt x="1811" y="81"/>
                  <a:pt x="1811" y="81"/>
                </a:cubicBezTo>
                <a:cubicBezTo>
                  <a:pt x="1816" y="78"/>
                  <a:pt x="1816" y="78"/>
                  <a:pt x="1816" y="78"/>
                </a:cubicBezTo>
                <a:cubicBezTo>
                  <a:pt x="1814" y="82"/>
                  <a:pt x="1814" y="82"/>
                  <a:pt x="1814" y="82"/>
                </a:cubicBezTo>
                <a:cubicBezTo>
                  <a:pt x="1814" y="82"/>
                  <a:pt x="1809" y="81"/>
                  <a:pt x="1808" y="82"/>
                </a:cubicBezTo>
                <a:cubicBezTo>
                  <a:pt x="1806" y="84"/>
                  <a:pt x="1808" y="85"/>
                  <a:pt x="1808" y="85"/>
                </a:cubicBezTo>
                <a:cubicBezTo>
                  <a:pt x="1801" y="86"/>
                  <a:pt x="1801" y="86"/>
                  <a:pt x="1801" y="86"/>
                </a:cubicBezTo>
                <a:cubicBezTo>
                  <a:pt x="1803" y="89"/>
                  <a:pt x="1803" y="89"/>
                  <a:pt x="1803" y="89"/>
                </a:cubicBezTo>
                <a:cubicBezTo>
                  <a:pt x="1807" y="87"/>
                  <a:pt x="1807" y="87"/>
                  <a:pt x="1807" y="87"/>
                </a:cubicBezTo>
                <a:cubicBezTo>
                  <a:pt x="1805" y="90"/>
                  <a:pt x="1805" y="90"/>
                  <a:pt x="1805" y="90"/>
                </a:cubicBezTo>
                <a:cubicBezTo>
                  <a:pt x="1805" y="90"/>
                  <a:pt x="1799" y="92"/>
                  <a:pt x="1800" y="94"/>
                </a:cubicBezTo>
                <a:cubicBezTo>
                  <a:pt x="1800" y="96"/>
                  <a:pt x="1806" y="97"/>
                  <a:pt x="1808" y="97"/>
                </a:cubicBezTo>
                <a:close/>
                <a:moveTo>
                  <a:pt x="1557" y="125"/>
                </a:moveTo>
                <a:cubicBezTo>
                  <a:pt x="1559" y="124"/>
                  <a:pt x="1562" y="124"/>
                  <a:pt x="1558" y="123"/>
                </a:cubicBezTo>
                <a:cubicBezTo>
                  <a:pt x="1554" y="122"/>
                  <a:pt x="1552" y="125"/>
                  <a:pt x="1552" y="125"/>
                </a:cubicBezTo>
                <a:cubicBezTo>
                  <a:pt x="1553" y="126"/>
                  <a:pt x="1553" y="126"/>
                  <a:pt x="1553" y="126"/>
                </a:cubicBezTo>
                <a:cubicBezTo>
                  <a:pt x="1557" y="125"/>
                  <a:pt x="1557" y="125"/>
                  <a:pt x="1557" y="125"/>
                </a:cubicBezTo>
                <a:cubicBezTo>
                  <a:pt x="1557" y="125"/>
                  <a:pt x="1557" y="125"/>
                  <a:pt x="1557" y="125"/>
                </a:cubicBezTo>
                <a:close/>
                <a:moveTo>
                  <a:pt x="1554" y="120"/>
                </a:moveTo>
                <a:cubicBezTo>
                  <a:pt x="1550" y="119"/>
                  <a:pt x="1548" y="122"/>
                  <a:pt x="1548" y="122"/>
                </a:cubicBezTo>
                <a:cubicBezTo>
                  <a:pt x="1552" y="123"/>
                  <a:pt x="1552" y="123"/>
                  <a:pt x="1552" y="123"/>
                </a:cubicBezTo>
                <a:cubicBezTo>
                  <a:pt x="1553" y="122"/>
                  <a:pt x="1558" y="120"/>
                  <a:pt x="1554" y="120"/>
                </a:cubicBezTo>
                <a:close/>
                <a:moveTo>
                  <a:pt x="1550" y="124"/>
                </a:moveTo>
                <a:cubicBezTo>
                  <a:pt x="1547" y="125"/>
                  <a:pt x="1547" y="125"/>
                  <a:pt x="1547" y="125"/>
                </a:cubicBezTo>
                <a:cubicBezTo>
                  <a:pt x="1548" y="128"/>
                  <a:pt x="1548" y="128"/>
                  <a:pt x="1548" y="128"/>
                </a:cubicBezTo>
                <a:cubicBezTo>
                  <a:pt x="1552" y="128"/>
                  <a:pt x="1552" y="128"/>
                  <a:pt x="1552" y="128"/>
                </a:cubicBezTo>
                <a:cubicBezTo>
                  <a:pt x="1551" y="126"/>
                  <a:pt x="1551" y="126"/>
                  <a:pt x="1551" y="126"/>
                </a:cubicBezTo>
                <a:cubicBezTo>
                  <a:pt x="1550" y="124"/>
                  <a:pt x="1550" y="124"/>
                  <a:pt x="1550" y="124"/>
                </a:cubicBezTo>
                <a:cubicBezTo>
                  <a:pt x="1550" y="124"/>
                  <a:pt x="1550" y="124"/>
                  <a:pt x="1550" y="124"/>
                </a:cubicBezTo>
                <a:close/>
                <a:moveTo>
                  <a:pt x="1545" y="122"/>
                </a:moveTo>
                <a:cubicBezTo>
                  <a:pt x="1543" y="123"/>
                  <a:pt x="1543" y="127"/>
                  <a:pt x="1543" y="127"/>
                </a:cubicBezTo>
                <a:cubicBezTo>
                  <a:pt x="1546" y="129"/>
                  <a:pt x="1546" y="129"/>
                  <a:pt x="1546" y="129"/>
                </a:cubicBezTo>
                <a:cubicBezTo>
                  <a:pt x="1546" y="129"/>
                  <a:pt x="1547" y="121"/>
                  <a:pt x="1545" y="122"/>
                </a:cubicBezTo>
                <a:close/>
                <a:moveTo>
                  <a:pt x="1561" y="121"/>
                </a:moveTo>
                <a:cubicBezTo>
                  <a:pt x="1565" y="120"/>
                  <a:pt x="1565" y="118"/>
                  <a:pt x="1566" y="118"/>
                </a:cubicBezTo>
                <a:cubicBezTo>
                  <a:pt x="1567" y="118"/>
                  <a:pt x="1566" y="116"/>
                  <a:pt x="1566" y="116"/>
                </a:cubicBezTo>
                <a:cubicBezTo>
                  <a:pt x="1560" y="119"/>
                  <a:pt x="1560" y="119"/>
                  <a:pt x="1560" y="119"/>
                </a:cubicBezTo>
                <a:cubicBezTo>
                  <a:pt x="1561" y="121"/>
                  <a:pt x="1561" y="121"/>
                  <a:pt x="1561" y="121"/>
                </a:cubicBezTo>
                <a:cubicBezTo>
                  <a:pt x="1561" y="121"/>
                  <a:pt x="1561" y="121"/>
                  <a:pt x="1561" y="121"/>
                </a:cubicBezTo>
                <a:close/>
                <a:moveTo>
                  <a:pt x="1580" y="113"/>
                </a:moveTo>
                <a:cubicBezTo>
                  <a:pt x="1582" y="112"/>
                  <a:pt x="1584" y="110"/>
                  <a:pt x="1581" y="110"/>
                </a:cubicBezTo>
                <a:cubicBezTo>
                  <a:pt x="1577" y="110"/>
                  <a:pt x="1580" y="113"/>
                  <a:pt x="1580" y="113"/>
                </a:cubicBezTo>
                <a:close/>
                <a:moveTo>
                  <a:pt x="1753" y="349"/>
                </a:move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lose/>
                <a:moveTo>
                  <a:pt x="1517" y="39"/>
                </a:moveTo>
                <a:cubicBezTo>
                  <a:pt x="1520" y="41"/>
                  <a:pt x="1525" y="41"/>
                  <a:pt x="1525" y="41"/>
                </a:cubicBezTo>
                <a:cubicBezTo>
                  <a:pt x="1520" y="38"/>
                  <a:pt x="1520" y="38"/>
                  <a:pt x="1520" y="38"/>
                </a:cubicBezTo>
                <a:cubicBezTo>
                  <a:pt x="1513" y="35"/>
                  <a:pt x="1513" y="35"/>
                  <a:pt x="1513" y="35"/>
                </a:cubicBezTo>
                <a:cubicBezTo>
                  <a:pt x="1512" y="38"/>
                  <a:pt x="1515" y="38"/>
                  <a:pt x="1517" y="39"/>
                </a:cubicBezTo>
                <a:close/>
                <a:moveTo>
                  <a:pt x="1408" y="222"/>
                </a:moveTo>
                <a:cubicBezTo>
                  <a:pt x="1407" y="224"/>
                  <a:pt x="1407" y="224"/>
                  <a:pt x="1407" y="224"/>
                </a:cubicBezTo>
                <a:cubicBezTo>
                  <a:pt x="1409" y="223"/>
                  <a:pt x="1409" y="223"/>
                  <a:pt x="1409" y="223"/>
                </a:cubicBezTo>
                <a:cubicBezTo>
                  <a:pt x="1408" y="222"/>
                  <a:pt x="1408" y="222"/>
                  <a:pt x="1408" y="222"/>
                </a:cubicBezTo>
                <a:cubicBezTo>
                  <a:pt x="1408" y="222"/>
                  <a:pt x="1408" y="222"/>
                  <a:pt x="1408" y="222"/>
                </a:cubicBezTo>
                <a:close/>
                <a:moveTo>
                  <a:pt x="1420" y="210"/>
                </a:moveTo>
                <a:cubicBezTo>
                  <a:pt x="1421" y="212"/>
                  <a:pt x="1421" y="212"/>
                  <a:pt x="1421" y="212"/>
                </a:cubicBezTo>
                <a:cubicBezTo>
                  <a:pt x="1422" y="213"/>
                  <a:pt x="1423" y="208"/>
                  <a:pt x="1423" y="208"/>
                </a:cubicBezTo>
                <a:cubicBezTo>
                  <a:pt x="1423" y="207"/>
                  <a:pt x="1421" y="205"/>
                  <a:pt x="1421" y="205"/>
                </a:cubicBezTo>
                <a:cubicBezTo>
                  <a:pt x="1421" y="207"/>
                  <a:pt x="1421" y="207"/>
                  <a:pt x="1421" y="207"/>
                </a:cubicBezTo>
                <a:cubicBezTo>
                  <a:pt x="1421" y="207"/>
                  <a:pt x="1418" y="208"/>
                  <a:pt x="1418" y="209"/>
                </a:cubicBezTo>
                <a:cubicBezTo>
                  <a:pt x="1418" y="210"/>
                  <a:pt x="1420" y="210"/>
                  <a:pt x="1420" y="210"/>
                </a:cubicBezTo>
                <a:close/>
                <a:moveTo>
                  <a:pt x="1406" y="220"/>
                </a:moveTo>
                <a:cubicBezTo>
                  <a:pt x="1404" y="219"/>
                  <a:pt x="1404" y="222"/>
                  <a:pt x="1404" y="222"/>
                </a:cubicBezTo>
                <a:cubicBezTo>
                  <a:pt x="1406" y="223"/>
                  <a:pt x="1408" y="222"/>
                  <a:pt x="1406" y="220"/>
                </a:cubicBezTo>
                <a:close/>
                <a:moveTo>
                  <a:pt x="1426" y="203"/>
                </a:moveTo>
                <a:cubicBezTo>
                  <a:pt x="1424" y="203"/>
                  <a:pt x="1424" y="205"/>
                  <a:pt x="1424" y="205"/>
                </a:cubicBezTo>
                <a:cubicBezTo>
                  <a:pt x="1426" y="206"/>
                  <a:pt x="1427" y="203"/>
                  <a:pt x="1426" y="203"/>
                </a:cubicBezTo>
                <a:close/>
                <a:moveTo>
                  <a:pt x="1600" y="108"/>
                </a:moveTo>
                <a:cubicBezTo>
                  <a:pt x="1603" y="108"/>
                  <a:pt x="1603" y="108"/>
                  <a:pt x="1603" y="108"/>
                </a:cubicBezTo>
                <a:cubicBezTo>
                  <a:pt x="1604" y="107"/>
                  <a:pt x="1604" y="105"/>
                  <a:pt x="1604" y="105"/>
                </a:cubicBezTo>
                <a:cubicBezTo>
                  <a:pt x="1600" y="106"/>
                  <a:pt x="1600" y="106"/>
                  <a:pt x="1600" y="106"/>
                </a:cubicBezTo>
                <a:cubicBezTo>
                  <a:pt x="1600" y="108"/>
                  <a:pt x="1600" y="108"/>
                  <a:pt x="1600" y="108"/>
                </a:cubicBezTo>
                <a:cubicBezTo>
                  <a:pt x="1600" y="108"/>
                  <a:pt x="1600" y="108"/>
                  <a:pt x="1600" y="108"/>
                </a:cubicBezTo>
                <a:close/>
                <a:moveTo>
                  <a:pt x="1643" y="455"/>
                </a:moveTo>
                <a:cubicBezTo>
                  <a:pt x="1642" y="456"/>
                  <a:pt x="1643" y="457"/>
                  <a:pt x="1644" y="457"/>
                </a:cubicBezTo>
                <a:cubicBezTo>
                  <a:pt x="1646" y="456"/>
                  <a:pt x="1644" y="454"/>
                  <a:pt x="1643" y="455"/>
                </a:cubicBezTo>
                <a:close/>
                <a:moveTo>
                  <a:pt x="1539" y="128"/>
                </a:moveTo>
                <a:cubicBezTo>
                  <a:pt x="1536" y="128"/>
                  <a:pt x="1531" y="132"/>
                  <a:pt x="1532" y="133"/>
                </a:cubicBezTo>
                <a:cubicBezTo>
                  <a:pt x="1533" y="133"/>
                  <a:pt x="1538" y="130"/>
                  <a:pt x="1538" y="130"/>
                </a:cubicBezTo>
                <a:cubicBezTo>
                  <a:pt x="1543" y="129"/>
                  <a:pt x="1543" y="129"/>
                  <a:pt x="1543" y="129"/>
                </a:cubicBezTo>
                <a:cubicBezTo>
                  <a:pt x="1543" y="129"/>
                  <a:pt x="1543" y="128"/>
                  <a:pt x="1539" y="128"/>
                </a:cubicBezTo>
                <a:close/>
                <a:moveTo>
                  <a:pt x="1608" y="452"/>
                </a:moveTo>
                <a:cubicBezTo>
                  <a:pt x="1606" y="453"/>
                  <a:pt x="1611" y="454"/>
                  <a:pt x="1611" y="454"/>
                </a:cubicBezTo>
                <a:cubicBezTo>
                  <a:pt x="1612" y="454"/>
                  <a:pt x="1610" y="450"/>
                  <a:pt x="1608" y="452"/>
                </a:cubicBezTo>
                <a:close/>
                <a:moveTo>
                  <a:pt x="1605" y="448"/>
                </a:moveTo>
                <a:cubicBezTo>
                  <a:pt x="1611" y="449"/>
                  <a:pt x="1611" y="449"/>
                  <a:pt x="1611" y="449"/>
                </a:cubicBezTo>
                <a:cubicBezTo>
                  <a:pt x="1608" y="445"/>
                  <a:pt x="1608" y="445"/>
                  <a:pt x="1608" y="445"/>
                </a:cubicBezTo>
                <a:cubicBezTo>
                  <a:pt x="1605" y="448"/>
                  <a:pt x="1605" y="448"/>
                  <a:pt x="1605" y="448"/>
                </a:cubicBezTo>
                <a:cubicBezTo>
                  <a:pt x="1605" y="448"/>
                  <a:pt x="1605" y="448"/>
                  <a:pt x="1605" y="448"/>
                </a:cubicBezTo>
                <a:close/>
                <a:moveTo>
                  <a:pt x="1634" y="457"/>
                </a:moveTo>
                <a:cubicBezTo>
                  <a:pt x="1636" y="456"/>
                  <a:pt x="1636" y="456"/>
                  <a:pt x="1636" y="456"/>
                </a:cubicBezTo>
                <a:cubicBezTo>
                  <a:pt x="1636" y="456"/>
                  <a:pt x="1634" y="455"/>
                  <a:pt x="1632" y="453"/>
                </a:cubicBezTo>
                <a:cubicBezTo>
                  <a:pt x="1630" y="451"/>
                  <a:pt x="1621" y="447"/>
                  <a:pt x="1621" y="447"/>
                </a:cubicBezTo>
                <a:cubicBezTo>
                  <a:pt x="1618" y="449"/>
                  <a:pt x="1618" y="449"/>
                  <a:pt x="1618" y="449"/>
                </a:cubicBezTo>
                <a:cubicBezTo>
                  <a:pt x="1616" y="449"/>
                  <a:pt x="1616" y="449"/>
                  <a:pt x="1616" y="449"/>
                </a:cubicBezTo>
                <a:cubicBezTo>
                  <a:pt x="1614" y="452"/>
                  <a:pt x="1614" y="452"/>
                  <a:pt x="1614" y="452"/>
                </a:cubicBezTo>
                <a:cubicBezTo>
                  <a:pt x="1618" y="455"/>
                  <a:pt x="1618" y="455"/>
                  <a:pt x="1618" y="455"/>
                </a:cubicBezTo>
                <a:cubicBezTo>
                  <a:pt x="1618" y="455"/>
                  <a:pt x="1617" y="459"/>
                  <a:pt x="1617" y="461"/>
                </a:cubicBezTo>
                <a:cubicBezTo>
                  <a:pt x="1617" y="463"/>
                  <a:pt x="1621" y="464"/>
                  <a:pt x="1621" y="463"/>
                </a:cubicBezTo>
                <a:cubicBezTo>
                  <a:pt x="1622" y="461"/>
                  <a:pt x="1624" y="461"/>
                  <a:pt x="1624" y="461"/>
                </a:cubicBezTo>
                <a:cubicBezTo>
                  <a:pt x="1627" y="467"/>
                  <a:pt x="1627" y="467"/>
                  <a:pt x="1627" y="467"/>
                </a:cubicBezTo>
                <a:cubicBezTo>
                  <a:pt x="1628" y="463"/>
                  <a:pt x="1628" y="463"/>
                  <a:pt x="1628" y="463"/>
                </a:cubicBezTo>
                <a:cubicBezTo>
                  <a:pt x="1630" y="466"/>
                  <a:pt x="1630" y="466"/>
                  <a:pt x="1630" y="466"/>
                </a:cubicBezTo>
                <a:cubicBezTo>
                  <a:pt x="1633" y="467"/>
                  <a:pt x="1633" y="467"/>
                  <a:pt x="1633" y="467"/>
                </a:cubicBezTo>
                <a:cubicBezTo>
                  <a:pt x="1631" y="465"/>
                  <a:pt x="1631" y="465"/>
                  <a:pt x="1631" y="465"/>
                </a:cubicBezTo>
                <a:cubicBezTo>
                  <a:pt x="1632" y="464"/>
                  <a:pt x="1632" y="464"/>
                  <a:pt x="1632" y="464"/>
                </a:cubicBezTo>
                <a:cubicBezTo>
                  <a:pt x="1632" y="461"/>
                  <a:pt x="1632" y="461"/>
                  <a:pt x="1632" y="461"/>
                </a:cubicBezTo>
                <a:cubicBezTo>
                  <a:pt x="1632" y="461"/>
                  <a:pt x="1628" y="456"/>
                  <a:pt x="1629" y="455"/>
                </a:cubicBezTo>
                <a:cubicBezTo>
                  <a:pt x="1629" y="453"/>
                  <a:pt x="1634" y="457"/>
                  <a:pt x="1634" y="457"/>
                </a:cubicBezTo>
                <a:close/>
                <a:moveTo>
                  <a:pt x="1643" y="439"/>
                </a:moveTo>
                <a:cubicBezTo>
                  <a:pt x="1643" y="439"/>
                  <a:pt x="1642" y="441"/>
                  <a:pt x="1645" y="441"/>
                </a:cubicBezTo>
                <a:cubicBezTo>
                  <a:pt x="1643" y="439"/>
                  <a:pt x="1643" y="439"/>
                  <a:pt x="1643" y="439"/>
                </a:cubicBezTo>
                <a:cubicBezTo>
                  <a:pt x="1643" y="439"/>
                  <a:pt x="1643" y="439"/>
                  <a:pt x="1643" y="439"/>
                </a:cubicBezTo>
                <a:close/>
                <a:moveTo>
                  <a:pt x="1631" y="469"/>
                </a:moveTo>
                <a:cubicBezTo>
                  <a:pt x="1630" y="469"/>
                  <a:pt x="1631" y="473"/>
                  <a:pt x="1632" y="471"/>
                </a:cubicBezTo>
                <a:cubicBezTo>
                  <a:pt x="1634" y="470"/>
                  <a:pt x="1632" y="468"/>
                  <a:pt x="1631" y="469"/>
                </a:cubicBezTo>
                <a:close/>
                <a:moveTo>
                  <a:pt x="1549" y="471"/>
                </a:moveTo>
                <a:cubicBezTo>
                  <a:pt x="1548" y="474"/>
                  <a:pt x="1552" y="475"/>
                  <a:pt x="1552" y="475"/>
                </a:cubicBezTo>
                <a:cubicBezTo>
                  <a:pt x="1555" y="472"/>
                  <a:pt x="1551" y="468"/>
                  <a:pt x="1549" y="471"/>
                </a:cubicBezTo>
                <a:close/>
                <a:moveTo>
                  <a:pt x="1433" y="438"/>
                </a:moveTo>
                <a:cubicBezTo>
                  <a:pt x="1432" y="436"/>
                  <a:pt x="1430" y="441"/>
                  <a:pt x="1430" y="441"/>
                </a:cubicBezTo>
                <a:cubicBezTo>
                  <a:pt x="1432" y="442"/>
                  <a:pt x="1434" y="440"/>
                  <a:pt x="1433" y="438"/>
                </a:cubicBezTo>
                <a:close/>
                <a:moveTo>
                  <a:pt x="1458" y="431"/>
                </a:moveTo>
                <a:cubicBezTo>
                  <a:pt x="1460" y="429"/>
                  <a:pt x="1456" y="426"/>
                  <a:pt x="1454" y="427"/>
                </a:cubicBezTo>
                <a:cubicBezTo>
                  <a:pt x="1454" y="427"/>
                  <a:pt x="1456" y="432"/>
                  <a:pt x="1458" y="431"/>
                </a:cubicBezTo>
                <a:close/>
                <a:moveTo>
                  <a:pt x="1506" y="395"/>
                </a:moveTo>
                <a:cubicBezTo>
                  <a:pt x="1505" y="393"/>
                  <a:pt x="1503" y="397"/>
                  <a:pt x="1503" y="397"/>
                </a:cubicBezTo>
                <a:cubicBezTo>
                  <a:pt x="1503" y="397"/>
                  <a:pt x="1497" y="400"/>
                  <a:pt x="1498" y="403"/>
                </a:cubicBezTo>
                <a:cubicBezTo>
                  <a:pt x="1498" y="406"/>
                  <a:pt x="1500" y="407"/>
                  <a:pt x="1500" y="407"/>
                </a:cubicBezTo>
                <a:cubicBezTo>
                  <a:pt x="1500" y="407"/>
                  <a:pt x="1498" y="409"/>
                  <a:pt x="1500" y="411"/>
                </a:cubicBezTo>
                <a:cubicBezTo>
                  <a:pt x="1501" y="412"/>
                  <a:pt x="1503" y="413"/>
                  <a:pt x="1503" y="413"/>
                </a:cubicBezTo>
                <a:cubicBezTo>
                  <a:pt x="1503" y="413"/>
                  <a:pt x="1505" y="411"/>
                  <a:pt x="1505" y="409"/>
                </a:cubicBezTo>
                <a:cubicBezTo>
                  <a:pt x="1505" y="406"/>
                  <a:pt x="1505" y="406"/>
                  <a:pt x="1505" y="406"/>
                </a:cubicBezTo>
                <a:cubicBezTo>
                  <a:pt x="1507" y="405"/>
                  <a:pt x="1507" y="405"/>
                  <a:pt x="1507" y="405"/>
                </a:cubicBezTo>
                <a:cubicBezTo>
                  <a:pt x="1506" y="398"/>
                  <a:pt x="1506" y="398"/>
                  <a:pt x="1506" y="398"/>
                </a:cubicBezTo>
                <a:cubicBezTo>
                  <a:pt x="1505" y="398"/>
                  <a:pt x="1505" y="398"/>
                  <a:pt x="1505" y="398"/>
                </a:cubicBezTo>
                <a:cubicBezTo>
                  <a:pt x="1505" y="398"/>
                  <a:pt x="1507" y="396"/>
                  <a:pt x="1506" y="395"/>
                </a:cubicBezTo>
                <a:close/>
                <a:moveTo>
                  <a:pt x="1443" y="433"/>
                </a:moveTo>
                <a:cubicBezTo>
                  <a:pt x="1443" y="433"/>
                  <a:pt x="1444" y="435"/>
                  <a:pt x="1445" y="435"/>
                </a:cubicBezTo>
                <a:cubicBezTo>
                  <a:pt x="1446" y="436"/>
                  <a:pt x="1448" y="436"/>
                  <a:pt x="1448" y="436"/>
                </a:cubicBezTo>
                <a:cubicBezTo>
                  <a:pt x="1449" y="435"/>
                  <a:pt x="1451" y="433"/>
                  <a:pt x="1451" y="432"/>
                </a:cubicBezTo>
                <a:cubicBezTo>
                  <a:pt x="1450" y="430"/>
                  <a:pt x="1449" y="430"/>
                  <a:pt x="1449" y="430"/>
                </a:cubicBezTo>
                <a:cubicBezTo>
                  <a:pt x="1449" y="430"/>
                  <a:pt x="1448" y="429"/>
                  <a:pt x="1447" y="429"/>
                </a:cubicBezTo>
                <a:cubicBezTo>
                  <a:pt x="1445" y="429"/>
                  <a:pt x="1441" y="432"/>
                  <a:pt x="1441" y="433"/>
                </a:cubicBezTo>
                <a:cubicBezTo>
                  <a:pt x="1442" y="434"/>
                  <a:pt x="1443" y="433"/>
                  <a:pt x="1443" y="433"/>
                </a:cubicBezTo>
                <a:close/>
                <a:moveTo>
                  <a:pt x="1560" y="452"/>
                </a:moveTo>
                <a:cubicBezTo>
                  <a:pt x="1561" y="451"/>
                  <a:pt x="1560" y="447"/>
                  <a:pt x="1560" y="447"/>
                </a:cubicBezTo>
                <a:cubicBezTo>
                  <a:pt x="1559" y="449"/>
                  <a:pt x="1559" y="449"/>
                  <a:pt x="1559" y="449"/>
                </a:cubicBezTo>
                <a:cubicBezTo>
                  <a:pt x="1559" y="449"/>
                  <a:pt x="1556" y="448"/>
                  <a:pt x="1555" y="448"/>
                </a:cubicBezTo>
                <a:cubicBezTo>
                  <a:pt x="1553" y="449"/>
                  <a:pt x="1551" y="450"/>
                  <a:pt x="1551" y="450"/>
                </a:cubicBezTo>
                <a:cubicBezTo>
                  <a:pt x="1551" y="450"/>
                  <a:pt x="1547" y="451"/>
                  <a:pt x="1546" y="451"/>
                </a:cubicBezTo>
                <a:cubicBezTo>
                  <a:pt x="1544" y="451"/>
                  <a:pt x="1541" y="447"/>
                  <a:pt x="1540" y="448"/>
                </a:cubicBezTo>
                <a:cubicBezTo>
                  <a:pt x="1540" y="449"/>
                  <a:pt x="1538" y="450"/>
                  <a:pt x="1538" y="450"/>
                </a:cubicBezTo>
                <a:cubicBezTo>
                  <a:pt x="1535" y="449"/>
                  <a:pt x="1535" y="449"/>
                  <a:pt x="1535" y="449"/>
                </a:cubicBezTo>
                <a:cubicBezTo>
                  <a:pt x="1535" y="449"/>
                  <a:pt x="1531" y="450"/>
                  <a:pt x="1533" y="452"/>
                </a:cubicBezTo>
                <a:cubicBezTo>
                  <a:pt x="1535" y="456"/>
                  <a:pt x="1538" y="455"/>
                  <a:pt x="1539" y="455"/>
                </a:cubicBezTo>
                <a:cubicBezTo>
                  <a:pt x="1540" y="455"/>
                  <a:pt x="1541" y="457"/>
                  <a:pt x="1541" y="458"/>
                </a:cubicBezTo>
                <a:cubicBezTo>
                  <a:pt x="1542" y="459"/>
                  <a:pt x="1546" y="461"/>
                  <a:pt x="1546" y="461"/>
                </a:cubicBezTo>
                <a:cubicBezTo>
                  <a:pt x="1549" y="460"/>
                  <a:pt x="1549" y="460"/>
                  <a:pt x="1549" y="460"/>
                </a:cubicBezTo>
                <a:cubicBezTo>
                  <a:pt x="1549" y="460"/>
                  <a:pt x="1552" y="464"/>
                  <a:pt x="1556" y="465"/>
                </a:cubicBezTo>
                <a:cubicBezTo>
                  <a:pt x="1560" y="465"/>
                  <a:pt x="1559" y="461"/>
                  <a:pt x="1559" y="461"/>
                </a:cubicBezTo>
                <a:cubicBezTo>
                  <a:pt x="1559" y="461"/>
                  <a:pt x="1558" y="458"/>
                  <a:pt x="1558" y="456"/>
                </a:cubicBezTo>
                <a:cubicBezTo>
                  <a:pt x="1558" y="455"/>
                  <a:pt x="1559" y="453"/>
                  <a:pt x="1560" y="452"/>
                </a:cubicBezTo>
                <a:close/>
                <a:moveTo>
                  <a:pt x="1494" y="416"/>
                </a:moveTo>
                <a:cubicBezTo>
                  <a:pt x="1493" y="418"/>
                  <a:pt x="1493" y="418"/>
                  <a:pt x="1493" y="418"/>
                </a:cubicBezTo>
                <a:cubicBezTo>
                  <a:pt x="1493" y="418"/>
                  <a:pt x="1497" y="421"/>
                  <a:pt x="1497" y="423"/>
                </a:cubicBezTo>
                <a:cubicBezTo>
                  <a:pt x="1497" y="425"/>
                  <a:pt x="1496" y="429"/>
                  <a:pt x="1496" y="429"/>
                </a:cubicBezTo>
                <a:cubicBezTo>
                  <a:pt x="1497" y="430"/>
                  <a:pt x="1497" y="430"/>
                  <a:pt x="1497" y="430"/>
                </a:cubicBezTo>
                <a:cubicBezTo>
                  <a:pt x="1495" y="431"/>
                  <a:pt x="1495" y="431"/>
                  <a:pt x="1495" y="431"/>
                </a:cubicBezTo>
                <a:cubicBezTo>
                  <a:pt x="1496" y="438"/>
                  <a:pt x="1496" y="438"/>
                  <a:pt x="1496" y="438"/>
                </a:cubicBezTo>
                <a:cubicBezTo>
                  <a:pt x="1494" y="438"/>
                  <a:pt x="1494" y="438"/>
                  <a:pt x="1494" y="438"/>
                </a:cubicBezTo>
                <a:cubicBezTo>
                  <a:pt x="1497" y="440"/>
                  <a:pt x="1497" y="440"/>
                  <a:pt x="1497" y="440"/>
                </a:cubicBezTo>
                <a:cubicBezTo>
                  <a:pt x="1500" y="440"/>
                  <a:pt x="1502" y="436"/>
                  <a:pt x="1502" y="436"/>
                </a:cubicBezTo>
                <a:cubicBezTo>
                  <a:pt x="1502" y="436"/>
                  <a:pt x="1504" y="439"/>
                  <a:pt x="1506" y="437"/>
                </a:cubicBezTo>
                <a:cubicBezTo>
                  <a:pt x="1508" y="436"/>
                  <a:pt x="1507" y="432"/>
                  <a:pt x="1507" y="432"/>
                </a:cubicBezTo>
                <a:cubicBezTo>
                  <a:pt x="1508" y="430"/>
                  <a:pt x="1508" y="430"/>
                  <a:pt x="1508" y="430"/>
                </a:cubicBezTo>
                <a:cubicBezTo>
                  <a:pt x="1508" y="427"/>
                  <a:pt x="1508" y="427"/>
                  <a:pt x="1508" y="427"/>
                </a:cubicBezTo>
                <a:cubicBezTo>
                  <a:pt x="1508" y="427"/>
                  <a:pt x="1507" y="426"/>
                  <a:pt x="1507" y="425"/>
                </a:cubicBezTo>
                <a:cubicBezTo>
                  <a:pt x="1507" y="424"/>
                  <a:pt x="1509" y="424"/>
                  <a:pt x="1509" y="423"/>
                </a:cubicBezTo>
                <a:cubicBezTo>
                  <a:pt x="1509" y="421"/>
                  <a:pt x="1507" y="414"/>
                  <a:pt x="1505" y="414"/>
                </a:cubicBezTo>
                <a:cubicBezTo>
                  <a:pt x="1502" y="414"/>
                  <a:pt x="1500" y="418"/>
                  <a:pt x="1498" y="418"/>
                </a:cubicBezTo>
                <a:cubicBezTo>
                  <a:pt x="1497" y="418"/>
                  <a:pt x="1494" y="416"/>
                  <a:pt x="1494" y="416"/>
                </a:cubicBezTo>
                <a:close/>
                <a:moveTo>
                  <a:pt x="891" y="134"/>
                </a:moveTo>
                <a:cubicBezTo>
                  <a:pt x="900" y="133"/>
                  <a:pt x="900" y="133"/>
                  <a:pt x="900" y="133"/>
                </a:cubicBezTo>
                <a:cubicBezTo>
                  <a:pt x="900" y="131"/>
                  <a:pt x="900" y="131"/>
                  <a:pt x="900" y="131"/>
                </a:cubicBezTo>
                <a:cubicBezTo>
                  <a:pt x="894" y="131"/>
                  <a:pt x="894" y="131"/>
                  <a:pt x="894" y="131"/>
                </a:cubicBezTo>
                <a:cubicBezTo>
                  <a:pt x="891" y="134"/>
                  <a:pt x="891" y="134"/>
                  <a:pt x="891" y="134"/>
                </a:cubicBezTo>
                <a:cubicBezTo>
                  <a:pt x="891" y="134"/>
                  <a:pt x="891" y="134"/>
                  <a:pt x="891" y="134"/>
                </a:cubicBezTo>
                <a:close/>
                <a:moveTo>
                  <a:pt x="891" y="125"/>
                </a:moveTo>
                <a:cubicBezTo>
                  <a:pt x="886" y="123"/>
                  <a:pt x="891" y="127"/>
                  <a:pt x="891" y="127"/>
                </a:cubicBezTo>
                <a:cubicBezTo>
                  <a:pt x="895" y="127"/>
                  <a:pt x="897" y="126"/>
                  <a:pt x="891" y="125"/>
                </a:cubicBezTo>
                <a:close/>
                <a:moveTo>
                  <a:pt x="796" y="84"/>
                </a:moveTo>
                <a:cubicBezTo>
                  <a:pt x="801" y="83"/>
                  <a:pt x="805" y="87"/>
                  <a:pt x="805" y="87"/>
                </a:cubicBezTo>
                <a:cubicBezTo>
                  <a:pt x="813" y="86"/>
                  <a:pt x="813" y="86"/>
                  <a:pt x="813" y="86"/>
                </a:cubicBezTo>
                <a:cubicBezTo>
                  <a:pt x="812" y="83"/>
                  <a:pt x="812" y="83"/>
                  <a:pt x="812" y="83"/>
                </a:cubicBezTo>
                <a:cubicBezTo>
                  <a:pt x="812" y="83"/>
                  <a:pt x="822" y="83"/>
                  <a:pt x="824" y="80"/>
                </a:cubicBezTo>
                <a:cubicBezTo>
                  <a:pt x="826" y="78"/>
                  <a:pt x="830" y="75"/>
                  <a:pt x="827" y="75"/>
                </a:cubicBezTo>
                <a:cubicBezTo>
                  <a:pt x="824" y="75"/>
                  <a:pt x="808" y="73"/>
                  <a:pt x="799" y="74"/>
                </a:cubicBezTo>
                <a:cubicBezTo>
                  <a:pt x="791" y="74"/>
                  <a:pt x="794" y="74"/>
                  <a:pt x="793" y="75"/>
                </a:cubicBezTo>
                <a:cubicBezTo>
                  <a:pt x="793" y="77"/>
                  <a:pt x="790" y="78"/>
                  <a:pt x="783" y="80"/>
                </a:cubicBezTo>
                <a:cubicBezTo>
                  <a:pt x="776" y="81"/>
                  <a:pt x="783" y="81"/>
                  <a:pt x="782" y="86"/>
                </a:cubicBezTo>
                <a:cubicBezTo>
                  <a:pt x="780" y="89"/>
                  <a:pt x="780" y="89"/>
                  <a:pt x="780" y="89"/>
                </a:cubicBezTo>
                <a:cubicBezTo>
                  <a:pt x="784" y="92"/>
                  <a:pt x="784" y="92"/>
                  <a:pt x="784" y="92"/>
                </a:cubicBezTo>
                <a:cubicBezTo>
                  <a:pt x="795" y="87"/>
                  <a:pt x="795" y="87"/>
                  <a:pt x="795" y="87"/>
                </a:cubicBezTo>
                <a:cubicBezTo>
                  <a:pt x="795" y="87"/>
                  <a:pt x="791" y="86"/>
                  <a:pt x="796" y="84"/>
                </a:cubicBezTo>
                <a:close/>
                <a:moveTo>
                  <a:pt x="869" y="120"/>
                </a:moveTo>
                <a:cubicBezTo>
                  <a:pt x="866" y="121"/>
                  <a:pt x="861" y="123"/>
                  <a:pt x="866" y="122"/>
                </a:cubicBezTo>
                <a:cubicBezTo>
                  <a:pt x="871" y="121"/>
                  <a:pt x="875" y="120"/>
                  <a:pt x="875" y="120"/>
                </a:cubicBezTo>
                <a:cubicBezTo>
                  <a:pt x="880" y="116"/>
                  <a:pt x="873" y="119"/>
                  <a:pt x="869" y="120"/>
                </a:cubicBezTo>
                <a:close/>
                <a:moveTo>
                  <a:pt x="813" y="71"/>
                </a:moveTo>
                <a:cubicBezTo>
                  <a:pt x="816" y="69"/>
                  <a:pt x="821" y="65"/>
                  <a:pt x="820" y="63"/>
                </a:cubicBezTo>
                <a:cubicBezTo>
                  <a:pt x="819" y="62"/>
                  <a:pt x="812" y="62"/>
                  <a:pt x="810" y="62"/>
                </a:cubicBezTo>
                <a:cubicBezTo>
                  <a:pt x="805" y="63"/>
                  <a:pt x="796" y="66"/>
                  <a:pt x="798" y="67"/>
                </a:cubicBezTo>
                <a:cubicBezTo>
                  <a:pt x="801" y="69"/>
                  <a:pt x="813" y="71"/>
                  <a:pt x="813" y="71"/>
                </a:cubicBezTo>
                <a:close/>
                <a:moveTo>
                  <a:pt x="885" y="118"/>
                </a:moveTo>
                <a:cubicBezTo>
                  <a:pt x="882" y="116"/>
                  <a:pt x="880" y="120"/>
                  <a:pt x="882" y="121"/>
                </a:cubicBezTo>
                <a:cubicBezTo>
                  <a:pt x="882" y="121"/>
                  <a:pt x="888" y="119"/>
                  <a:pt x="885" y="118"/>
                </a:cubicBezTo>
                <a:close/>
                <a:moveTo>
                  <a:pt x="845" y="177"/>
                </a:moveTo>
                <a:cubicBezTo>
                  <a:pt x="847" y="175"/>
                  <a:pt x="841" y="174"/>
                  <a:pt x="841" y="174"/>
                </a:cubicBezTo>
                <a:cubicBezTo>
                  <a:pt x="841" y="174"/>
                  <a:pt x="841" y="180"/>
                  <a:pt x="845" y="177"/>
                </a:cubicBezTo>
                <a:close/>
                <a:moveTo>
                  <a:pt x="872" y="138"/>
                </a:moveTo>
                <a:cubicBezTo>
                  <a:pt x="880" y="139"/>
                  <a:pt x="882" y="137"/>
                  <a:pt x="885" y="135"/>
                </a:cubicBezTo>
                <a:cubicBezTo>
                  <a:pt x="888" y="133"/>
                  <a:pt x="887" y="130"/>
                  <a:pt x="884" y="129"/>
                </a:cubicBezTo>
                <a:cubicBezTo>
                  <a:pt x="881" y="129"/>
                  <a:pt x="875" y="130"/>
                  <a:pt x="875" y="130"/>
                </a:cubicBezTo>
                <a:cubicBezTo>
                  <a:pt x="867" y="135"/>
                  <a:pt x="865" y="136"/>
                  <a:pt x="872" y="138"/>
                </a:cubicBezTo>
                <a:close/>
                <a:moveTo>
                  <a:pt x="46" y="274"/>
                </a:moveTo>
                <a:cubicBezTo>
                  <a:pt x="46" y="271"/>
                  <a:pt x="46" y="271"/>
                  <a:pt x="46" y="271"/>
                </a:cubicBezTo>
                <a:cubicBezTo>
                  <a:pt x="39" y="274"/>
                  <a:pt x="39" y="274"/>
                  <a:pt x="39" y="274"/>
                </a:cubicBezTo>
                <a:cubicBezTo>
                  <a:pt x="46" y="274"/>
                  <a:pt x="46" y="274"/>
                  <a:pt x="46" y="274"/>
                </a:cubicBezTo>
                <a:cubicBezTo>
                  <a:pt x="46" y="274"/>
                  <a:pt x="46" y="274"/>
                  <a:pt x="46" y="274"/>
                </a:cubicBezTo>
                <a:close/>
                <a:moveTo>
                  <a:pt x="0" y="286"/>
                </a:moveTo>
                <a:cubicBezTo>
                  <a:pt x="9" y="284"/>
                  <a:pt x="9" y="284"/>
                  <a:pt x="9" y="284"/>
                </a:cubicBezTo>
                <a:cubicBezTo>
                  <a:pt x="10" y="282"/>
                  <a:pt x="10" y="282"/>
                  <a:pt x="10" y="282"/>
                </a:cubicBezTo>
                <a:cubicBezTo>
                  <a:pt x="19" y="281"/>
                  <a:pt x="19" y="281"/>
                  <a:pt x="19" y="281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0" y="286"/>
                  <a:pt x="0" y="286"/>
                  <a:pt x="0" y="286"/>
                </a:cubicBezTo>
                <a:cubicBezTo>
                  <a:pt x="0" y="286"/>
                  <a:pt x="0" y="286"/>
                  <a:pt x="0" y="286"/>
                </a:cubicBezTo>
                <a:close/>
                <a:moveTo>
                  <a:pt x="110" y="214"/>
                </a:moveTo>
                <a:cubicBezTo>
                  <a:pt x="114" y="213"/>
                  <a:pt x="124" y="209"/>
                  <a:pt x="121" y="208"/>
                </a:cubicBezTo>
                <a:cubicBezTo>
                  <a:pt x="117" y="207"/>
                  <a:pt x="113" y="206"/>
                  <a:pt x="112" y="208"/>
                </a:cubicBezTo>
                <a:cubicBezTo>
                  <a:pt x="110" y="209"/>
                  <a:pt x="108" y="206"/>
                  <a:pt x="107" y="208"/>
                </a:cubicBezTo>
                <a:cubicBezTo>
                  <a:pt x="106" y="211"/>
                  <a:pt x="107" y="214"/>
                  <a:pt x="110" y="214"/>
                </a:cubicBezTo>
                <a:close/>
                <a:moveTo>
                  <a:pt x="22" y="280"/>
                </a:moveTo>
                <a:cubicBezTo>
                  <a:pt x="28" y="280"/>
                  <a:pt x="28" y="280"/>
                  <a:pt x="28" y="280"/>
                </a:cubicBezTo>
                <a:cubicBezTo>
                  <a:pt x="34" y="276"/>
                  <a:pt x="34" y="276"/>
                  <a:pt x="34" y="276"/>
                </a:cubicBezTo>
                <a:cubicBezTo>
                  <a:pt x="32" y="274"/>
                  <a:pt x="32" y="274"/>
                  <a:pt x="32" y="274"/>
                </a:cubicBezTo>
                <a:cubicBezTo>
                  <a:pt x="22" y="280"/>
                  <a:pt x="22" y="280"/>
                  <a:pt x="22" y="280"/>
                </a:cubicBezTo>
                <a:cubicBezTo>
                  <a:pt x="22" y="280"/>
                  <a:pt x="22" y="280"/>
                  <a:pt x="22" y="280"/>
                </a:cubicBezTo>
                <a:close/>
                <a:moveTo>
                  <a:pt x="69" y="263"/>
                </a:moveTo>
                <a:cubicBezTo>
                  <a:pt x="67" y="263"/>
                  <a:pt x="61" y="265"/>
                  <a:pt x="61" y="265"/>
                </a:cubicBezTo>
                <a:cubicBezTo>
                  <a:pt x="61" y="265"/>
                  <a:pt x="53" y="268"/>
                  <a:pt x="53" y="270"/>
                </a:cubicBezTo>
                <a:cubicBezTo>
                  <a:pt x="54" y="271"/>
                  <a:pt x="56" y="270"/>
                  <a:pt x="60" y="269"/>
                </a:cubicBezTo>
                <a:cubicBezTo>
                  <a:pt x="64" y="267"/>
                  <a:pt x="69" y="270"/>
                  <a:pt x="70" y="268"/>
                </a:cubicBezTo>
                <a:cubicBezTo>
                  <a:pt x="72" y="267"/>
                  <a:pt x="72" y="263"/>
                  <a:pt x="69" y="263"/>
                </a:cubicBezTo>
                <a:close/>
                <a:moveTo>
                  <a:pt x="190" y="233"/>
                </a:moveTo>
                <a:cubicBezTo>
                  <a:pt x="189" y="233"/>
                  <a:pt x="187" y="234"/>
                  <a:pt x="187" y="234"/>
                </a:cubicBezTo>
                <a:cubicBezTo>
                  <a:pt x="187" y="234"/>
                  <a:pt x="185" y="233"/>
                  <a:pt x="184" y="233"/>
                </a:cubicBezTo>
                <a:cubicBezTo>
                  <a:pt x="183" y="233"/>
                  <a:pt x="183" y="237"/>
                  <a:pt x="183" y="237"/>
                </a:cubicBezTo>
                <a:cubicBezTo>
                  <a:pt x="180" y="239"/>
                  <a:pt x="180" y="239"/>
                  <a:pt x="180" y="239"/>
                </a:cubicBezTo>
                <a:cubicBezTo>
                  <a:pt x="180" y="235"/>
                  <a:pt x="180" y="235"/>
                  <a:pt x="180" y="235"/>
                </a:cubicBezTo>
                <a:cubicBezTo>
                  <a:pt x="180" y="235"/>
                  <a:pt x="177" y="234"/>
                  <a:pt x="174" y="237"/>
                </a:cubicBezTo>
                <a:cubicBezTo>
                  <a:pt x="174" y="237"/>
                  <a:pt x="170" y="239"/>
                  <a:pt x="170" y="241"/>
                </a:cubicBezTo>
                <a:cubicBezTo>
                  <a:pt x="169" y="243"/>
                  <a:pt x="174" y="243"/>
                  <a:pt x="174" y="243"/>
                </a:cubicBezTo>
                <a:cubicBezTo>
                  <a:pt x="174" y="243"/>
                  <a:pt x="180" y="243"/>
                  <a:pt x="182" y="242"/>
                </a:cubicBezTo>
                <a:cubicBezTo>
                  <a:pt x="185" y="241"/>
                  <a:pt x="184" y="239"/>
                  <a:pt x="184" y="239"/>
                </a:cubicBezTo>
                <a:cubicBezTo>
                  <a:pt x="188" y="239"/>
                  <a:pt x="188" y="239"/>
                  <a:pt x="188" y="239"/>
                </a:cubicBezTo>
                <a:cubicBezTo>
                  <a:pt x="188" y="237"/>
                  <a:pt x="188" y="237"/>
                  <a:pt x="188" y="237"/>
                </a:cubicBezTo>
                <a:cubicBezTo>
                  <a:pt x="194" y="237"/>
                  <a:pt x="194" y="237"/>
                  <a:pt x="194" y="237"/>
                </a:cubicBezTo>
                <a:cubicBezTo>
                  <a:pt x="195" y="234"/>
                  <a:pt x="195" y="234"/>
                  <a:pt x="195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92" y="234"/>
                  <a:pt x="191" y="233"/>
                  <a:pt x="190" y="233"/>
                </a:cubicBezTo>
                <a:close/>
                <a:moveTo>
                  <a:pt x="631" y="55"/>
                </a:moveTo>
                <a:cubicBezTo>
                  <a:pt x="631" y="55"/>
                  <a:pt x="639" y="53"/>
                  <a:pt x="641" y="55"/>
                </a:cubicBezTo>
                <a:cubicBezTo>
                  <a:pt x="643" y="56"/>
                  <a:pt x="642" y="58"/>
                  <a:pt x="645" y="58"/>
                </a:cubicBezTo>
                <a:cubicBezTo>
                  <a:pt x="647" y="58"/>
                  <a:pt x="652" y="57"/>
                  <a:pt x="652" y="57"/>
                </a:cubicBezTo>
                <a:cubicBezTo>
                  <a:pt x="652" y="57"/>
                  <a:pt x="655" y="59"/>
                  <a:pt x="658" y="57"/>
                </a:cubicBezTo>
                <a:cubicBezTo>
                  <a:pt x="662" y="56"/>
                  <a:pt x="661" y="53"/>
                  <a:pt x="661" y="53"/>
                </a:cubicBezTo>
                <a:cubicBezTo>
                  <a:pt x="666" y="53"/>
                  <a:pt x="666" y="53"/>
                  <a:pt x="666" y="53"/>
                </a:cubicBezTo>
                <a:cubicBezTo>
                  <a:pt x="675" y="50"/>
                  <a:pt x="675" y="50"/>
                  <a:pt x="675" y="50"/>
                </a:cubicBezTo>
                <a:cubicBezTo>
                  <a:pt x="670" y="54"/>
                  <a:pt x="670" y="54"/>
                  <a:pt x="670" y="54"/>
                </a:cubicBezTo>
                <a:cubicBezTo>
                  <a:pt x="677" y="56"/>
                  <a:pt x="677" y="56"/>
                  <a:pt x="677" y="56"/>
                </a:cubicBezTo>
                <a:cubicBezTo>
                  <a:pt x="685" y="53"/>
                  <a:pt x="685" y="53"/>
                  <a:pt x="685" y="53"/>
                </a:cubicBezTo>
                <a:cubicBezTo>
                  <a:pt x="698" y="47"/>
                  <a:pt x="698" y="47"/>
                  <a:pt x="698" y="47"/>
                </a:cubicBezTo>
                <a:cubicBezTo>
                  <a:pt x="698" y="47"/>
                  <a:pt x="688" y="43"/>
                  <a:pt x="686" y="43"/>
                </a:cubicBezTo>
                <a:cubicBezTo>
                  <a:pt x="684" y="43"/>
                  <a:pt x="673" y="43"/>
                  <a:pt x="673" y="43"/>
                </a:cubicBezTo>
                <a:cubicBezTo>
                  <a:pt x="662" y="44"/>
                  <a:pt x="662" y="44"/>
                  <a:pt x="662" y="44"/>
                </a:cubicBezTo>
                <a:cubicBezTo>
                  <a:pt x="662" y="47"/>
                  <a:pt x="662" y="47"/>
                  <a:pt x="662" y="47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0" y="47"/>
                  <a:pt x="635" y="47"/>
                </a:cubicBezTo>
                <a:cubicBezTo>
                  <a:pt x="631" y="48"/>
                  <a:pt x="631" y="50"/>
                  <a:pt x="631" y="50"/>
                </a:cubicBezTo>
                <a:cubicBezTo>
                  <a:pt x="631" y="51"/>
                  <a:pt x="631" y="55"/>
                  <a:pt x="631" y="55"/>
                </a:cubicBezTo>
                <a:close/>
                <a:moveTo>
                  <a:pt x="726" y="48"/>
                </a:moveTo>
                <a:cubicBezTo>
                  <a:pt x="739" y="48"/>
                  <a:pt x="738" y="44"/>
                  <a:pt x="738" y="44"/>
                </a:cubicBezTo>
                <a:cubicBezTo>
                  <a:pt x="737" y="42"/>
                  <a:pt x="737" y="42"/>
                  <a:pt x="737" y="42"/>
                </a:cubicBezTo>
                <a:cubicBezTo>
                  <a:pt x="747" y="41"/>
                  <a:pt x="747" y="41"/>
                  <a:pt x="747" y="41"/>
                </a:cubicBezTo>
                <a:cubicBezTo>
                  <a:pt x="745" y="40"/>
                  <a:pt x="745" y="40"/>
                  <a:pt x="745" y="40"/>
                </a:cubicBezTo>
                <a:cubicBezTo>
                  <a:pt x="735" y="40"/>
                  <a:pt x="735" y="40"/>
                  <a:pt x="735" y="40"/>
                </a:cubicBezTo>
                <a:cubicBezTo>
                  <a:pt x="734" y="42"/>
                  <a:pt x="734" y="42"/>
                  <a:pt x="734" y="42"/>
                </a:cubicBezTo>
                <a:cubicBezTo>
                  <a:pt x="734" y="42"/>
                  <a:pt x="721" y="39"/>
                  <a:pt x="720" y="42"/>
                </a:cubicBezTo>
                <a:cubicBezTo>
                  <a:pt x="719" y="46"/>
                  <a:pt x="726" y="48"/>
                  <a:pt x="726" y="48"/>
                </a:cubicBezTo>
                <a:close/>
                <a:moveTo>
                  <a:pt x="684" y="57"/>
                </a:moveTo>
                <a:cubicBezTo>
                  <a:pt x="676" y="60"/>
                  <a:pt x="676" y="60"/>
                  <a:pt x="676" y="60"/>
                </a:cubicBezTo>
                <a:cubicBezTo>
                  <a:pt x="676" y="60"/>
                  <a:pt x="683" y="62"/>
                  <a:pt x="680" y="62"/>
                </a:cubicBezTo>
                <a:cubicBezTo>
                  <a:pt x="677" y="63"/>
                  <a:pt x="664" y="64"/>
                  <a:pt x="664" y="64"/>
                </a:cubicBezTo>
                <a:cubicBezTo>
                  <a:pt x="662" y="67"/>
                  <a:pt x="662" y="67"/>
                  <a:pt x="662" y="67"/>
                </a:cubicBezTo>
                <a:cubicBezTo>
                  <a:pt x="669" y="66"/>
                  <a:pt x="669" y="66"/>
                  <a:pt x="669" y="66"/>
                </a:cubicBezTo>
                <a:cubicBezTo>
                  <a:pt x="669" y="66"/>
                  <a:pt x="672" y="67"/>
                  <a:pt x="676" y="68"/>
                </a:cubicBezTo>
                <a:cubicBezTo>
                  <a:pt x="680" y="68"/>
                  <a:pt x="692" y="65"/>
                  <a:pt x="692" y="65"/>
                </a:cubicBezTo>
                <a:cubicBezTo>
                  <a:pt x="692" y="66"/>
                  <a:pt x="692" y="66"/>
                  <a:pt x="692" y="66"/>
                </a:cubicBezTo>
                <a:cubicBezTo>
                  <a:pt x="692" y="66"/>
                  <a:pt x="700" y="65"/>
                  <a:pt x="706" y="65"/>
                </a:cubicBezTo>
                <a:cubicBezTo>
                  <a:pt x="712" y="65"/>
                  <a:pt x="707" y="66"/>
                  <a:pt x="704" y="66"/>
                </a:cubicBezTo>
                <a:cubicBezTo>
                  <a:pt x="702" y="67"/>
                  <a:pt x="695" y="67"/>
                  <a:pt x="690" y="68"/>
                </a:cubicBezTo>
                <a:cubicBezTo>
                  <a:pt x="685" y="69"/>
                  <a:pt x="678" y="71"/>
                  <a:pt x="678" y="71"/>
                </a:cubicBezTo>
                <a:cubicBezTo>
                  <a:pt x="678" y="71"/>
                  <a:pt x="684" y="72"/>
                  <a:pt x="695" y="72"/>
                </a:cubicBezTo>
                <a:cubicBezTo>
                  <a:pt x="705" y="73"/>
                  <a:pt x="712" y="68"/>
                  <a:pt x="712" y="68"/>
                </a:cubicBezTo>
                <a:cubicBezTo>
                  <a:pt x="722" y="66"/>
                  <a:pt x="722" y="66"/>
                  <a:pt x="722" y="66"/>
                </a:cubicBezTo>
                <a:cubicBezTo>
                  <a:pt x="722" y="66"/>
                  <a:pt x="726" y="67"/>
                  <a:pt x="736" y="66"/>
                </a:cubicBezTo>
                <a:cubicBezTo>
                  <a:pt x="745" y="64"/>
                  <a:pt x="746" y="62"/>
                  <a:pt x="750" y="61"/>
                </a:cubicBezTo>
                <a:cubicBezTo>
                  <a:pt x="754" y="60"/>
                  <a:pt x="751" y="56"/>
                  <a:pt x="746" y="56"/>
                </a:cubicBezTo>
                <a:cubicBezTo>
                  <a:pt x="742" y="56"/>
                  <a:pt x="744" y="59"/>
                  <a:pt x="744" y="59"/>
                </a:cubicBezTo>
                <a:cubicBezTo>
                  <a:pt x="738" y="59"/>
                  <a:pt x="738" y="59"/>
                  <a:pt x="738" y="59"/>
                </a:cubicBezTo>
                <a:cubicBezTo>
                  <a:pt x="738" y="59"/>
                  <a:pt x="739" y="57"/>
                  <a:pt x="740" y="56"/>
                </a:cubicBezTo>
                <a:cubicBezTo>
                  <a:pt x="741" y="54"/>
                  <a:pt x="744" y="51"/>
                  <a:pt x="741" y="51"/>
                </a:cubicBezTo>
                <a:cubicBezTo>
                  <a:pt x="739" y="50"/>
                  <a:pt x="734" y="53"/>
                  <a:pt x="727" y="55"/>
                </a:cubicBezTo>
                <a:cubicBezTo>
                  <a:pt x="719" y="57"/>
                  <a:pt x="731" y="56"/>
                  <a:pt x="731" y="56"/>
                </a:cubicBezTo>
                <a:cubicBezTo>
                  <a:pt x="730" y="60"/>
                  <a:pt x="730" y="60"/>
                  <a:pt x="730" y="60"/>
                </a:cubicBezTo>
                <a:cubicBezTo>
                  <a:pt x="714" y="62"/>
                  <a:pt x="714" y="62"/>
                  <a:pt x="714" y="62"/>
                </a:cubicBezTo>
                <a:cubicBezTo>
                  <a:pt x="714" y="62"/>
                  <a:pt x="712" y="58"/>
                  <a:pt x="713" y="56"/>
                </a:cubicBezTo>
                <a:cubicBezTo>
                  <a:pt x="714" y="54"/>
                  <a:pt x="702" y="53"/>
                  <a:pt x="702" y="53"/>
                </a:cubicBezTo>
                <a:cubicBezTo>
                  <a:pt x="684" y="57"/>
                  <a:pt x="684" y="57"/>
                  <a:pt x="684" y="57"/>
                </a:cubicBezTo>
                <a:cubicBezTo>
                  <a:pt x="684" y="57"/>
                  <a:pt x="684" y="57"/>
                  <a:pt x="684" y="57"/>
                </a:cubicBezTo>
                <a:close/>
                <a:moveTo>
                  <a:pt x="574" y="98"/>
                </a:moveTo>
                <a:cubicBezTo>
                  <a:pt x="575" y="100"/>
                  <a:pt x="569" y="104"/>
                  <a:pt x="575" y="103"/>
                </a:cubicBezTo>
                <a:cubicBezTo>
                  <a:pt x="581" y="102"/>
                  <a:pt x="588" y="99"/>
                  <a:pt x="588" y="99"/>
                </a:cubicBezTo>
                <a:cubicBezTo>
                  <a:pt x="593" y="101"/>
                  <a:pt x="593" y="101"/>
                  <a:pt x="593" y="101"/>
                </a:cubicBezTo>
                <a:cubicBezTo>
                  <a:pt x="604" y="93"/>
                  <a:pt x="604" y="93"/>
                  <a:pt x="604" y="93"/>
                </a:cubicBezTo>
                <a:cubicBezTo>
                  <a:pt x="622" y="87"/>
                  <a:pt x="622" y="87"/>
                  <a:pt x="622" y="87"/>
                </a:cubicBezTo>
                <a:cubicBezTo>
                  <a:pt x="640" y="82"/>
                  <a:pt x="640" y="82"/>
                  <a:pt x="640" y="82"/>
                </a:cubicBezTo>
                <a:cubicBezTo>
                  <a:pt x="654" y="79"/>
                  <a:pt x="654" y="79"/>
                  <a:pt x="654" y="79"/>
                </a:cubicBezTo>
                <a:cubicBezTo>
                  <a:pt x="654" y="79"/>
                  <a:pt x="645" y="73"/>
                  <a:pt x="645" y="72"/>
                </a:cubicBezTo>
                <a:cubicBezTo>
                  <a:pt x="644" y="71"/>
                  <a:pt x="634" y="72"/>
                  <a:pt x="634" y="72"/>
                </a:cubicBezTo>
                <a:cubicBezTo>
                  <a:pt x="625" y="74"/>
                  <a:pt x="625" y="74"/>
                  <a:pt x="625" y="74"/>
                </a:cubicBezTo>
                <a:cubicBezTo>
                  <a:pt x="620" y="70"/>
                  <a:pt x="620" y="70"/>
                  <a:pt x="620" y="70"/>
                </a:cubicBezTo>
                <a:cubicBezTo>
                  <a:pt x="609" y="71"/>
                  <a:pt x="609" y="71"/>
                  <a:pt x="609" y="71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599" y="76"/>
                  <a:pt x="599" y="76"/>
                  <a:pt x="599" y="76"/>
                </a:cubicBezTo>
                <a:cubicBezTo>
                  <a:pt x="597" y="80"/>
                  <a:pt x="597" y="80"/>
                  <a:pt x="597" y="80"/>
                </a:cubicBezTo>
                <a:cubicBezTo>
                  <a:pt x="590" y="82"/>
                  <a:pt x="590" y="82"/>
                  <a:pt x="590" y="82"/>
                </a:cubicBezTo>
                <a:cubicBezTo>
                  <a:pt x="581" y="85"/>
                  <a:pt x="581" y="85"/>
                  <a:pt x="581" y="85"/>
                </a:cubicBezTo>
                <a:cubicBezTo>
                  <a:pt x="584" y="87"/>
                  <a:pt x="584" y="87"/>
                  <a:pt x="584" y="87"/>
                </a:cubicBezTo>
                <a:cubicBezTo>
                  <a:pt x="567" y="94"/>
                  <a:pt x="567" y="94"/>
                  <a:pt x="567" y="94"/>
                </a:cubicBezTo>
                <a:cubicBezTo>
                  <a:pt x="567" y="94"/>
                  <a:pt x="573" y="95"/>
                  <a:pt x="574" y="98"/>
                </a:cubicBezTo>
                <a:close/>
                <a:moveTo>
                  <a:pt x="705" y="51"/>
                </a:moveTo>
                <a:cubicBezTo>
                  <a:pt x="709" y="48"/>
                  <a:pt x="705" y="46"/>
                  <a:pt x="701" y="48"/>
                </a:cubicBezTo>
                <a:cubicBezTo>
                  <a:pt x="697" y="50"/>
                  <a:pt x="705" y="51"/>
                  <a:pt x="705" y="51"/>
                </a:cubicBezTo>
                <a:close/>
                <a:moveTo>
                  <a:pt x="744" y="38"/>
                </a:moveTo>
                <a:cubicBezTo>
                  <a:pt x="746" y="38"/>
                  <a:pt x="752" y="40"/>
                  <a:pt x="753" y="38"/>
                </a:cubicBezTo>
                <a:cubicBezTo>
                  <a:pt x="753" y="36"/>
                  <a:pt x="751" y="35"/>
                  <a:pt x="748" y="35"/>
                </a:cubicBezTo>
                <a:cubicBezTo>
                  <a:pt x="744" y="35"/>
                  <a:pt x="730" y="37"/>
                  <a:pt x="730" y="37"/>
                </a:cubicBezTo>
                <a:cubicBezTo>
                  <a:pt x="730" y="37"/>
                  <a:pt x="742" y="39"/>
                  <a:pt x="744" y="38"/>
                </a:cubicBezTo>
                <a:close/>
                <a:moveTo>
                  <a:pt x="893" y="87"/>
                </a:moveTo>
                <a:cubicBezTo>
                  <a:pt x="896" y="88"/>
                  <a:pt x="901" y="85"/>
                  <a:pt x="901" y="85"/>
                </a:cubicBezTo>
                <a:cubicBezTo>
                  <a:pt x="909" y="85"/>
                  <a:pt x="909" y="85"/>
                  <a:pt x="909" y="85"/>
                </a:cubicBezTo>
                <a:cubicBezTo>
                  <a:pt x="909" y="85"/>
                  <a:pt x="915" y="87"/>
                  <a:pt x="917" y="86"/>
                </a:cubicBezTo>
                <a:cubicBezTo>
                  <a:pt x="918" y="85"/>
                  <a:pt x="917" y="80"/>
                  <a:pt x="913" y="79"/>
                </a:cubicBezTo>
                <a:cubicBezTo>
                  <a:pt x="909" y="79"/>
                  <a:pt x="906" y="80"/>
                  <a:pt x="906" y="80"/>
                </a:cubicBezTo>
                <a:cubicBezTo>
                  <a:pt x="901" y="80"/>
                  <a:pt x="901" y="80"/>
                  <a:pt x="901" y="80"/>
                </a:cubicBezTo>
                <a:cubicBezTo>
                  <a:pt x="901" y="80"/>
                  <a:pt x="894" y="77"/>
                  <a:pt x="892" y="79"/>
                </a:cubicBezTo>
                <a:cubicBezTo>
                  <a:pt x="890" y="81"/>
                  <a:pt x="889" y="82"/>
                  <a:pt x="889" y="82"/>
                </a:cubicBezTo>
                <a:cubicBezTo>
                  <a:pt x="892" y="83"/>
                  <a:pt x="892" y="83"/>
                  <a:pt x="892" y="83"/>
                </a:cubicBezTo>
                <a:cubicBezTo>
                  <a:pt x="892" y="83"/>
                  <a:pt x="890" y="86"/>
                  <a:pt x="893" y="87"/>
                </a:cubicBezTo>
                <a:close/>
                <a:moveTo>
                  <a:pt x="839" y="24"/>
                </a:moveTo>
                <a:cubicBezTo>
                  <a:pt x="831" y="25"/>
                  <a:pt x="831" y="25"/>
                  <a:pt x="831" y="25"/>
                </a:cubicBezTo>
                <a:cubicBezTo>
                  <a:pt x="834" y="29"/>
                  <a:pt x="834" y="29"/>
                  <a:pt x="834" y="29"/>
                </a:cubicBezTo>
                <a:cubicBezTo>
                  <a:pt x="839" y="24"/>
                  <a:pt x="839" y="24"/>
                  <a:pt x="839" y="24"/>
                </a:cubicBezTo>
                <a:cubicBezTo>
                  <a:pt x="839" y="24"/>
                  <a:pt x="839" y="24"/>
                  <a:pt x="839" y="24"/>
                </a:cubicBezTo>
                <a:close/>
                <a:moveTo>
                  <a:pt x="714" y="107"/>
                </a:moveTo>
                <a:cubicBezTo>
                  <a:pt x="713" y="106"/>
                  <a:pt x="700" y="106"/>
                  <a:pt x="700" y="106"/>
                </a:cubicBezTo>
                <a:cubicBezTo>
                  <a:pt x="711" y="100"/>
                  <a:pt x="711" y="100"/>
                  <a:pt x="711" y="100"/>
                </a:cubicBezTo>
                <a:cubicBezTo>
                  <a:pt x="711" y="100"/>
                  <a:pt x="717" y="85"/>
                  <a:pt x="711" y="83"/>
                </a:cubicBezTo>
                <a:cubicBezTo>
                  <a:pt x="706" y="81"/>
                  <a:pt x="698" y="85"/>
                  <a:pt x="698" y="85"/>
                </a:cubicBezTo>
                <a:cubicBezTo>
                  <a:pt x="698" y="85"/>
                  <a:pt x="692" y="96"/>
                  <a:pt x="687" y="97"/>
                </a:cubicBezTo>
                <a:cubicBezTo>
                  <a:pt x="682" y="98"/>
                  <a:pt x="690" y="89"/>
                  <a:pt x="690" y="87"/>
                </a:cubicBezTo>
                <a:cubicBezTo>
                  <a:pt x="690" y="85"/>
                  <a:pt x="676" y="85"/>
                  <a:pt x="676" y="85"/>
                </a:cubicBezTo>
                <a:cubicBezTo>
                  <a:pt x="675" y="88"/>
                  <a:pt x="675" y="88"/>
                  <a:pt x="675" y="88"/>
                </a:cubicBezTo>
                <a:cubicBezTo>
                  <a:pt x="675" y="88"/>
                  <a:pt x="667" y="91"/>
                  <a:pt x="660" y="91"/>
                </a:cubicBezTo>
                <a:cubicBezTo>
                  <a:pt x="652" y="92"/>
                  <a:pt x="663" y="89"/>
                  <a:pt x="671" y="86"/>
                </a:cubicBezTo>
                <a:cubicBezTo>
                  <a:pt x="678" y="84"/>
                  <a:pt x="667" y="84"/>
                  <a:pt x="667" y="84"/>
                </a:cubicBezTo>
                <a:cubicBezTo>
                  <a:pt x="658" y="86"/>
                  <a:pt x="658" y="86"/>
                  <a:pt x="658" y="86"/>
                </a:cubicBezTo>
                <a:cubicBezTo>
                  <a:pt x="652" y="87"/>
                  <a:pt x="652" y="87"/>
                  <a:pt x="652" y="87"/>
                </a:cubicBezTo>
                <a:cubicBezTo>
                  <a:pt x="652" y="87"/>
                  <a:pt x="655" y="85"/>
                  <a:pt x="659" y="82"/>
                </a:cubicBezTo>
                <a:cubicBezTo>
                  <a:pt x="662" y="80"/>
                  <a:pt x="658" y="80"/>
                  <a:pt x="658" y="80"/>
                </a:cubicBezTo>
                <a:cubicBezTo>
                  <a:pt x="637" y="87"/>
                  <a:pt x="637" y="87"/>
                  <a:pt x="637" y="87"/>
                </a:cubicBezTo>
                <a:cubicBezTo>
                  <a:pt x="634" y="87"/>
                  <a:pt x="634" y="87"/>
                  <a:pt x="634" y="87"/>
                </a:cubicBezTo>
                <a:cubicBezTo>
                  <a:pt x="623" y="91"/>
                  <a:pt x="623" y="91"/>
                  <a:pt x="623" y="91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15" y="95"/>
                  <a:pt x="615" y="95"/>
                  <a:pt x="615" y="95"/>
                </a:cubicBezTo>
                <a:cubicBezTo>
                  <a:pt x="613" y="98"/>
                  <a:pt x="613" y="98"/>
                  <a:pt x="613" y="98"/>
                </a:cubicBezTo>
                <a:cubicBezTo>
                  <a:pt x="617" y="99"/>
                  <a:pt x="617" y="99"/>
                  <a:pt x="617" y="99"/>
                </a:cubicBezTo>
                <a:cubicBezTo>
                  <a:pt x="617" y="99"/>
                  <a:pt x="621" y="96"/>
                  <a:pt x="622" y="99"/>
                </a:cubicBezTo>
                <a:cubicBezTo>
                  <a:pt x="623" y="101"/>
                  <a:pt x="614" y="100"/>
                  <a:pt x="611" y="104"/>
                </a:cubicBezTo>
                <a:cubicBezTo>
                  <a:pt x="609" y="108"/>
                  <a:pt x="642" y="104"/>
                  <a:pt x="637" y="108"/>
                </a:cubicBezTo>
                <a:cubicBezTo>
                  <a:pt x="633" y="111"/>
                  <a:pt x="607" y="109"/>
                  <a:pt x="604" y="113"/>
                </a:cubicBezTo>
                <a:cubicBezTo>
                  <a:pt x="602" y="116"/>
                  <a:pt x="609" y="116"/>
                  <a:pt x="613" y="118"/>
                </a:cubicBezTo>
                <a:cubicBezTo>
                  <a:pt x="618" y="121"/>
                  <a:pt x="611" y="119"/>
                  <a:pt x="610" y="123"/>
                </a:cubicBezTo>
                <a:cubicBezTo>
                  <a:pt x="609" y="126"/>
                  <a:pt x="631" y="125"/>
                  <a:pt x="631" y="125"/>
                </a:cubicBezTo>
                <a:cubicBezTo>
                  <a:pt x="631" y="125"/>
                  <a:pt x="666" y="121"/>
                  <a:pt x="674" y="119"/>
                </a:cubicBezTo>
                <a:cubicBezTo>
                  <a:pt x="680" y="117"/>
                  <a:pt x="691" y="125"/>
                  <a:pt x="697" y="125"/>
                </a:cubicBezTo>
                <a:cubicBezTo>
                  <a:pt x="704" y="126"/>
                  <a:pt x="707" y="118"/>
                  <a:pt x="707" y="118"/>
                </a:cubicBezTo>
                <a:cubicBezTo>
                  <a:pt x="696" y="118"/>
                  <a:pt x="696" y="118"/>
                  <a:pt x="696" y="118"/>
                </a:cubicBezTo>
                <a:cubicBezTo>
                  <a:pt x="700" y="114"/>
                  <a:pt x="700" y="114"/>
                  <a:pt x="700" y="114"/>
                </a:cubicBezTo>
                <a:cubicBezTo>
                  <a:pt x="700" y="114"/>
                  <a:pt x="707" y="116"/>
                  <a:pt x="714" y="114"/>
                </a:cubicBezTo>
                <a:cubicBezTo>
                  <a:pt x="721" y="113"/>
                  <a:pt x="714" y="109"/>
                  <a:pt x="714" y="107"/>
                </a:cubicBezTo>
                <a:close/>
                <a:moveTo>
                  <a:pt x="831" y="50"/>
                </a:moveTo>
                <a:cubicBezTo>
                  <a:pt x="830" y="50"/>
                  <a:pt x="828" y="49"/>
                  <a:pt x="828" y="49"/>
                </a:cubicBezTo>
                <a:cubicBezTo>
                  <a:pt x="828" y="49"/>
                  <a:pt x="816" y="49"/>
                  <a:pt x="816" y="51"/>
                </a:cubicBezTo>
                <a:cubicBezTo>
                  <a:pt x="816" y="53"/>
                  <a:pt x="819" y="53"/>
                  <a:pt x="819" y="53"/>
                </a:cubicBezTo>
                <a:cubicBezTo>
                  <a:pt x="820" y="56"/>
                  <a:pt x="820" y="56"/>
                  <a:pt x="820" y="56"/>
                </a:cubicBezTo>
                <a:cubicBezTo>
                  <a:pt x="820" y="56"/>
                  <a:pt x="830" y="57"/>
                  <a:pt x="831" y="56"/>
                </a:cubicBezTo>
                <a:cubicBezTo>
                  <a:pt x="832" y="56"/>
                  <a:pt x="834" y="56"/>
                  <a:pt x="836" y="56"/>
                </a:cubicBezTo>
                <a:cubicBezTo>
                  <a:pt x="835" y="58"/>
                  <a:pt x="835" y="60"/>
                  <a:pt x="835" y="60"/>
                </a:cubicBezTo>
                <a:cubicBezTo>
                  <a:pt x="827" y="66"/>
                  <a:pt x="827" y="66"/>
                  <a:pt x="827" y="66"/>
                </a:cubicBezTo>
                <a:cubicBezTo>
                  <a:pt x="830" y="67"/>
                  <a:pt x="830" y="67"/>
                  <a:pt x="830" y="67"/>
                </a:cubicBezTo>
                <a:cubicBezTo>
                  <a:pt x="830" y="67"/>
                  <a:pt x="825" y="70"/>
                  <a:pt x="827" y="70"/>
                </a:cubicBezTo>
                <a:cubicBezTo>
                  <a:pt x="830" y="70"/>
                  <a:pt x="834" y="68"/>
                  <a:pt x="834" y="68"/>
                </a:cubicBezTo>
                <a:cubicBezTo>
                  <a:pt x="834" y="68"/>
                  <a:pt x="832" y="71"/>
                  <a:pt x="836" y="71"/>
                </a:cubicBezTo>
                <a:cubicBezTo>
                  <a:pt x="840" y="70"/>
                  <a:pt x="847" y="68"/>
                  <a:pt x="847" y="68"/>
                </a:cubicBezTo>
                <a:cubicBezTo>
                  <a:pt x="848" y="71"/>
                  <a:pt x="848" y="71"/>
                  <a:pt x="848" y="71"/>
                </a:cubicBezTo>
                <a:cubicBezTo>
                  <a:pt x="857" y="70"/>
                  <a:pt x="857" y="70"/>
                  <a:pt x="857" y="70"/>
                </a:cubicBezTo>
                <a:cubicBezTo>
                  <a:pt x="868" y="72"/>
                  <a:pt x="868" y="72"/>
                  <a:pt x="868" y="72"/>
                </a:cubicBezTo>
                <a:cubicBezTo>
                  <a:pt x="881" y="71"/>
                  <a:pt x="881" y="71"/>
                  <a:pt x="881" y="71"/>
                </a:cubicBezTo>
                <a:cubicBezTo>
                  <a:pt x="885" y="68"/>
                  <a:pt x="885" y="68"/>
                  <a:pt x="885" y="68"/>
                </a:cubicBezTo>
                <a:cubicBezTo>
                  <a:pt x="885" y="68"/>
                  <a:pt x="883" y="71"/>
                  <a:pt x="886" y="71"/>
                </a:cubicBezTo>
                <a:cubicBezTo>
                  <a:pt x="888" y="71"/>
                  <a:pt x="904" y="71"/>
                  <a:pt x="904" y="71"/>
                </a:cubicBezTo>
                <a:cubicBezTo>
                  <a:pt x="905" y="68"/>
                  <a:pt x="905" y="68"/>
                  <a:pt x="905" y="68"/>
                </a:cubicBezTo>
                <a:cubicBezTo>
                  <a:pt x="915" y="64"/>
                  <a:pt x="915" y="64"/>
                  <a:pt x="915" y="64"/>
                </a:cubicBezTo>
                <a:cubicBezTo>
                  <a:pt x="912" y="63"/>
                  <a:pt x="912" y="63"/>
                  <a:pt x="912" y="63"/>
                </a:cubicBezTo>
                <a:cubicBezTo>
                  <a:pt x="912" y="62"/>
                  <a:pt x="912" y="62"/>
                  <a:pt x="912" y="62"/>
                </a:cubicBezTo>
                <a:cubicBezTo>
                  <a:pt x="912" y="62"/>
                  <a:pt x="903" y="59"/>
                  <a:pt x="900" y="59"/>
                </a:cubicBezTo>
                <a:cubicBezTo>
                  <a:pt x="896" y="59"/>
                  <a:pt x="871" y="64"/>
                  <a:pt x="871" y="64"/>
                </a:cubicBezTo>
                <a:cubicBezTo>
                  <a:pt x="871" y="64"/>
                  <a:pt x="868" y="62"/>
                  <a:pt x="866" y="62"/>
                </a:cubicBezTo>
                <a:cubicBezTo>
                  <a:pt x="865" y="62"/>
                  <a:pt x="858" y="64"/>
                  <a:pt x="858" y="64"/>
                </a:cubicBezTo>
                <a:cubicBezTo>
                  <a:pt x="856" y="61"/>
                  <a:pt x="856" y="61"/>
                  <a:pt x="856" y="61"/>
                </a:cubicBezTo>
                <a:cubicBezTo>
                  <a:pt x="853" y="63"/>
                  <a:pt x="853" y="63"/>
                  <a:pt x="853" y="63"/>
                </a:cubicBezTo>
                <a:cubicBezTo>
                  <a:pt x="849" y="62"/>
                  <a:pt x="849" y="62"/>
                  <a:pt x="849" y="62"/>
                </a:cubicBezTo>
                <a:cubicBezTo>
                  <a:pt x="853" y="60"/>
                  <a:pt x="853" y="60"/>
                  <a:pt x="853" y="60"/>
                </a:cubicBezTo>
                <a:cubicBezTo>
                  <a:pt x="850" y="59"/>
                  <a:pt x="850" y="59"/>
                  <a:pt x="850" y="59"/>
                </a:cubicBezTo>
                <a:cubicBezTo>
                  <a:pt x="843" y="60"/>
                  <a:pt x="843" y="60"/>
                  <a:pt x="843" y="60"/>
                </a:cubicBezTo>
                <a:cubicBezTo>
                  <a:pt x="848" y="58"/>
                  <a:pt x="848" y="58"/>
                  <a:pt x="848" y="58"/>
                </a:cubicBezTo>
                <a:cubicBezTo>
                  <a:pt x="848" y="57"/>
                  <a:pt x="848" y="57"/>
                  <a:pt x="848" y="57"/>
                </a:cubicBezTo>
                <a:cubicBezTo>
                  <a:pt x="857" y="57"/>
                  <a:pt x="857" y="57"/>
                  <a:pt x="857" y="57"/>
                </a:cubicBezTo>
                <a:cubicBezTo>
                  <a:pt x="852" y="55"/>
                  <a:pt x="852" y="55"/>
                  <a:pt x="852" y="55"/>
                </a:cubicBezTo>
                <a:cubicBezTo>
                  <a:pt x="849" y="55"/>
                  <a:pt x="849" y="55"/>
                  <a:pt x="849" y="55"/>
                </a:cubicBezTo>
                <a:cubicBezTo>
                  <a:pt x="849" y="55"/>
                  <a:pt x="852" y="53"/>
                  <a:pt x="849" y="53"/>
                </a:cubicBezTo>
                <a:cubicBezTo>
                  <a:pt x="848" y="53"/>
                  <a:pt x="841" y="53"/>
                  <a:pt x="838" y="54"/>
                </a:cubicBezTo>
                <a:cubicBezTo>
                  <a:pt x="837" y="52"/>
                  <a:pt x="831" y="50"/>
                  <a:pt x="831" y="50"/>
                </a:cubicBezTo>
                <a:close/>
                <a:moveTo>
                  <a:pt x="861" y="29"/>
                </a:moveTo>
                <a:cubicBezTo>
                  <a:pt x="854" y="30"/>
                  <a:pt x="854" y="30"/>
                  <a:pt x="854" y="30"/>
                </a:cubicBezTo>
                <a:cubicBezTo>
                  <a:pt x="859" y="32"/>
                  <a:pt x="859" y="32"/>
                  <a:pt x="859" y="32"/>
                </a:cubicBezTo>
                <a:cubicBezTo>
                  <a:pt x="859" y="32"/>
                  <a:pt x="856" y="33"/>
                  <a:pt x="856" y="35"/>
                </a:cubicBezTo>
                <a:cubicBezTo>
                  <a:pt x="857" y="37"/>
                  <a:pt x="862" y="37"/>
                  <a:pt x="862" y="37"/>
                </a:cubicBezTo>
                <a:cubicBezTo>
                  <a:pt x="860" y="39"/>
                  <a:pt x="860" y="39"/>
                  <a:pt x="860" y="39"/>
                </a:cubicBezTo>
                <a:cubicBezTo>
                  <a:pt x="860" y="39"/>
                  <a:pt x="863" y="39"/>
                  <a:pt x="866" y="41"/>
                </a:cubicBezTo>
                <a:cubicBezTo>
                  <a:pt x="869" y="43"/>
                  <a:pt x="875" y="39"/>
                  <a:pt x="875" y="39"/>
                </a:cubicBezTo>
                <a:cubicBezTo>
                  <a:pt x="878" y="37"/>
                  <a:pt x="878" y="37"/>
                  <a:pt x="878" y="37"/>
                </a:cubicBezTo>
                <a:cubicBezTo>
                  <a:pt x="878" y="37"/>
                  <a:pt x="879" y="38"/>
                  <a:pt x="880" y="41"/>
                </a:cubicBezTo>
                <a:cubicBezTo>
                  <a:pt x="882" y="43"/>
                  <a:pt x="887" y="39"/>
                  <a:pt x="889" y="39"/>
                </a:cubicBezTo>
                <a:cubicBezTo>
                  <a:pt x="890" y="38"/>
                  <a:pt x="893" y="35"/>
                  <a:pt x="893" y="35"/>
                </a:cubicBezTo>
                <a:cubicBezTo>
                  <a:pt x="895" y="37"/>
                  <a:pt x="895" y="37"/>
                  <a:pt x="895" y="37"/>
                </a:cubicBezTo>
                <a:cubicBezTo>
                  <a:pt x="895" y="37"/>
                  <a:pt x="898" y="34"/>
                  <a:pt x="898" y="33"/>
                </a:cubicBezTo>
                <a:cubicBezTo>
                  <a:pt x="898" y="32"/>
                  <a:pt x="909" y="33"/>
                  <a:pt x="912" y="33"/>
                </a:cubicBezTo>
                <a:cubicBezTo>
                  <a:pt x="914" y="33"/>
                  <a:pt x="914" y="30"/>
                  <a:pt x="914" y="30"/>
                </a:cubicBezTo>
                <a:cubicBezTo>
                  <a:pt x="905" y="30"/>
                  <a:pt x="905" y="30"/>
                  <a:pt x="905" y="30"/>
                </a:cubicBezTo>
                <a:cubicBezTo>
                  <a:pt x="909" y="27"/>
                  <a:pt x="909" y="27"/>
                  <a:pt x="909" y="27"/>
                </a:cubicBezTo>
                <a:cubicBezTo>
                  <a:pt x="909" y="27"/>
                  <a:pt x="911" y="23"/>
                  <a:pt x="910" y="22"/>
                </a:cubicBezTo>
                <a:cubicBezTo>
                  <a:pt x="909" y="20"/>
                  <a:pt x="902" y="24"/>
                  <a:pt x="902" y="24"/>
                </a:cubicBezTo>
                <a:cubicBezTo>
                  <a:pt x="901" y="21"/>
                  <a:pt x="901" y="21"/>
                  <a:pt x="901" y="21"/>
                </a:cubicBezTo>
                <a:cubicBezTo>
                  <a:pt x="895" y="22"/>
                  <a:pt x="895" y="22"/>
                  <a:pt x="895" y="22"/>
                </a:cubicBezTo>
                <a:cubicBezTo>
                  <a:pt x="895" y="22"/>
                  <a:pt x="894" y="18"/>
                  <a:pt x="892" y="15"/>
                </a:cubicBezTo>
                <a:cubicBezTo>
                  <a:pt x="890" y="13"/>
                  <a:pt x="881" y="18"/>
                  <a:pt x="881" y="18"/>
                </a:cubicBezTo>
                <a:cubicBezTo>
                  <a:pt x="870" y="18"/>
                  <a:pt x="870" y="18"/>
                  <a:pt x="870" y="18"/>
                </a:cubicBezTo>
                <a:cubicBezTo>
                  <a:pt x="874" y="21"/>
                  <a:pt x="874" y="21"/>
                  <a:pt x="874" y="21"/>
                </a:cubicBezTo>
                <a:cubicBezTo>
                  <a:pt x="874" y="21"/>
                  <a:pt x="866" y="21"/>
                  <a:pt x="863" y="21"/>
                </a:cubicBezTo>
                <a:cubicBezTo>
                  <a:pt x="861" y="22"/>
                  <a:pt x="865" y="25"/>
                  <a:pt x="865" y="25"/>
                </a:cubicBezTo>
                <a:cubicBezTo>
                  <a:pt x="865" y="25"/>
                  <a:pt x="853" y="24"/>
                  <a:pt x="852" y="27"/>
                </a:cubicBezTo>
                <a:cubicBezTo>
                  <a:pt x="851" y="30"/>
                  <a:pt x="861" y="29"/>
                  <a:pt x="861" y="29"/>
                </a:cubicBezTo>
                <a:close/>
                <a:moveTo>
                  <a:pt x="863" y="44"/>
                </a:moveTo>
                <a:cubicBezTo>
                  <a:pt x="859" y="45"/>
                  <a:pt x="859" y="47"/>
                  <a:pt x="859" y="47"/>
                </a:cubicBezTo>
                <a:cubicBezTo>
                  <a:pt x="862" y="48"/>
                  <a:pt x="862" y="48"/>
                  <a:pt x="862" y="48"/>
                </a:cubicBezTo>
                <a:cubicBezTo>
                  <a:pt x="866" y="48"/>
                  <a:pt x="868" y="44"/>
                  <a:pt x="863" y="44"/>
                </a:cubicBezTo>
                <a:close/>
                <a:moveTo>
                  <a:pt x="828" y="43"/>
                </a:moveTo>
                <a:cubicBezTo>
                  <a:pt x="830" y="44"/>
                  <a:pt x="831" y="46"/>
                  <a:pt x="831" y="46"/>
                </a:cubicBezTo>
                <a:cubicBezTo>
                  <a:pt x="831" y="46"/>
                  <a:pt x="840" y="45"/>
                  <a:pt x="844" y="45"/>
                </a:cubicBezTo>
                <a:cubicBezTo>
                  <a:pt x="848" y="45"/>
                  <a:pt x="839" y="42"/>
                  <a:pt x="839" y="42"/>
                </a:cubicBezTo>
                <a:cubicBezTo>
                  <a:pt x="839" y="42"/>
                  <a:pt x="841" y="40"/>
                  <a:pt x="843" y="40"/>
                </a:cubicBezTo>
                <a:cubicBezTo>
                  <a:pt x="845" y="39"/>
                  <a:pt x="837" y="37"/>
                  <a:pt x="831" y="35"/>
                </a:cubicBezTo>
                <a:cubicBezTo>
                  <a:pt x="831" y="35"/>
                  <a:pt x="826" y="36"/>
                  <a:pt x="825" y="37"/>
                </a:cubicBezTo>
                <a:cubicBezTo>
                  <a:pt x="824" y="38"/>
                  <a:pt x="826" y="43"/>
                  <a:pt x="828" y="43"/>
                </a:cubicBezTo>
                <a:close/>
                <a:moveTo>
                  <a:pt x="765" y="62"/>
                </a:moveTo>
                <a:cubicBezTo>
                  <a:pt x="767" y="62"/>
                  <a:pt x="776" y="63"/>
                  <a:pt x="776" y="63"/>
                </a:cubicBezTo>
                <a:cubicBezTo>
                  <a:pt x="776" y="63"/>
                  <a:pt x="771" y="67"/>
                  <a:pt x="774" y="67"/>
                </a:cubicBezTo>
                <a:cubicBezTo>
                  <a:pt x="777" y="67"/>
                  <a:pt x="785" y="67"/>
                  <a:pt x="785" y="67"/>
                </a:cubicBezTo>
                <a:cubicBezTo>
                  <a:pt x="788" y="67"/>
                  <a:pt x="793" y="66"/>
                  <a:pt x="792" y="64"/>
                </a:cubicBezTo>
                <a:cubicBezTo>
                  <a:pt x="791" y="62"/>
                  <a:pt x="800" y="62"/>
                  <a:pt x="799" y="60"/>
                </a:cubicBezTo>
                <a:cubicBezTo>
                  <a:pt x="799" y="58"/>
                  <a:pt x="807" y="57"/>
                  <a:pt x="804" y="54"/>
                </a:cubicBezTo>
                <a:cubicBezTo>
                  <a:pt x="801" y="52"/>
                  <a:pt x="797" y="54"/>
                  <a:pt x="797" y="54"/>
                </a:cubicBezTo>
                <a:cubicBezTo>
                  <a:pt x="797" y="54"/>
                  <a:pt x="787" y="51"/>
                  <a:pt x="787" y="53"/>
                </a:cubicBezTo>
                <a:cubicBezTo>
                  <a:pt x="786" y="54"/>
                  <a:pt x="786" y="59"/>
                  <a:pt x="786" y="59"/>
                </a:cubicBezTo>
                <a:cubicBezTo>
                  <a:pt x="786" y="59"/>
                  <a:pt x="782" y="53"/>
                  <a:pt x="780" y="55"/>
                </a:cubicBezTo>
                <a:cubicBezTo>
                  <a:pt x="777" y="57"/>
                  <a:pt x="775" y="62"/>
                  <a:pt x="773" y="61"/>
                </a:cubicBezTo>
                <a:cubicBezTo>
                  <a:pt x="771" y="59"/>
                  <a:pt x="770" y="54"/>
                  <a:pt x="768" y="54"/>
                </a:cubicBezTo>
                <a:cubicBezTo>
                  <a:pt x="766" y="53"/>
                  <a:pt x="761" y="54"/>
                  <a:pt x="761" y="56"/>
                </a:cubicBezTo>
                <a:cubicBezTo>
                  <a:pt x="761" y="59"/>
                  <a:pt x="763" y="62"/>
                  <a:pt x="765" y="62"/>
                </a:cubicBezTo>
                <a:close/>
                <a:moveTo>
                  <a:pt x="793" y="35"/>
                </a:moveTo>
                <a:cubicBezTo>
                  <a:pt x="793" y="35"/>
                  <a:pt x="789" y="39"/>
                  <a:pt x="792" y="39"/>
                </a:cubicBezTo>
                <a:cubicBezTo>
                  <a:pt x="795" y="39"/>
                  <a:pt x="802" y="39"/>
                  <a:pt x="802" y="39"/>
                </a:cubicBezTo>
                <a:cubicBezTo>
                  <a:pt x="802" y="39"/>
                  <a:pt x="804" y="43"/>
                  <a:pt x="808" y="43"/>
                </a:cubicBezTo>
                <a:cubicBezTo>
                  <a:pt x="812" y="43"/>
                  <a:pt x="814" y="40"/>
                  <a:pt x="814" y="40"/>
                </a:cubicBezTo>
                <a:cubicBezTo>
                  <a:pt x="813" y="38"/>
                  <a:pt x="813" y="38"/>
                  <a:pt x="813" y="38"/>
                </a:cubicBezTo>
                <a:cubicBezTo>
                  <a:pt x="817" y="37"/>
                  <a:pt x="817" y="37"/>
                  <a:pt x="817" y="37"/>
                </a:cubicBezTo>
                <a:cubicBezTo>
                  <a:pt x="811" y="33"/>
                  <a:pt x="811" y="33"/>
                  <a:pt x="811" y="33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3" y="30"/>
                  <a:pt x="803" y="30"/>
                  <a:pt x="803" y="30"/>
                </a:cubicBezTo>
                <a:cubicBezTo>
                  <a:pt x="799" y="30"/>
                  <a:pt x="799" y="30"/>
                  <a:pt x="799" y="30"/>
                </a:cubicBezTo>
                <a:cubicBezTo>
                  <a:pt x="794" y="30"/>
                  <a:pt x="787" y="30"/>
                  <a:pt x="787" y="33"/>
                </a:cubicBezTo>
                <a:cubicBezTo>
                  <a:pt x="786" y="35"/>
                  <a:pt x="793" y="35"/>
                  <a:pt x="793" y="35"/>
                </a:cubicBezTo>
                <a:close/>
                <a:moveTo>
                  <a:pt x="768" y="74"/>
                </a:moveTo>
                <a:cubicBezTo>
                  <a:pt x="768" y="74"/>
                  <a:pt x="755" y="74"/>
                  <a:pt x="748" y="76"/>
                </a:cubicBezTo>
                <a:cubicBezTo>
                  <a:pt x="741" y="79"/>
                  <a:pt x="752" y="81"/>
                  <a:pt x="750" y="83"/>
                </a:cubicBezTo>
                <a:cubicBezTo>
                  <a:pt x="747" y="86"/>
                  <a:pt x="743" y="79"/>
                  <a:pt x="735" y="82"/>
                </a:cubicBezTo>
                <a:cubicBezTo>
                  <a:pt x="737" y="88"/>
                  <a:pt x="737" y="88"/>
                  <a:pt x="737" y="88"/>
                </a:cubicBezTo>
                <a:cubicBezTo>
                  <a:pt x="737" y="88"/>
                  <a:pt x="739" y="90"/>
                  <a:pt x="742" y="90"/>
                </a:cubicBezTo>
                <a:cubicBezTo>
                  <a:pt x="746" y="91"/>
                  <a:pt x="746" y="98"/>
                  <a:pt x="746" y="98"/>
                </a:cubicBezTo>
                <a:cubicBezTo>
                  <a:pt x="746" y="98"/>
                  <a:pt x="760" y="96"/>
                  <a:pt x="765" y="95"/>
                </a:cubicBezTo>
                <a:cubicBezTo>
                  <a:pt x="769" y="94"/>
                  <a:pt x="769" y="85"/>
                  <a:pt x="769" y="85"/>
                </a:cubicBezTo>
                <a:cubicBezTo>
                  <a:pt x="760" y="83"/>
                  <a:pt x="760" y="83"/>
                  <a:pt x="760" y="83"/>
                </a:cubicBezTo>
                <a:cubicBezTo>
                  <a:pt x="760" y="83"/>
                  <a:pt x="771" y="80"/>
                  <a:pt x="777" y="78"/>
                </a:cubicBezTo>
                <a:cubicBezTo>
                  <a:pt x="782" y="76"/>
                  <a:pt x="768" y="74"/>
                  <a:pt x="768" y="74"/>
                </a:cubicBezTo>
                <a:close/>
                <a:moveTo>
                  <a:pt x="767" y="50"/>
                </a:moveTo>
                <a:cubicBezTo>
                  <a:pt x="771" y="49"/>
                  <a:pt x="771" y="43"/>
                  <a:pt x="768" y="43"/>
                </a:cubicBezTo>
                <a:cubicBezTo>
                  <a:pt x="765" y="43"/>
                  <a:pt x="763" y="50"/>
                  <a:pt x="767" y="50"/>
                </a:cubicBezTo>
                <a:close/>
                <a:moveTo>
                  <a:pt x="199" y="228"/>
                </a:moveTo>
                <a:cubicBezTo>
                  <a:pt x="197" y="230"/>
                  <a:pt x="192" y="231"/>
                  <a:pt x="193" y="232"/>
                </a:cubicBezTo>
                <a:cubicBezTo>
                  <a:pt x="195" y="234"/>
                  <a:pt x="201" y="232"/>
                  <a:pt x="201" y="232"/>
                </a:cubicBezTo>
                <a:cubicBezTo>
                  <a:pt x="202" y="230"/>
                  <a:pt x="202" y="230"/>
                  <a:pt x="202" y="230"/>
                </a:cubicBezTo>
                <a:cubicBezTo>
                  <a:pt x="202" y="230"/>
                  <a:pt x="205" y="231"/>
                  <a:pt x="205" y="230"/>
                </a:cubicBezTo>
                <a:cubicBezTo>
                  <a:pt x="204" y="228"/>
                  <a:pt x="202" y="226"/>
                  <a:pt x="199" y="228"/>
                </a:cubicBezTo>
                <a:close/>
                <a:moveTo>
                  <a:pt x="768" y="672"/>
                </a:moveTo>
                <a:cubicBezTo>
                  <a:pt x="766" y="672"/>
                  <a:pt x="761" y="670"/>
                  <a:pt x="758" y="670"/>
                </a:cubicBezTo>
                <a:cubicBezTo>
                  <a:pt x="755" y="670"/>
                  <a:pt x="755" y="677"/>
                  <a:pt x="755" y="677"/>
                </a:cubicBezTo>
                <a:cubicBezTo>
                  <a:pt x="761" y="678"/>
                  <a:pt x="761" y="678"/>
                  <a:pt x="761" y="678"/>
                </a:cubicBezTo>
                <a:cubicBezTo>
                  <a:pt x="762" y="677"/>
                  <a:pt x="762" y="677"/>
                  <a:pt x="762" y="677"/>
                </a:cubicBezTo>
                <a:cubicBezTo>
                  <a:pt x="762" y="677"/>
                  <a:pt x="765" y="678"/>
                  <a:pt x="768" y="677"/>
                </a:cubicBezTo>
                <a:cubicBezTo>
                  <a:pt x="772" y="677"/>
                  <a:pt x="775" y="674"/>
                  <a:pt x="775" y="672"/>
                </a:cubicBezTo>
                <a:cubicBezTo>
                  <a:pt x="775" y="671"/>
                  <a:pt x="769" y="672"/>
                  <a:pt x="768" y="672"/>
                </a:cubicBezTo>
                <a:close/>
                <a:moveTo>
                  <a:pt x="742" y="672"/>
                </a:moveTo>
                <a:cubicBezTo>
                  <a:pt x="744" y="671"/>
                  <a:pt x="743" y="668"/>
                  <a:pt x="743" y="668"/>
                </a:cubicBezTo>
                <a:cubicBezTo>
                  <a:pt x="743" y="668"/>
                  <a:pt x="738" y="664"/>
                  <a:pt x="735" y="663"/>
                </a:cubicBezTo>
                <a:cubicBezTo>
                  <a:pt x="732" y="662"/>
                  <a:pt x="731" y="661"/>
                  <a:pt x="729" y="660"/>
                </a:cubicBezTo>
                <a:cubicBezTo>
                  <a:pt x="727" y="660"/>
                  <a:pt x="725" y="656"/>
                  <a:pt x="724" y="655"/>
                </a:cubicBezTo>
                <a:cubicBezTo>
                  <a:pt x="723" y="654"/>
                  <a:pt x="718" y="654"/>
                  <a:pt x="714" y="654"/>
                </a:cubicBezTo>
                <a:cubicBezTo>
                  <a:pt x="713" y="654"/>
                  <a:pt x="712" y="654"/>
                  <a:pt x="712" y="655"/>
                </a:cubicBezTo>
                <a:cubicBezTo>
                  <a:pt x="710" y="655"/>
                  <a:pt x="710" y="656"/>
                  <a:pt x="710" y="656"/>
                </a:cubicBezTo>
                <a:cubicBezTo>
                  <a:pt x="710" y="656"/>
                  <a:pt x="703" y="654"/>
                  <a:pt x="700" y="654"/>
                </a:cubicBezTo>
                <a:cubicBezTo>
                  <a:pt x="697" y="654"/>
                  <a:pt x="695" y="654"/>
                  <a:pt x="694" y="656"/>
                </a:cubicBezTo>
                <a:cubicBezTo>
                  <a:pt x="693" y="657"/>
                  <a:pt x="698" y="657"/>
                  <a:pt x="699" y="657"/>
                </a:cubicBezTo>
                <a:cubicBezTo>
                  <a:pt x="701" y="657"/>
                  <a:pt x="703" y="660"/>
                  <a:pt x="703" y="660"/>
                </a:cubicBezTo>
                <a:cubicBezTo>
                  <a:pt x="703" y="660"/>
                  <a:pt x="700" y="661"/>
                  <a:pt x="701" y="664"/>
                </a:cubicBezTo>
                <a:cubicBezTo>
                  <a:pt x="701" y="667"/>
                  <a:pt x="703" y="668"/>
                  <a:pt x="700" y="668"/>
                </a:cubicBezTo>
                <a:cubicBezTo>
                  <a:pt x="698" y="668"/>
                  <a:pt x="693" y="667"/>
                  <a:pt x="692" y="667"/>
                </a:cubicBezTo>
                <a:cubicBezTo>
                  <a:pt x="690" y="667"/>
                  <a:pt x="686" y="667"/>
                  <a:pt x="685" y="669"/>
                </a:cubicBezTo>
                <a:cubicBezTo>
                  <a:pt x="685" y="669"/>
                  <a:pt x="689" y="674"/>
                  <a:pt x="691" y="675"/>
                </a:cubicBezTo>
                <a:cubicBezTo>
                  <a:pt x="693" y="676"/>
                  <a:pt x="694" y="672"/>
                  <a:pt x="694" y="672"/>
                </a:cubicBezTo>
                <a:cubicBezTo>
                  <a:pt x="694" y="672"/>
                  <a:pt x="697" y="672"/>
                  <a:pt x="701" y="672"/>
                </a:cubicBezTo>
                <a:cubicBezTo>
                  <a:pt x="704" y="672"/>
                  <a:pt x="708" y="671"/>
                  <a:pt x="708" y="671"/>
                </a:cubicBezTo>
                <a:cubicBezTo>
                  <a:pt x="713" y="677"/>
                  <a:pt x="713" y="677"/>
                  <a:pt x="713" y="677"/>
                </a:cubicBezTo>
                <a:cubicBezTo>
                  <a:pt x="720" y="672"/>
                  <a:pt x="720" y="672"/>
                  <a:pt x="720" y="672"/>
                </a:cubicBezTo>
                <a:cubicBezTo>
                  <a:pt x="720" y="672"/>
                  <a:pt x="726" y="672"/>
                  <a:pt x="733" y="672"/>
                </a:cubicBezTo>
                <a:cubicBezTo>
                  <a:pt x="736" y="673"/>
                  <a:pt x="740" y="673"/>
                  <a:pt x="742" y="672"/>
                </a:cubicBezTo>
                <a:close/>
                <a:moveTo>
                  <a:pt x="676" y="653"/>
                </a:moveTo>
                <a:cubicBezTo>
                  <a:pt x="683" y="651"/>
                  <a:pt x="690" y="650"/>
                  <a:pt x="690" y="650"/>
                </a:cubicBezTo>
                <a:cubicBezTo>
                  <a:pt x="690" y="650"/>
                  <a:pt x="690" y="648"/>
                  <a:pt x="687" y="648"/>
                </a:cubicBezTo>
                <a:cubicBezTo>
                  <a:pt x="683" y="647"/>
                  <a:pt x="680" y="647"/>
                  <a:pt x="680" y="647"/>
                </a:cubicBezTo>
                <a:cubicBezTo>
                  <a:pt x="680" y="647"/>
                  <a:pt x="682" y="643"/>
                  <a:pt x="678" y="643"/>
                </a:cubicBezTo>
                <a:cubicBezTo>
                  <a:pt x="674" y="642"/>
                  <a:pt x="671" y="643"/>
                  <a:pt x="671" y="643"/>
                </a:cubicBezTo>
                <a:cubicBezTo>
                  <a:pt x="674" y="640"/>
                  <a:pt x="674" y="640"/>
                  <a:pt x="674" y="640"/>
                </a:cubicBezTo>
                <a:cubicBezTo>
                  <a:pt x="674" y="640"/>
                  <a:pt x="668" y="638"/>
                  <a:pt x="666" y="638"/>
                </a:cubicBezTo>
                <a:cubicBezTo>
                  <a:pt x="665" y="638"/>
                  <a:pt x="660" y="636"/>
                  <a:pt x="660" y="636"/>
                </a:cubicBezTo>
                <a:cubicBezTo>
                  <a:pt x="660" y="636"/>
                  <a:pt x="662" y="632"/>
                  <a:pt x="661" y="632"/>
                </a:cubicBezTo>
                <a:cubicBezTo>
                  <a:pt x="659" y="632"/>
                  <a:pt x="658" y="632"/>
                  <a:pt x="658" y="632"/>
                </a:cubicBezTo>
                <a:cubicBezTo>
                  <a:pt x="658" y="632"/>
                  <a:pt x="650" y="624"/>
                  <a:pt x="648" y="625"/>
                </a:cubicBezTo>
                <a:cubicBezTo>
                  <a:pt x="646" y="627"/>
                  <a:pt x="650" y="629"/>
                  <a:pt x="650" y="629"/>
                </a:cubicBezTo>
                <a:cubicBezTo>
                  <a:pt x="641" y="625"/>
                  <a:pt x="641" y="625"/>
                  <a:pt x="641" y="625"/>
                </a:cubicBezTo>
                <a:cubicBezTo>
                  <a:pt x="641" y="625"/>
                  <a:pt x="636" y="619"/>
                  <a:pt x="633" y="618"/>
                </a:cubicBezTo>
                <a:cubicBezTo>
                  <a:pt x="631" y="617"/>
                  <a:pt x="625" y="618"/>
                  <a:pt x="625" y="618"/>
                </a:cubicBezTo>
                <a:cubicBezTo>
                  <a:pt x="625" y="618"/>
                  <a:pt x="620" y="616"/>
                  <a:pt x="612" y="616"/>
                </a:cubicBezTo>
                <a:cubicBezTo>
                  <a:pt x="604" y="616"/>
                  <a:pt x="601" y="618"/>
                  <a:pt x="597" y="621"/>
                </a:cubicBezTo>
                <a:cubicBezTo>
                  <a:pt x="594" y="624"/>
                  <a:pt x="587" y="627"/>
                  <a:pt x="587" y="627"/>
                </a:cubicBezTo>
                <a:cubicBezTo>
                  <a:pt x="598" y="626"/>
                  <a:pt x="598" y="626"/>
                  <a:pt x="598" y="626"/>
                </a:cubicBezTo>
                <a:cubicBezTo>
                  <a:pt x="598" y="624"/>
                  <a:pt x="598" y="624"/>
                  <a:pt x="598" y="624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11" y="622"/>
                  <a:pt x="611" y="622"/>
                  <a:pt x="611" y="622"/>
                </a:cubicBezTo>
                <a:cubicBezTo>
                  <a:pt x="611" y="622"/>
                  <a:pt x="617" y="622"/>
                  <a:pt x="619" y="623"/>
                </a:cubicBezTo>
                <a:cubicBezTo>
                  <a:pt x="620" y="625"/>
                  <a:pt x="614" y="626"/>
                  <a:pt x="614" y="626"/>
                </a:cubicBezTo>
                <a:cubicBezTo>
                  <a:pt x="616" y="627"/>
                  <a:pt x="616" y="627"/>
                  <a:pt x="616" y="627"/>
                </a:cubicBezTo>
                <a:cubicBezTo>
                  <a:pt x="616" y="627"/>
                  <a:pt x="620" y="629"/>
                  <a:pt x="623" y="630"/>
                </a:cubicBezTo>
                <a:cubicBezTo>
                  <a:pt x="627" y="631"/>
                  <a:pt x="627" y="629"/>
                  <a:pt x="627" y="629"/>
                </a:cubicBezTo>
                <a:cubicBezTo>
                  <a:pt x="627" y="629"/>
                  <a:pt x="630" y="631"/>
                  <a:pt x="633" y="633"/>
                </a:cubicBezTo>
                <a:cubicBezTo>
                  <a:pt x="637" y="635"/>
                  <a:pt x="643" y="632"/>
                  <a:pt x="643" y="632"/>
                </a:cubicBezTo>
                <a:cubicBezTo>
                  <a:pt x="642" y="636"/>
                  <a:pt x="642" y="636"/>
                  <a:pt x="642" y="636"/>
                </a:cubicBezTo>
                <a:cubicBezTo>
                  <a:pt x="651" y="640"/>
                  <a:pt x="651" y="640"/>
                  <a:pt x="651" y="640"/>
                </a:cubicBezTo>
                <a:cubicBezTo>
                  <a:pt x="654" y="644"/>
                  <a:pt x="654" y="644"/>
                  <a:pt x="654" y="644"/>
                </a:cubicBezTo>
                <a:cubicBezTo>
                  <a:pt x="654" y="644"/>
                  <a:pt x="657" y="646"/>
                  <a:pt x="657" y="647"/>
                </a:cubicBezTo>
                <a:cubicBezTo>
                  <a:pt x="657" y="649"/>
                  <a:pt x="652" y="650"/>
                  <a:pt x="653" y="652"/>
                </a:cubicBezTo>
                <a:cubicBezTo>
                  <a:pt x="655" y="654"/>
                  <a:pt x="660" y="650"/>
                  <a:pt x="662" y="650"/>
                </a:cubicBezTo>
                <a:cubicBezTo>
                  <a:pt x="663" y="650"/>
                  <a:pt x="667" y="650"/>
                  <a:pt x="664" y="651"/>
                </a:cubicBezTo>
                <a:cubicBezTo>
                  <a:pt x="661" y="651"/>
                  <a:pt x="666" y="654"/>
                  <a:pt x="666" y="654"/>
                </a:cubicBezTo>
                <a:cubicBezTo>
                  <a:pt x="666" y="654"/>
                  <a:pt x="670" y="655"/>
                  <a:pt x="676" y="653"/>
                </a:cubicBezTo>
                <a:close/>
                <a:moveTo>
                  <a:pt x="929" y="188"/>
                </a:moveTo>
                <a:cubicBezTo>
                  <a:pt x="934" y="187"/>
                  <a:pt x="934" y="187"/>
                  <a:pt x="934" y="187"/>
                </a:cubicBezTo>
                <a:cubicBezTo>
                  <a:pt x="934" y="185"/>
                  <a:pt x="934" y="185"/>
                  <a:pt x="934" y="185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8"/>
                  <a:pt x="929" y="188"/>
                  <a:pt x="929" y="188"/>
                </a:cubicBezTo>
                <a:cubicBezTo>
                  <a:pt x="929" y="188"/>
                  <a:pt x="929" y="188"/>
                  <a:pt x="929" y="188"/>
                </a:cubicBezTo>
                <a:close/>
                <a:moveTo>
                  <a:pt x="662" y="671"/>
                </a:moveTo>
                <a:cubicBezTo>
                  <a:pt x="660" y="671"/>
                  <a:pt x="656" y="671"/>
                  <a:pt x="654" y="671"/>
                </a:cubicBezTo>
                <a:cubicBezTo>
                  <a:pt x="652" y="670"/>
                  <a:pt x="650" y="669"/>
                  <a:pt x="648" y="670"/>
                </a:cubicBezTo>
                <a:cubicBezTo>
                  <a:pt x="646" y="671"/>
                  <a:pt x="644" y="671"/>
                  <a:pt x="644" y="671"/>
                </a:cubicBezTo>
                <a:cubicBezTo>
                  <a:pt x="644" y="671"/>
                  <a:pt x="646" y="674"/>
                  <a:pt x="648" y="675"/>
                </a:cubicBezTo>
                <a:cubicBezTo>
                  <a:pt x="649" y="676"/>
                  <a:pt x="653" y="676"/>
                  <a:pt x="653" y="676"/>
                </a:cubicBezTo>
                <a:cubicBezTo>
                  <a:pt x="655" y="677"/>
                  <a:pt x="655" y="677"/>
                  <a:pt x="655" y="677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60" y="675"/>
                  <a:pt x="660" y="675"/>
                  <a:pt x="660" y="675"/>
                </a:cubicBezTo>
                <a:cubicBezTo>
                  <a:pt x="667" y="677"/>
                  <a:pt x="667" y="677"/>
                  <a:pt x="667" y="677"/>
                </a:cubicBezTo>
                <a:cubicBezTo>
                  <a:pt x="667" y="677"/>
                  <a:pt x="664" y="671"/>
                  <a:pt x="662" y="671"/>
                </a:cubicBezTo>
                <a:close/>
                <a:moveTo>
                  <a:pt x="894" y="359"/>
                </a:moveTo>
                <a:cubicBezTo>
                  <a:pt x="892" y="358"/>
                  <a:pt x="889" y="360"/>
                  <a:pt x="888" y="360"/>
                </a:cubicBezTo>
                <a:cubicBezTo>
                  <a:pt x="889" y="360"/>
                  <a:pt x="890" y="359"/>
                  <a:pt x="892" y="356"/>
                </a:cubicBezTo>
                <a:cubicBezTo>
                  <a:pt x="895" y="354"/>
                  <a:pt x="888" y="353"/>
                  <a:pt x="885" y="357"/>
                </a:cubicBezTo>
                <a:cubicBezTo>
                  <a:pt x="884" y="360"/>
                  <a:pt x="884" y="360"/>
                  <a:pt x="884" y="360"/>
                </a:cubicBezTo>
                <a:cubicBezTo>
                  <a:pt x="882" y="363"/>
                  <a:pt x="882" y="363"/>
                  <a:pt x="882" y="363"/>
                </a:cubicBezTo>
                <a:cubicBezTo>
                  <a:pt x="890" y="362"/>
                  <a:pt x="890" y="362"/>
                  <a:pt x="890" y="362"/>
                </a:cubicBezTo>
                <a:cubicBezTo>
                  <a:pt x="890" y="362"/>
                  <a:pt x="898" y="360"/>
                  <a:pt x="894" y="359"/>
                </a:cubicBezTo>
                <a:close/>
                <a:moveTo>
                  <a:pt x="865" y="357"/>
                </a:moveTo>
                <a:cubicBezTo>
                  <a:pt x="861" y="356"/>
                  <a:pt x="859" y="354"/>
                  <a:pt x="859" y="354"/>
                </a:cubicBezTo>
                <a:cubicBezTo>
                  <a:pt x="857" y="356"/>
                  <a:pt x="857" y="356"/>
                  <a:pt x="857" y="356"/>
                </a:cubicBezTo>
                <a:cubicBezTo>
                  <a:pt x="857" y="356"/>
                  <a:pt x="860" y="358"/>
                  <a:pt x="861" y="358"/>
                </a:cubicBezTo>
                <a:cubicBezTo>
                  <a:pt x="862" y="359"/>
                  <a:pt x="866" y="359"/>
                  <a:pt x="866" y="359"/>
                </a:cubicBezTo>
                <a:cubicBezTo>
                  <a:pt x="866" y="359"/>
                  <a:pt x="868" y="360"/>
                  <a:pt x="870" y="360"/>
                </a:cubicBezTo>
                <a:cubicBezTo>
                  <a:pt x="872" y="359"/>
                  <a:pt x="873" y="357"/>
                  <a:pt x="873" y="357"/>
                </a:cubicBezTo>
                <a:cubicBezTo>
                  <a:pt x="873" y="357"/>
                  <a:pt x="869" y="357"/>
                  <a:pt x="865" y="357"/>
                </a:cubicBezTo>
                <a:close/>
                <a:moveTo>
                  <a:pt x="810" y="152"/>
                </a:moveTo>
                <a:cubicBezTo>
                  <a:pt x="807" y="151"/>
                  <a:pt x="809" y="155"/>
                  <a:pt x="809" y="155"/>
                </a:cubicBezTo>
                <a:cubicBezTo>
                  <a:pt x="811" y="155"/>
                  <a:pt x="813" y="152"/>
                  <a:pt x="810" y="152"/>
                </a:cubicBezTo>
                <a:close/>
                <a:moveTo>
                  <a:pt x="745" y="287"/>
                </a:moveTo>
                <a:cubicBezTo>
                  <a:pt x="750" y="287"/>
                  <a:pt x="743" y="284"/>
                  <a:pt x="743" y="284"/>
                </a:cubicBezTo>
                <a:cubicBezTo>
                  <a:pt x="734" y="285"/>
                  <a:pt x="739" y="288"/>
                  <a:pt x="745" y="287"/>
                </a:cubicBezTo>
                <a:close/>
                <a:moveTo>
                  <a:pt x="881" y="322"/>
                </a:moveTo>
                <a:cubicBezTo>
                  <a:pt x="881" y="322"/>
                  <a:pt x="875" y="320"/>
                  <a:pt x="869" y="320"/>
                </a:cubicBezTo>
                <a:cubicBezTo>
                  <a:pt x="863" y="320"/>
                  <a:pt x="872" y="322"/>
                  <a:pt x="872" y="322"/>
                </a:cubicBezTo>
                <a:cubicBezTo>
                  <a:pt x="872" y="324"/>
                  <a:pt x="872" y="324"/>
                  <a:pt x="872" y="324"/>
                </a:cubicBezTo>
                <a:cubicBezTo>
                  <a:pt x="872" y="324"/>
                  <a:pt x="879" y="325"/>
                  <a:pt x="885" y="326"/>
                </a:cubicBezTo>
                <a:cubicBezTo>
                  <a:pt x="891" y="327"/>
                  <a:pt x="897" y="325"/>
                  <a:pt x="881" y="322"/>
                </a:cubicBezTo>
                <a:close/>
                <a:moveTo>
                  <a:pt x="730" y="82"/>
                </a:moveTo>
                <a:cubicBezTo>
                  <a:pt x="726" y="78"/>
                  <a:pt x="726" y="78"/>
                  <a:pt x="726" y="78"/>
                </a:cubicBezTo>
                <a:cubicBezTo>
                  <a:pt x="722" y="79"/>
                  <a:pt x="722" y="79"/>
                  <a:pt x="722" y="79"/>
                </a:cubicBezTo>
                <a:cubicBezTo>
                  <a:pt x="722" y="79"/>
                  <a:pt x="719" y="76"/>
                  <a:pt x="714" y="77"/>
                </a:cubicBezTo>
                <a:cubicBezTo>
                  <a:pt x="709" y="79"/>
                  <a:pt x="721" y="84"/>
                  <a:pt x="721" y="84"/>
                </a:cubicBezTo>
                <a:cubicBezTo>
                  <a:pt x="730" y="82"/>
                  <a:pt x="730" y="82"/>
                  <a:pt x="730" y="82"/>
                </a:cubicBezTo>
                <a:cubicBezTo>
                  <a:pt x="730" y="82"/>
                  <a:pt x="730" y="82"/>
                  <a:pt x="730" y="82"/>
                </a:cubicBezTo>
                <a:close/>
                <a:moveTo>
                  <a:pt x="653" y="61"/>
                </a:moveTo>
                <a:cubicBezTo>
                  <a:pt x="644" y="63"/>
                  <a:pt x="650" y="65"/>
                  <a:pt x="650" y="65"/>
                </a:cubicBezTo>
                <a:cubicBezTo>
                  <a:pt x="662" y="62"/>
                  <a:pt x="661" y="59"/>
                  <a:pt x="653" y="61"/>
                </a:cubicBezTo>
                <a:close/>
                <a:moveTo>
                  <a:pt x="709" y="126"/>
                </a:moveTo>
                <a:cubicBezTo>
                  <a:pt x="716" y="126"/>
                  <a:pt x="717" y="123"/>
                  <a:pt x="713" y="123"/>
                </a:cubicBezTo>
                <a:cubicBezTo>
                  <a:pt x="708" y="123"/>
                  <a:pt x="709" y="126"/>
                  <a:pt x="709" y="126"/>
                </a:cubicBezTo>
                <a:close/>
                <a:moveTo>
                  <a:pt x="604" y="633"/>
                </a:moveTo>
                <a:cubicBezTo>
                  <a:pt x="603" y="636"/>
                  <a:pt x="609" y="637"/>
                  <a:pt x="609" y="633"/>
                </a:cubicBezTo>
                <a:cubicBezTo>
                  <a:pt x="610" y="631"/>
                  <a:pt x="604" y="633"/>
                  <a:pt x="604" y="633"/>
                </a:cubicBezTo>
                <a:close/>
                <a:moveTo>
                  <a:pt x="980" y="147"/>
                </a:moveTo>
                <a:cubicBezTo>
                  <a:pt x="983" y="143"/>
                  <a:pt x="975" y="141"/>
                  <a:pt x="974" y="142"/>
                </a:cubicBezTo>
                <a:cubicBezTo>
                  <a:pt x="973" y="143"/>
                  <a:pt x="970" y="141"/>
                  <a:pt x="970" y="141"/>
                </a:cubicBezTo>
                <a:cubicBezTo>
                  <a:pt x="966" y="144"/>
                  <a:pt x="966" y="144"/>
                  <a:pt x="966" y="144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0" y="140"/>
                  <a:pt x="960" y="140"/>
                  <a:pt x="960" y="140"/>
                </a:cubicBezTo>
                <a:cubicBezTo>
                  <a:pt x="960" y="140"/>
                  <a:pt x="967" y="138"/>
                  <a:pt x="966" y="136"/>
                </a:cubicBezTo>
                <a:cubicBezTo>
                  <a:pt x="964" y="134"/>
                  <a:pt x="954" y="133"/>
                  <a:pt x="954" y="133"/>
                </a:cubicBezTo>
                <a:cubicBezTo>
                  <a:pt x="953" y="131"/>
                  <a:pt x="953" y="131"/>
                  <a:pt x="953" y="131"/>
                </a:cubicBezTo>
                <a:cubicBezTo>
                  <a:pt x="946" y="131"/>
                  <a:pt x="946" y="131"/>
                  <a:pt x="946" y="131"/>
                </a:cubicBezTo>
                <a:cubicBezTo>
                  <a:pt x="937" y="124"/>
                  <a:pt x="937" y="124"/>
                  <a:pt x="937" y="124"/>
                </a:cubicBezTo>
                <a:cubicBezTo>
                  <a:pt x="947" y="124"/>
                  <a:pt x="947" y="124"/>
                  <a:pt x="947" y="124"/>
                </a:cubicBezTo>
                <a:cubicBezTo>
                  <a:pt x="943" y="121"/>
                  <a:pt x="943" y="121"/>
                  <a:pt x="943" y="121"/>
                </a:cubicBezTo>
                <a:cubicBezTo>
                  <a:pt x="943" y="121"/>
                  <a:pt x="945" y="120"/>
                  <a:pt x="946" y="120"/>
                </a:cubicBezTo>
                <a:cubicBezTo>
                  <a:pt x="947" y="120"/>
                  <a:pt x="958" y="122"/>
                  <a:pt x="957" y="120"/>
                </a:cubicBezTo>
                <a:cubicBezTo>
                  <a:pt x="955" y="117"/>
                  <a:pt x="944" y="117"/>
                  <a:pt x="944" y="117"/>
                </a:cubicBezTo>
                <a:cubicBezTo>
                  <a:pt x="940" y="117"/>
                  <a:pt x="940" y="117"/>
                  <a:pt x="940" y="117"/>
                </a:cubicBezTo>
                <a:cubicBezTo>
                  <a:pt x="940" y="117"/>
                  <a:pt x="956" y="117"/>
                  <a:pt x="957" y="115"/>
                </a:cubicBezTo>
                <a:cubicBezTo>
                  <a:pt x="957" y="113"/>
                  <a:pt x="952" y="113"/>
                  <a:pt x="952" y="113"/>
                </a:cubicBezTo>
                <a:cubicBezTo>
                  <a:pt x="938" y="115"/>
                  <a:pt x="938" y="115"/>
                  <a:pt x="938" y="115"/>
                </a:cubicBezTo>
                <a:cubicBezTo>
                  <a:pt x="946" y="110"/>
                  <a:pt x="946" y="110"/>
                  <a:pt x="946" y="110"/>
                </a:cubicBezTo>
                <a:cubicBezTo>
                  <a:pt x="946" y="110"/>
                  <a:pt x="957" y="111"/>
                  <a:pt x="954" y="108"/>
                </a:cubicBezTo>
                <a:cubicBezTo>
                  <a:pt x="950" y="105"/>
                  <a:pt x="945" y="105"/>
                  <a:pt x="945" y="105"/>
                </a:cubicBezTo>
                <a:cubicBezTo>
                  <a:pt x="940" y="108"/>
                  <a:pt x="940" y="108"/>
                  <a:pt x="940" y="108"/>
                </a:cubicBezTo>
                <a:cubicBezTo>
                  <a:pt x="937" y="107"/>
                  <a:pt x="937" y="107"/>
                  <a:pt x="937" y="107"/>
                </a:cubicBezTo>
                <a:cubicBezTo>
                  <a:pt x="932" y="112"/>
                  <a:pt x="932" y="112"/>
                  <a:pt x="932" y="112"/>
                </a:cubicBezTo>
                <a:cubicBezTo>
                  <a:pt x="932" y="108"/>
                  <a:pt x="932" y="108"/>
                  <a:pt x="932" y="108"/>
                </a:cubicBezTo>
                <a:cubicBezTo>
                  <a:pt x="929" y="111"/>
                  <a:pt x="929" y="111"/>
                  <a:pt x="929" y="111"/>
                </a:cubicBezTo>
                <a:cubicBezTo>
                  <a:pt x="932" y="107"/>
                  <a:pt x="932" y="107"/>
                  <a:pt x="932" y="107"/>
                </a:cubicBezTo>
                <a:cubicBezTo>
                  <a:pt x="932" y="107"/>
                  <a:pt x="936" y="108"/>
                  <a:pt x="938" y="106"/>
                </a:cubicBezTo>
                <a:cubicBezTo>
                  <a:pt x="940" y="104"/>
                  <a:pt x="940" y="101"/>
                  <a:pt x="939" y="102"/>
                </a:cubicBezTo>
                <a:cubicBezTo>
                  <a:pt x="937" y="102"/>
                  <a:pt x="936" y="104"/>
                  <a:pt x="936" y="104"/>
                </a:cubicBezTo>
                <a:cubicBezTo>
                  <a:pt x="931" y="104"/>
                  <a:pt x="931" y="104"/>
                  <a:pt x="931" y="104"/>
                </a:cubicBezTo>
                <a:cubicBezTo>
                  <a:pt x="928" y="106"/>
                  <a:pt x="928" y="106"/>
                  <a:pt x="928" y="106"/>
                </a:cubicBezTo>
                <a:cubicBezTo>
                  <a:pt x="931" y="102"/>
                  <a:pt x="931" y="102"/>
                  <a:pt x="931" y="102"/>
                </a:cubicBezTo>
                <a:cubicBezTo>
                  <a:pt x="935" y="102"/>
                  <a:pt x="935" y="102"/>
                  <a:pt x="935" y="102"/>
                </a:cubicBezTo>
                <a:cubicBezTo>
                  <a:pt x="935" y="102"/>
                  <a:pt x="940" y="100"/>
                  <a:pt x="937" y="98"/>
                </a:cubicBezTo>
                <a:cubicBezTo>
                  <a:pt x="935" y="97"/>
                  <a:pt x="925" y="101"/>
                  <a:pt x="925" y="101"/>
                </a:cubicBezTo>
                <a:cubicBezTo>
                  <a:pt x="924" y="99"/>
                  <a:pt x="924" y="99"/>
                  <a:pt x="924" y="99"/>
                </a:cubicBezTo>
                <a:cubicBezTo>
                  <a:pt x="920" y="102"/>
                  <a:pt x="920" y="102"/>
                  <a:pt x="920" y="102"/>
                </a:cubicBezTo>
                <a:cubicBezTo>
                  <a:pt x="923" y="97"/>
                  <a:pt x="923" y="97"/>
                  <a:pt x="923" y="97"/>
                </a:cubicBezTo>
                <a:cubicBezTo>
                  <a:pt x="916" y="100"/>
                  <a:pt x="916" y="100"/>
                  <a:pt x="916" y="100"/>
                </a:cubicBezTo>
                <a:cubicBezTo>
                  <a:pt x="916" y="97"/>
                  <a:pt x="916" y="97"/>
                  <a:pt x="916" y="97"/>
                </a:cubicBezTo>
                <a:cubicBezTo>
                  <a:pt x="916" y="97"/>
                  <a:pt x="923" y="95"/>
                  <a:pt x="923" y="94"/>
                </a:cubicBezTo>
                <a:cubicBezTo>
                  <a:pt x="923" y="93"/>
                  <a:pt x="913" y="95"/>
                  <a:pt x="913" y="95"/>
                </a:cubicBezTo>
                <a:cubicBezTo>
                  <a:pt x="913" y="94"/>
                  <a:pt x="913" y="94"/>
                  <a:pt x="913" y="94"/>
                </a:cubicBezTo>
                <a:cubicBezTo>
                  <a:pt x="913" y="94"/>
                  <a:pt x="923" y="92"/>
                  <a:pt x="922" y="90"/>
                </a:cubicBezTo>
                <a:cubicBezTo>
                  <a:pt x="920" y="89"/>
                  <a:pt x="907" y="88"/>
                  <a:pt x="905" y="88"/>
                </a:cubicBezTo>
                <a:cubicBezTo>
                  <a:pt x="903" y="87"/>
                  <a:pt x="900" y="88"/>
                  <a:pt x="900" y="89"/>
                </a:cubicBezTo>
                <a:cubicBezTo>
                  <a:pt x="899" y="89"/>
                  <a:pt x="902" y="92"/>
                  <a:pt x="902" y="92"/>
                </a:cubicBezTo>
                <a:cubicBezTo>
                  <a:pt x="897" y="92"/>
                  <a:pt x="897" y="92"/>
                  <a:pt x="897" y="92"/>
                </a:cubicBezTo>
                <a:cubicBezTo>
                  <a:pt x="897" y="95"/>
                  <a:pt x="897" y="95"/>
                  <a:pt x="897" y="95"/>
                </a:cubicBezTo>
                <a:cubicBezTo>
                  <a:pt x="894" y="92"/>
                  <a:pt x="894" y="92"/>
                  <a:pt x="894" y="92"/>
                </a:cubicBezTo>
                <a:cubicBezTo>
                  <a:pt x="889" y="95"/>
                  <a:pt x="889" y="95"/>
                  <a:pt x="889" y="95"/>
                </a:cubicBezTo>
                <a:cubicBezTo>
                  <a:pt x="889" y="95"/>
                  <a:pt x="890" y="92"/>
                  <a:pt x="889" y="91"/>
                </a:cubicBezTo>
                <a:cubicBezTo>
                  <a:pt x="888" y="90"/>
                  <a:pt x="878" y="94"/>
                  <a:pt x="878" y="94"/>
                </a:cubicBezTo>
                <a:cubicBezTo>
                  <a:pt x="881" y="89"/>
                  <a:pt x="881" y="89"/>
                  <a:pt x="881" y="89"/>
                </a:cubicBezTo>
                <a:cubicBezTo>
                  <a:pt x="881" y="89"/>
                  <a:pt x="889" y="89"/>
                  <a:pt x="889" y="87"/>
                </a:cubicBezTo>
                <a:cubicBezTo>
                  <a:pt x="889" y="85"/>
                  <a:pt x="886" y="83"/>
                  <a:pt x="886" y="83"/>
                </a:cubicBezTo>
                <a:cubicBezTo>
                  <a:pt x="886" y="83"/>
                  <a:pt x="891" y="79"/>
                  <a:pt x="888" y="78"/>
                </a:cubicBezTo>
                <a:cubicBezTo>
                  <a:pt x="884" y="78"/>
                  <a:pt x="875" y="79"/>
                  <a:pt x="875" y="79"/>
                </a:cubicBezTo>
                <a:cubicBezTo>
                  <a:pt x="872" y="81"/>
                  <a:pt x="872" y="81"/>
                  <a:pt x="872" y="81"/>
                </a:cubicBezTo>
                <a:cubicBezTo>
                  <a:pt x="859" y="81"/>
                  <a:pt x="859" y="81"/>
                  <a:pt x="859" y="81"/>
                </a:cubicBezTo>
                <a:cubicBezTo>
                  <a:pt x="861" y="83"/>
                  <a:pt x="861" y="83"/>
                  <a:pt x="861" y="83"/>
                </a:cubicBezTo>
                <a:cubicBezTo>
                  <a:pt x="865" y="85"/>
                  <a:pt x="865" y="85"/>
                  <a:pt x="865" y="85"/>
                </a:cubicBezTo>
                <a:cubicBezTo>
                  <a:pt x="859" y="83"/>
                  <a:pt x="859" y="83"/>
                  <a:pt x="859" y="83"/>
                </a:cubicBezTo>
                <a:cubicBezTo>
                  <a:pt x="860" y="87"/>
                  <a:pt x="860" y="87"/>
                  <a:pt x="860" y="87"/>
                </a:cubicBezTo>
                <a:cubicBezTo>
                  <a:pt x="860" y="87"/>
                  <a:pt x="853" y="84"/>
                  <a:pt x="852" y="86"/>
                </a:cubicBezTo>
                <a:cubicBezTo>
                  <a:pt x="850" y="89"/>
                  <a:pt x="853" y="92"/>
                  <a:pt x="853" y="92"/>
                </a:cubicBezTo>
                <a:cubicBezTo>
                  <a:pt x="854" y="95"/>
                  <a:pt x="854" y="95"/>
                  <a:pt x="854" y="95"/>
                </a:cubicBezTo>
                <a:cubicBezTo>
                  <a:pt x="854" y="95"/>
                  <a:pt x="850" y="93"/>
                  <a:pt x="847" y="93"/>
                </a:cubicBezTo>
                <a:cubicBezTo>
                  <a:pt x="845" y="94"/>
                  <a:pt x="842" y="98"/>
                  <a:pt x="845" y="98"/>
                </a:cubicBezTo>
                <a:cubicBezTo>
                  <a:pt x="847" y="98"/>
                  <a:pt x="848" y="99"/>
                  <a:pt x="848" y="99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33" y="103"/>
                  <a:pt x="833" y="103"/>
                  <a:pt x="833" y="103"/>
                </a:cubicBezTo>
                <a:cubicBezTo>
                  <a:pt x="833" y="103"/>
                  <a:pt x="841" y="102"/>
                  <a:pt x="841" y="100"/>
                </a:cubicBezTo>
                <a:cubicBezTo>
                  <a:pt x="841" y="98"/>
                  <a:pt x="836" y="98"/>
                  <a:pt x="838" y="95"/>
                </a:cubicBezTo>
                <a:cubicBezTo>
                  <a:pt x="841" y="92"/>
                  <a:pt x="843" y="92"/>
                  <a:pt x="843" y="92"/>
                </a:cubicBezTo>
                <a:cubicBezTo>
                  <a:pt x="843" y="88"/>
                  <a:pt x="843" y="88"/>
                  <a:pt x="843" y="88"/>
                </a:cubicBezTo>
                <a:cubicBezTo>
                  <a:pt x="843" y="88"/>
                  <a:pt x="851" y="83"/>
                  <a:pt x="853" y="82"/>
                </a:cubicBezTo>
                <a:cubicBezTo>
                  <a:pt x="856" y="81"/>
                  <a:pt x="865" y="79"/>
                  <a:pt x="863" y="79"/>
                </a:cubicBezTo>
                <a:cubicBezTo>
                  <a:pt x="862" y="78"/>
                  <a:pt x="852" y="77"/>
                  <a:pt x="847" y="78"/>
                </a:cubicBezTo>
                <a:cubicBezTo>
                  <a:pt x="841" y="78"/>
                  <a:pt x="827" y="87"/>
                  <a:pt x="827" y="87"/>
                </a:cubicBezTo>
                <a:cubicBezTo>
                  <a:pt x="827" y="87"/>
                  <a:pt x="821" y="89"/>
                  <a:pt x="819" y="90"/>
                </a:cubicBezTo>
                <a:cubicBezTo>
                  <a:pt x="817" y="90"/>
                  <a:pt x="816" y="92"/>
                  <a:pt x="816" y="92"/>
                </a:cubicBezTo>
                <a:cubicBezTo>
                  <a:pt x="816" y="92"/>
                  <a:pt x="807" y="98"/>
                  <a:pt x="810" y="99"/>
                </a:cubicBezTo>
                <a:cubicBezTo>
                  <a:pt x="814" y="101"/>
                  <a:pt x="825" y="100"/>
                  <a:pt x="823" y="102"/>
                </a:cubicBezTo>
                <a:cubicBezTo>
                  <a:pt x="822" y="104"/>
                  <a:pt x="804" y="103"/>
                  <a:pt x="808" y="107"/>
                </a:cubicBezTo>
                <a:cubicBezTo>
                  <a:pt x="813" y="110"/>
                  <a:pt x="818" y="110"/>
                  <a:pt x="818" y="110"/>
                </a:cubicBezTo>
                <a:cubicBezTo>
                  <a:pt x="825" y="108"/>
                  <a:pt x="825" y="108"/>
                  <a:pt x="825" y="108"/>
                </a:cubicBezTo>
                <a:cubicBezTo>
                  <a:pt x="825" y="108"/>
                  <a:pt x="823" y="111"/>
                  <a:pt x="827" y="111"/>
                </a:cubicBezTo>
                <a:cubicBezTo>
                  <a:pt x="832" y="111"/>
                  <a:pt x="851" y="115"/>
                  <a:pt x="853" y="114"/>
                </a:cubicBezTo>
                <a:cubicBezTo>
                  <a:pt x="855" y="113"/>
                  <a:pt x="850" y="110"/>
                  <a:pt x="850" y="110"/>
                </a:cubicBezTo>
                <a:cubicBezTo>
                  <a:pt x="850" y="110"/>
                  <a:pt x="864" y="112"/>
                  <a:pt x="866" y="112"/>
                </a:cubicBezTo>
                <a:cubicBezTo>
                  <a:pt x="868" y="112"/>
                  <a:pt x="874" y="114"/>
                  <a:pt x="876" y="113"/>
                </a:cubicBezTo>
                <a:cubicBezTo>
                  <a:pt x="878" y="112"/>
                  <a:pt x="874" y="108"/>
                  <a:pt x="874" y="108"/>
                </a:cubicBezTo>
                <a:cubicBezTo>
                  <a:pt x="881" y="107"/>
                  <a:pt x="881" y="107"/>
                  <a:pt x="881" y="107"/>
                </a:cubicBezTo>
                <a:cubicBezTo>
                  <a:pt x="881" y="107"/>
                  <a:pt x="882" y="111"/>
                  <a:pt x="883" y="111"/>
                </a:cubicBezTo>
                <a:cubicBezTo>
                  <a:pt x="884" y="111"/>
                  <a:pt x="887" y="114"/>
                  <a:pt x="887" y="114"/>
                </a:cubicBezTo>
                <a:cubicBezTo>
                  <a:pt x="891" y="113"/>
                  <a:pt x="891" y="113"/>
                  <a:pt x="891" y="113"/>
                </a:cubicBezTo>
                <a:cubicBezTo>
                  <a:pt x="891" y="113"/>
                  <a:pt x="889" y="117"/>
                  <a:pt x="890" y="117"/>
                </a:cubicBezTo>
                <a:cubicBezTo>
                  <a:pt x="891" y="117"/>
                  <a:pt x="897" y="119"/>
                  <a:pt x="897" y="119"/>
                </a:cubicBezTo>
                <a:cubicBezTo>
                  <a:pt x="897" y="119"/>
                  <a:pt x="893" y="123"/>
                  <a:pt x="894" y="123"/>
                </a:cubicBezTo>
                <a:cubicBezTo>
                  <a:pt x="896" y="123"/>
                  <a:pt x="900" y="123"/>
                  <a:pt x="900" y="123"/>
                </a:cubicBezTo>
                <a:cubicBezTo>
                  <a:pt x="899" y="126"/>
                  <a:pt x="899" y="126"/>
                  <a:pt x="899" y="126"/>
                </a:cubicBezTo>
                <a:cubicBezTo>
                  <a:pt x="899" y="126"/>
                  <a:pt x="906" y="127"/>
                  <a:pt x="906" y="130"/>
                </a:cubicBezTo>
                <a:cubicBezTo>
                  <a:pt x="906" y="134"/>
                  <a:pt x="902" y="141"/>
                  <a:pt x="900" y="141"/>
                </a:cubicBezTo>
                <a:cubicBezTo>
                  <a:pt x="899" y="141"/>
                  <a:pt x="881" y="149"/>
                  <a:pt x="881" y="149"/>
                </a:cubicBezTo>
                <a:cubicBezTo>
                  <a:pt x="881" y="149"/>
                  <a:pt x="887" y="153"/>
                  <a:pt x="884" y="155"/>
                </a:cubicBezTo>
                <a:cubicBezTo>
                  <a:pt x="881" y="156"/>
                  <a:pt x="876" y="156"/>
                  <a:pt x="876" y="156"/>
                </a:cubicBezTo>
                <a:cubicBezTo>
                  <a:pt x="866" y="158"/>
                  <a:pt x="866" y="158"/>
                  <a:pt x="866" y="158"/>
                </a:cubicBezTo>
                <a:cubicBezTo>
                  <a:pt x="864" y="161"/>
                  <a:pt x="864" y="161"/>
                  <a:pt x="864" y="161"/>
                </a:cubicBezTo>
                <a:cubicBezTo>
                  <a:pt x="862" y="158"/>
                  <a:pt x="862" y="158"/>
                  <a:pt x="862" y="158"/>
                </a:cubicBezTo>
                <a:cubicBezTo>
                  <a:pt x="862" y="158"/>
                  <a:pt x="857" y="156"/>
                  <a:pt x="854" y="157"/>
                </a:cubicBezTo>
                <a:cubicBezTo>
                  <a:pt x="851" y="157"/>
                  <a:pt x="852" y="160"/>
                  <a:pt x="852" y="160"/>
                </a:cubicBezTo>
                <a:cubicBezTo>
                  <a:pt x="852" y="160"/>
                  <a:pt x="842" y="162"/>
                  <a:pt x="842" y="165"/>
                </a:cubicBezTo>
                <a:cubicBezTo>
                  <a:pt x="842" y="170"/>
                  <a:pt x="849" y="169"/>
                  <a:pt x="855" y="167"/>
                </a:cubicBezTo>
                <a:cubicBezTo>
                  <a:pt x="861" y="165"/>
                  <a:pt x="862" y="165"/>
                  <a:pt x="862" y="165"/>
                </a:cubicBezTo>
                <a:cubicBezTo>
                  <a:pt x="862" y="165"/>
                  <a:pt x="866" y="168"/>
                  <a:pt x="867" y="167"/>
                </a:cubicBezTo>
                <a:cubicBezTo>
                  <a:pt x="868" y="166"/>
                  <a:pt x="868" y="164"/>
                  <a:pt x="868" y="164"/>
                </a:cubicBezTo>
                <a:cubicBezTo>
                  <a:pt x="871" y="161"/>
                  <a:pt x="871" y="161"/>
                  <a:pt x="871" y="161"/>
                </a:cubicBezTo>
                <a:cubicBezTo>
                  <a:pt x="871" y="161"/>
                  <a:pt x="868" y="163"/>
                  <a:pt x="870" y="164"/>
                </a:cubicBezTo>
                <a:cubicBezTo>
                  <a:pt x="872" y="164"/>
                  <a:pt x="879" y="164"/>
                  <a:pt x="879" y="164"/>
                </a:cubicBezTo>
                <a:cubicBezTo>
                  <a:pt x="879" y="164"/>
                  <a:pt x="876" y="166"/>
                  <a:pt x="877" y="167"/>
                </a:cubicBezTo>
                <a:cubicBezTo>
                  <a:pt x="877" y="169"/>
                  <a:pt x="881" y="169"/>
                  <a:pt x="881" y="169"/>
                </a:cubicBezTo>
                <a:cubicBezTo>
                  <a:pt x="881" y="169"/>
                  <a:pt x="878" y="171"/>
                  <a:pt x="881" y="173"/>
                </a:cubicBezTo>
                <a:cubicBezTo>
                  <a:pt x="883" y="174"/>
                  <a:pt x="888" y="174"/>
                  <a:pt x="888" y="174"/>
                </a:cubicBezTo>
                <a:cubicBezTo>
                  <a:pt x="882" y="176"/>
                  <a:pt x="882" y="176"/>
                  <a:pt x="882" y="176"/>
                </a:cubicBezTo>
                <a:cubicBezTo>
                  <a:pt x="882" y="176"/>
                  <a:pt x="883" y="181"/>
                  <a:pt x="884" y="180"/>
                </a:cubicBezTo>
                <a:cubicBezTo>
                  <a:pt x="885" y="180"/>
                  <a:pt x="887" y="179"/>
                  <a:pt x="887" y="179"/>
                </a:cubicBezTo>
                <a:cubicBezTo>
                  <a:pt x="887" y="179"/>
                  <a:pt x="888" y="182"/>
                  <a:pt x="890" y="182"/>
                </a:cubicBezTo>
                <a:cubicBezTo>
                  <a:pt x="892" y="182"/>
                  <a:pt x="896" y="183"/>
                  <a:pt x="896" y="183"/>
                </a:cubicBezTo>
                <a:cubicBezTo>
                  <a:pt x="896" y="183"/>
                  <a:pt x="896" y="187"/>
                  <a:pt x="899" y="187"/>
                </a:cubicBezTo>
                <a:cubicBezTo>
                  <a:pt x="903" y="188"/>
                  <a:pt x="905" y="187"/>
                  <a:pt x="908" y="188"/>
                </a:cubicBezTo>
                <a:cubicBezTo>
                  <a:pt x="911" y="190"/>
                  <a:pt x="918" y="193"/>
                  <a:pt x="918" y="193"/>
                </a:cubicBezTo>
                <a:cubicBezTo>
                  <a:pt x="918" y="193"/>
                  <a:pt x="921" y="189"/>
                  <a:pt x="918" y="186"/>
                </a:cubicBezTo>
                <a:cubicBezTo>
                  <a:pt x="916" y="183"/>
                  <a:pt x="912" y="181"/>
                  <a:pt x="912" y="181"/>
                </a:cubicBezTo>
                <a:cubicBezTo>
                  <a:pt x="912" y="181"/>
                  <a:pt x="907" y="175"/>
                  <a:pt x="908" y="174"/>
                </a:cubicBezTo>
                <a:cubicBezTo>
                  <a:pt x="909" y="172"/>
                  <a:pt x="914" y="177"/>
                  <a:pt x="914" y="177"/>
                </a:cubicBezTo>
                <a:cubicBezTo>
                  <a:pt x="914" y="173"/>
                  <a:pt x="914" y="173"/>
                  <a:pt x="914" y="173"/>
                </a:cubicBezTo>
                <a:cubicBezTo>
                  <a:pt x="914" y="173"/>
                  <a:pt x="916" y="178"/>
                  <a:pt x="918" y="178"/>
                </a:cubicBezTo>
                <a:cubicBezTo>
                  <a:pt x="920" y="178"/>
                  <a:pt x="923" y="177"/>
                  <a:pt x="923" y="177"/>
                </a:cubicBezTo>
                <a:cubicBezTo>
                  <a:pt x="923" y="177"/>
                  <a:pt x="922" y="181"/>
                  <a:pt x="925" y="181"/>
                </a:cubicBezTo>
                <a:cubicBezTo>
                  <a:pt x="927" y="181"/>
                  <a:pt x="928" y="184"/>
                  <a:pt x="928" y="184"/>
                </a:cubicBezTo>
                <a:cubicBezTo>
                  <a:pt x="930" y="180"/>
                  <a:pt x="930" y="180"/>
                  <a:pt x="930" y="180"/>
                </a:cubicBezTo>
                <a:cubicBezTo>
                  <a:pt x="930" y="180"/>
                  <a:pt x="932" y="183"/>
                  <a:pt x="934" y="182"/>
                </a:cubicBezTo>
                <a:cubicBezTo>
                  <a:pt x="935" y="182"/>
                  <a:pt x="933" y="179"/>
                  <a:pt x="933" y="179"/>
                </a:cubicBezTo>
                <a:cubicBezTo>
                  <a:pt x="935" y="172"/>
                  <a:pt x="935" y="172"/>
                  <a:pt x="935" y="172"/>
                </a:cubicBezTo>
                <a:cubicBezTo>
                  <a:pt x="935" y="172"/>
                  <a:pt x="935" y="178"/>
                  <a:pt x="937" y="178"/>
                </a:cubicBezTo>
                <a:cubicBezTo>
                  <a:pt x="939" y="178"/>
                  <a:pt x="940" y="172"/>
                  <a:pt x="940" y="172"/>
                </a:cubicBezTo>
                <a:cubicBezTo>
                  <a:pt x="937" y="169"/>
                  <a:pt x="937" y="169"/>
                  <a:pt x="937" y="169"/>
                </a:cubicBezTo>
                <a:cubicBezTo>
                  <a:pt x="940" y="168"/>
                  <a:pt x="940" y="168"/>
                  <a:pt x="940" y="168"/>
                </a:cubicBezTo>
                <a:cubicBezTo>
                  <a:pt x="937" y="166"/>
                  <a:pt x="937" y="166"/>
                  <a:pt x="937" y="166"/>
                </a:cubicBezTo>
                <a:cubicBezTo>
                  <a:pt x="937" y="163"/>
                  <a:pt x="937" y="163"/>
                  <a:pt x="937" y="163"/>
                </a:cubicBezTo>
                <a:cubicBezTo>
                  <a:pt x="933" y="163"/>
                  <a:pt x="933" y="163"/>
                  <a:pt x="933" y="163"/>
                </a:cubicBezTo>
                <a:cubicBezTo>
                  <a:pt x="933" y="161"/>
                  <a:pt x="933" y="161"/>
                  <a:pt x="933" y="161"/>
                </a:cubicBezTo>
                <a:cubicBezTo>
                  <a:pt x="930" y="161"/>
                  <a:pt x="930" y="161"/>
                  <a:pt x="930" y="161"/>
                </a:cubicBezTo>
                <a:cubicBezTo>
                  <a:pt x="930" y="154"/>
                  <a:pt x="930" y="154"/>
                  <a:pt x="930" y="154"/>
                </a:cubicBezTo>
                <a:cubicBezTo>
                  <a:pt x="925" y="154"/>
                  <a:pt x="925" y="154"/>
                  <a:pt x="925" y="154"/>
                </a:cubicBezTo>
                <a:cubicBezTo>
                  <a:pt x="925" y="154"/>
                  <a:pt x="923" y="150"/>
                  <a:pt x="925" y="150"/>
                </a:cubicBezTo>
                <a:cubicBezTo>
                  <a:pt x="928" y="149"/>
                  <a:pt x="930" y="153"/>
                  <a:pt x="931" y="152"/>
                </a:cubicBezTo>
                <a:cubicBezTo>
                  <a:pt x="933" y="152"/>
                  <a:pt x="933" y="146"/>
                  <a:pt x="933" y="146"/>
                </a:cubicBezTo>
                <a:cubicBezTo>
                  <a:pt x="936" y="147"/>
                  <a:pt x="936" y="147"/>
                  <a:pt x="936" y="147"/>
                </a:cubicBezTo>
                <a:cubicBezTo>
                  <a:pt x="941" y="145"/>
                  <a:pt x="941" y="145"/>
                  <a:pt x="941" y="145"/>
                </a:cubicBezTo>
                <a:cubicBezTo>
                  <a:pt x="941" y="145"/>
                  <a:pt x="941" y="151"/>
                  <a:pt x="943" y="150"/>
                </a:cubicBezTo>
                <a:cubicBezTo>
                  <a:pt x="944" y="149"/>
                  <a:pt x="947" y="149"/>
                  <a:pt x="947" y="149"/>
                </a:cubicBezTo>
                <a:cubicBezTo>
                  <a:pt x="945" y="151"/>
                  <a:pt x="945" y="151"/>
                  <a:pt x="945" y="151"/>
                </a:cubicBezTo>
                <a:cubicBezTo>
                  <a:pt x="948" y="151"/>
                  <a:pt x="948" y="151"/>
                  <a:pt x="948" y="151"/>
                </a:cubicBezTo>
                <a:cubicBezTo>
                  <a:pt x="947" y="155"/>
                  <a:pt x="947" y="155"/>
                  <a:pt x="947" y="155"/>
                </a:cubicBezTo>
                <a:cubicBezTo>
                  <a:pt x="947" y="155"/>
                  <a:pt x="952" y="164"/>
                  <a:pt x="955" y="162"/>
                </a:cubicBezTo>
                <a:cubicBezTo>
                  <a:pt x="958" y="160"/>
                  <a:pt x="959" y="154"/>
                  <a:pt x="959" y="154"/>
                </a:cubicBezTo>
                <a:cubicBezTo>
                  <a:pt x="960" y="152"/>
                  <a:pt x="960" y="152"/>
                  <a:pt x="960" y="152"/>
                </a:cubicBezTo>
                <a:cubicBezTo>
                  <a:pt x="960" y="152"/>
                  <a:pt x="964" y="156"/>
                  <a:pt x="967" y="154"/>
                </a:cubicBezTo>
                <a:cubicBezTo>
                  <a:pt x="970" y="152"/>
                  <a:pt x="970" y="148"/>
                  <a:pt x="970" y="148"/>
                </a:cubicBezTo>
                <a:cubicBezTo>
                  <a:pt x="970" y="148"/>
                  <a:pt x="977" y="150"/>
                  <a:pt x="980" y="147"/>
                </a:cubicBezTo>
                <a:close/>
                <a:moveTo>
                  <a:pt x="906" y="15"/>
                </a:moveTo>
                <a:cubicBezTo>
                  <a:pt x="918" y="15"/>
                  <a:pt x="918" y="15"/>
                  <a:pt x="918" y="15"/>
                </a:cubicBezTo>
                <a:cubicBezTo>
                  <a:pt x="906" y="17"/>
                  <a:pt x="906" y="17"/>
                  <a:pt x="906" y="17"/>
                </a:cubicBezTo>
                <a:cubicBezTo>
                  <a:pt x="906" y="17"/>
                  <a:pt x="911" y="19"/>
                  <a:pt x="913" y="19"/>
                </a:cubicBezTo>
                <a:cubicBezTo>
                  <a:pt x="916" y="19"/>
                  <a:pt x="924" y="17"/>
                  <a:pt x="924" y="17"/>
                </a:cubicBezTo>
                <a:cubicBezTo>
                  <a:pt x="924" y="17"/>
                  <a:pt x="929" y="16"/>
                  <a:pt x="933" y="16"/>
                </a:cubicBezTo>
                <a:cubicBezTo>
                  <a:pt x="937" y="16"/>
                  <a:pt x="946" y="18"/>
                  <a:pt x="946" y="18"/>
                </a:cubicBezTo>
                <a:cubicBezTo>
                  <a:pt x="946" y="18"/>
                  <a:pt x="935" y="18"/>
                  <a:pt x="933" y="18"/>
                </a:cubicBezTo>
                <a:cubicBezTo>
                  <a:pt x="930" y="18"/>
                  <a:pt x="923" y="21"/>
                  <a:pt x="923" y="21"/>
                </a:cubicBezTo>
                <a:cubicBezTo>
                  <a:pt x="923" y="21"/>
                  <a:pt x="929" y="21"/>
                  <a:pt x="933" y="21"/>
                </a:cubicBezTo>
                <a:cubicBezTo>
                  <a:pt x="938" y="22"/>
                  <a:pt x="939" y="20"/>
                  <a:pt x="939" y="20"/>
                </a:cubicBezTo>
                <a:cubicBezTo>
                  <a:pt x="948" y="20"/>
                  <a:pt x="948" y="20"/>
                  <a:pt x="948" y="20"/>
                </a:cubicBezTo>
                <a:cubicBezTo>
                  <a:pt x="948" y="20"/>
                  <a:pt x="951" y="20"/>
                  <a:pt x="955" y="20"/>
                </a:cubicBezTo>
                <a:cubicBezTo>
                  <a:pt x="958" y="20"/>
                  <a:pt x="967" y="18"/>
                  <a:pt x="967" y="17"/>
                </a:cubicBezTo>
                <a:cubicBezTo>
                  <a:pt x="968" y="17"/>
                  <a:pt x="974" y="16"/>
                  <a:pt x="977" y="15"/>
                </a:cubicBezTo>
                <a:cubicBezTo>
                  <a:pt x="979" y="14"/>
                  <a:pt x="984" y="15"/>
                  <a:pt x="984" y="15"/>
                </a:cubicBezTo>
                <a:cubicBezTo>
                  <a:pt x="972" y="19"/>
                  <a:pt x="972" y="19"/>
                  <a:pt x="972" y="19"/>
                </a:cubicBezTo>
                <a:cubicBezTo>
                  <a:pt x="976" y="19"/>
                  <a:pt x="976" y="19"/>
                  <a:pt x="976" y="19"/>
                </a:cubicBezTo>
                <a:cubicBezTo>
                  <a:pt x="970" y="21"/>
                  <a:pt x="970" y="21"/>
                  <a:pt x="970" y="21"/>
                </a:cubicBezTo>
                <a:cubicBezTo>
                  <a:pt x="970" y="21"/>
                  <a:pt x="946" y="22"/>
                  <a:pt x="943" y="22"/>
                </a:cubicBezTo>
                <a:cubicBezTo>
                  <a:pt x="941" y="22"/>
                  <a:pt x="941" y="25"/>
                  <a:pt x="941" y="25"/>
                </a:cubicBezTo>
                <a:cubicBezTo>
                  <a:pt x="951" y="28"/>
                  <a:pt x="951" y="28"/>
                  <a:pt x="951" y="28"/>
                </a:cubicBezTo>
                <a:cubicBezTo>
                  <a:pt x="951" y="28"/>
                  <a:pt x="947" y="29"/>
                  <a:pt x="945" y="29"/>
                </a:cubicBezTo>
                <a:cubicBezTo>
                  <a:pt x="942" y="29"/>
                  <a:pt x="932" y="24"/>
                  <a:pt x="932" y="24"/>
                </a:cubicBezTo>
                <a:cubicBezTo>
                  <a:pt x="932" y="24"/>
                  <a:pt x="922" y="24"/>
                  <a:pt x="919" y="24"/>
                </a:cubicBezTo>
                <a:cubicBezTo>
                  <a:pt x="917" y="24"/>
                  <a:pt x="915" y="27"/>
                  <a:pt x="915" y="27"/>
                </a:cubicBezTo>
                <a:cubicBezTo>
                  <a:pt x="919" y="29"/>
                  <a:pt x="919" y="29"/>
                  <a:pt x="919" y="29"/>
                </a:cubicBezTo>
                <a:cubicBezTo>
                  <a:pt x="919" y="29"/>
                  <a:pt x="922" y="32"/>
                  <a:pt x="925" y="33"/>
                </a:cubicBezTo>
                <a:cubicBezTo>
                  <a:pt x="928" y="34"/>
                  <a:pt x="935" y="33"/>
                  <a:pt x="935" y="33"/>
                </a:cubicBezTo>
                <a:cubicBezTo>
                  <a:pt x="935" y="33"/>
                  <a:pt x="934" y="35"/>
                  <a:pt x="930" y="35"/>
                </a:cubicBezTo>
                <a:cubicBezTo>
                  <a:pt x="927" y="36"/>
                  <a:pt x="920" y="34"/>
                  <a:pt x="919" y="34"/>
                </a:cubicBezTo>
                <a:cubicBezTo>
                  <a:pt x="917" y="34"/>
                  <a:pt x="905" y="36"/>
                  <a:pt x="902" y="36"/>
                </a:cubicBezTo>
                <a:cubicBezTo>
                  <a:pt x="898" y="36"/>
                  <a:pt x="890" y="41"/>
                  <a:pt x="890" y="41"/>
                </a:cubicBezTo>
                <a:cubicBezTo>
                  <a:pt x="901" y="39"/>
                  <a:pt x="901" y="39"/>
                  <a:pt x="901" y="39"/>
                </a:cubicBezTo>
                <a:cubicBezTo>
                  <a:pt x="900" y="42"/>
                  <a:pt x="900" y="42"/>
                  <a:pt x="900" y="42"/>
                </a:cubicBezTo>
                <a:cubicBezTo>
                  <a:pt x="909" y="39"/>
                  <a:pt x="909" y="39"/>
                  <a:pt x="909" y="39"/>
                </a:cubicBezTo>
                <a:cubicBezTo>
                  <a:pt x="899" y="43"/>
                  <a:pt x="899" y="43"/>
                  <a:pt x="899" y="43"/>
                </a:cubicBezTo>
                <a:cubicBezTo>
                  <a:pt x="899" y="43"/>
                  <a:pt x="901" y="45"/>
                  <a:pt x="904" y="45"/>
                </a:cubicBezTo>
                <a:cubicBezTo>
                  <a:pt x="908" y="45"/>
                  <a:pt x="917" y="42"/>
                  <a:pt x="917" y="42"/>
                </a:cubicBezTo>
                <a:cubicBezTo>
                  <a:pt x="903" y="47"/>
                  <a:pt x="903" y="47"/>
                  <a:pt x="903" y="47"/>
                </a:cubicBezTo>
                <a:cubicBezTo>
                  <a:pt x="894" y="47"/>
                  <a:pt x="894" y="47"/>
                  <a:pt x="894" y="47"/>
                </a:cubicBezTo>
                <a:cubicBezTo>
                  <a:pt x="892" y="43"/>
                  <a:pt x="892" y="43"/>
                  <a:pt x="892" y="43"/>
                </a:cubicBezTo>
                <a:cubicBezTo>
                  <a:pt x="892" y="43"/>
                  <a:pt x="885" y="42"/>
                  <a:pt x="883" y="43"/>
                </a:cubicBezTo>
                <a:cubicBezTo>
                  <a:pt x="881" y="43"/>
                  <a:pt x="884" y="48"/>
                  <a:pt x="884" y="48"/>
                </a:cubicBezTo>
                <a:cubicBezTo>
                  <a:pt x="884" y="48"/>
                  <a:pt x="874" y="49"/>
                  <a:pt x="873" y="49"/>
                </a:cubicBezTo>
                <a:cubicBezTo>
                  <a:pt x="872" y="49"/>
                  <a:pt x="865" y="52"/>
                  <a:pt x="861" y="53"/>
                </a:cubicBezTo>
                <a:cubicBezTo>
                  <a:pt x="859" y="53"/>
                  <a:pt x="857" y="53"/>
                  <a:pt x="856" y="53"/>
                </a:cubicBezTo>
                <a:cubicBezTo>
                  <a:pt x="855" y="53"/>
                  <a:pt x="859" y="54"/>
                  <a:pt x="863" y="54"/>
                </a:cubicBezTo>
                <a:cubicBezTo>
                  <a:pt x="866" y="54"/>
                  <a:pt x="867" y="53"/>
                  <a:pt x="867" y="53"/>
                </a:cubicBezTo>
                <a:cubicBezTo>
                  <a:pt x="866" y="56"/>
                  <a:pt x="866" y="56"/>
                  <a:pt x="866" y="56"/>
                </a:cubicBezTo>
                <a:cubicBezTo>
                  <a:pt x="871" y="54"/>
                  <a:pt x="871" y="54"/>
                  <a:pt x="871" y="54"/>
                </a:cubicBezTo>
                <a:cubicBezTo>
                  <a:pt x="874" y="53"/>
                  <a:pt x="874" y="53"/>
                  <a:pt x="874" y="53"/>
                </a:cubicBezTo>
                <a:cubicBezTo>
                  <a:pt x="874" y="55"/>
                  <a:pt x="874" y="55"/>
                  <a:pt x="874" y="55"/>
                </a:cubicBezTo>
                <a:cubicBezTo>
                  <a:pt x="877" y="54"/>
                  <a:pt x="877" y="54"/>
                  <a:pt x="877" y="54"/>
                </a:cubicBezTo>
                <a:cubicBezTo>
                  <a:pt x="881" y="54"/>
                  <a:pt x="881" y="54"/>
                  <a:pt x="881" y="54"/>
                </a:cubicBezTo>
                <a:cubicBezTo>
                  <a:pt x="881" y="54"/>
                  <a:pt x="881" y="56"/>
                  <a:pt x="883" y="56"/>
                </a:cubicBezTo>
                <a:cubicBezTo>
                  <a:pt x="886" y="56"/>
                  <a:pt x="890" y="53"/>
                  <a:pt x="890" y="53"/>
                </a:cubicBezTo>
                <a:cubicBezTo>
                  <a:pt x="891" y="55"/>
                  <a:pt x="891" y="55"/>
                  <a:pt x="891" y="55"/>
                </a:cubicBezTo>
                <a:cubicBezTo>
                  <a:pt x="895" y="53"/>
                  <a:pt x="895" y="53"/>
                  <a:pt x="895" y="53"/>
                </a:cubicBezTo>
                <a:cubicBezTo>
                  <a:pt x="895" y="53"/>
                  <a:pt x="896" y="55"/>
                  <a:pt x="898" y="55"/>
                </a:cubicBezTo>
                <a:cubicBezTo>
                  <a:pt x="900" y="56"/>
                  <a:pt x="902" y="53"/>
                  <a:pt x="902" y="53"/>
                </a:cubicBezTo>
                <a:cubicBezTo>
                  <a:pt x="902" y="53"/>
                  <a:pt x="904" y="55"/>
                  <a:pt x="906" y="55"/>
                </a:cubicBezTo>
                <a:cubicBezTo>
                  <a:pt x="909" y="55"/>
                  <a:pt x="907" y="53"/>
                  <a:pt x="907" y="53"/>
                </a:cubicBezTo>
                <a:cubicBezTo>
                  <a:pt x="915" y="56"/>
                  <a:pt x="915" y="56"/>
                  <a:pt x="915" y="56"/>
                </a:cubicBezTo>
                <a:cubicBezTo>
                  <a:pt x="915" y="56"/>
                  <a:pt x="916" y="57"/>
                  <a:pt x="917" y="57"/>
                </a:cubicBezTo>
                <a:cubicBezTo>
                  <a:pt x="918" y="57"/>
                  <a:pt x="930" y="55"/>
                  <a:pt x="932" y="55"/>
                </a:cubicBezTo>
                <a:cubicBezTo>
                  <a:pt x="935" y="55"/>
                  <a:pt x="940" y="53"/>
                  <a:pt x="941" y="51"/>
                </a:cubicBezTo>
                <a:cubicBezTo>
                  <a:pt x="942" y="50"/>
                  <a:pt x="932" y="51"/>
                  <a:pt x="932" y="51"/>
                </a:cubicBezTo>
                <a:cubicBezTo>
                  <a:pt x="932" y="51"/>
                  <a:pt x="934" y="49"/>
                  <a:pt x="932" y="49"/>
                </a:cubicBezTo>
                <a:cubicBezTo>
                  <a:pt x="931" y="48"/>
                  <a:pt x="926" y="49"/>
                  <a:pt x="926" y="49"/>
                </a:cubicBezTo>
                <a:cubicBezTo>
                  <a:pt x="918" y="48"/>
                  <a:pt x="918" y="48"/>
                  <a:pt x="918" y="48"/>
                </a:cubicBezTo>
                <a:cubicBezTo>
                  <a:pt x="920" y="45"/>
                  <a:pt x="920" y="45"/>
                  <a:pt x="920" y="45"/>
                </a:cubicBezTo>
                <a:cubicBezTo>
                  <a:pt x="929" y="48"/>
                  <a:pt x="929" y="48"/>
                  <a:pt x="929" y="48"/>
                </a:cubicBezTo>
                <a:cubicBezTo>
                  <a:pt x="929" y="48"/>
                  <a:pt x="941" y="47"/>
                  <a:pt x="945" y="47"/>
                </a:cubicBezTo>
                <a:cubicBezTo>
                  <a:pt x="949" y="47"/>
                  <a:pt x="948" y="43"/>
                  <a:pt x="948" y="43"/>
                </a:cubicBezTo>
                <a:cubicBezTo>
                  <a:pt x="948" y="43"/>
                  <a:pt x="953" y="42"/>
                  <a:pt x="957" y="42"/>
                </a:cubicBezTo>
                <a:cubicBezTo>
                  <a:pt x="961" y="42"/>
                  <a:pt x="969" y="40"/>
                  <a:pt x="969" y="40"/>
                </a:cubicBezTo>
                <a:cubicBezTo>
                  <a:pt x="965" y="38"/>
                  <a:pt x="965" y="38"/>
                  <a:pt x="965" y="38"/>
                </a:cubicBezTo>
                <a:cubicBezTo>
                  <a:pt x="965" y="38"/>
                  <a:pt x="970" y="38"/>
                  <a:pt x="975" y="36"/>
                </a:cubicBezTo>
                <a:cubicBezTo>
                  <a:pt x="981" y="35"/>
                  <a:pt x="968" y="33"/>
                  <a:pt x="968" y="33"/>
                </a:cubicBezTo>
                <a:cubicBezTo>
                  <a:pt x="968" y="33"/>
                  <a:pt x="962" y="34"/>
                  <a:pt x="959" y="33"/>
                </a:cubicBezTo>
                <a:cubicBezTo>
                  <a:pt x="957" y="32"/>
                  <a:pt x="970" y="29"/>
                  <a:pt x="970" y="29"/>
                </a:cubicBezTo>
                <a:cubicBezTo>
                  <a:pt x="971" y="29"/>
                  <a:pt x="980" y="30"/>
                  <a:pt x="980" y="30"/>
                </a:cubicBezTo>
                <a:cubicBezTo>
                  <a:pt x="980" y="30"/>
                  <a:pt x="990" y="30"/>
                  <a:pt x="993" y="29"/>
                </a:cubicBezTo>
                <a:cubicBezTo>
                  <a:pt x="996" y="28"/>
                  <a:pt x="986" y="28"/>
                  <a:pt x="989" y="26"/>
                </a:cubicBezTo>
                <a:cubicBezTo>
                  <a:pt x="993" y="25"/>
                  <a:pt x="1000" y="28"/>
                  <a:pt x="1004" y="28"/>
                </a:cubicBezTo>
                <a:cubicBezTo>
                  <a:pt x="1008" y="28"/>
                  <a:pt x="1006" y="24"/>
                  <a:pt x="1006" y="24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7" y="22"/>
                  <a:pt x="1017" y="22"/>
                  <a:pt x="1017" y="22"/>
                </a:cubicBezTo>
                <a:cubicBezTo>
                  <a:pt x="1017" y="22"/>
                  <a:pt x="1020" y="23"/>
                  <a:pt x="1022" y="23"/>
                </a:cubicBezTo>
                <a:cubicBezTo>
                  <a:pt x="1023" y="23"/>
                  <a:pt x="1030" y="20"/>
                  <a:pt x="1030" y="20"/>
                </a:cubicBezTo>
                <a:cubicBezTo>
                  <a:pt x="1030" y="20"/>
                  <a:pt x="1042" y="18"/>
                  <a:pt x="1049" y="17"/>
                </a:cubicBezTo>
                <a:cubicBezTo>
                  <a:pt x="1056" y="16"/>
                  <a:pt x="1056" y="15"/>
                  <a:pt x="1055" y="15"/>
                </a:cubicBezTo>
                <a:cubicBezTo>
                  <a:pt x="1054" y="15"/>
                  <a:pt x="1040" y="15"/>
                  <a:pt x="1040" y="15"/>
                </a:cubicBezTo>
                <a:cubicBezTo>
                  <a:pt x="1037" y="17"/>
                  <a:pt x="1037" y="17"/>
                  <a:pt x="1037" y="17"/>
                </a:cubicBezTo>
                <a:cubicBezTo>
                  <a:pt x="1027" y="16"/>
                  <a:pt x="1027" y="16"/>
                  <a:pt x="1027" y="16"/>
                </a:cubicBezTo>
                <a:cubicBezTo>
                  <a:pt x="1038" y="16"/>
                  <a:pt x="1038" y="16"/>
                  <a:pt x="1038" y="16"/>
                </a:cubicBezTo>
                <a:cubicBezTo>
                  <a:pt x="1038" y="14"/>
                  <a:pt x="1038" y="14"/>
                  <a:pt x="1038" y="14"/>
                </a:cubicBezTo>
                <a:cubicBezTo>
                  <a:pt x="1045" y="15"/>
                  <a:pt x="1045" y="15"/>
                  <a:pt x="1045" y="15"/>
                </a:cubicBezTo>
                <a:cubicBezTo>
                  <a:pt x="1045" y="15"/>
                  <a:pt x="1046" y="13"/>
                  <a:pt x="1048" y="13"/>
                </a:cubicBezTo>
                <a:cubicBezTo>
                  <a:pt x="1049" y="13"/>
                  <a:pt x="1071" y="12"/>
                  <a:pt x="1074" y="12"/>
                </a:cubicBezTo>
                <a:cubicBezTo>
                  <a:pt x="1078" y="12"/>
                  <a:pt x="1088" y="9"/>
                  <a:pt x="1087" y="8"/>
                </a:cubicBezTo>
                <a:cubicBezTo>
                  <a:pt x="1087" y="8"/>
                  <a:pt x="1075" y="9"/>
                  <a:pt x="1075" y="9"/>
                </a:cubicBezTo>
                <a:cubicBezTo>
                  <a:pt x="1076" y="7"/>
                  <a:pt x="1076" y="7"/>
                  <a:pt x="1076" y="7"/>
                </a:cubicBezTo>
                <a:cubicBezTo>
                  <a:pt x="1076" y="7"/>
                  <a:pt x="1068" y="5"/>
                  <a:pt x="1066" y="5"/>
                </a:cubicBezTo>
                <a:cubicBezTo>
                  <a:pt x="1063" y="5"/>
                  <a:pt x="1048" y="8"/>
                  <a:pt x="1048" y="8"/>
                </a:cubicBezTo>
                <a:cubicBezTo>
                  <a:pt x="1055" y="5"/>
                  <a:pt x="1055" y="5"/>
                  <a:pt x="1055" y="5"/>
                </a:cubicBezTo>
                <a:cubicBezTo>
                  <a:pt x="1045" y="5"/>
                  <a:pt x="1045" y="5"/>
                  <a:pt x="1045" y="5"/>
                </a:cubicBezTo>
                <a:cubicBezTo>
                  <a:pt x="1045" y="5"/>
                  <a:pt x="1038" y="3"/>
                  <a:pt x="1036" y="3"/>
                </a:cubicBezTo>
                <a:cubicBezTo>
                  <a:pt x="1034" y="4"/>
                  <a:pt x="1032" y="6"/>
                  <a:pt x="1032" y="6"/>
                </a:cubicBezTo>
                <a:cubicBezTo>
                  <a:pt x="1032" y="6"/>
                  <a:pt x="1027" y="3"/>
                  <a:pt x="1025" y="3"/>
                </a:cubicBezTo>
                <a:cubicBezTo>
                  <a:pt x="1023" y="3"/>
                  <a:pt x="1019" y="7"/>
                  <a:pt x="1019" y="7"/>
                </a:cubicBezTo>
                <a:cubicBezTo>
                  <a:pt x="1014" y="5"/>
                  <a:pt x="1014" y="5"/>
                  <a:pt x="1014" y="5"/>
                </a:cubicBezTo>
                <a:cubicBezTo>
                  <a:pt x="998" y="4"/>
                  <a:pt x="998" y="4"/>
                  <a:pt x="998" y="4"/>
                </a:cubicBezTo>
                <a:cubicBezTo>
                  <a:pt x="1002" y="8"/>
                  <a:pt x="1002" y="8"/>
                  <a:pt x="1002" y="8"/>
                </a:cubicBezTo>
                <a:cubicBezTo>
                  <a:pt x="993" y="5"/>
                  <a:pt x="993" y="5"/>
                  <a:pt x="993" y="5"/>
                </a:cubicBezTo>
                <a:cubicBezTo>
                  <a:pt x="985" y="7"/>
                  <a:pt x="985" y="7"/>
                  <a:pt x="985" y="7"/>
                </a:cubicBezTo>
                <a:cubicBezTo>
                  <a:pt x="985" y="7"/>
                  <a:pt x="978" y="5"/>
                  <a:pt x="975" y="5"/>
                </a:cubicBezTo>
                <a:cubicBezTo>
                  <a:pt x="972" y="5"/>
                  <a:pt x="962" y="8"/>
                  <a:pt x="962" y="8"/>
                </a:cubicBezTo>
                <a:cubicBezTo>
                  <a:pt x="974" y="12"/>
                  <a:pt x="974" y="12"/>
                  <a:pt x="974" y="12"/>
                </a:cubicBezTo>
                <a:cubicBezTo>
                  <a:pt x="962" y="10"/>
                  <a:pt x="962" y="10"/>
                  <a:pt x="962" y="10"/>
                </a:cubicBezTo>
                <a:cubicBezTo>
                  <a:pt x="962" y="10"/>
                  <a:pt x="950" y="8"/>
                  <a:pt x="945" y="8"/>
                </a:cubicBezTo>
                <a:cubicBezTo>
                  <a:pt x="940" y="9"/>
                  <a:pt x="941" y="12"/>
                  <a:pt x="941" y="12"/>
                </a:cubicBezTo>
                <a:cubicBezTo>
                  <a:pt x="941" y="12"/>
                  <a:pt x="928" y="10"/>
                  <a:pt x="926" y="10"/>
                </a:cubicBezTo>
                <a:cubicBezTo>
                  <a:pt x="923" y="10"/>
                  <a:pt x="902" y="12"/>
                  <a:pt x="901" y="13"/>
                </a:cubicBezTo>
                <a:cubicBezTo>
                  <a:pt x="901" y="13"/>
                  <a:pt x="906" y="15"/>
                  <a:pt x="906" y="15"/>
                </a:cubicBezTo>
                <a:close/>
                <a:moveTo>
                  <a:pt x="954" y="355"/>
                </a:moveTo>
                <a:cubicBezTo>
                  <a:pt x="963" y="346"/>
                  <a:pt x="963" y="346"/>
                  <a:pt x="963" y="346"/>
                </a:cubicBezTo>
                <a:cubicBezTo>
                  <a:pt x="962" y="343"/>
                  <a:pt x="962" y="343"/>
                  <a:pt x="962" y="343"/>
                </a:cubicBezTo>
                <a:cubicBezTo>
                  <a:pt x="958" y="345"/>
                  <a:pt x="958" y="345"/>
                  <a:pt x="958" y="345"/>
                </a:cubicBezTo>
                <a:cubicBezTo>
                  <a:pt x="954" y="345"/>
                  <a:pt x="954" y="345"/>
                  <a:pt x="954" y="345"/>
                </a:cubicBezTo>
                <a:cubicBezTo>
                  <a:pt x="958" y="342"/>
                  <a:pt x="958" y="342"/>
                  <a:pt x="958" y="342"/>
                </a:cubicBezTo>
                <a:cubicBezTo>
                  <a:pt x="953" y="342"/>
                  <a:pt x="953" y="342"/>
                  <a:pt x="953" y="342"/>
                </a:cubicBezTo>
                <a:cubicBezTo>
                  <a:pt x="953" y="342"/>
                  <a:pt x="962" y="331"/>
                  <a:pt x="961" y="331"/>
                </a:cubicBezTo>
                <a:cubicBezTo>
                  <a:pt x="960" y="331"/>
                  <a:pt x="954" y="330"/>
                  <a:pt x="956" y="329"/>
                </a:cubicBezTo>
                <a:cubicBezTo>
                  <a:pt x="958" y="329"/>
                  <a:pt x="960" y="326"/>
                  <a:pt x="960" y="326"/>
                </a:cubicBezTo>
                <a:cubicBezTo>
                  <a:pt x="957" y="324"/>
                  <a:pt x="957" y="324"/>
                  <a:pt x="957" y="324"/>
                </a:cubicBezTo>
                <a:cubicBezTo>
                  <a:pt x="950" y="328"/>
                  <a:pt x="950" y="328"/>
                  <a:pt x="950" y="328"/>
                </a:cubicBezTo>
                <a:cubicBezTo>
                  <a:pt x="949" y="324"/>
                  <a:pt x="949" y="324"/>
                  <a:pt x="949" y="324"/>
                </a:cubicBezTo>
                <a:cubicBezTo>
                  <a:pt x="945" y="325"/>
                  <a:pt x="945" y="325"/>
                  <a:pt x="945" y="325"/>
                </a:cubicBezTo>
                <a:cubicBezTo>
                  <a:pt x="946" y="320"/>
                  <a:pt x="946" y="320"/>
                  <a:pt x="946" y="320"/>
                </a:cubicBezTo>
                <a:cubicBezTo>
                  <a:pt x="943" y="319"/>
                  <a:pt x="943" y="319"/>
                  <a:pt x="943" y="319"/>
                </a:cubicBezTo>
                <a:cubicBezTo>
                  <a:pt x="940" y="316"/>
                  <a:pt x="940" y="316"/>
                  <a:pt x="940" y="316"/>
                </a:cubicBezTo>
                <a:cubicBezTo>
                  <a:pt x="936" y="323"/>
                  <a:pt x="936" y="323"/>
                  <a:pt x="936" y="323"/>
                </a:cubicBezTo>
                <a:cubicBezTo>
                  <a:pt x="933" y="325"/>
                  <a:pt x="933" y="325"/>
                  <a:pt x="933" y="325"/>
                </a:cubicBezTo>
                <a:cubicBezTo>
                  <a:pt x="933" y="322"/>
                  <a:pt x="933" y="322"/>
                  <a:pt x="933" y="322"/>
                </a:cubicBezTo>
                <a:cubicBezTo>
                  <a:pt x="938" y="316"/>
                  <a:pt x="938" y="316"/>
                  <a:pt x="938" y="316"/>
                </a:cubicBezTo>
                <a:cubicBezTo>
                  <a:pt x="938" y="316"/>
                  <a:pt x="941" y="315"/>
                  <a:pt x="944" y="313"/>
                </a:cubicBezTo>
                <a:cubicBezTo>
                  <a:pt x="946" y="311"/>
                  <a:pt x="948" y="307"/>
                  <a:pt x="948" y="307"/>
                </a:cubicBezTo>
                <a:cubicBezTo>
                  <a:pt x="950" y="305"/>
                  <a:pt x="950" y="305"/>
                  <a:pt x="950" y="305"/>
                </a:cubicBezTo>
                <a:cubicBezTo>
                  <a:pt x="950" y="305"/>
                  <a:pt x="954" y="303"/>
                  <a:pt x="950" y="302"/>
                </a:cubicBezTo>
                <a:cubicBezTo>
                  <a:pt x="946" y="301"/>
                  <a:pt x="940" y="304"/>
                  <a:pt x="940" y="304"/>
                </a:cubicBezTo>
                <a:cubicBezTo>
                  <a:pt x="932" y="314"/>
                  <a:pt x="932" y="314"/>
                  <a:pt x="932" y="314"/>
                </a:cubicBezTo>
                <a:cubicBezTo>
                  <a:pt x="925" y="322"/>
                  <a:pt x="925" y="322"/>
                  <a:pt x="925" y="322"/>
                </a:cubicBezTo>
                <a:cubicBezTo>
                  <a:pt x="913" y="333"/>
                  <a:pt x="913" y="333"/>
                  <a:pt x="913" y="333"/>
                </a:cubicBezTo>
                <a:cubicBezTo>
                  <a:pt x="913" y="333"/>
                  <a:pt x="905" y="336"/>
                  <a:pt x="904" y="337"/>
                </a:cubicBezTo>
                <a:cubicBezTo>
                  <a:pt x="904" y="339"/>
                  <a:pt x="910" y="339"/>
                  <a:pt x="910" y="339"/>
                </a:cubicBezTo>
                <a:cubicBezTo>
                  <a:pt x="910" y="339"/>
                  <a:pt x="903" y="340"/>
                  <a:pt x="905" y="343"/>
                </a:cubicBezTo>
                <a:cubicBezTo>
                  <a:pt x="908" y="345"/>
                  <a:pt x="916" y="342"/>
                  <a:pt x="916" y="342"/>
                </a:cubicBezTo>
                <a:cubicBezTo>
                  <a:pt x="916" y="342"/>
                  <a:pt x="931" y="346"/>
                  <a:pt x="934" y="346"/>
                </a:cubicBezTo>
                <a:cubicBezTo>
                  <a:pt x="938" y="346"/>
                  <a:pt x="936" y="348"/>
                  <a:pt x="936" y="348"/>
                </a:cubicBezTo>
                <a:cubicBezTo>
                  <a:pt x="930" y="350"/>
                  <a:pt x="930" y="350"/>
                  <a:pt x="930" y="350"/>
                </a:cubicBezTo>
                <a:cubicBezTo>
                  <a:pt x="930" y="351"/>
                  <a:pt x="930" y="351"/>
                  <a:pt x="930" y="351"/>
                </a:cubicBezTo>
                <a:cubicBezTo>
                  <a:pt x="936" y="351"/>
                  <a:pt x="936" y="351"/>
                  <a:pt x="936" y="351"/>
                </a:cubicBezTo>
                <a:cubicBezTo>
                  <a:pt x="945" y="350"/>
                  <a:pt x="945" y="350"/>
                  <a:pt x="945" y="350"/>
                </a:cubicBezTo>
                <a:cubicBezTo>
                  <a:pt x="946" y="351"/>
                  <a:pt x="946" y="351"/>
                  <a:pt x="946" y="351"/>
                </a:cubicBezTo>
                <a:cubicBezTo>
                  <a:pt x="951" y="351"/>
                  <a:pt x="951" y="351"/>
                  <a:pt x="951" y="351"/>
                </a:cubicBezTo>
                <a:cubicBezTo>
                  <a:pt x="948" y="354"/>
                  <a:pt x="948" y="354"/>
                  <a:pt x="948" y="354"/>
                </a:cubicBezTo>
                <a:cubicBezTo>
                  <a:pt x="954" y="355"/>
                  <a:pt x="954" y="355"/>
                  <a:pt x="954" y="355"/>
                </a:cubicBezTo>
                <a:cubicBezTo>
                  <a:pt x="954" y="355"/>
                  <a:pt x="954" y="355"/>
                  <a:pt x="954" y="355"/>
                </a:cubicBezTo>
                <a:close/>
                <a:moveTo>
                  <a:pt x="1248" y="123"/>
                </a:moveTo>
                <a:cubicBezTo>
                  <a:pt x="1252" y="123"/>
                  <a:pt x="1252" y="123"/>
                  <a:pt x="1252" y="123"/>
                </a:cubicBezTo>
                <a:cubicBezTo>
                  <a:pt x="1254" y="121"/>
                  <a:pt x="1254" y="121"/>
                  <a:pt x="1254" y="121"/>
                </a:cubicBezTo>
                <a:cubicBezTo>
                  <a:pt x="1257" y="121"/>
                  <a:pt x="1257" y="121"/>
                  <a:pt x="1257" y="121"/>
                </a:cubicBezTo>
                <a:cubicBezTo>
                  <a:pt x="1257" y="121"/>
                  <a:pt x="1261" y="117"/>
                  <a:pt x="1262" y="117"/>
                </a:cubicBezTo>
                <a:cubicBezTo>
                  <a:pt x="1263" y="116"/>
                  <a:pt x="1268" y="116"/>
                  <a:pt x="1268" y="116"/>
                </a:cubicBezTo>
                <a:cubicBezTo>
                  <a:pt x="1275" y="113"/>
                  <a:pt x="1275" y="113"/>
                  <a:pt x="1275" y="113"/>
                </a:cubicBezTo>
                <a:cubicBezTo>
                  <a:pt x="1279" y="112"/>
                  <a:pt x="1279" y="112"/>
                  <a:pt x="1279" y="112"/>
                </a:cubicBezTo>
                <a:cubicBezTo>
                  <a:pt x="1280" y="111"/>
                  <a:pt x="1280" y="111"/>
                  <a:pt x="1280" y="111"/>
                </a:cubicBezTo>
                <a:cubicBezTo>
                  <a:pt x="1280" y="111"/>
                  <a:pt x="1276" y="111"/>
                  <a:pt x="1274" y="111"/>
                </a:cubicBezTo>
                <a:cubicBezTo>
                  <a:pt x="1271" y="111"/>
                  <a:pt x="1270" y="110"/>
                  <a:pt x="1266" y="109"/>
                </a:cubicBezTo>
                <a:cubicBezTo>
                  <a:pt x="1263" y="109"/>
                  <a:pt x="1257" y="109"/>
                  <a:pt x="1254" y="110"/>
                </a:cubicBezTo>
                <a:cubicBezTo>
                  <a:pt x="1252" y="111"/>
                  <a:pt x="1247" y="111"/>
                  <a:pt x="1247" y="111"/>
                </a:cubicBezTo>
                <a:cubicBezTo>
                  <a:pt x="1245" y="112"/>
                  <a:pt x="1245" y="112"/>
                  <a:pt x="1245" y="112"/>
                </a:cubicBezTo>
                <a:cubicBezTo>
                  <a:pt x="1245" y="112"/>
                  <a:pt x="1236" y="113"/>
                  <a:pt x="1237" y="112"/>
                </a:cubicBezTo>
                <a:cubicBezTo>
                  <a:pt x="1239" y="111"/>
                  <a:pt x="1251" y="109"/>
                  <a:pt x="1251" y="109"/>
                </a:cubicBezTo>
                <a:cubicBezTo>
                  <a:pt x="1251" y="109"/>
                  <a:pt x="1264" y="106"/>
                  <a:pt x="1261" y="104"/>
                </a:cubicBezTo>
                <a:cubicBezTo>
                  <a:pt x="1258" y="103"/>
                  <a:pt x="1256" y="103"/>
                  <a:pt x="1256" y="103"/>
                </a:cubicBezTo>
                <a:cubicBezTo>
                  <a:pt x="1256" y="103"/>
                  <a:pt x="1244" y="106"/>
                  <a:pt x="1243" y="107"/>
                </a:cubicBezTo>
                <a:cubicBezTo>
                  <a:pt x="1242" y="108"/>
                  <a:pt x="1236" y="107"/>
                  <a:pt x="1236" y="107"/>
                </a:cubicBezTo>
                <a:cubicBezTo>
                  <a:pt x="1241" y="105"/>
                  <a:pt x="1241" y="105"/>
                  <a:pt x="1241" y="105"/>
                </a:cubicBezTo>
                <a:cubicBezTo>
                  <a:pt x="1244" y="102"/>
                  <a:pt x="1244" y="102"/>
                  <a:pt x="1244" y="102"/>
                </a:cubicBezTo>
                <a:cubicBezTo>
                  <a:pt x="1244" y="102"/>
                  <a:pt x="1249" y="103"/>
                  <a:pt x="1251" y="103"/>
                </a:cubicBezTo>
                <a:cubicBezTo>
                  <a:pt x="1252" y="102"/>
                  <a:pt x="1256" y="102"/>
                  <a:pt x="1258" y="102"/>
                </a:cubicBezTo>
                <a:cubicBezTo>
                  <a:pt x="1259" y="102"/>
                  <a:pt x="1264" y="101"/>
                  <a:pt x="1262" y="100"/>
                </a:cubicBezTo>
                <a:cubicBezTo>
                  <a:pt x="1259" y="99"/>
                  <a:pt x="1251" y="98"/>
                  <a:pt x="1251" y="98"/>
                </a:cubicBezTo>
                <a:cubicBezTo>
                  <a:pt x="1244" y="99"/>
                  <a:pt x="1244" y="99"/>
                  <a:pt x="1244" y="99"/>
                </a:cubicBezTo>
                <a:cubicBezTo>
                  <a:pt x="1248" y="97"/>
                  <a:pt x="1248" y="97"/>
                  <a:pt x="1248" y="97"/>
                </a:cubicBezTo>
                <a:cubicBezTo>
                  <a:pt x="1244" y="95"/>
                  <a:pt x="1244" y="95"/>
                  <a:pt x="1244" y="95"/>
                </a:cubicBezTo>
                <a:cubicBezTo>
                  <a:pt x="1244" y="95"/>
                  <a:pt x="1244" y="93"/>
                  <a:pt x="1245" y="93"/>
                </a:cubicBezTo>
                <a:cubicBezTo>
                  <a:pt x="1246" y="93"/>
                  <a:pt x="1250" y="97"/>
                  <a:pt x="1253" y="97"/>
                </a:cubicBezTo>
                <a:cubicBezTo>
                  <a:pt x="1255" y="97"/>
                  <a:pt x="1264" y="100"/>
                  <a:pt x="1264" y="100"/>
                </a:cubicBezTo>
                <a:cubicBezTo>
                  <a:pt x="1264" y="100"/>
                  <a:pt x="1268" y="98"/>
                  <a:pt x="1268" y="100"/>
                </a:cubicBezTo>
                <a:cubicBezTo>
                  <a:pt x="1268" y="102"/>
                  <a:pt x="1266" y="105"/>
                  <a:pt x="1270" y="106"/>
                </a:cubicBezTo>
                <a:cubicBezTo>
                  <a:pt x="1274" y="107"/>
                  <a:pt x="1279" y="108"/>
                  <a:pt x="1279" y="108"/>
                </a:cubicBezTo>
                <a:cubicBezTo>
                  <a:pt x="1279" y="108"/>
                  <a:pt x="1280" y="104"/>
                  <a:pt x="1280" y="105"/>
                </a:cubicBezTo>
                <a:cubicBezTo>
                  <a:pt x="1281" y="106"/>
                  <a:pt x="1280" y="109"/>
                  <a:pt x="1282" y="109"/>
                </a:cubicBezTo>
                <a:cubicBezTo>
                  <a:pt x="1284" y="109"/>
                  <a:pt x="1287" y="107"/>
                  <a:pt x="1287" y="107"/>
                </a:cubicBezTo>
                <a:cubicBezTo>
                  <a:pt x="1287" y="103"/>
                  <a:pt x="1287" y="103"/>
                  <a:pt x="1287" y="103"/>
                </a:cubicBezTo>
                <a:cubicBezTo>
                  <a:pt x="1285" y="103"/>
                  <a:pt x="1285" y="103"/>
                  <a:pt x="1285" y="103"/>
                </a:cubicBezTo>
                <a:cubicBezTo>
                  <a:pt x="1285" y="103"/>
                  <a:pt x="1288" y="101"/>
                  <a:pt x="1287" y="100"/>
                </a:cubicBezTo>
                <a:cubicBezTo>
                  <a:pt x="1286" y="99"/>
                  <a:pt x="1284" y="100"/>
                  <a:pt x="1284" y="100"/>
                </a:cubicBezTo>
                <a:cubicBezTo>
                  <a:pt x="1282" y="97"/>
                  <a:pt x="1282" y="97"/>
                  <a:pt x="1282" y="97"/>
                </a:cubicBezTo>
                <a:cubicBezTo>
                  <a:pt x="1280" y="96"/>
                  <a:pt x="1280" y="96"/>
                  <a:pt x="1280" y="96"/>
                </a:cubicBezTo>
                <a:cubicBezTo>
                  <a:pt x="1281" y="94"/>
                  <a:pt x="1281" y="94"/>
                  <a:pt x="1281" y="94"/>
                </a:cubicBezTo>
                <a:cubicBezTo>
                  <a:pt x="1271" y="90"/>
                  <a:pt x="1271" y="90"/>
                  <a:pt x="1271" y="90"/>
                </a:cubicBezTo>
                <a:cubicBezTo>
                  <a:pt x="1265" y="92"/>
                  <a:pt x="1265" y="92"/>
                  <a:pt x="1265" y="92"/>
                </a:cubicBezTo>
                <a:cubicBezTo>
                  <a:pt x="1264" y="91"/>
                  <a:pt x="1264" y="91"/>
                  <a:pt x="1264" y="91"/>
                </a:cubicBezTo>
                <a:cubicBezTo>
                  <a:pt x="1268" y="89"/>
                  <a:pt x="1268" y="89"/>
                  <a:pt x="1268" y="89"/>
                </a:cubicBezTo>
                <a:cubicBezTo>
                  <a:pt x="1269" y="89"/>
                  <a:pt x="1269" y="89"/>
                  <a:pt x="1269" y="89"/>
                </a:cubicBezTo>
                <a:cubicBezTo>
                  <a:pt x="1269" y="89"/>
                  <a:pt x="1268" y="87"/>
                  <a:pt x="1265" y="87"/>
                </a:cubicBezTo>
                <a:cubicBezTo>
                  <a:pt x="1261" y="87"/>
                  <a:pt x="1254" y="86"/>
                  <a:pt x="1254" y="86"/>
                </a:cubicBezTo>
                <a:cubicBezTo>
                  <a:pt x="1257" y="83"/>
                  <a:pt x="1257" y="83"/>
                  <a:pt x="1257" y="83"/>
                </a:cubicBezTo>
                <a:cubicBezTo>
                  <a:pt x="1257" y="83"/>
                  <a:pt x="1259" y="83"/>
                  <a:pt x="1262" y="84"/>
                </a:cubicBezTo>
                <a:cubicBezTo>
                  <a:pt x="1264" y="85"/>
                  <a:pt x="1267" y="82"/>
                  <a:pt x="1267" y="82"/>
                </a:cubicBezTo>
                <a:cubicBezTo>
                  <a:pt x="1271" y="82"/>
                  <a:pt x="1271" y="82"/>
                  <a:pt x="1271" y="82"/>
                </a:cubicBezTo>
                <a:cubicBezTo>
                  <a:pt x="1277" y="84"/>
                  <a:pt x="1277" y="84"/>
                  <a:pt x="1277" y="84"/>
                </a:cubicBezTo>
                <a:cubicBezTo>
                  <a:pt x="1280" y="83"/>
                  <a:pt x="1280" y="83"/>
                  <a:pt x="1280" y="83"/>
                </a:cubicBezTo>
                <a:cubicBezTo>
                  <a:pt x="1280" y="83"/>
                  <a:pt x="1286" y="88"/>
                  <a:pt x="1288" y="88"/>
                </a:cubicBezTo>
                <a:cubicBezTo>
                  <a:pt x="1290" y="88"/>
                  <a:pt x="1290" y="85"/>
                  <a:pt x="1290" y="85"/>
                </a:cubicBezTo>
                <a:cubicBezTo>
                  <a:pt x="1284" y="84"/>
                  <a:pt x="1284" y="84"/>
                  <a:pt x="1284" y="84"/>
                </a:cubicBezTo>
                <a:cubicBezTo>
                  <a:pt x="1280" y="82"/>
                  <a:pt x="1280" y="82"/>
                  <a:pt x="1280" y="82"/>
                </a:cubicBezTo>
                <a:cubicBezTo>
                  <a:pt x="1273" y="81"/>
                  <a:pt x="1273" y="81"/>
                  <a:pt x="1273" y="81"/>
                </a:cubicBezTo>
                <a:cubicBezTo>
                  <a:pt x="1273" y="81"/>
                  <a:pt x="1275" y="79"/>
                  <a:pt x="1276" y="79"/>
                </a:cubicBezTo>
                <a:cubicBezTo>
                  <a:pt x="1278" y="78"/>
                  <a:pt x="1281" y="82"/>
                  <a:pt x="1285" y="82"/>
                </a:cubicBezTo>
                <a:cubicBezTo>
                  <a:pt x="1288" y="82"/>
                  <a:pt x="1294" y="82"/>
                  <a:pt x="1294" y="82"/>
                </a:cubicBezTo>
                <a:cubicBezTo>
                  <a:pt x="1303" y="81"/>
                  <a:pt x="1303" y="81"/>
                  <a:pt x="1303" y="81"/>
                </a:cubicBezTo>
                <a:cubicBezTo>
                  <a:pt x="1303" y="77"/>
                  <a:pt x="1303" y="77"/>
                  <a:pt x="1303" y="77"/>
                </a:cubicBezTo>
                <a:cubicBezTo>
                  <a:pt x="1297" y="76"/>
                  <a:pt x="1297" y="76"/>
                  <a:pt x="1297" y="76"/>
                </a:cubicBezTo>
                <a:cubicBezTo>
                  <a:pt x="1294" y="78"/>
                  <a:pt x="1294" y="78"/>
                  <a:pt x="1294" y="78"/>
                </a:cubicBezTo>
                <a:cubicBezTo>
                  <a:pt x="1294" y="78"/>
                  <a:pt x="1291" y="75"/>
                  <a:pt x="1292" y="74"/>
                </a:cubicBezTo>
                <a:cubicBezTo>
                  <a:pt x="1293" y="74"/>
                  <a:pt x="1299" y="74"/>
                  <a:pt x="1299" y="74"/>
                </a:cubicBezTo>
                <a:cubicBezTo>
                  <a:pt x="1305" y="72"/>
                  <a:pt x="1305" y="72"/>
                  <a:pt x="1305" y="72"/>
                </a:cubicBezTo>
                <a:cubicBezTo>
                  <a:pt x="1305" y="72"/>
                  <a:pt x="1309" y="75"/>
                  <a:pt x="1312" y="74"/>
                </a:cubicBezTo>
                <a:cubicBezTo>
                  <a:pt x="1314" y="73"/>
                  <a:pt x="1317" y="71"/>
                  <a:pt x="1316" y="71"/>
                </a:cubicBezTo>
                <a:cubicBezTo>
                  <a:pt x="1315" y="70"/>
                  <a:pt x="1306" y="70"/>
                  <a:pt x="1305" y="70"/>
                </a:cubicBezTo>
                <a:cubicBezTo>
                  <a:pt x="1304" y="70"/>
                  <a:pt x="1306" y="68"/>
                  <a:pt x="1304" y="68"/>
                </a:cubicBezTo>
                <a:cubicBezTo>
                  <a:pt x="1301" y="67"/>
                  <a:pt x="1295" y="67"/>
                  <a:pt x="1295" y="67"/>
                </a:cubicBezTo>
                <a:cubicBezTo>
                  <a:pt x="1295" y="67"/>
                  <a:pt x="1302" y="67"/>
                  <a:pt x="1303" y="66"/>
                </a:cubicBezTo>
                <a:cubicBezTo>
                  <a:pt x="1304" y="65"/>
                  <a:pt x="1295" y="63"/>
                  <a:pt x="1295" y="63"/>
                </a:cubicBezTo>
                <a:cubicBezTo>
                  <a:pt x="1295" y="63"/>
                  <a:pt x="1300" y="62"/>
                  <a:pt x="1302" y="63"/>
                </a:cubicBezTo>
                <a:cubicBezTo>
                  <a:pt x="1303" y="63"/>
                  <a:pt x="1308" y="65"/>
                  <a:pt x="1309" y="65"/>
                </a:cubicBezTo>
                <a:cubicBezTo>
                  <a:pt x="1311" y="64"/>
                  <a:pt x="1311" y="67"/>
                  <a:pt x="1313" y="66"/>
                </a:cubicBezTo>
                <a:cubicBezTo>
                  <a:pt x="1315" y="65"/>
                  <a:pt x="1317" y="62"/>
                  <a:pt x="1315" y="61"/>
                </a:cubicBezTo>
                <a:cubicBezTo>
                  <a:pt x="1314" y="59"/>
                  <a:pt x="1310" y="57"/>
                  <a:pt x="1310" y="57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5"/>
                  <a:pt x="1298" y="54"/>
                  <a:pt x="1300" y="52"/>
                </a:cubicBezTo>
                <a:cubicBezTo>
                  <a:pt x="1301" y="51"/>
                  <a:pt x="1306" y="52"/>
                  <a:pt x="1306" y="52"/>
                </a:cubicBezTo>
                <a:cubicBezTo>
                  <a:pt x="1312" y="51"/>
                  <a:pt x="1312" y="51"/>
                  <a:pt x="1312" y="51"/>
                </a:cubicBezTo>
                <a:cubicBezTo>
                  <a:pt x="1312" y="51"/>
                  <a:pt x="1315" y="51"/>
                  <a:pt x="1321" y="52"/>
                </a:cubicBezTo>
                <a:cubicBezTo>
                  <a:pt x="1328" y="52"/>
                  <a:pt x="1331" y="47"/>
                  <a:pt x="1326" y="47"/>
                </a:cubicBezTo>
                <a:cubicBezTo>
                  <a:pt x="1322" y="46"/>
                  <a:pt x="1314" y="46"/>
                  <a:pt x="1314" y="46"/>
                </a:cubicBezTo>
                <a:cubicBezTo>
                  <a:pt x="1314" y="44"/>
                  <a:pt x="1314" y="44"/>
                  <a:pt x="1314" y="44"/>
                </a:cubicBezTo>
                <a:cubicBezTo>
                  <a:pt x="1318" y="44"/>
                  <a:pt x="1318" y="44"/>
                  <a:pt x="1318" y="44"/>
                </a:cubicBezTo>
                <a:cubicBezTo>
                  <a:pt x="1318" y="44"/>
                  <a:pt x="1317" y="41"/>
                  <a:pt x="1314" y="41"/>
                </a:cubicBezTo>
                <a:cubicBezTo>
                  <a:pt x="1311" y="42"/>
                  <a:pt x="1313" y="45"/>
                  <a:pt x="1311" y="45"/>
                </a:cubicBezTo>
                <a:cubicBezTo>
                  <a:pt x="1309" y="45"/>
                  <a:pt x="1304" y="43"/>
                  <a:pt x="1306" y="42"/>
                </a:cubicBezTo>
                <a:cubicBezTo>
                  <a:pt x="1308" y="41"/>
                  <a:pt x="1313" y="40"/>
                  <a:pt x="1313" y="39"/>
                </a:cubicBezTo>
                <a:cubicBezTo>
                  <a:pt x="1314" y="37"/>
                  <a:pt x="1316" y="35"/>
                  <a:pt x="1317" y="34"/>
                </a:cubicBezTo>
                <a:cubicBezTo>
                  <a:pt x="1317" y="34"/>
                  <a:pt x="1320" y="36"/>
                  <a:pt x="1322" y="35"/>
                </a:cubicBezTo>
                <a:cubicBezTo>
                  <a:pt x="1324" y="34"/>
                  <a:pt x="1327" y="32"/>
                  <a:pt x="1327" y="32"/>
                </a:cubicBezTo>
                <a:cubicBezTo>
                  <a:pt x="1325" y="30"/>
                  <a:pt x="1325" y="30"/>
                  <a:pt x="1325" y="30"/>
                </a:cubicBezTo>
                <a:cubicBezTo>
                  <a:pt x="1325" y="30"/>
                  <a:pt x="1330" y="27"/>
                  <a:pt x="1331" y="27"/>
                </a:cubicBezTo>
                <a:cubicBezTo>
                  <a:pt x="1333" y="27"/>
                  <a:pt x="1335" y="29"/>
                  <a:pt x="1336" y="28"/>
                </a:cubicBezTo>
                <a:cubicBezTo>
                  <a:pt x="1338" y="26"/>
                  <a:pt x="1342" y="26"/>
                  <a:pt x="1340" y="25"/>
                </a:cubicBezTo>
                <a:cubicBezTo>
                  <a:pt x="1337" y="24"/>
                  <a:pt x="1331" y="25"/>
                  <a:pt x="1331" y="25"/>
                </a:cubicBezTo>
                <a:cubicBezTo>
                  <a:pt x="1331" y="25"/>
                  <a:pt x="1320" y="28"/>
                  <a:pt x="1322" y="26"/>
                </a:cubicBezTo>
                <a:cubicBezTo>
                  <a:pt x="1324" y="24"/>
                  <a:pt x="1329" y="23"/>
                  <a:pt x="1329" y="23"/>
                </a:cubicBezTo>
                <a:cubicBezTo>
                  <a:pt x="1329" y="23"/>
                  <a:pt x="1338" y="24"/>
                  <a:pt x="1342" y="24"/>
                </a:cubicBezTo>
                <a:cubicBezTo>
                  <a:pt x="1346" y="23"/>
                  <a:pt x="1350" y="22"/>
                  <a:pt x="1350" y="22"/>
                </a:cubicBezTo>
                <a:cubicBezTo>
                  <a:pt x="1350" y="22"/>
                  <a:pt x="1342" y="20"/>
                  <a:pt x="1341" y="21"/>
                </a:cubicBezTo>
                <a:cubicBezTo>
                  <a:pt x="1340" y="21"/>
                  <a:pt x="1332" y="21"/>
                  <a:pt x="1332" y="21"/>
                </a:cubicBezTo>
                <a:cubicBezTo>
                  <a:pt x="1332" y="21"/>
                  <a:pt x="1322" y="22"/>
                  <a:pt x="1325" y="21"/>
                </a:cubicBezTo>
                <a:cubicBezTo>
                  <a:pt x="1329" y="20"/>
                  <a:pt x="1340" y="20"/>
                  <a:pt x="1340" y="20"/>
                </a:cubicBezTo>
                <a:cubicBezTo>
                  <a:pt x="1340" y="20"/>
                  <a:pt x="1353" y="20"/>
                  <a:pt x="1356" y="19"/>
                </a:cubicBezTo>
                <a:cubicBezTo>
                  <a:pt x="1358" y="19"/>
                  <a:pt x="1360" y="17"/>
                  <a:pt x="1360" y="17"/>
                </a:cubicBezTo>
                <a:cubicBezTo>
                  <a:pt x="1360" y="17"/>
                  <a:pt x="1366" y="17"/>
                  <a:pt x="1369" y="16"/>
                </a:cubicBezTo>
                <a:cubicBezTo>
                  <a:pt x="1373" y="16"/>
                  <a:pt x="1377" y="14"/>
                  <a:pt x="1377" y="14"/>
                </a:cubicBezTo>
                <a:cubicBezTo>
                  <a:pt x="1377" y="14"/>
                  <a:pt x="1372" y="12"/>
                  <a:pt x="1368" y="12"/>
                </a:cubicBezTo>
                <a:cubicBezTo>
                  <a:pt x="1364" y="12"/>
                  <a:pt x="1349" y="11"/>
                  <a:pt x="1348" y="12"/>
                </a:cubicBezTo>
                <a:cubicBezTo>
                  <a:pt x="1347" y="13"/>
                  <a:pt x="1342" y="15"/>
                  <a:pt x="1340" y="15"/>
                </a:cubicBezTo>
                <a:cubicBezTo>
                  <a:pt x="1338" y="15"/>
                  <a:pt x="1328" y="13"/>
                  <a:pt x="1326" y="13"/>
                </a:cubicBezTo>
                <a:cubicBezTo>
                  <a:pt x="1325" y="14"/>
                  <a:pt x="1314" y="17"/>
                  <a:pt x="1313" y="18"/>
                </a:cubicBezTo>
                <a:cubicBezTo>
                  <a:pt x="1311" y="19"/>
                  <a:pt x="1300" y="21"/>
                  <a:pt x="1302" y="20"/>
                </a:cubicBezTo>
                <a:cubicBezTo>
                  <a:pt x="1304" y="18"/>
                  <a:pt x="1320" y="15"/>
                  <a:pt x="1319" y="13"/>
                </a:cubicBezTo>
                <a:cubicBezTo>
                  <a:pt x="1318" y="11"/>
                  <a:pt x="1312" y="10"/>
                  <a:pt x="1309" y="11"/>
                </a:cubicBezTo>
                <a:cubicBezTo>
                  <a:pt x="1307" y="12"/>
                  <a:pt x="1303" y="13"/>
                  <a:pt x="1303" y="13"/>
                </a:cubicBezTo>
                <a:cubicBezTo>
                  <a:pt x="1287" y="15"/>
                  <a:pt x="1287" y="15"/>
                  <a:pt x="1287" y="15"/>
                </a:cubicBezTo>
                <a:cubicBezTo>
                  <a:pt x="1287" y="15"/>
                  <a:pt x="1302" y="12"/>
                  <a:pt x="1298" y="11"/>
                </a:cubicBezTo>
                <a:cubicBezTo>
                  <a:pt x="1295" y="11"/>
                  <a:pt x="1280" y="11"/>
                  <a:pt x="1280" y="11"/>
                </a:cubicBezTo>
                <a:cubicBezTo>
                  <a:pt x="1275" y="12"/>
                  <a:pt x="1275" y="12"/>
                  <a:pt x="1275" y="12"/>
                </a:cubicBezTo>
                <a:cubicBezTo>
                  <a:pt x="1266" y="11"/>
                  <a:pt x="1266" y="11"/>
                  <a:pt x="1266" y="11"/>
                </a:cubicBezTo>
                <a:cubicBezTo>
                  <a:pt x="1266" y="11"/>
                  <a:pt x="1255" y="14"/>
                  <a:pt x="1256" y="13"/>
                </a:cubicBezTo>
                <a:cubicBezTo>
                  <a:pt x="1256" y="11"/>
                  <a:pt x="1269" y="10"/>
                  <a:pt x="1273" y="10"/>
                </a:cubicBezTo>
                <a:cubicBezTo>
                  <a:pt x="1277" y="10"/>
                  <a:pt x="1306" y="9"/>
                  <a:pt x="1308" y="9"/>
                </a:cubicBezTo>
                <a:cubicBezTo>
                  <a:pt x="1309" y="9"/>
                  <a:pt x="1326" y="9"/>
                  <a:pt x="1324" y="7"/>
                </a:cubicBezTo>
                <a:cubicBezTo>
                  <a:pt x="1322" y="6"/>
                  <a:pt x="1312" y="5"/>
                  <a:pt x="1308" y="6"/>
                </a:cubicBezTo>
                <a:cubicBezTo>
                  <a:pt x="1304" y="6"/>
                  <a:pt x="1301" y="6"/>
                  <a:pt x="1301" y="6"/>
                </a:cubicBezTo>
                <a:cubicBezTo>
                  <a:pt x="1301" y="6"/>
                  <a:pt x="1306" y="4"/>
                  <a:pt x="1303" y="4"/>
                </a:cubicBezTo>
                <a:cubicBezTo>
                  <a:pt x="1300" y="3"/>
                  <a:pt x="1294" y="4"/>
                  <a:pt x="1294" y="4"/>
                </a:cubicBezTo>
                <a:cubicBezTo>
                  <a:pt x="1294" y="4"/>
                  <a:pt x="1288" y="4"/>
                  <a:pt x="1286" y="3"/>
                </a:cubicBezTo>
                <a:cubicBezTo>
                  <a:pt x="1285" y="3"/>
                  <a:pt x="1292" y="4"/>
                  <a:pt x="1294" y="2"/>
                </a:cubicBezTo>
                <a:cubicBezTo>
                  <a:pt x="1295" y="1"/>
                  <a:pt x="1286" y="1"/>
                  <a:pt x="1281" y="1"/>
                </a:cubicBezTo>
                <a:cubicBezTo>
                  <a:pt x="1277" y="1"/>
                  <a:pt x="1265" y="2"/>
                  <a:pt x="1265" y="2"/>
                </a:cubicBezTo>
                <a:cubicBezTo>
                  <a:pt x="1265" y="2"/>
                  <a:pt x="1257" y="1"/>
                  <a:pt x="1252" y="0"/>
                </a:cubicBezTo>
                <a:cubicBezTo>
                  <a:pt x="1247" y="0"/>
                  <a:pt x="1243" y="1"/>
                  <a:pt x="1241" y="1"/>
                </a:cubicBezTo>
                <a:cubicBezTo>
                  <a:pt x="1239" y="2"/>
                  <a:pt x="1235" y="2"/>
                  <a:pt x="1230" y="1"/>
                </a:cubicBezTo>
                <a:cubicBezTo>
                  <a:pt x="1226" y="1"/>
                  <a:pt x="1221" y="1"/>
                  <a:pt x="1222" y="2"/>
                </a:cubicBezTo>
                <a:cubicBezTo>
                  <a:pt x="1222" y="3"/>
                  <a:pt x="1228" y="3"/>
                  <a:pt x="1228" y="3"/>
                </a:cubicBezTo>
                <a:cubicBezTo>
                  <a:pt x="1228" y="3"/>
                  <a:pt x="1221" y="4"/>
                  <a:pt x="1218" y="4"/>
                </a:cubicBezTo>
                <a:cubicBezTo>
                  <a:pt x="1215" y="4"/>
                  <a:pt x="1204" y="3"/>
                  <a:pt x="1201" y="2"/>
                </a:cubicBezTo>
                <a:cubicBezTo>
                  <a:pt x="1198" y="2"/>
                  <a:pt x="1190" y="3"/>
                  <a:pt x="1189" y="3"/>
                </a:cubicBezTo>
                <a:cubicBezTo>
                  <a:pt x="1188" y="3"/>
                  <a:pt x="1177" y="4"/>
                  <a:pt x="1182" y="5"/>
                </a:cubicBezTo>
                <a:cubicBezTo>
                  <a:pt x="1186" y="6"/>
                  <a:pt x="1201" y="7"/>
                  <a:pt x="1201" y="7"/>
                </a:cubicBezTo>
                <a:cubicBezTo>
                  <a:pt x="1213" y="8"/>
                  <a:pt x="1213" y="8"/>
                  <a:pt x="1213" y="8"/>
                </a:cubicBezTo>
                <a:cubicBezTo>
                  <a:pt x="1213" y="8"/>
                  <a:pt x="1201" y="8"/>
                  <a:pt x="1199" y="8"/>
                </a:cubicBezTo>
                <a:cubicBezTo>
                  <a:pt x="1198" y="8"/>
                  <a:pt x="1188" y="6"/>
                  <a:pt x="1188" y="7"/>
                </a:cubicBezTo>
                <a:cubicBezTo>
                  <a:pt x="1188" y="7"/>
                  <a:pt x="1192" y="8"/>
                  <a:pt x="1192" y="8"/>
                </a:cubicBezTo>
                <a:cubicBezTo>
                  <a:pt x="1186" y="9"/>
                  <a:pt x="1186" y="9"/>
                  <a:pt x="1186" y="9"/>
                </a:cubicBezTo>
                <a:cubicBezTo>
                  <a:pt x="1186" y="9"/>
                  <a:pt x="1182" y="12"/>
                  <a:pt x="1183" y="12"/>
                </a:cubicBezTo>
                <a:cubicBezTo>
                  <a:pt x="1184" y="13"/>
                  <a:pt x="1178" y="13"/>
                  <a:pt x="1175" y="12"/>
                </a:cubicBezTo>
                <a:cubicBezTo>
                  <a:pt x="1173" y="10"/>
                  <a:pt x="1167" y="9"/>
                  <a:pt x="1162" y="8"/>
                </a:cubicBezTo>
                <a:cubicBezTo>
                  <a:pt x="1156" y="8"/>
                  <a:pt x="1150" y="8"/>
                  <a:pt x="1150" y="8"/>
                </a:cubicBezTo>
                <a:cubicBezTo>
                  <a:pt x="1150" y="12"/>
                  <a:pt x="1150" y="12"/>
                  <a:pt x="1150" y="12"/>
                </a:cubicBezTo>
                <a:cubicBezTo>
                  <a:pt x="1150" y="12"/>
                  <a:pt x="1146" y="13"/>
                  <a:pt x="1144" y="12"/>
                </a:cubicBezTo>
                <a:cubicBezTo>
                  <a:pt x="1141" y="12"/>
                  <a:pt x="1136" y="10"/>
                  <a:pt x="1134" y="11"/>
                </a:cubicBezTo>
                <a:cubicBezTo>
                  <a:pt x="1132" y="11"/>
                  <a:pt x="1129" y="13"/>
                  <a:pt x="1129" y="13"/>
                </a:cubicBezTo>
                <a:cubicBezTo>
                  <a:pt x="1129" y="13"/>
                  <a:pt x="1131" y="9"/>
                  <a:pt x="1128" y="9"/>
                </a:cubicBezTo>
                <a:cubicBezTo>
                  <a:pt x="1126" y="9"/>
                  <a:pt x="1111" y="9"/>
                  <a:pt x="1107" y="10"/>
                </a:cubicBezTo>
                <a:cubicBezTo>
                  <a:pt x="1103" y="11"/>
                  <a:pt x="1096" y="9"/>
                  <a:pt x="1097" y="10"/>
                </a:cubicBezTo>
                <a:cubicBezTo>
                  <a:pt x="1098" y="11"/>
                  <a:pt x="1105" y="15"/>
                  <a:pt x="1105" y="15"/>
                </a:cubicBezTo>
                <a:cubicBezTo>
                  <a:pt x="1105" y="15"/>
                  <a:pt x="1094" y="11"/>
                  <a:pt x="1092" y="11"/>
                </a:cubicBezTo>
                <a:cubicBezTo>
                  <a:pt x="1090" y="11"/>
                  <a:pt x="1085" y="10"/>
                  <a:pt x="1084" y="12"/>
                </a:cubicBezTo>
                <a:cubicBezTo>
                  <a:pt x="1083" y="15"/>
                  <a:pt x="1079" y="17"/>
                  <a:pt x="1076" y="17"/>
                </a:cubicBezTo>
                <a:cubicBezTo>
                  <a:pt x="1074" y="17"/>
                  <a:pt x="1066" y="17"/>
                  <a:pt x="1066" y="17"/>
                </a:cubicBezTo>
                <a:cubicBezTo>
                  <a:pt x="1066" y="17"/>
                  <a:pt x="1050" y="20"/>
                  <a:pt x="1050" y="20"/>
                </a:cubicBezTo>
                <a:cubicBezTo>
                  <a:pt x="1049" y="20"/>
                  <a:pt x="1034" y="22"/>
                  <a:pt x="1036" y="24"/>
                </a:cubicBezTo>
                <a:cubicBezTo>
                  <a:pt x="1038" y="25"/>
                  <a:pt x="1047" y="26"/>
                  <a:pt x="1048" y="25"/>
                </a:cubicBezTo>
                <a:cubicBezTo>
                  <a:pt x="1049" y="25"/>
                  <a:pt x="1052" y="25"/>
                  <a:pt x="1052" y="25"/>
                </a:cubicBezTo>
                <a:cubicBezTo>
                  <a:pt x="1047" y="27"/>
                  <a:pt x="1047" y="27"/>
                  <a:pt x="1047" y="27"/>
                </a:cubicBezTo>
                <a:cubicBezTo>
                  <a:pt x="1045" y="29"/>
                  <a:pt x="1045" y="29"/>
                  <a:pt x="1045" y="29"/>
                </a:cubicBezTo>
                <a:cubicBezTo>
                  <a:pt x="1045" y="29"/>
                  <a:pt x="1035" y="33"/>
                  <a:pt x="1031" y="33"/>
                </a:cubicBezTo>
                <a:cubicBezTo>
                  <a:pt x="1028" y="33"/>
                  <a:pt x="1013" y="33"/>
                  <a:pt x="1011" y="35"/>
                </a:cubicBezTo>
                <a:cubicBezTo>
                  <a:pt x="1008" y="38"/>
                  <a:pt x="1005" y="35"/>
                  <a:pt x="1005" y="35"/>
                </a:cubicBezTo>
                <a:cubicBezTo>
                  <a:pt x="1001" y="37"/>
                  <a:pt x="1001" y="37"/>
                  <a:pt x="1001" y="37"/>
                </a:cubicBezTo>
                <a:cubicBezTo>
                  <a:pt x="994" y="37"/>
                  <a:pt x="994" y="37"/>
                  <a:pt x="994" y="37"/>
                </a:cubicBezTo>
                <a:cubicBezTo>
                  <a:pt x="994" y="37"/>
                  <a:pt x="982" y="38"/>
                  <a:pt x="985" y="40"/>
                </a:cubicBezTo>
                <a:cubicBezTo>
                  <a:pt x="988" y="42"/>
                  <a:pt x="993" y="44"/>
                  <a:pt x="993" y="44"/>
                </a:cubicBezTo>
                <a:cubicBezTo>
                  <a:pt x="997" y="43"/>
                  <a:pt x="997" y="43"/>
                  <a:pt x="997" y="43"/>
                </a:cubicBezTo>
                <a:cubicBezTo>
                  <a:pt x="997" y="43"/>
                  <a:pt x="997" y="45"/>
                  <a:pt x="999" y="46"/>
                </a:cubicBezTo>
                <a:cubicBezTo>
                  <a:pt x="1001" y="47"/>
                  <a:pt x="1006" y="44"/>
                  <a:pt x="1006" y="44"/>
                </a:cubicBezTo>
                <a:cubicBezTo>
                  <a:pt x="1006" y="44"/>
                  <a:pt x="1005" y="46"/>
                  <a:pt x="1007" y="46"/>
                </a:cubicBezTo>
                <a:cubicBezTo>
                  <a:pt x="1009" y="46"/>
                  <a:pt x="1017" y="43"/>
                  <a:pt x="1019" y="44"/>
                </a:cubicBezTo>
                <a:cubicBezTo>
                  <a:pt x="1020" y="45"/>
                  <a:pt x="1020" y="46"/>
                  <a:pt x="1020" y="46"/>
                </a:cubicBezTo>
                <a:cubicBezTo>
                  <a:pt x="1017" y="46"/>
                  <a:pt x="1017" y="46"/>
                  <a:pt x="1017" y="46"/>
                </a:cubicBezTo>
                <a:cubicBezTo>
                  <a:pt x="1017" y="46"/>
                  <a:pt x="1016" y="49"/>
                  <a:pt x="1014" y="49"/>
                </a:cubicBezTo>
                <a:cubicBezTo>
                  <a:pt x="1013" y="49"/>
                  <a:pt x="1014" y="47"/>
                  <a:pt x="1011" y="47"/>
                </a:cubicBezTo>
                <a:cubicBezTo>
                  <a:pt x="1009" y="47"/>
                  <a:pt x="1002" y="48"/>
                  <a:pt x="1002" y="48"/>
                </a:cubicBezTo>
                <a:cubicBezTo>
                  <a:pt x="996" y="48"/>
                  <a:pt x="996" y="48"/>
                  <a:pt x="996" y="48"/>
                </a:cubicBezTo>
                <a:cubicBezTo>
                  <a:pt x="996" y="48"/>
                  <a:pt x="988" y="44"/>
                  <a:pt x="986" y="48"/>
                </a:cubicBezTo>
                <a:cubicBezTo>
                  <a:pt x="984" y="52"/>
                  <a:pt x="989" y="53"/>
                  <a:pt x="991" y="53"/>
                </a:cubicBezTo>
                <a:cubicBezTo>
                  <a:pt x="993" y="52"/>
                  <a:pt x="998" y="53"/>
                  <a:pt x="998" y="53"/>
                </a:cubicBezTo>
                <a:cubicBezTo>
                  <a:pt x="998" y="53"/>
                  <a:pt x="989" y="53"/>
                  <a:pt x="990" y="55"/>
                </a:cubicBezTo>
                <a:cubicBezTo>
                  <a:pt x="991" y="56"/>
                  <a:pt x="997" y="57"/>
                  <a:pt x="997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6"/>
                  <a:pt x="1004" y="56"/>
                </a:cubicBezTo>
                <a:cubicBezTo>
                  <a:pt x="1005" y="56"/>
                  <a:pt x="1007" y="58"/>
                  <a:pt x="1007" y="58"/>
                </a:cubicBezTo>
                <a:cubicBezTo>
                  <a:pt x="1012" y="56"/>
                  <a:pt x="1012" y="56"/>
                  <a:pt x="1012" y="56"/>
                </a:cubicBezTo>
                <a:cubicBezTo>
                  <a:pt x="1012" y="56"/>
                  <a:pt x="1013" y="58"/>
                  <a:pt x="1013" y="58"/>
                </a:cubicBezTo>
                <a:cubicBezTo>
                  <a:pt x="1014" y="58"/>
                  <a:pt x="1020" y="55"/>
                  <a:pt x="1022" y="56"/>
                </a:cubicBezTo>
                <a:cubicBezTo>
                  <a:pt x="1024" y="56"/>
                  <a:pt x="1026" y="57"/>
                  <a:pt x="1027" y="57"/>
                </a:cubicBezTo>
                <a:cubicBezTo>
                  <a:pt x="1028" y="57"/>
                  <a:pt x="1030" y="55"/>
                  <a:pt x="1031" y="55"/>
                </a:cubicBezTo>
                <a:cubicBezTo>
                  <a:pt x="1032" y="55"/>
                  <a:pt x="1036" y="57"/>
                  <a:pt x="1036" y="57"/>
                </a:cubicBezTo>
                <a:cubicBezTo>
                  <a:pt x="1036" y="57"/>
                  <a:pt x="1043" y="56"/>
                  <a:pt x="1047" y="57"/>
                </a:cubicBezTo>
                <a:cubicBezTo>
                  <a:pt x="1052" y="59"/>
                  <a:pt x="1053" y="61"/>
                  <a:pt x="1053" y="61"/>
                </a:cubicBezTo>
                <a:cubicBezTo>
                  <a:pt x="1053" y="61"/>
                  <a:pt x="1057" y="60"/>
                  <a:pt x="1057" y="61"/>
                </a:cubicBezTo>
                <a:cubicBezTo>
                  <a:pt x="1057" y="62"/>
                  <a:pt x="1055" y="64"/>
                  <a:pt x="1055" y="64"/>
                </a:cubicBezTo>
                <a:cubicBezTo>
                  <a:pt x="1057" y="66"/>
                  <a:pt x="1057" y="66"/>
                  <a:pt x="1057" y="66"/>
                </a:cubicBezTo>
                <a:cubicBezTo>
                  <a:pt x="1057" y="66"/>
                  <a:pt x="1063" y="67"/>
                  <a:pt x="1063" y="69"/>
                </a:cubicBezTo>
                <a:cubicBezTo>
                  <a:pt x="1063" y="71"/>
                  <a:pt x="1060" y="72"/>
                  <a:pt x="1060" y="72"/>
                </a:cubicBezTo>
                <a:cubicBezTo>
                  <a:pt x="1062" y="75"/>
                  <a:pt x="1062" y="75"/>
                  <a:pt x="1062" y="75"/>
                </a:cubicBezTo>
                <a:cubicBezTo>
                  <a:pt x="1065" y="77"/>
                  <a:pt x="1065" y="77"/>
                  <a:pt x="1065" y="77"/>
                </a:cubicBezTo>
                <a:cubicBezTo>
                  <a:pt x="1062" y="78"/>
                  <a:pt x="1062" y="78"/>
                  <a:pt x="1062" y="78"/>
                </a:cubicBezTo>
                <a:cubicBezTo>
                  <a:pt x="1064" y="81"/>
                  <a:pt x="1064" y="81"/>
                  <a:pt x="1064" y="81"/>
                </a:cubicBezTo>
                <a:cubicBezTo>
                  <a:pt x="1064" y="81"/>
                  <a:pt x="1062" y="81"/>
                  <a:pt x="1062" y="83"/>
                </a:cubicBezTo>
                <a:cubicBezTo>
                  <a:pt x="1062" y="85"/>
                  <a:pt x="1067" y="85"/>
                  <a:pt x="1066" y="86"/>
                </a:cubicBezTo>
                <a:cubicBezTo>
                  <a:pt x="1065" y="87"/>
                  <a:pt x="1061" y="89"/>
                  <a:pt x="1061" y="89"/>
                </a:cubicBezTo>
                <a:cubicBezTo>
                  <a:pt x="1063" y="91"/>
                  <a:pt x="1063" y="91"/>
                  <a:pt x="1063" y="91"/>
                </a:cubicBezTo>
                <a:cubicBezTo>
                  <a:pt x="1063" y="91"/>
                  <a:pt x="1054" y="92"/>
                  <a:pt x="1055" y="92"/>
                </a:cubicBezTo>
                <a:cubicBezTo>
                  <a:pt x="1055" y="93"/>
                  <a:pt x="1057" y="93"/>
                  <a:pt x="1059" y="93"/>
                </a:cubicBezTo>
                <a:cubicBezTo>
                  <a:pt x="1062" y="93"/>
                  <a:pt x="1059" y="95"/>
                  <a:pt x="1059" y="95"/>
                </a:cubicBezTo>
                <a:cubicBezTo>
                  <a:pt x="1059" y="95"/>
                  <a:pt x="1048" y="95"/>
                  <a:pt x="1050" y="97"/>
                </a:cubicBezTo>
                <a:cubicBezTo>
                  <a:pt x="1053" y="99"/>
                  <a:pt x="1056" y="100"/>
                  <a:pt x="1059" y="100"/>
                </a:cubicBezTo>
                <a:cubicBezTo>
                  <a:pt x="1062" y="100"/>
                  <a:pt x="1063" y="98"/>
                  <a:pt x="1063" y="98"/>
                </a:cubicBezTo>
                <a:cubicBezTo>
                  <a:pt x="1063" y="98"/>
                  <a:pt x="1069" y="98"/>
                  <a:pt x="1068" y="96"/>
                </a:cubicBezTo>
                <a:cubicBezTo>
                  <a:pt x="1068" y="94"/>
                  <a:pt x="1070" y="92"/>
                  <a:pt x="1070" y="92"/>
                </a:cubicBezTo>
                <a:cubicBezTo>
                  <a:pt x="1070" y="96"/>
                  <a:pt x="1070" y="96"/>
                  <a:pt x="1070" y="96"/>
                </a:cubicBezTo>
                <a:cubicBezTo>
                  <a:pt x="1073" y="94"/>
                  <a:pt x="1073" y="94"/>
                  <a:pt x="1073" y="94"/>
                </a:cubicBezTo>
                <a:cubicBezTo>
                  <a:pt x="1073" y="94"/>
                  <a:pt x="1072" y="95"/>
                  <a:pt x="1073" y="96"/>
                </a:cubicBezTo>
                <a:cubicBezTo>
                  <a:pt x="1073" y="97"/>
                  <a:pt x="1079" y="97"/>
                  <a:pt x="1079" y="97"/>
                </a:cubicBezTo>
                <a:cubicBezTo>
                  <a:pt x="1077" y="99"/>
                  <a:pt x="1077" y="99"/>
                  <a:pt x="1077" y="99"/>
                </a:cubicBezTo>
                <a:cubicBezTo>
                  <a:pt x="1077" y="99"/>
                  <a:pt x="1076" y="101"/>
                  <a:pt x="1077" y="102"/>
                </a:cubicBezTo>
                <a:cubicBezTo>
                  <a:pt x="1079" y="103"/>
                  <a:pt x="1082" y="106"/>
                  <a:pt x="1081" y="107"/>
                </a:cubicBezTo>
                <a:cubicBezTo>
                  <a:pt x="1080" y="108"/>
                  <a:pt x="1077" y="107"/>
                  <a:pt x="1077" y="107"/>
                </a:cubicBezTo>
                <a:cubicBezTo>
                  <a:pt x="1077" y="109"/>
                  <a:pt x="1077" y="109"/>
                  <a:pt x="1077" y="109"/>
                </a:cubicBezTo>
                <a:cubicBezTo>
                  <a:pt x="1077" y="109"/>
                  <a:pt x="1074" y="108"/>
                  <a:pt x="1072" y="108"/>
                </a:cubicBezTo>
                <a:cubicBezTo>
                  <a:pt x="1070" y="108"/>
                  <a:pt x="1069" y="106"/>
                  <a:pt x="1069" y="106"/>
                </a:cubicBezTo>
                <a:cubicBezTo>
                  <a:pt x="1060" y="106"/>
                  <a:pt x="1060" y="106"/>
                  <a:pt x="1060" y="106"/>
                </a:cubicBezTo>
                <a:cubicBezTo>
                  <a:pt x="1060" y="106"/>
                  <a:pt x="1055" y="101"/>
                  <a:pt x="1054" y="106"/>
                </a:cubicBezTo>
                <a:cubicBezTo>
                  <a:pt x="1054" y="108"/>
                  <a:pt x="1056" y="109"/>
                  <a:pt x="1058" y="109"/>
                </a:cubicBezTo>
                <a:cubicBezTo>
                  <a:pt x="1059" y="109"/>
                  <a:pt x="1060" y="108"/>
                  <a:pt x="1062" y="109"/>
                </a:cubicBezTo>
                <a:cubicBezTo>
                  <a:pt x="1064" y="110"/>
                  <a:pt x="1066" y="113"/>
                  <a:pt x="1069" y="113"/>
                </a:cubicBezTo>
                <a:cubicBezTo>
                  <a:pt x="1072" y="113"/>
                  <a:pt x="1074" y="112"/>
                  <a:pt x="1074" y="112"/>
                </a:cubicBezTo>
                <a:cubicBezTo>
                  <a:pt x="1077" y="113"/>
                  <a:pt x="1077" y="113"/>
                  <a:pt x="1077" y="113"/>
                </a:cubicBezTo>
                <a:cubicBezTo>
                  <a:pt x="1080" y="112"/>
                  <a:pt x="1080" y="112"/>
                  <a:pt x="1080" y="112"/>
                </a:cubicBezTo>
                <a:cubicBezTo>
                  <a:pt x="1080" y="115"/>
                  <a:pt x="1080" y="115"/>
                  <a:pt x="1080" y="115"/>
                </a:cubicBezTo>
                <a:cubicBezTo>
                  <a:pt x="1080" y="115"/>
                  <a:pt x="1076" y="113"/>
                  <a:pt x="1076" y="115"/>
                </a:cubicBezTo>
                <a:cubicBezTo>
                  <a:pt x="1076" y="116"/>
                  <a:pt x="1078" y="117"/>
                  <a:pt x="1078" y="117"/>
                </a:cubicBezTo>
                <a:cubicBezTo>
                  <a:pt x="1078" y="117"/>
                  <a:pt x="1072" y="117"/>
                  <a:pt x="1072" y="119"/>
                </a:cubicBezTo>
                <a:cubicBezTo>
                  <a:pt x="1073" y="120"/>
                  <a:pt x="1077" y="120"/>
                  <a:pt x="1077" y="120"/>
                </a:cubicBezTo>
                <a:cubicBezTo>
                  <a:pt x="1077" y="120"/>
                  <a:pt x="1076" y="122"/>
                  <a:pt x="1075" y="122"/>
                </a:cubicBezTo>
                <a:cubicBezTo>
                  <a:pt x="1074" y="122"/>
                  <a:pt x="1071" y="120"/>
                  <a:pt x="1070" y="121"/>
                </a:cubicBezTo>
                <a:cubicBezTo>
                  <a:pt x="1069" y="122"/>
                  <a:pt x="1071" y="124"/>
                  <a:pt x="1071" y="124"/>
                </a:cubicBezTo>
                <a:cubicBezTo>
                  <a:pt x="1068" y="124"/>
                  <a:pt x="1068" y="124"/>
                  <a:pt x="1068" y="124"/>
                </a:cubicBezTo>
                <a:cubicBezTo>
                  <a:pt x="1069" y="127"/>
                  <a:pt x="1069" y="127"/>
                  <a:pt x="1069" y="127"/>
                </a:cubicBezTo>
                <a:cubicBezTo>
                  <a:pt x="1069" y="127"/>
                  <a:pt x="1064" y="127"/>
                  <a:pt x="1065" y="129"/>
                </a:cubicBezTo>
                <a:cubicBezTo>
                  <a:pt x="1066" y="131"/>
                  <a:pt x="1070" y="131"/>
                  <a:pt x="1070" y="131"/>
                </a:cubicBezTo>
                <a:cubicBezTo>
                  <a:pt x="1070" y="131"/>
                  <a:pt x="1070" y="134"/>
                  <a:pt x="1069" y="134"/>
                </a:cubicBezTo>
                <a:cubicBezTo>
                  <a:pt x="1067" y="134"/>
                  <a:pt x="1068" y="135"/>
                  <a:pt x="1068" y="135"/>
                </a:cubicBezTo>
                <a:cubicBezTo>
                  <a:pt x="1068" y="135"/>
                  <a:pt x="1068" y="136"/>
                  <a:pt x="1067" y="134"/>
                </a:cubicBezTo>
                <a:cubicBezTo>
                  <a:pt x="1067" y="132"/>
                  <a:pt x="1064" y="131"/>
                  <a:pt x="1064" y="131"/>
                </a:cubicBezTo>
                <a:cubicBezTo>
                  <a:pt x="1064" y="131"/>
                  <a:pt x="1061" y="124"/>
                  <a:pt x="1059" y="125"/>
                </a:cubicBezTo>
                <a:cubicBezTo>
                  <a:pt x="1057" y="125"/>
                  <a:pt x="1051" y="128"/>
                  <a:pt x="1054" y="129"/>
                </a:cubicBezTo>
                <a:cubicBezTo>
                  <a:pt x="1057" y="131"/>
                  <a:pt x="1062" y="131"/>
                  <a:pt x="1062" y="131"/>
                </a:cubicBezTo>
                <a:cubicBezTo>
                  <a:pt x="1062" y="131"/>
                  <a:pt x="1058" y="132"/>
                  <a:pt x="1056" y="132"/>
                </a:cubicBezTo>
                <a:cubicBezTo>
                  <a:pt x="1053" y="132"/>
                  <a:pt x="1050" y="131"/>
                  <a:pt x="1049" y="132"/>
                </a:cubicBezTo>
                <a:cubicBezTo>
                  <a:pt x="1047" y="133"/>
                  <a:pt x="1042" y="134"/>
                  <a:pt x="1044" y="135"/>
                </a:cubicBezTo>
                <a:cubicBezTo>
                  <a:pt x="1045" y="135"/>
                  <a:pt x="1054" y="134"/>
                  <a:pt x="1056" y="134"/>
                </a:cubicBezTo>
                <a:cubicBezTo>
                  <a:pt x="1058" y="134"/>
                  <a:pt x="1063" y="135"/>
                  <a:pt x="1063" y="135"/>
                </a:cubicBezTo>
                <a:cubicBezTo>
                  <a:pt x="1063" y="135"/>
                  <a:pt x="1059" y="135"/>
                  <a:pt x="1058" y="135"/>
                </a:cubicBezTo>
                <a:cubicBezTo>
                  <a:pt x="1056" y="135"/>
                  <a:pt x="1043" y="136"/>
                  <a:pt x="1041" y="137"/>
                </a:cubicBezTo>
                <a:cubicBezTo>
                  <a:pt x="1040" y="138"/>
                  <a:pt x="1040" y="139"/>
                  <a:pt x="1043" y="139"/>
                </a:cubicBezTo>
                <a:cubicBezTo>
                  <a:pt x="1047" y="138"/>
                  <a:pt x="1055" y="138"/>
                  <a:pt x="1055" y="138"/>
                </a:cubicBezTo>
                <a:cubicBezTo>
                  <a:pt x="1055" y="138"/>
                  <a:pt x="1060" y="137"/>
                  <a:pt x="1061" y="138"/>
                </a:cubicBezTo>
                <a:cubicBezTo>
                  <a:pt x="1061" y="139"/>
                  <a:pt x="1051" y="139"/>
                  <a:pt x="1051" y="139"/>
                </a:cubicBezTo>
                <a:cubicBezTo>
                  <a:pt x="1051" y="139"/>
                  <a:pt x="1039" y="139"/>
                  <a:pt x="1040" y="140"/>
                </a:cubicBezTo>
                <a:cubicBezTo>
                  <a:pt x="1040" y="140"/>
                  <a:pt x="1042" y="141"/>
                  <a:pt x="1044" y="141"/>
                </a:cubicBezTo>
                <a:cubicBezTo>
                  <a:pt x="1045" y="141"/>
                  <a:pt x="1048" y="143"/>
                  <a:pt x="1048" y="143"/>
                </a:cubicBezTo>
                <a:cubicBezTo>
                  <a:pt x="1048" y="143"/>
                  <a:pt x="1043" y="142"/>
                  <a:pt x="1042" y="143"/>
                </a:cubicBezTo>
                <a:cubicBezTo>
                  <a:pt x="1041" y="144"/>
                  <a:pt x="1042" y="144"/>
                  <a:pt x="1042" y="144"/>
                </a:cubicBezTo>
                <a:cubicBezTo>
                  <a:pt x="1042" y="144"/>
                  <a:pt x="1036" y="146"/>
                  <a:pt x="1037" y="148"/>
                </a:cubicBezTo>
                <a:cubicBezTo>
                  <a:pt x="1042" y="148"/>
                  <a:pt x="1042" y="148"/>
                  <a:pt x="1042" y="148"/>
                </a:cubicBezTo>
                <a:cubicBezTo>
                  <a:pt x="1037" y="150"/>
                  <a:pt x="1037" y="150"/>
                  <a:pt x="1037" y="150"/>
                </a:cubicBezTo>
                <a:cubicBezTo>
                  <a:pt x="1037" y="150"/>
                  <a:pt x="1037" y="153"/>
                  <a:pt x="1039" y="152"/>
                </a:cubicBezTo>
                <a:cubicBezTo>
                  <a:pt x="1041" y="152"/>
                  <a:pt x="1046" y="152"/>
                  <a:pt x="1046" y="152"/>
                </a:cubicBezTo>
                <a:cubicBezTo>
                  <a:pt x="1046" y="152"/>
                  <a:pt x="1038" y="154"/>
                  <a:pt x="1039" y="156"/>
                </a:cubicBezTo>
                <a:cubicBezTo>
                  <a:pt x="1041" y="157"/>
                  <a:pt x="1045" y="155"/>
                  <a:pt x="1045" y="155"/>
                </a:cubicBezTo>
                <a:cubicBezTo>
                  <a:pt x="1045" y="155"/>
                  <a:pt x="1042" y="158"/>
                  <a:pt x="1041" y="160"/>
                </a:cubicBezTo>
                <a:cubicBezTo>
                  <a:pt x="1041" y="161"/>
                  <a:pt x="1040" y="162"/>
                  <a:pt x="1042" y="162"/>
                </a:cubicBezTo>
                <a:cubicBezTo>
                  <a:pt x="1043" y="162"/>
                  <a:pt x="1045" y="161"/>
                  <a:pt x="1045" y="161"/>
                </a:cubicBezTo>
                <a:cubicBezTo>
                  <a:pt x="1045" y="161"/>
                  <a:pt x="1044" y="164"/>
                  <a:pt x="1043" y="164"/>
                </a:cubicBezTo>
                <a:cubicBezTo>
                  <a:pt x="1041" y="164"/>
                  <a:pt x="1038" y="166"/>
                  <a:pt x="1038" y="168"/>
                </a:cubicBezTo>
                <a:cubicBezTo>
                  <a:pt x="1039" y="170"/>
                  <a:pt x="1043" y="166"/>
                  <a:pt x="1043" y="166"/>
                </a:cubicBezTo>
                <a:cubicBezTo>
                  <a:pt x="1043" y="166"/>
                  <a:pt x="1046" y="162"/>
                  <a:pt x="1047" y="163"/>
                </a:cubicBezTo>
                <a:cubicBezTo>
                  <a:pt x="1048" y="164"/>
                  <a:pt x="1053" y="162"/>
                  <a:pt x="1053" y="162"/>
                </a:cubicBezTo>
                <a:cubicBezTo>
                  <a:pt x="1053" y="164"/>
                  <a:pt x="1053" y="164"/>
                  <a:pt x="1053" y="164"/>
                </a:cubicBezTo>
                <a:cubicBezTo>
                  <a:pt x="1055" y="162"/>
                  <a:pt x="1055" y="162"/>
                  <a:pt x="1055" y="162"/>
                </a:cubicBezTo>
                <a:cubicBezTo>
                  <a:pt x="1053" y="166"/>
                  <a:pt x="1053" y="166"/>
                  <a:pt x="1053" y="166"/>
                </a:cubicBezTo>
                <a:cubicBezTo>
                  <a:pt x="1057" y="166"/>
                  <a:pt x="1057" y="166"/>
                  <a:pt x="1057" y="166"/>
                </a:cubicBezTo>
                <a:cubicBezTo>
                  <a:pt x="1057" y="166"/>
                  <a:pt x="1051" y="166"/>
                  <a:pt x="1050" y="167"/>
                </a:cubicBezTo>
                <a:cubicBezTo>
                  <a:pt x="1050" y="168"/>
                  <a:pt x="1052" y="168"/>
                  <a:pt x="1052" y="168"/>
                </a:cubicBezTo>
                <a:cubicBezTo>
                  <a:pt x="1052" y="168"/>
                  <a:pt x="1047" y="169"/>
                  <a:pt x="1046" y="170"/>
                </a:cubicBezTo>
                <a:cubicBezTo>
                  <a:pt x="1045" y="170"/>
                  <a:pt x="1046" y="171"/>
                  <a:pt x="1046" y="171"/>
                </a:cubicBezTo>
                <a:cubicBezTo>
                  <a:pt x="1046" y="171"/>
                  <a:pt x="1041" y="172"/>
                  <a:pt x="1041" y="173"/>
                </a:cubicBezTo>
                <a:cubicBezTo>
                  <a:pt x="1040" y="174"/>
                  <a:pt x="1046" y="174"/>
                  <a:pt x="1046" y="174"/>
                </a:cubicBezTo>
                <a:cubicBezTo>
                  <a:pt x="1046" y="174"/>
                  <a:pt x="1041" y="174"/>
                  <a:pt x="1041" y="175"/>
                </a:cubicBezTo>
                <a:cubicBezTo>
                  <a:pt x="1041" y="176"/>
                  <a:pt x="1045" y="177"/>
                  <a:pt x="1045" y="177"/>
                </a:cubicBezTo>
                <a:cubicBezTo>
                  <a:pt x="1045" y="177"/>
                  <a:pt x="1042" y="177"/>
                  <a:pt x="1042" y="178"/>
                </a:cubicBezTo>
                <a:cubicBezTo>
                  <a:pt x="1041" y="180"/>
                  <a:pt x="1047" y="179"/>
                  <a:pt x="1047" y="179"/>
                </a:cubicBezTo>
                <a:cubicBezTo>
                  <a:pt x="1044" y="182"/>
                  <a:pt x="1044" y="182"/>
                  <a:pt x="1044" y="182"/>
                </a:cubicBezTo>
                <a:cubicBezTo>
                  <a:pt x="1048" y="181"/>
                  <a:pt x="1048" y="181"/>
                  <a:pt x="1048" y="181"/>
                </a:cubicBezTo>
                <a:cubicBezTo>
                  <a:pt x="1048" y="181"/>
                  <a:pt x="1044" y="184"/>
                  <a:pt x="1044" y="187"/>
                </a:cubicBezTo>
                <a:cubicBezTo>
                  <a:pt x="1045" y="189"/>
                  <a:pt x="1050" y="188"/>
                  <a:pt x="1050" y="188"/>
                </a:cubicBezTo>
                <a:cubicBezTo>
                  <a:pt x="1047" y="192"/>
                  <a:pt x="1047" y="192"/>
                  <a:pt x="1047" y="192"/>
                </a:cubicBezTo>
                <a:cubicBezTo>
                  <a:pt x="1052" y="190"/>
                  <a:pt x="1052" y="190"/>
                  <a:pt x="1052" y="190"/>
                </a:cubicBezTo>
                <a:cubicBezTo>
                  <a:pt x="1052" y="190"/>
                  <a:pt x="1049" y="193"/>
                  <a:pt x="1049" y="194"/>
                </a:cubicBezTo>
                <a:cubicBezTo>
                  <a:pt x="1050" y="195"/>
                  <a:pt x="1054" y="195"/>
                  <a:pt x="1054" y="195"/>
                </a:cubicBezTo>
                <a:cubicBezTo>
                  <a:pt x="1054" y="195"/>
                  <a:pt x="1052" y="196"/>
                  <a:pt x="1052" y="197"/>
                </a:cubicBezTo>
                <a:cubicBezTo>
                  <a:pt x="1053" y="198"/>
                  <a:pt x="1055" y="197"/>
                  <a:pt x="1055" y="197"/>
                </a:cubicBezTo>
                <a:cubicBezTo>
                  <a:pt x="1055" y="197"/>
                  <a:pt x="1052" y="200"/>
                  <a:pt x="1053" y="201"/>
                </a:cubicBezTo>
                <a:cubicBezTo>
                  <a:pt x="1053" y="202"/>
                  <a:pt x="1057" y="201"/>
                  <a:pt x="1057" y="201"/>
                </a:cubicBezTo>
                <a:cubicBezTo>
                  <a:pt x="1056" y="203"/>
                  <a:pt x="1056" y="203"/>
                  <a:pt x="1056" y="203"/>
                </a:cubicBezTo>
                <a:cubicBezTo>
                  <a:pt x="1062" y="202"/>
                  <a:pt x="1062" y="202"/>
                  <a:pt x="1062" y="202"/>
                </a:cubicBezTo>
                <a:cubicBezTo>
                  <a:pt x="1062" y="202"/>
                  <a:pt x="1063" y="204"/>
                  <a:pt x="1065" y="203"/>
                </a:cubicBezTo>
                <a:cubicBezTo>
                  <a:pt x="1067" y="201"/>
                  <a:pt x="1072" y="198"/>
                  <a:pt x="1073" y="198"/>
                </a:cubicBezTo>
                <a:cubicBezTo>
                  <a:pt x="1074" y="199"/>
                  <a:pt x="1071" y="201"/>
                  <a:pt x="1071" y="201"/>
                </a:cubicBezTo>
                <a:cubicBezTo>
                  <a:pt x="1075" y="201"/>
                  <a:pt x="1075" y="201"/>
                  <a:pt x="1075" y="201"/>
                </a:cubicBezTo>
                <a:cubicBezTo>
                  <a:pt x="1077" y="200"/>
                  <a:pt x="1077" y="200"/>
                  <a:pt x="1077" y="200"/>
                </a:cubicBezTo>
                <a:cubicBezTo>
                  <a:pt x="1077" y="200"/>
                  <a:pt x="1073" y="203"/>
                  <a:pt x="1072" y="204"/>
                </a:cubicBezTo>
                <a:cubicBezTo>
                  <a:pt x="1071" y="205"/>
                  <a:pt x="1070" y="206"/>
                  <a:pt x="1072" y="206"/>
                </a:cubicBezTo>
                <a:cubicBezTo>
                  <a:pt x="1073" y="206"/>
                  <a:pt x="1079" y="205"/>
                  <a:pt x="1079" y="205"/>
                </a:cubicBezTo>
                <a:cubicBezTo>
                  <a:pt x="1079" y="205"/>
                  <a:pt x="1073" y="208"/>
                  <a:pt x="1075" y="209"/>
                </a:cubicBezTo>
                <a:cubicBezTo>
                  <a:pt x="1076" y="211"/>
                  <a:pt x="1080" y="209"/>
                  <a:pt x="1080" y="209"/>
                </a:cubicBezTo>
                <a:cubicBezTo>
                  <a:pt x="1080" y="209"/>
                  <a:pt x="1082" y="213"/>
                  <a:pt x="1085" y="212"/>
                </a:cubicBezTo>
                <a:cubicBezTo>
                  <a:pt x="1087" y="210"/>
                  <a:pt x="1089" y="209"/>
                  <a:pt x="1089" y="209"/>
                </a:cubicBezTo>
                <a:cubicBezTo>
                  <a:pt x="1089" y="209"/>
                  <a:pt x="1088" y="208"/>
                  <a:pt x="1087" y="207"/>
                </a:cubicBezTo>
                <a:cubicBezTo>
                  <a:pt x="1086" y="206"/>
                  <a:pt x="1090" y="207"/>
                  <a:pt x="1091" y="206"/>
                </a:cubicBezTo>
                <a:cubicBezTo>
                  <a:pt x="1092" y="205"/>
                  <a:pt x="1091" y="202"/>
                  <a:pt x="1091" y="202"/>
                </a:cubicBezTo>
                <a:cubicBezTo>
                  <a:pt x="1091" y="202"/>
                  <a:pt x="1096" y="204"/>
                  <a:pt x="1096" y="202"/>
                </a:cubicBezTo>
                <a:cubicBezTo>
                  <a:pt x="1096" y="200"/>
                  <a:pt x="1095" y="198"/>
                  <a:pt x="1095" y="198"/>
                </a:cubicBezTo>
                <a:cubicBezTo>
                  <a:pt x="1095" y="198"/>
                  <a:pt x="1096" y="200"/>
                  <a:pt x="1097" y="201"/>
                </a:cubicBezTo>
                <a:cubicBezTo>
                  <a:pt x="1098" y="201"/>
                  <a:pt x="1099" y="199"/>
                  <a:pt x="1099" y="198"/>
                </a:cubicBezTo>
                <a:cubicBezTo>
                  <a:pt x="1098" y="196"/>
                  <a:pt x="1096" y="195"/>
                  <a:pt x="1096" y="195"/>
                </a:cubicBezTo>
                <a:cubicBezTo>
                  <a:pt x="1096" y="195"/>
                  <a:pt x="1101" y="196"/>
                  <a:pt x="1101" y="195"/>
                </a:cubicBezTo>
                <a:cubicBezTo>
                  <a:pt x="1101" y="194"/>
                  <a:pt x="1100" y="193"/>
                  <a:pt x="1100" y="193"/>
                </a:cubicBezTo>
                <a:cubicBezTo>
                  <a:pt x="1104" y="193"/>
                  <a:pt x="1104" y="193"/>
                  <a:pt x="1104" y="193"/>
                </a:cubicBezTo>
                <a:cubicBezTo>
                  <a:pt x="1102" y="190"/>
                  <a:pt x="1102" y="190"/>
                  <a:pt x="1102" y="190"/>
                </a:cubicBezTo>
                <a:cubicBezTo>
                  <a:pt x="1104" y="189"/>
                  <a:pt x="1104" y="189"/>
                  <a:pt x="1104" y="189"/>
                </a:cubicBezTo>
                <a:cubicBezTo>
                  <a:pt x="1104" y="189"/>
                  <a:pt x="1102" y="187"/>
                  <a:pt x="1101" y="187"/>
                </a:cubicBezTo>
                <a:cubicBezTo>
                  <a:pt x="1100" y="187"/>
                  <a:pt x="1103" y="186"/>
                  <a:pt x="1103" y="186"/>
                </a:cubicBezTo>
                <a:cubicBezTo>
                  <a:pt x="1100" y="183"/>
                  <a:pt x="1100" y="183"/>
                  <a:pt x="1100" y="183"/>
                </a:cubicBezTo>
                <a:cubicBezTo>
                  <a:pt x="1100" y="183"/>
                  <a:pt x="1103" y="185"/>
                  <a:pt x="1104" y="185"/>
                </a:cubicBezTo>
                <a:cubicBezTo>
                  <a:pt x="1105" y="184"/>
                  <a:pt x="1107" y="183"/>
                  <a:pt x="1107" y="183"/>
                </a:cubicBezTo>
                <a:cubicBezTo>
                  <a:pt x="1107" y="183"/>
                  <a:pt x="1110" y="183"/>
                  <a:pt x="1111" y="183"/>
                </a:cubicBezTo>
                <a:cubicBezTo>
                  <a:pt x="1111" y="182"/>
                  <a:pt x="1110" y="180"/>
                  <a:pt x="1110" y="180"/>
                </a:cubicBezTo>
                <a:cubicBezTo>
                  <a:pt x="1113" y="180"/>
                  <a:pt x="1113" y="180"/>
                  <a:pt x="1113" y="180"/>
                </a:cubicBezTo>
                <a:cubicBezTo>
                  <a:pt x="1114" y="176"/>
                  <a:pt x="1114" y="176"/>
                  <a:pt x="1114" y="176"/>
                </a:cubicBezTo>
                <a:cubicBezTo>
                  <a:pt x="1114" y="176"/>
                  <a:pt x="1118" y="178"/>
                  <a:pt x="1119" y="176"/>
                </a:cubicBezTo>
                <a:cubicBezTo>
                  <a:pt x="1120" y="175"/>
                  <a:pt x="1119" y="174"/>
                  <a:pt x="1119" y="174"/>
                </a:cubicBezTo>
                <a:cubicBezTo>
                  <a:pt x="1119" y="174"/>
                  <a:pt x="1121" y="176"/>
                  <a:pt x="1122" y="176"/>
                </a:cubicBezTo>
                <a:cubicBezTo>
                  <a:pt x="1123" y="176"/>
                  <a:pt x="1124" y="174"/>
                  <a:pt x="1124" y="173"/>
                </a:cubicBezTo>
                <a:cubicBezTo>
                  <a:pt x="1125" y="172"/>
                  <a:pt x="1124" y="170"/>
                  <a:pt x="1124" y="170"/>
                </a:cubicBezTo>
                <a:cubicBezTo>
                  <a:pt x="1119" y="169"/>
                  <a:pt x="1119" y="169"/>
                  <a:pt x="1119" y="169"/>
                </a:cubicBezTo>
                <a:cubicBezTo>
                  <a:pt x="1123" y="168"/>
                  <a:pt x="1123" y="168"/>
                  <a:pt x="1123" y="168"/>
                </a:cubicBezTo>
                <a:cubicBezTo>
                  <a:pt x="1127" y="166"/>
                  <a:pt x="1127" y="166"/>
                  <a:pt x="1127" y="166"/>
                </a:cubicBezTo>
                <a:cubicBezTo>
                  <a:pt x="1127" y="163"/>
                  <a:pt x="1127" y="163"/>
                  <a:pt x="1127" y="163"/>
                </a:cubicBezTo>
                <a:cubicBezTo>
                  <a:pt x="1124" y="163"/>
                  <a:pt x="1124" y="163"/>
                  <a:pt x="1124" y="163"/>
                </a:cubicBezTo>
                <a:cubicBezTo>
                  <a:pt x="1125" y="160"/>
                  <a:pt x="1125" y="160"/>
                  <a:pt x="1125" y="160"/>
                </a:cubicBezTo>
                <a:cubicBezTo>
                  <a:pt x="1130" y="160"/>
                  <a:pt x="1130" y="160"/>
                  <a:pt x="1130" y="160"/>
                </a:cubicBezTo>
                <a:cubicBezTo>
                  <a:pt x="1130" y="160"/>
                  <a:pt x="1133" y="161"/>
                  <a:pt x="1134" y="160"/>
                </a:cubicBezTo>
                <a:cubicBezTo>
                  <a:pt x="1136" y="158"/>
                  <a:pt x="1135" y="156"/>
                  <a:pt x="1135" y="156"/>
                </a:cubicBezTo>
                <a:cubicBezTo>
                  <a:pt x="1139" y="155"/>
                  <a:pt x="1139" y="155"/>
                  <a:pt x="1139" y="155"/>
                </a:cubicBezTo>
                <a:cubicBezTo>
                  <a:pt x="1139" y="155"/>
                  <a:pt x="1146" y="156"/>
                  <a:pt x="1147" y="155"/>
                </a:cubicBezTo>
                <a:cubicBezTo>
                  <a:pt x="1149" y="153"/>
                  <a:pt x="1150" y="152"/>
                  <a:pt x="1150" y="152"/>
                </a:cubicBezTo>
                <a:cubicBezTo>
                  <a:pt x="1152" y="151"/>
                  <a:pt x="1152" y="151"/>
                  <a:pt x="1152" y="151"/>
                </a:cubicBezTo>
                <a:cubicBezTo>
                  <a:pt x="1152" y="151"/>
                  <a:pt x="1152" y="149"/>
                  <a:pt x="1154" y="148"/>
                </a:cubicBezTo>
                <a:cubicBezTo>
                  <a:pt x="1157" y="148"/>
                  <a:pt x="1150" y="155"/>
                  <a:pt x="1152" y="155"/>
                </a:cubicBezTo>
                <a:cubicBezTo>
                  <a:pt x="1153" y="155"/>
                  <a:pt x="1155" y="154"/>
                  <a:pt x="1155" y="154"/>
                </a:cubicBezTo>
                <a:cubicBezTo>
                  <a:pt x="1156" y="152"/>
                  <a:pt x="1156" y="152"/>
                  <a:pt x="1156" y="152"/>
                </a:cubicBezTo>
                <a:cubicBezTo>
                  <a:pt x="1158" y="152"/>
                  <a:pt x="1158" y="152"/>
                  <a:pt x="1158" y="152"/>
                </a:cubicBezTo>
                <a:cubicBezTo>
                  <a:pt x="1159" y="150"/>
                  <a:pt x="1159" y="150"/>
                  <a:pt x="1159" y="150"/>
                </a:cubicBezTo>
                <a:cubicBezTo>
                  <a:pt x="1159" y="150"/>
                  <a:pt x="1163" y="153"/>
                  <a:pt x="1166" y="152"/>
                </a:cubicBezTo>
                <a:cubicBezTo>
                  <a:pt x="1168" y="150"/>
                  <a:pt x="1172" y="147"/>
                  <a:pt x="1172" y="147"/>
                </a:cubicBezTo>
                <a:cubicBezTo>
                  <a:pt x="1172" y="147"/>
                  <a:pt x="1175" y="148"/>
                  <a:pt x="1181" y="146"/>
                </a:cubicBezTo>
                <a:cubicBezTo>
                  <a:pt x="1186" y="144"/>
                  <a:pt x="1186" y="140"/>
                  <a:pt x="1189" y="138"/>
                </a:cubicBezTo>
                <a:cubicBezTo>
                  <a:pt x="1193" y="135"/>
                  <a:pt x="1202" y="133"/>
                  <a:pt x="1202" y="133"/>
                </a:cubicBezTo>
                <a:cubicBezTo>
                  <a:pt x="1202" y="133"/>
                  <a:pt x="1203" y="131"/>
                  <a:pt x="1202" y="130"/>
                </a:cubicBezTo>
                <a:cubicBezTo>
                  <a:pt x="1202" y="128"/>
                  <a:pt x="1201" y="126"/>
                  <a:pt x="1202" y="125"/>
                </a:cubicBezTo>
                <a:cubicBezTo>
                  <a:pt x="1204" y="125"/>
                  <a:pt x="1206" y="131"/>
                  <a:pt x="1208" y="131"/>
                </a:cubicBezTo>
                <a:cubicBezTo>
                  <a:pt x="1208" y="131"/>
                  <a:pt x="1217" y="131"/>
                  <a:pt x="1219" y="130"/>
                </a:cubicBezTo>
                <a:cubicBezTo>
                  <a:pt x="1222" y="130"/>
                  <a:pt x="1226" y="128"/>
                  <a:pt x="1231" y="127"/>
                </a:cubicBezTo>
                <a:cubicBezTo>
                  <a:pt x="1236" y="126"/>
                  <a:pt x="1244" y="126"/>
                  <a:pt x="1245" y="125"/>
                </a:cubicBezTo>
                <a:cubicBezTo>
                  <a:pt x="1247" y="125"/>
                  <a:pt x="1248" y="123"/>
                  <a:pt x="1248" y="123"/>
                </a:cubicBezTo>
                <a:close/>
                <a:moveTo>
                  <a:pt x="724" y="122"/>
                </a:moveTo>
                <a:cubicBezTo>
                  <a:pt x="728" y="123"/>
                  <a:pt x="730" y="124"/>
                  <a:pt x="733" y="126"/>
                </a:cubicBezTo>
                <a:cubicBezTo>
                  <a:pt x="736" y="128"/>
                  <a:pt x="748" y="126"/>
                  <a:pt x="748" y="126"/>
                </a:cubicBezTo>
                <a:cubicBezTo>
                  <a:pt x="745" y="116"/>
                  <a:pt x="745" y="116"/>
                  <a:pt x="745" y="116"/>
                </a:cubicBezTo>
                <a:cubicBezTo>
                  <a:pt x="731" y="113"/>
                  <a:pt x="731" y="113"/>
                  <a:pt x="731" y="113"/>
                </a:cubicBezTo>
                <a:cubicBezTo>
                  <a:pt x="726" y="119"/>
                  <a:pt x="726" y="119"/>
                  <a:pt x="726" y="119"/>
                </a:cubicBezTo>
                <a:cubicBezTo>
                  <a:pt x="722" y="119"/>
                  <a:pt x="722" y="119"/>
                  <a:pt x="722" y="119"/>
                </a:cubicBezTo>
                <a:cubicBezTo>
                  <a:pt x="722" y="119"/>
                  <a:pt x="720" y="122"/>
                  <a:pt x="724" y="122"/>
                </a:cubicBezTo>
                <a:close/>
                <a:moveTo>
                  <a:pt x="1054" y="119"/>
                </a:moveTo>
                <a:cubicBezTo>
                  <a:pt x="1056" y="119"/>
                  <a:pt x="1056" y="119"/>
                  <a:pt x="1056" y="119"/>
                </a:cubicBezTo>
                <a:cubicBezTo>
                  <a:pt x="1056" y="119"/>
                  <a:pt x="1059" y="118"/>
                  <a:pt x="1061" y="118"/>
                </a:cubicBezTo>
                <a:cubicBezTo>
                  <a:pt x="1062" y="118"/>
                  <a:pt x="1065" y="116"/>
                  <a:pt x="1064" y="114"/>
                </a:cubicBezTo>
                <a:cubicBezTo>
                  <a:pt x="1064" y="113"/>
                  <a:pt x="1059" y="112"/>
                  <a:pt x="1059" y="112"/>
                </a:cubicBezTo>
                <a:cubicBezTo>
                  <a:pt x="1059" y="112"/>
                  <a:pt x="1057" y="110"/>
                  <a:pt x="1055" y="110"/>
                </a:cubicBezTo>
                <a:cubicBezTo>
                  <a:pt x="1053" y="110"/>
                  <a:pt x="1052" y="111"/>
                  <a:pt x="1049" y="110"/>
                </a:cubicBezTo>
                <a:cubicBezTo>
                  <a:pt x="1048" y="113"/>
                  <a:pt x="1048" y="113"/>
                  <a:pt x="1048" y="113"/>
                </a:cubicBezTo>
                <a:cubicBezTo>
                  <a:pt x="1048" y="113"/>
                  <a:pt x="1046" y="114"/>
                  <a:pt x="1046" y="116"/>
                </a:cubicBezTo>
                <a:cubicBezTo>
                  <a:pt x="1046" y="117"/>
                  <a:pt x="1049" y="118"/>
                  <a:pt x="1049" y="118"/>
                </a:cubicBezTo>
                <a:cubicBezTo>
                  <a:pt x="1048" y="120"/>
                  <a:pt x="1048" y="120"/>
                  <a:pt x="1048" y="120"/>
                </a:cubicBezTo>
                <a:cubicBezTo>
                  <a:pt x="1054" y="119"/>
                  <a:pt x="1054" y="119"/>
                  <a:pt x="1054" y="119"/>
                </a:cubicBezTo>
                <a:cubicBezTo>
                  <a:pt x="1054" y="119"/>
                  <a:pt x="1054" y="119"/>
                  <a:pt x="1054" y="119"/>
                </a:cubicBezTo>
                <a:close/>
                <a:moveTo>
                  <a:pt x="802" y="151"/>
                </a:moveTo>
                <a:cubicBezTo>
                  <a:pt x="799" y="152"/>
                  <a:pt x="797" y="155"/>
                  <a:pt x="801" y="155"/>
                </a:cubicBezTo>
                <a:cubicBezTo>
                  <a:pt x="803" y="155"/>
                  <a:pt x="804" y="151"/>
                  <a:pt x="802" y="151"/>
                </a:cubicBezTo>
                <a:close/>
                <a:moveTo>
                  <a:pt x="335" y="230"/>
                </a:moveTo>
                <a:cubicBezTo>
                  <a:pt x="335" y="230"/>
                  <a:pt x="330" y="231"/>
                  <a:pt x="330" y="233"/>
                </a:cubicBezTo>
                <a:cubicBezTo>
                  <a:pt x="330" y="234"/>
                  <a:pt x="332" y="236"/>
                  <a:pt x="332" y="236"/>
                </a:cubicBezTo>
                <a:cubicBezTo>
                  <a:pt x="334" y="237"/>
                  <a:pt x="338" y="235"/>
                  <a:pt x="338" y="233"/>
                </a:cubicBezTo>
                <a:cubicBezTo>
                  <a:pt x="338" y="231"/>
                  <a:pt x="335" y="230"/>
                  <a:pt x="335" y="230"/>
                </a:cubicBezTo>
                <a:close/>
                <a:moveTo>
                  <a:pt x="329" y="307"/>
                </a:moveTo>
                <a:cubicBezTo>
                  <a:pt x="327" y="306"/>
                  <a:pt x="322" y="309"/>
                  <a:pt x="323" y="311"/>
                </a:cubicBezTo>
                <a:cubicBezTo>
                  <a:pt x="324" y="312"/>
                  <a:pt x="326" y="312"/>
                  <a:pt x="326" y="312"/>
                </a:cubicBezTo>
                <a:cubicBezTo>
                  <a:pt x="328" y="311"/>
                  <a:pt x="328" y="311"/>
                  <a:pt x="328" y="311"/>
                </a:cubicBezTo>
                <a:cubicBezTo>
                  <a:pt x="330" y="312"/>
                  <a:pt x="330" y="312"/>
                  <a:pt x="330" y="312"/>
                </a:cubicBezTo>
                <a:cubicBezTo>
                  <a:pt x="328" y="313"/>
                  <a:pt x="328" y="313"/>
                  <a:pt x="328" y="313"/>
                </a:cubicBezTo>
                <a:cubicBezTo>
                  <a:pt x="328" y="313"/>
                  <a:pt x="322" y="314"/>
                  <a:pt x="324" y="316"/>
                </a:cubicBezTo>
                <a:cubicBezTo>
                  <a:pt x="326" y="318"/>
                  <a:pt x="329" y="316"/>
                  <a:pt x="329" y="316"/>
                </a:cubicBezTo>
                <a:cubicBezTo>
                  <a:pt x="328" y="319"/>
                  <a:pt x="328" y="319"/>
                  <a:pt x="328" y="319"/>
                </a:cubicBezTo>
                <a:cubicBezTo>
                  <a:pt x="331" y="319"/>
                  <a:pt x="331" y="319"/>
                  <a:pt x="331" y="319"/>
                </a:cubicBezTo>
                <a:cubicBezTo>
                  <a:pt x="328" y="321"/>
                  <a:pt x="328" y="321"/>
                  <a:pt x="328" y="321"/>
                </a:cubicBezTo>
                <a:cubicBezTo>
                  <a:pt x="333" y="321"/>
                  <a:pt x="333" y="321"/>
                  <a:pt x="333" y="321"/>
                </a:cubicBezTo>
                <a:cubicBezTo>
                  <a:pt x="333" y="321"/>
                  <a:pt x="328" y="323"/>
                  <a:pt x="329" y="324"/>
                </a:cubicBezTo>
                <a:cubicBezTo>
                  <a:pt x="330" y="325"/>
                  <a:pt x="333" y="321"/>
                  <a:pt x="334" y="323"/>
                </a:cubicBezTo>
                <a:cubicBezTo>
                  <a:pt x="335" y="325"/>
                  <a:pt x="331" y="326"/>
                  <a:pt x="332" y="328"/>
                </a:cubicBezTo>
                <a:cubicBezTo>
                  <a:pt x="333" y="329"/>
                  <a:pt x="339" y="328"/>
                  <a:pt x="339" y="328"/>
                </a:cubicBezTo>
                <a:cubicBezTo>
                  <a:pt x="341" y="327"/>
                  <a:pt x="341" y="327"/>
                  <a:pt x="341" y="327"/>
                </a:cubicBezTo>
                <a:cubicBezTo>
                  <a:pt x="339" y="329"/>
                  <a:pt x="339" y="329"/>
                  <a:pt x="339" y="329"/>
                </a:cubicBezTo>
                <a:cubicBezTo>
                  <a:pt x="339" y="329"/>
                  <a:pt x="334" y="329"/>
                  <a:pt x="336" y="331"/>
                </a:cubicBezTo>
                <a:cubicBezTo>
                  <a:pt x="338" y="333"/>
                  <a:pt x="340" y="333"/>
                  <a:pt x="340" y="333"/>
                </a:cubicBezTo>
                <a:cubicBezTo>
                  <a:pt x="340" y="333"/>
                  <a:pt x="345" y="337"/>
                  <a:pt x="348" y="335"/>
                </a:cubicBezTo>
                <a:cubicBezTo>
                  <a:pt x="350" y="333"/>
                  <a:pt x="352" y="331"/>
                  <a:pt x="350" y="329"/>
                </a:cubicBezTo>
                <a:cubicBezTo>
                  <a:pt x="348" y="326"/>
                  <a:pt x="345" y="324"/>
                  <a:pt x="345" y="324"/>
                </a:cubicBezTo>
                <a:cubicBezTo>
                  <a:pt x="345" y="324"/>
                  <a:pt x="344" y="321"/>
                  <a:pt x="344" y="320"/>
                </a:cubicBezTo>
                <a:cubicBezTo>
                  <a:pt x="345" y="318"/>
                  <a:pt x="346" y="316"/>
                  <a:pt x="344" y="314"/>
                </a:cubicBezTo>
                <a:cubicBezTo>
                  <a:pt x="344" y="314"/>
                  <a:pt x="339" y="313"/>
                  <a:pt x="337" y="312"/>
                </a:cubicBezTo>
                <a:cubicBezTo>
                  <a:pt x="335" y="312"/>
                  <a:pt x="332" y="307"/>
                  <a:pt x="329" y="307"/>
                </a:cubicBezTo>
                <a:close/>
                <a:moveTo>
                  <a:pt x="343" y="308"/>
                </a:moveTo>
                <a:cubicBezTo>
                  <a:pt x="341" y="307"/>
                  <a:pt x="341" y="311"/>
                  <a:pt x="341" y="311"/>
                </a:cubicBezTo>
                <a:cubicBezTo>
                  <a:pt x="342" y="311"/>
                  <a:pt x="345" y="309"/>
                  <a:pt x="343" y="308"/>
                </a:cubicBezTo>
                <a:close/>
                <a:moveTo>
                  <a:pt x="340" y="290"/>
                </a:moveTo>
                <a:cubicBezTo>
                  <a:pt x="340" y="286"/>
                  <a:pt x="340" y="286"/>
                  <a:pt x="340" y="286"/>
                </a:cubicBezTo>
                <a:cubicBezTo>
                  <a:pt x="340" y="286"/>
                  <a:pt x="333" y="285"/>
                  <a:pt x="333" y="287"/>
                </a:cubicBezTo>
                <a:cubicBezTo>
                  <a:pt x="333" y="289"/>
                  <a:pt x="336" y="289"/>
                  <a:pt x="336" y="289"/>
                </a:cubicBezTo>
                <a:cubicBezTo>
                  <a:pt x="336" y="292"/>
                  <a:pt x="336" y="292"/>
                  <a:pt x="336" y="292"/>
                </a:cubicBezTo>
                <a:cubicBezTo>
                  <a:pt x="340" y="290"/>
                  <a:pt x="340" y="290"/>
                  <a:pt x="340" y="290"/>
                </a:cubicBezTo>
                <a:cubicBezTo>
                  <a:pt x="340" y="290"/>
                  <a:pt x="340" y="290"/>
                  <a:pt x="340" y="290"/>
                </a:cubicBezTo>
                <a:close/>
                <a:moveTo>
                  <a:pt x="331" y="280"/>
                </a:moveTo>
                <a:cubicBezTo>
                  <a:pt x="331" y="283"/>
                  <a:pt x="334" y="284"/>
                  <a:pt x="334" y="284"/>
                </a:cubicBezTo>
                <a:cubicBezTo>
                  <a:pt x="335" y="280"/>
                  <a:pt x="335" y="280"/>
                  <a:pt x="335" y="280"/>
                </a:cubicBezTo>
                <a:cubicBezTo>
                  <a:pt x="335" y="280"/>
                  <a:pt x="331" y="276"/>
                  <a:pt x="331" y="280"/>
                </a:cubicBezTo>
                <a:close/>
                <a:moveTo>
                  <a:pt x="329" y="256"/>
                </a:moveTo>
                <a:cubicBezTo>
                  <a:pt x="328" y="257"/>
                  <a:pt x="327" y="259"/>
                  <a:pt x="328" y="261"/>
                </a:cubicBezTo>
                <a:cubicBezTo>
                  <a:pt x="329" y="263"/>
                  <a:pt x="329" y="266"/>
                  <a:pt x="329" y="266"/>
                </a:cubicBezTo>
                <a:cubicBezTo>
                  <a:pt x="329" y="266"/>
                  <a:pt x="332" y="265"/>
                  <a:pt x="333" y="263"/>
                </a:cubicBezTo>
                <a:cubicBezTo>
                  <a:pt x="335" y="261"/>
                  <a:pt x="333" y="258"/>
                  <a:pt x="333" y="258"/>
                </a:cubicBezTo>
                <a:cubicBezTo>
                  <a:pt x="333" y="258"/>
                  <a:pt x="335" y="258"/>
                  <a:pt x="337" y="256"/>
                </a:cubicBezTo>
                <a:cubicBezTo>
                  <a:pt x="339" y="254"/>
                  <a:pt x="333" y="250"/>
                  <a:pt x="333" y="250"/>
                </a:cubicBezTo>
                <a:cubicBezTo>
                  <a:pt x="331" y="252"/>
                  <a:pt x="331" y="252"/>
                  <a:pt x="331" y="252"/>
                </a:cubicBezTo>
                <a:cubicBezTo>
                  <a:pt x="331" y="252"/>
                  <a:pt x="332" y="253"/>
                  <a:pt x="333" y="254"/>
                </a:cubicBezTo>
                <a:cubicBezTo>
                  <a:pt x="334" y="254"/>
                  <a:pt x="330" y="256"/>
                  <a:pt x="329" y="256"/>
                </a:cubicBezTo>
                <a:close/>
                <a:moveTo>
                  <a:pt x="342" y="230"/>
                </a:moveTo>
                <a:cubicBezTo>
                  <a:pt x="341" y="232"/>
                  <a:pt x="338" y="235"/>
                  <a:pt x="338" y="235"/>
                </a:cubicBezTo>
                <a:cubicBezTo>
                  <a:pt x="335" y="240"/>
                  <a:pt x="335" y="240"/>
                  <a:pt x="335" y="240"/>
                </a:cubicBezTo>
                <a:cubicBezTo>
                  <a:pt x="335" y="240"/>
                  <a:pt x="340" y="239"/>
                  <a:pt x="342" y="238"/>
                </a:cubicBezTo>
                <a:cubicBezTo>
                  <a:pt x="344" y="236"/>
                  <a:pt x="343" y="234"/>
                  <a:pt x="343" y="234"/>
                </a:cubicBezTo>
                <a:cubicBezTo>
                  <a:pt x="345" y="232"/>
                  <a:pt x="345" y="232"/>
                  <a:pt x="345" y="232"/>
                </a:cubicBezTo>
                <a:cubicBezTo>
                  <a:pt x="345" y="232"/>
                  <a:pt x="344" y="229"/>
                  <a:pt x="342" y="230"/>
                </a:cubicBezTo>
                <a:close/>
                <a:moveTo>
                  <a:pt x="338" y="278"/>
                </a:moveTo>
                <a:cubicBezTo>
                  <a:pt x="336" y="281"/>
                  <a:pt x="336" y="281"/>
                  <a:pt x="336" y="281"/>
                </a:cubicBezTo>
                <a:cubicBezTo>
                  <a:pt x="337" y="284"/>
                  <a:pt x="337" y="284"/>
                  <a:pt x="337" y="284"/>
                </a:cubicBezTo>
                <a:cubicBezTo>
                  <a:pt x="340" y="282"/>
                  <a:pt x="340" y="282"/>
                  <a:pt x="340" y="282"/>
                </a:cubicBezTo>
                <a:cubicBezTo>
                  <a:pt x="338" y="278"/>
                  <a:pt x="338" y="278"/>
                  <a:pt x="338" y="278"/>
                </a:cubicBezTo>
                <a:cubicBezTo>
                  <a:pt x="338" y="278"/>
                  <a:pt x="338" y="278"/>
                  <a:pt x="338" y="278"/>
                </a:cubicBezTo>
                <a:close/>
                <a:moveTo>
                  <a:pt x="896" y="206"/>
                </a:moveTo>
                <a:cubicBezTo>
                  <a:pt x="891" y="206"/>
                  <a:pt x="891" y="206"/>
                  <a:pt x="891" y="206"/>
                </a:cubicBezTo>
                <a:cubicBezTo>
                  <a:pt x="896" y="209"/>
                  <a:pt x="896" y="209"/>
                  <a:pt x="896" y="209"/>
                </a:cubicBezTo>
                <a:cubicBezTo>
                  <a:pt x="900" y="207"/>
                  <a:pt x="896" y="206"/>
                  <a:pt x="896" y="206"/>
                </a:cubicBezTo>
                <a:close/>
                <a:moveTo>
                  <a:pt x="926" y="195"/>
                </a:moveTo>
                <a:cubicBezTo>
                  <a:pt x="926" y="195"/>
                  <a:pt x="922" y="194"/>
                  <a:pt x="921" y="196"/>
                </a:cubicBezTo>
                <a:cubicBezTo>
                  <a:pt x="921" y="196"/>
                  <a:pt x="923" y="199"/>
                  <a:pt x="926" y="197"/>
                </a:cubicBezTo>
                <a:cubicBezTo>
                  <a:pt x="928" y="196"/>
                  <a:pt x="926" y="195"/>
                  <a:pt x="926" y="195"/>
                </a:cubicBezTo>
                <a:close/>
                <a:moveTo>
                  <a:pt x="311" y="293"/>
                </a:moveTo>
                <a:cubicBezTo>
                  <a:pt x="311" y="293"/>
                  <a:pt x="310" y="295"/>
                  <a:pt x="313" y="295"/>
                </a:cubicBezTo>
                <a:cubicBezTo>
                  <a:pt x="316" y="295"/>
                  <a:pt x="313" y="291"/>
                  <a:pt x="313" y="290"/>
                </a:cubicBezTo>
                <a:cubicBezTo>
                  <a:pt x="312" y="288"/>
                  <a:pt x="314" y="287"/>
                  <a:pt x="315" y="287"/>
                </a:cubicBezTo>
                <a:cubicBezTo>
                  <a:pt x="316" y="286"/>
                  <a:pt x="318" y="284"/>
                  <a:pt x="317" y="283"/>
                </a:cubicBezTo>
                <a:cubicBezTo>
                  <a:pt x="317" y="283"/>
                  <a:pt x="317" y="281"/>
                  <a:pt x="318" y="280"/>
                </a:cubicBezTo>
                <a:cubicBezTo>
                  <a:pt x="319" y="279"/>
                  <a:pt x="322" y="276"/>
                  <a:pt x="323" y="275"/>
                </a:cubicBezTo>
                <a:cubicBezTo>
                  <a:pt x="325" y="274"/>
                  <a:pt x="328" y="273"/>
                  <a:pt x="327" y="273"/>
                </a:cubicBezTo>
                <a:cubicBezTo>
                  <a:pt x="326" y="273"/>
                  <a:pt x="323" y="274"/>
                  <a:pt x="322" y="274"/>
                </a:cubicBezTo>
                <a:cubicBezTo>
                  <a:pt x="321" y="275"/>
                  <a:pt x="319" y="278"/>
                  <a:pt x="317" y="278"/>
                </a:cubicBezTo>
                <a:cubicBezTo>
                  <a:pt x="315" y="278"/>
                  <a:pt x="315" y="276"/>
                  <a:pt x="317" y="276"/>
                </a:cubicBezTo>
                <a:cubicBezTo>
                  <a:pt x="319" y="276"/>
                  <a:pt x="323" y="274"/>
                  <a:pt x="320" y="274"/>
                </a:cubicBezTo>
                <a:cubicBezTo>
                  <a:pt x="317" y="274"/>
                  <a:pt x="317" y="275"/>
                  <a:pt x="317" y="275"/>
                </a:cubicBezTo>
                <a:cubicBezTo>
                  <a:pt x="317" y="275"/>
                  <a:pt x="317" y="272"/>
                  <a:pt x="315" y="273"/>
                </a:cubicBezTo>
                <a:cubicBezTo>
                  <a:pt x="313" y="273"/>
                  <a:pt x="312" y="276"/>
                  <a:pt x="312" y="276"/>
                </a:cubicBezTo>
                <a:cubicBezTo>
                  <a:pt x="311" y="280"/>
                  <a:pt x="311" y="280"/>
                  <a:pt x="311" y="280"/>
                </a:cubicBezTo>
                <a:cubicBezTo>
                  <a:pt x="311" y="280"/>
                  <a:pt x="310" y="282"/>
                  <a:pt x="311" y="283"/>
                </a:cubicBezTo>
                <a:cubicBezTo>
                  <a:pt x="311" y="283"/>
                  <a:pt x="312" y="285"/>
                  <a:pt x="312" y="285"/>
                </a:cubicBezTo>
                <a:cubicBezTo>
                  <a:pt x="310" y="285"/>
                  <a:pt x="310" y="285"/>
                  <a:pt x="310" y="285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311" y="293"/>
                  <a:pt x="311" y="293"/>
                  <a:pt x="311" y="293"/>
                </a:cubicBezTo>
                <a:close/>
                <a:moveTo>
                  <a:pt x="833" y="176"/>
                </a:moveTo>
                <a:cubicBezTo>
                  <a:pt x="828" y="179"/>
                  <a:pt x="835" y="180"/>
                  <a:pt x="835" y="180"/>
                </a:cubicBezTo>
                <a:cubicBezTo>
                  <a:pt x="840" y="178"/>
                  <a:pt x="838" y="174"/>
                  <a:pt x="833" y="176"/>
                </a:cubicBezTo>
                <a:close/>
                <a:moveTo>
                  <a:pt x="774" y="253"/>
                </a:moveTo>
                <a:cubicBezTo>
                  <a:pt x="780" y="253"/>
                  <a:pt x="783" y="248"/>
                  <a:pt x="776" y="248"/>
                </a:cubicBezTo>
                <a:cubicBezTo>
                  <a:pt x="769" y="248"/>
                  <a:pt x="774" y="253"/>
                  <a:pt x="774" y="253"/>
                </a:cubicBezTo>
                <a:close/>
                <a:moveTo>
                  <a:pt x="811" y="188"/>
                </a:moveTo>
                <a:cubicBezTo>
                  <a:pt x="802" y="191"/>
                  <a:pt x="811" y="194"/>
                  <a:pt x="811" y="194"/>
                </a:cubicBezTo>
                <a:cubicBezTo>
                  <a:pt x="815" y="190"/>
                  <a:pt x="819" y="185"/>
                  <a:pt x="811" y="188"/>
                </a:cubicBezTo>
                <a:close/>
                <a:moveTo>
                  <a:pt x="824" y="175"/>
                </a:moveTo>
                <a:cubicBezTo>
                  <a:pt x="824" y="175"/>
                  <a:pt x="819" y="175"/>
                  <a:pt x="817" y="173"/>
                </a:cubicBezTo>
                <a:cubicBezTo>
                  <a:pt x="815" y="171"/>
                  <a:pt x="816" y="167"/>
                  <a:pt x="816" y="167"/>
                </a:cubicBezTo>
                <a:cubicBezTo>
                  <a:pt x="812" y="164"/>
                  <a:pt x="812" y="164"/>
                  <a:pt x="812" y="164"/>
                </a:cubicBezTo>
                <a:cubicBezTo>
                  <a:pt x="806" y="164"/>
                  <a:pt x="806" y="164"/>
                  <a:pt x="806" y="164"/>
                </a:cubicBezTo>
                <a:cubicBezTo>
                  <a:pt x="805" y="162"/>
                  <a:pt x="805" y="162"/>
                  <a:pt x="805" y="162"/>
                </a:cubicBezTo>
                <a:cubicBezTo>
                  <a:pt x="802" y="158"/>
                  <a:pt x="802" y="158"/>
                  <a:pt x="802" y="158"/>
                </a:cubicBezTo>
                <a:cubicBezTo>
                  <a:pt x="798" y="159"/>
                  <a:pt x="798" y="159"/>
                  <a:pt x="798" y="159"/>
                </a:cubicBezTo>
                <a:cubicBezTo>
                  <a:pt x="795" y="157"/>
                  <a:pt x="795" y="157"/>
                  <a:pt x="795" y="157"/>
                </a:cubicBezTo>
                <a:cubicBezTo>
                  <a:pt x="797" y="155"/>
                  <a:pt x="797" y="155"/>
                  <a:pt x="797" y="155"/>
                </a:cubicBezTo>
                <a:cubicBezTo>
                  <a:pt x="797" y="151"/>
                  <a:pt x="797" y="151"/>
                  <a:pt x="797" y="151"/>
                </a:cubicBezTo>
                <a:cubicBezTo>
                  <a:pt x="790" y="155"/>
                  <a:pt x="790" y="155"/>
                  <a:pt x="790" y="155"/>
                </a:cubicBezTo>
                <a:cubicBezTo>
                  <a:pt x="786" y="157"/>
                  <a:pt x="786" y="157"/>
                  <a:pt x="786" y="157"/>
                </a:cubicBezTo>
                <a:cubicBezTo>
                  <a:pt x="782" y="163"/>
                  <a:pt x="782" y="163"/>
                  <a:pt x="782" y="163"/>
                </a:cubicBezTo>
                <a:cubicBezTo>
                  <a:pt x="782" y="163"/>
                  <a:pt x="776" y="164"/>
                  <a:pt x="775" y="165"/>
                </a:cubicBezTo>
                <a:cubicBezTo>
                  <a:pt x="775" y="167"/>
                  <a:pt x="777" y="168"/>
                  <a:pt x="775" y="169"/>
                </a:cubicBezTo>
                <a:cubicBezTo>
                  <a:pt x="773" y="170"/>
                  <a:pt x="767" y="172"/>
                  <a:pt x="767" y="172"/>
                </a:cubicBezTo>
                <a:cubicBezTo>
                  <a:pt x="771" y="173"/>
                  <a:pt x="771" y="173"/>
                  <a:pt x="771" y="173"/>
                </a:cubicBezTo>
                <a:cubicBezTo>
                  <a:pt x="771" y="173"/>
                  <a:pt x="777" y="172"/>
                  <a:pt x="777" y="173"/>
                </a:cubicBezTo>
                <a:cubicBezTo>
                  <a:pt x="777" y="174"/>
                  <a:pt x="776" y="175"/>
                  <a:pt x="776" y="177"/>
                </a:cubicBezTo>
                <a:cubicBezTo>
                  <a:pt x="776" y="179"/>
                  <a:pt x="785" y="180"/>
                  <a:pt x="789" y="178"/>
                </a:cubicBezTo>
                <a:cubicBezTo>
                  <a:pt x="793" y="176"/>
                  <a:pt x="790" y="172"/>
                  <a:pt x="796" y="172"/>
                </a:cubicBezTo>
                <a:cubicBezTo>
                  <a:pt x="802" y="172"/>
                  <a:pt x="803" y="174"/>
                  <a:pt x="803" y="174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10" y="177"/>
                  <a:pt x="810" y="177"/>
                  <a:pt x="810" y="177"/>
                </a:cubicBezTo>
                <a:cubicBezTo>
                  <a:pt x="823" y="178"/>
                  <a:pt x="823" y="178"/>
                  <a:pt x="823" y="178"/>
                </a:cubicBezTo>
                <a:cubicBezTo>
                  <a:pt x="824" y="175"/>
                  <a:pt x="824" y="175"/>
                  <a:pt x="824" y="175"/>
                </a:cubicBezTo>
                <a:cubicBezTo>
                  <a:pt x="824" y="175"/>
                  <a:pt x="824" y="175"/>
                  <a:pt x="824" y="175"/>
                </a:cubicBezTo>
                <a:close/>
                <a:moveTo>
                  <a:pt x="788" y="185"/>
                </a:moveTo>
                <a:cubicBezTo>
                  <a:pt x="777" y="196"/>
                  <a:pt x="795" y="188"/>
                  <a:pt x="795" y="188"/>
                </a:cubicBezTo>
                <a:cubicBezTo>
                  <a:pt x="805" y="179"/>
                  <a:pt x="799" y="175"/>
                  <a:pt x="788" y="185"/>
                </a:cubicBezTo>
                <a:close/>
                <a:moveTo>
                  <a:pt x="887" y="183"/>
                </a:moveTo>
                <a:cubicBezTo>
                  <a:pt x="885" y="183"/>
                  <a:pt x="885" y="187"/>
                  <a:pt x="888" y="187"/>
                </a:cubicBezTo>
                <a:cubicBezTo>
                  <a:pt x="893" y="187"/>
                  <a:pt x="890" y="183"/>
                  <a:pt x="887" y="183"/>
                </a:cubicBezTo>
                <a:close/>
                <a:moveTo>
                  <a:pt x="344" y="260"/>
                </a:moveTo>
                <a:cubicBezTo>
                  <a:pt x="346" y="257"/>
                  <a:pt x="342" y="254"/>
                  <a:pt x="340" y="256"/>
                </a:cubicBezTo>
                <a:cubicBezTo>
                  <a:pt x="338" y="258"/>
                  <a:pt x="337" y="264"/>
                  <a:pt x="337" y="264"/>
                </a:cubicBezTo>
                <a:cubicBezTo>
                  <a:pt x="337" y="264"/>
                  <a:pt x="340" y="262"/>
                  <a:pt x="341" y="262"/>
                </a:cubicBezTo>
                <a:cubicBezTo>
                  <a:pt x="342" y="262"/>
                  <a:pt x="343" y="262"/>
                  <a:pt x="344" y="260"/>
                </a:cubicBezTo>
                <a:close/>
                <a:moveTo>
                  <a:pt x="343" y="243"/>
                </a:moveTo>
                <a:cubicBezTo>
                  <a:pt x="339" y="242"/>
                  <a:pt x="339" y="242"/>
                  <a:pt x="339" y="242"/>
                </a:cubicBezTo>
                <a:cubicBezTo>
                  <a:pt x="339" y="242"/>
                  <a:pt x="334" y="246"/>
                  <a:pt x="334" y="248"/>
                </a:cubicBezTo>
                <a:cubicBezTo>
                  <a:pt x="336" y="251"/>
                  <a:pt x="340" y="246"/>
                  <a:pt x="340" y="246"/>
                </a:cubicBezTo>
                <a:cubicBezTo>
                  <a:pt x="343" y="245"/>
                  <a:pt x="343" y="245"/>
                  <a:pt x="343" y="245"/>
                </a:cubicBezTo>
                <a:cubicBezTo>
                  <a:pt x="343" y="243"/>
                  <a:pt x="343" y="243"/>
                  <a:pt x="343" y="243"/>
                </a:cubicBezTo>
                <a:cubicBezTo>
                  <a:pt x="343" y="243"/>
                  <a:pt x="343" y="243"/>
                  <a:pt x="343" y="243"/>
                </a:cubicBezTo>
                <a:close/>
                <a:moveTo>
                  <a:pt x="325" y="266"/>
                </a:moveTo>
                <a:cubicBezTo>
                  <a:pt x="326" y="261"/>
                  <a:pt x="326" y="261"/>
                  <a:pt x="326" y="261"/>
                </a:cubicBezTo>
                <a:cubicBezTo>
                  <a:pt x="324" y="262"/>
                  <a:pt x="324" y="262"/>
                  <a:pt x="324" y="262"/>
                </a:cubicBezTo>
                <a:cubicBezTo>
                  <a:pt x="323" y="266"/>
                  <a:pt x="323" y="266"/>
                  <a:pt x="323" y="266"/>
                </a:cubicBezTo>
                <a:cubicBezTo>
                  <a:pt x="325" y="266"/>
                  <a:pt x="325" y="266"/>
                  <a:pt x="325" y="266"/>
                </a:cubicBezTo>
                <a:cubicBezTo>
                  <a:pt x="325" y="266"/>
                  <a:pt x="325" y="266"/>
                  <a:pt x="325" y="266"/>
                </a:cubicBezTo>
                <a:close/>
                <a:moveTo>
                  <a:pt x="326" y="240"/>
                </a:moveTo>
                <a:cubicBezTo>
                  <a:pt x="326" y="242"/>
                  <a:pt x="324" y="244"/>
                  <a:pt x="324" y="244"/>
                </a:cubicBezTo>
                <a:cubicBezTo>
                  <a:pt x="324" y="246"/>
                  <a:pt x="324" y="246"/>
                  <a:pt x="324" y="246"/>
                </a:cubicBezTo>
                <a:cubicBezTo>
                  <a:pt x="324" y="246"/>
                  <a:pt x="322" y="247"/>
                  <a:pt x="322" y="249"/>
                </a:cubicBezTo>
                <a:cubicBezTo>
                  <a:pt x="322" y="250"/>
                  <a:pt x="323" y="251"/>
                  <a:pt x="323" y="251"/>
                </a:cubicBezTo>
                <a:cubicBezTo>
                  <a:pt x="323" y="251"/>
                  <a:pt x="326" y="247"/>
                  <a:pt x="330" y="244"/>
                </a:cubicBezTo>
                <a:cubicBezTo>
                  <a:pt x="333" y="241"/>
                  <a:pt x="333" y="238"/>
                  <a:pt x="331" y="238"/>
                </a:cubicBezTo>
                <a:cubicBezTo>
                  <a:pt x="330" y="237"/>
                  <a:pt x="326" y="239"/>
                  <a:pt x="326" y="240"/>
                </a:cubicBezTo>
                <a:close/>
                <a:moveTo>
                  <a:pt x="927" y="892"/>
                </a:moveTo>
                <a:cubicBezTo>
                  <a:pt x="928" y="886"/>
                  <a:pt x="928" y="886"/>
                  <a:pt x="928" y="886"/>
                </a:cubicBezTo>
                <a:cubicBezTo>
                  <a:pt x="928" y="886"/>
                  <a:pt x="930" y="883"/>
                  <a:pt x="930" y="880"/>
                </a:cubicBezTo>
                <a:cubicBezTo>
                  <a:pt x="930" y="878"/>
                  <a:pt x="925" y="879"/>
                  <a:pt x="923" y="879"/>
                </a:cubicBezTo>
                <a:cubicBezTo>
                  <a:pt x="923" y="879"/>
                  <a:pt x="920" y="881"/>
                  <a:pt x="918" y="880"/>
                </a:cubicBezTo>
                <a:cubicBezTo>
                  <a:pt x="917" y="880"/>
                  <a:pt x="911" y="879"/>
                  <a:pt x="909" y="879"/>
                </a:cubicBezTo>
                <a:cubicBezTo>
                  <a:pt x="907" y="880"/>
                  <a:pt x="909" y="884"/>
                  <a:pt x="909" y="884"/>
                </a:cubicBezTo>
                <a:cubicBezTo>
                  <a:pt x="907" y="885"/>
                  <a:pt x="907" y="885"/>
                  <a:pt x="907" y="885"/>
                </a:cubicBezTo>
                <a:cubicBezTo>
                  <a:pt x="907" y="888"/>
                  <a:pt x="907" y="888"/>
                  <a:pt x="907" y="888"/>
                </a:cubicBezTo>
                <a:cubicBezTo>
                  <a:pt x="910" y="889"/>
                  <a:pt x="910" y="889"/>
                  <a:pt x="910" y="889"/>
                </a:cubicBezTo>
                <a:cubicBezTo>
                  <a:pt x="908" y="891"/>
                  <a:pt x="908" y="891"/>
                  <a:pt x="908" y="891"/>
                </a:cubicBezTo>
                <a:cubicBezTo>
                  <a:pt x="908" y="891"/>
                  <a:pt x="908" y="894"/>
                  <a:pt x="910" y="897"/>
                </a:cubicBezTo>
                <a:cubicBezTo>
                  <a:pt x="911" y="899"/>
                  <a:pt x="915" y="897"/>
                  <a:pt x="917" y="897"/>
                </a:cubicBezTo>
                <a:cubicBezTo>
                  <a:pt x="918" y="897"/>
                  <a:pt x="918" y="896"/>
                  <a:pt x="918" y="896"/>
                </a:cubicBezTo>
                <a:cubicBezTo>
                  <a:pt x="918" y="896"/>
                  <a:pt x="921" y="895"/>
                  <a:pt x="923" y="895"/>
                </a:cubicBezTo>
                <a:cubicBezTo>
                  <a:pt x="925" y="895"/>
                  <a:pt x="927" y="892"/>
                  <a:pt x="927" y="892"/>
                </a:cubicBezTo>
                <a:close/>
                <a:moveTo>
                  <a:pt x="906" y="877"/>
                </a:moveTo>
                <a:cubicBezTo>
                  <a:pt x="903" y="880"/>
                  <a:pt x="903" y="880"/>
                  <a:pt x="903" y="880"/>
                </a:cubicBezTo>
                <a:cubicBezTo>
                  <a:pt x="905" y="881"/>
                  <a:pt x="905" y="881"/>
                  <a:pt x="905" y="881"/>
                </a:cubicBezTo>
                <a:cubicBezTo>
                  <a:pt x="908" y="878"/>
                  <a:pt x="908" y="878"/>
                  <a:pt x="908" y="878"/>
                </a:cubicBezTo>
                <a:cubicBezTo>
                  <a:pt x="906" y="877"/>
                  <a:pt x="906" y="877"/>
                  <a:pt x="906" y="877"/>
                </a:cubicBezTo>
                <a:cubicBezTo>
                  <a:pt x="906" y="877"/>
                  <a:pt x="906" y="877"/>
                  <a:pt x="906" y="877"/>
                </a:cubicBezTo>
                <a:close/>
                <a:moveTo>
                  <a:pt x="914" y="874"/>
                </a:moveTo>
                <a:cubicBezTo>
                  <a:pt x="911" y="875"/>
                  <a:pt x="911" y="875"/>
                  <a:pt x="911" y="875"/>
                </a:cubicBezTo>
                <a:cubicBezTo>
                  <a:pt x="911" y="877"/>
                  <a:pt x="911" y="877"/>
                  <a:pt x="911" y="877"/>
                </a:cubicBezTo>
                <a:cubicBezTo>
                  <a:pt x="915" y="877"/>
                  <a:pt x="915" y="877"/>
                  <a:pt x="915" y="877"/>
                </a:cubicBezTo>
                <a:cubicBezTo>
                  <a:pt x="918" y="874"/>
                  <a:pt x="918" y="874"/>
                  <a:pt x="918" y="874"/>
                </a:cubicBezTo>
                <a:cubicBezTo>
                  <a:pt x="916" y="871"/>
                  <a:pt x="916" y="871"/>
                  <a:pt x="916" y="871"/>
                </a:cubicBezTo>
                <a:cubicBezTo>
                  <a:pt x="914" y="874"/>
                  <a:pt x="914" y="874"/>
                  <a:pt x="914" y="874"/>
                </a:cubicBezTo>
                <a:cubicBezTo>
                  <a:pt x="914" y="874"/>
                  <a:pt x="914" y="874"/>
                  <a:pt x="914" y="874"/>
                </a:cubicBezTo>
                <a:close/>
                <a:moveTo>
                  <a:pt x="921" y="878"/>
                </a:moveTo>
                <a:cubicBezTo>
                  <a:pt x="918" y="875"/>
                  <a:pt x="918" y="875"/>
                  <a:pt x="918" y="875"/>
                </a:cubicBezTo>
                <a:cubicBezTo>
                  <a:pt x="915" y="879"/>
                  <a:pt x="915" y="879"/>
                  <a:pt x="915" y="879"/>
                </a:cubicBezTo>
                <a:cubicBezTo>
                  <a:pt x="918" y="879"/>
                  <a:pt x="918" y="879"/>
                  <a:pt x="918" y="879"/>
                </a:cubicBezTo>
                <a:cubicBezTo>
                  <a:pt x="921" y="878"/>
                  <a:pt x="921" y="878"/>
                  <a:pt x="921" y="878"/>
                </a:cubicBezTo>
                <a:cubicBezTo>
                  <a:pt x="921" y="878"/>
                  <a:pt x="921" y="878"/>
                  <a:pt x="921" y="878"/>
                </a:cubicBezTo>
                <a:close/>
                <a:moveTo>
                  <a:pt x="787" y="1453"/>
                </a:moveTo>
                <a:cubicBezTo>
                  <a:pt x="788" y="1449"/>
                  <a:pt x="788" y="1449"/>
                  <a:pt x="788" y="1449"/>
                </a:cubicBezTo>
                <a:cubicBezTo>
                  <a:pt x="787" y="1444"/>
                  <a:pt x="787" y="1444"/>
                  <a:pt x="787" y="1444"/>
                </a:cubicBezTo>
                <a:cubicBezTo>
                  <a:pt x="785" y="1443"/>
                  <a:pt x="785" y="1443"/>
                  <a:pt x="785" y="1443"/>
                </a:cubicBezTo>
                <a:cubicBezTo>
                  <a:pt x="785" y="1445"/>
                  <a:pt x="785" y="1445"/>
                  <a:pt x="785" y="1445"/>
                </a:cubicBezTo>
                <a:cubicBezTo>
                  <a:pt x="780" y="1445"/>
                  <a:pt x="780" y="1445"/>
                  <a:pt x="780" y="1445"/>
                </a:cubicBezTo>
                <a:cubicBezTo>
                  <a:pt x="784" y="1449"/>
                  <a:pt x="784" y="1449"/>
                  <a:pt x="784" y="1449"/>
                </a:cubicBezTo>
                <a:cubicBezTo>
                  <a:pt x="783" y="1455"/>
                  <a:pt x="783" y="1455"/>
                  <a:pt x="783" y="1455"/>
                </a:cubicBezTo>
                <a:cubicBezTo>
                  <a:pt x="787" y="1453"/>
                  <a:pt x="787" y="1453"/>
                  <a:pt x="787" y="1453"/>
                </a:cubicBezTo>
                <a:cubicBezTo>
                  <a:pt x="787" y="1453"/>
                  <a:pt x="787" y="1453"/>
                  <a:pt x="787" y="1453"/>
                </a:cubicBezTo>
                <a:close/>
                <a:moveTo>
                  <a:pt x="857" y="1493"/>
                </a:moveTo>
                <a:cubicBezTo>
                  <a:pt x="859" y="1492"/>
                  <a:pt x="859" y="1492"/>
                  <a:pt x="859" y="1492"/>
                </a:cubicBezTo>
                <a:cubicBezTo>
                  <a:pt x="853" y="1491"/>
                  <a:pt x="853" y="1491"/>
                  <a:pt x="853" y="1491"/>
                </a:cubicBezTo>
                <a:cubicBezTo>
                  <a:pt x="848" y="1491"/>
                  <a:pt x="848" y="1491"/>
                  <a:pt x="848" y="1491"/>
                </a:cubicBezTo>
                <a:cubicBezTo>
                  <a:pt x="850" y="1496"/>
                  <a:pt x="850" y="1496"/>
                  <a:pt x="850" y="1496"/>
                </a:cubicBezTo>
                <a:cubicBezTo>
                  <a:pt x="855" y="1496"/>
                  <a:pt x="855" y="1496"/>
                  <a:pt x="855" y="1496"/>
                </a:cubicBezTo>
                <a:cubicBezTo>
                  <a:pt x="853" y="1494"/>
                  <a:pt x="853" y="1494"/>
                  <a:pt x="853" y="1494"/>
                </a:cubicBezTo>
                <a:cubicBezTo>
                  <a:pt x="855" y="1494"/>
                  <a:pt x="855" y="1494"/>
                  <a:pt x="855" y="1494"/>
                </a:cubicBezTo>
                <a:cubicBezTo>
                  <a:pt x="856" y="1496"/>
                  <a:pt x="856" y="1496"/>
                  <a:pt x="856" y="1496"/>
                </a:cubicBezTo>
                <a:cubicBezTo>
                  <a:pt x="863" y="1496"/>
                  <a:pt x="863" y="1496"/>
                  <a:pt x="863" y="1496"/>
                </a:cubicBezTo>
                <a:cubicBezTo>
                  <a:pt x="865" y="1498"/>
                  <a:pt x="865" y="1498"/>
                  <a:pt x="865" y="1498"/>
                </a:cubicBezTo>
                <a:cubicBezTo>
                  <a:pt x="867" y="1498"/>
                  <a:pt x="867" y="1498"/>
                  <a:pt x="867" y="1498"/>
                </a:cubicBezTo>
                <a:cubicBezTo>
                  <a:pt x="863" y="1494"/>
                  <a:pt x="863" y="1494"/>
                  <a:pt x="863" y="1494"/>
                </a:cubicBezTo>
                <a:cubicBezTo>
                  <a:pt x="857" y="1493"/>
                  <a:pt x="857" y="1493"/>
                  <a:pt x="857" y="1493"/>
                </a:cubicBezTo>
                <a:cubicBezTo>
                  <a:pt x="857" y="1493"/>
                  <a:pt x="857" y="1493"/>
                  <a:pt x="857" y="1493"/>
                </a:cubicBezTo>
                <a:close/>
                <a:moveTo>
                  <a:pt x="809" y="1462"/>
                </a:moveTo>
                <a:cubicBezTo>
                  <a:pt x="809" y="1462"/>
                  <a:pt x="804" y="1459"/>
                  <a:pt x="803" y="1462"/>
                </a:cubicBezTo>
                <a:cubicBezTo>
                  <a:pt x="802" y="1464"/>
                  <a:pt x="802" y="1467"/>
                  <a:pt x="802" y="1467"/>
                </a:cubicBezTo>
                <a:cubicBezTo>
                  <a:pt x="803" y="1467"/>
                  <a:pt x="807" y="1466"/>
                  <a:pt x="807" y="1466"/>
                </a:cubicBezTo>
                <a:cubicBezTo>
                  <a:pt x="807" y="1469"/>
                  <a:pt x="807" y="1469"/>
                  <a:pt x="807" y="1469"/>
                </a:cubicBezTo>
                <a:cubicBezTo>
                  <a:pt x="812" y="1467"/>
                  <a:pt x="812" y="1467"/>
                  <a:pt x="812" y="1467"/>
                </a:cubicBezTo>
                <a:cubicBezTo>
                  <a:pt x="809" y="1465"/>
                  <a:pt x="809" y="1465"/>
                  <a:pt x="809" y="1465"/>
                </a:cubicBezTo>
                <a:cubicBezTo>
                  <a:pt x="810" y="1462"/>
                  <a:pt x="810" y="1462"/>
                  <a:pt x="810" y="1462"/>
                </a:cubicBezTo>
                <a:cubicBezTo>
                  <a:pt x="809" y="1462"/>
                  <a:pt x="809" y="1462"/>
                  <a:pt x="809" y="1462"/>
                </a:cubicBezTo>
                <a:cubicBezTo>
                  <a:pt x="809" y="1462"/>
                  <a:pt x="809" y="1462"/>
                  <a:pt x="809" y="1462"/>
                </a:cubicBezTo>
                <a:close/>
                <a:moveTo>
                  <a:pt x="836" y="1478"/>
                </a:moveTo>
                <a:cubicBezTo>
                  <a:pt x="834" y="1480"/>
                  <a:pt x="834" y="1480"/>
                  <a:pt x="834" y="1480"/>
                </a:cubicBezTo>
                <a:cubicBezTo>
                  <a:pt x="835" y="1484"/>
                  <a:pt x="835" y="1484"/>
                  <a:pt x="835" y="1484"/>
                </a:cubicBezTo>
                <a:cubicBezTo>
                  <a:pt x="838" y="1483"/>
                  <a:pt x="838" y="1483"/>
                  <a:pt x="838" y="1483"/>
                </a:cubicBezTo>
                <a:cubicBezTo>
                  <a:pt x="836" y="1478"/>
                  <a:pt x="836" y="1478"/>
                  <a:pt x="836" y="1478"/>
                </a:cubicBezTo>
                <a:cubicBezTo>
                  <a:pt x="836" y="1478"/>
                  <a:pt x="836" y="1478"/>
                  <a:pt x="836" y="1478"/>
                </a:cubicBezTo>
                <a:close/>
                <a:moveTo>
                  <a:pt x="836" y="1487"/>
                </a:moveTo>
                <a:cubicBezTo>
                  <a:pt x="827" y="1486"/>
                  <a:pt x="827" y="1486"/>
                  <a:pt x="827" y="1486"/>
                </a:cubicBezTo>
                <a:cubicBezTo>
                  <a:pt x="828" y="1488"/>
                  <a:pt x="828" y="1488"/>
                  <a:pt x="828" y="1488"/>
                </a:cubicBezTo>
                <a:cubicBezTo>
                  <a:pt x="834" y="1488"/>
                  <a:pt x="834" y="1488"/>
                  <a:pt x="834" y="1488"/>
                </a:cubicBezTo>
                <a:cubicBezTo>
                  <a:pt x="836" y="1491"/>
                  <a:pt x="836" y="1491"/>
                  <a:pt x="836" y="1491"/>
                </a:cubicBezTo>
                <a:cubicBezTo>
                  <a:pt x="844" y="1494"/>
                  <a:pt x="844" y="1494"/>
                  <a:pt x="844" y="1494"/>
                </a:cubicBezTo>
                <a:cubicBezTo>
                  <a:pt x="839" y="1490"/>
                  <a:pt x="839" y="1490"/>
                  <a:pt x="839" y="1490"/>
                </a:cubicBezTo>
                <a:cubicBezTo>
                  <a:pt x="836" y="1487"/>
                  <a:pt x="836" y="1487"/>
                  <a:pt x="836" y="1487"/>
                </a:cubicBezTo>
                <a:cubicBezTo>
                  <a:pt x="836" y="1487"/>
                  <a:pt x="836" y="1487"/>
                  <a:pt x="836" y="1487"/>
                </a:cubicBezTo>
                <a:close/>
                <a:moveTo>
                  <a:pt x="832" y="1484"/>
                </a:moveTo>
                <a:cubicBezTo>
                  <a:pt x="831" y="1481"/>
                  <a:pt x="831" y="1481"/>
                  <a:pt x="831" y="1481"/>
                </a:cubicBezTo>
                <a:cubicBezTo>
                  <a:pt x="824" y="1480"/>
                  <a:pt x="824" y="1480"/>
                  <a:pt x="824" y="1480"/>
                </a:cubicBezTo>
                <a:cubicBezTo>
                  <a:pt x="822" y="1482"/>
                  <a:pt x="822" y="1482"/>
                  <a:pt x="822" y="1482"/>
                </a:cubicBezTo>
                <a:cubicBezTo>
                  <a:pt x="823" y="1485"/>
                  <a:pt x="823" y="1485"/>
                  <a:pt x="823" y="1485"/>
                </a:cubicBezTo>
                <a:cubicBezTo>
                  <a:pt x="827" y="1483"/>
                  <a:pt x="827" y="1483"/>
                  <a:pt x="827" y="1483"/>
                </a:cubicBezTo>
                <a:cubicBezTo>
                  <a:pt x="832" y="1484"/>
                  <a:pt x="832" y="1484"/>
                  <a:pt x="832" y="1484"/>
                </a:cubicBezTo>
                <a:cubicBezTo>
                  <a:pt x="832" y="1484"/>
                  <a:pt x="832" y="1484"/>
                  <a:pt x="832" y="1484"/>
                </a:cubicBezTo>
                <a:close/>
                <a:moveTo>
                  <a:pt x="855" y="1473"/>
                </a:moveTo>
                <a:cubicBezTo>
                  <a:pt x="850" y="1473"/>
                  <a:pt x="850" y="1473"/>
                  <a:pt x="850" y="1473"/>
                </a:cubicBezTo>
                <a:cubicBezTo>
                  <a:pt x="851" y="1471"/>
                  <a:pt x="851" y="1471"/>
                  <a:pt x="851" y="1471"/>
                </a:cubicBezTo>
                <a:cubicBezTo>
                  <a:pt x="845" y="1465"/>
                  <a:pt x="845" y="1465"/>
                  <a:pt x="845" y="1465"/>
                </a:cubicBezTo>
                <a:cubicBezTo>
                  <a:pt x="841" y="1467"/>
                  <a:pt x="841" y="1467"/>
                  <a:pt x="841" y="1467"/>
                </a:cubicBezTo>
                <a:cubicBezTo>
                  <a:pt x="839" y="1465"/>
                  <a:pt x="839" y="1465"/>
                  <a:pt x="839" y="1465"/>
                </a:cubicBezTo>
                <a:cubicBezTo>
                  <a:pt x="837" y="1468"/>
                  <a:pt x="837" y="1468"/>
                  <a:pt x="837" y="1468"/>
                </a:cubicBezTo>
                <a:cubicBezTo>
                  <a:pt x="835" y="1468"/>
                  <a:pt x="835" y="1468"/>
                  <a:pt x="835" y="1468"/>
                </a:cubicBezTo>
                <a:cubicBezTo>
                  <a:pt x="835" y="1471"/>
                  <a:pt x="835" y="1471"/>
                  <a:pt x="835" y="1471"/>
                </a:cubicBezTo>
                <a:cubicBezTo>
                  <a:pt x="833" y="1471"/>
                  <a:pt x="833" y="1471"/>
                  <a:pt x="833" y="1471"/>
                </a:cubicBezTo>
                <a:cubicBezTo>
                  <a:pt x="833" y="1475"/>
                  <a:pt x="833" y="1475"/>
                  <a:pt x="833" y="1475"/>
                </a:cubicBezTo>
                <a:cubicBezTo>
                  <a:pt x="836" y="1477"/>
                  <a:pt x="840" y="1473"/>
                  <a:pt x="840" y="1473"/>
                </a:cubicBezTo>
                <a:cubicBezTo>
                  <a:pt x="844" y="1474"/>
                  <a:pt x="844" y="1474"/>
                  <a:pt x="844" y="1474"/>
                </a:cubicBezTo>
                <a:cubicBezTo>
                  <a:pt x="844" y="1477"/>
                  <a:pt x="844" y="1477"/>
                  <a:pt x="844" y="1477"/>
                </a:cubicBezTo>
                <a:cubicBezTo>
                  <a:pt x="844" y="1477"/>
                  <a:pt x="837" y="1480"/>
                  <a:pt x="839" y="1481"/>
                </a:cubicBezTo>
                <a:cubicBezTo>
                  <a:pt x="841" y="1481"/>
                  <a:pt x="853" y="1485"/>
                  <a:pt x="853" y="1485"/>
                </a:cubicBezTo>
                <a:cubicBezTo>
                  <a:pt x="850" y="1488"/>
                  <a:pt x="850" y="1488"/>
                  <a:pt x="850" y="1488"/>
                </a:cubicBezTo>
                <a:cubicBezTo>
                  <a:pt x="850" y="1488"/>
                  <a:pt x="850" y="1485"/>
                  <a:pt x="848" y="1485"/>
                </a:cubicBezTo>
                <a:cubicBezTo>
                  <a:pt x="846" y="1485"/>
                  <a:pt x="845" y="1487"/>
                  <a:pt x="845" y="1487"/>
                </a:cubicBezTo>
                <a:cubicBezTo>
                  <a:pt x="843" y="1484"/>
                  <a:pt x="843" y="1484"/>
                  <a:pt x="843" y="1484"/>
                </a:cubicBezTo>
                <a:cubicBezTo>
                  <a:pt x="840" y="1485"/>
                  <a:pt x="840" y="1485"/>
                  <a:pt x="840" y="1485"/>
                </a:cubicBezTo>
                <a:cubicBezTo>
                  <a:pt x="842" y="1486"/>
                  <a:pt x="842" y="1486"/>
                  <a:pt x="842" y="1486"/>
                </a:cubicBezTo>
                <a:cubicBezTo>
                  <a:pt x="838" y="1486"/>
                  <a:pt x="838" y="1486"/>
                  <a:pt x="838" y="1486"/>
                </a:cubicBezTo>
                <a:cubicBezTo>
                  <a:pt x="838" y="1486"/>
                  <a:pt x="839" y="1489"/>
                  <a:pt x="842" y="1489"/>
                </a:cubicBezTo>
                <a:cubicBezTo>
                  <a:pt x="846" y="1489"/>
                  <a:pt x="848" y="1489"/>
                  <a:pt x="848" y="1489"/>
                </a:cubicBezTo>
                <a:cubicBezTo>
                  <a:pt x="848" y="1489"/>
                  <a:pt x="852" y="1490"/>
                  <a:pt x="854" y="1490"/>
                </a:cubicBezTo>
                <a:cubicBezTo>
                  <a:pt x="856" y="1490"/>
                  <a:pt x="865" y="1490"/>
                  <a:pt x="868" y="1490"/>
                </a:cubicBezTo>
                <a:cubicBezTo>
                  <a:pt x="871" y="1490"/>
                  <a:pt x="876" y="1492"/>
                  <a:pt x="876" y="1492"/>
                </a:cubicBezTo>
                <a:cubicBezTo>
                  <a:pt x="880" y="1490"/>
                  <a:pt x="880" y="1490"/>
                  <a:pt x="880" y="1490"/>
                </a:cubicBezTo>
                <a:cubicBezTo>
                  <a:pt x="882" y="1491"/>
                  <a:pt x="882" y="1491"/>
                  <a:pt x="882" y="1491"/>
                </a:cubicBezTo>
                <a:cubicBezTo>
                  <a:pt x="885" y="1491"/>
                  <a:pt x="885" y="1491"/>
                  <a:pt x="885" y="1491"/>
                </a:cubicBezTo>
                <a:cubicBezTo>
                  <a:pt x="885" y="1487"/>
                  <a:pt x="885" y="1487"/>
                  <a:pt x="885" y="1487"/>
                </a:cubicBezTo>
                <a:cubicBezTo>
                  <a:pt x="885" y="1487"/>
                  <a:pt x="876" y="1487"/>
                  <a:pt x="866" y="1481"/>
                </a:cubicBezTo>
                <a:cubicBezTo>
                  <a:pt x="855" y="1476"/>
                  <a:pt x="855" y="1473"/>
                  <a:pt x="855" y="1473"/>
                </a:cubicBezTo>
                <a:close/>
                <a:moveTo>
                  <a:pt x="862" y="1492"/>
                </a:moveTo>
                <a:cubicBezTo>
                  <a:pt x="865" y="1494"/>
                  <a:pt x="865" y="1494"/>
                  <a:pt x="865" y="1494"/>
                </a:cubicBezTo>
                <a:cubicBezTo>
                  <a:pt x="873" y="1495"/>
                  <a:pt x="873" y="1495"/>
                  <a:pt x="873" y="1495"/>
                </a:cubicBezTo>
                <a:cubicBezTo>
                  <a:pt x="869" y="1491"/>
                  <a:pt x="869" y="1491"/>
                  <a:pt x="869" y="1491"/>
                </a:cubicBezTo>
                <a:cubicBezTo>
                  <a:pt x="862" y="1492"/>
                  <a:pt x="862" y="1492"/>
                  <a:pt x="862" y="1492"/>
                </a:cubicBezTo>
                <a:cubicBezTo>
                  <a:pt x="862" y="1492"/>
                  <a:pt x="862" y="1492"/>
                  <a:pt x="862" y="1492"/>
                </a:cubicBezTo>
                <a:close/>
                <a:moveTo>
                  <a:pt x="898" y="886"/>
                </a:moveTo>
                <a:cubicBezTo>
                  <a:pt x="898" y="889"/>
                  <a:pt x="898" y="889"/>
                  <a:pt x="898" y="889"/>
                </a:cubicBezTo>
                <a:cubicBezTo>
                  <a:pt x="895" y="894"/>
                  <a:pt x="895" y="894"/>
                  <a:pt x="895" y="894"/>
                </a:cubicBezTo>
                <a:cubicBezTo>
                  <a:pt x="900" y="891"/>
                  <a:pt x="900" y="891"/>
                  <a:pt x="900" y="891"/>
                </a:cubicBezTo>
                <a:cubicBezTo>
                  <a:pt x="900" y="891"/>
                  <a:pt x="904" y="885"/>
                  <a:pt x="903" y="884"/>
                </a:cubicBezTo>
                <a:cubicBezTo>
                  <a:pt x="901" y="883"/>
                  <a:pt x="898" y="886"/>
                  <a:pt x="898" y="886"/>
                </a:cubicBezTo>
                <a:close/>
                <a:moveTo>
                  <a:pt x="758" y="1366"/>
                </a:moveTo>
                <a:cubicBezTo>
                  <a:pt x="758" y="1359"/>
                  <a:pt x="758" y="1359"/>
                  <a:pt x="758" y="1359"/>
                </a:cubicBezTo>
                <a:cubicBezTo>
                  <a:pt x="754" y="1355"/>
                  <a:pt x="754" y="1355"/>
                  <a:pt x="754" y="1355"/>
                </a:cubicBezTo>
                <a:cubicBezTo>
                  <a:pt x="756" y="1353"/>
                  <a:pt x="756" y="1353"/>
                  <a:pt x="756" y="1353"/>
                </a:cubicBezTo>
                <a:cubicBezTo>
                  <a:pt x="753" y="1350"/>
                  <a:pt x="753" y="1350"/>
                  <a:pt x="753" y="1350"/>
                </a:cubicBezTo>
                <a:cubicBezTo>
                  <a:pt x="748" y="1348"/>
                  <a:pt x="748" y="1348"/>
                  <a:pt x="748" y="1348"/>
                </a:cubicBezTo>
                <a:cubicBezTo>
                  <a:pt x="748" y="1348"/>
                  <a:pt x="748" y="1355"/>
                  <a:pt x="750" y="1356"/>
                </a:cubicBezTo>
                <a:cubicBezTo>
                  <a:pt x="751" y="1357"/>
                  <a:pt x="753" y="1361"/>
                  <a:pt x="753" y="1361"/>
                </a:cubicBezTo>
                <a:cubicBezTo>
                  <a:pt x="752" y="1364"/>
                  <a:pt x="752" y="1364"/>
                  <a:pt x="752" y="1364"/>
                </a:cubicBezTo>
                <a:cubicBezTo>
                  <a:pt x="758" y="1366"/>
                  <a:pt x="758" y="1366"/>
                  <a:pt x="758" y="1366"/>
                </a:cubicBezTo>
                <a:cubicBezTo>
                  <a:pt x="758" y="1366"/>
                  <a:pt x="758" y="1366"/>
                  <a:pt x="758" y="1366"/>
                </a:cubicBezTo>
                <a:close/>
                <a:moveTo>
                  <a:pt x="768" y="1381"/>
                </a:moveTo>
                <a:cubicBezTo>
                  <a:pt x="768" y="1381"/>
                  <a:pt x="775" y="1377"/>
                  <a:pt x="770" y="1376"/>
                </a:cubicBezTo>
                <a:cubicBezTo>
                  <a:pt x="766" y="1375"/>
                  <a:pt x="766" y="1381"/>
                  <a:pt x="768" y="1381"/>
                </a:cubicBezTo>
                <a:close/>
                <a:moveTo>
                  <a:pt x="1067" y="957"/>
                </a:moveTo>
                <a:cubicBezTo>
                  <a:pt x="1067" y="954"/>
                  <a:pt x="1063" y="949"/>
                  <a:pt x="1063" y="947"/>
                </a:cubicBezTo>
                <a:cubicBezTo>
                  <a:pt x="1063" y="944"/>
                  <a:pt x="1063" y="942"/>
                  <a:pt x="1063" y="940"/>
                </a:cubicBezTo>
                <a:cubicBezTo>
                  <a:pt x="1063" y="938"/>
                  <a:pt x="1059" y="935"/>
                  <a:pt x="1059" y="935"/>
                </a:cubicBezTo>
                <a:cubicBezTo>
                  <a:pt x="1055" y="934"/>
                  <a:pt x="1055" y="934"/>
                  <a:pt x="1055" y="934"/>
                </a:cubicBezTo>
                <a:cubicBezTo>
                  <a:pt x="1048" y="935"/>
                  <a:pt x="1048" y="935"/>
                  <a:pt x="1048" y="935"/>
                </a:cubicBezTo>
                <a:cubicBezTo>
                  <a:pt x="1045" y="933"/>
                  <a:pt x="1045" y="933"/>
                  <a:pt x="1045" y="933"/>
                </a:cubicBezTo>
                <a:cubicBezTo>
                  <a:pt x="1043" y="933"/>
                  <a:pt x="1043" y="933"/>
                  <a:pt x="1043" y="933"/>
                </a:cubicBezTo>
                <a:cubicBezTo>
                  <a:pt x="1040" y="929"/>
                  <a:pt x="1040" y="929"/>
                  <a:pt x="1040" y="929"/>
                </a:cubicBezTo>
                <a:cubicBezTo>
                  <a:pt x="1037" y="929"/>
                  <a:pt x="1037" y="929"/>
                  <a:pt x="1037" y="929"/>
                </a:cubicBezTo>
                <a:cubicBezTo>
                  <a:pt x="1037" y="929"/>
                  <a:pt x="1033" y="925"/>
                  <a:pt x="1030" y="921"/>
                </a:cubicBezTo>
                <a:cubicBezTo>
                  <a:pt x="1026" y="916"/>
                  <a:pt x="1016" y="910"/>
                  <a:pt x="1012" y="909"/>
                </a:cubicBezTo>
                <a:cubicBezTo>
                  <a:pt x="1009" y="909"/>
                  <a:pt x="1002" y="910"/>
                  <a:pt x="1002" y="910"/>
                </a:cubicBezTo>
                <a:cubicBezTo>
                  <a:pt x="1002" y="912"/>
                  <a:pt x="1002" y="912"/>
                  <a:pt x="1002" y="912"/>
                </a:cubicBezTo>
                <a:cubicBezTo>
                  <a:pt x="1002" y="912"/>
                  <a:pt x="999" y="910"/>
                  <a:pt x="998" y="909"/>
                </a:cubicBezTo>
                <a:cubicBezTo>
                  <a:pt x="996" y="908"/>
                  <a:pt x="991" y="908"/>
                  <a:pt x="991" y="908"/>
                </a:cubicBezTo>
                <a:cubicBezTo>
                  <a:pt x="991" y="908"/>
                  <a:pt x="985" y="905"/>
                  <a:pt x="981" y="904"/>
                </a:cubicBezTo>
                <a:cubicBezTo>
                  <a:pt x="977" y="903"/>
                  <a:pt x="973" y="910"/>
                  <a:pt x="973" y="910"/>
                </a:cubicBezTo>
                <a:cubicBezTo>
                  <a:pt x="970" y="908"/>
                  <a:pt x="970" y="908"/>
                  <a:pt x="970" y="908"/>
                </a:cubicBezTo>
                <a:cubicBezTo>
                  <a:pt x="970" y="912"/>
                  <a:pt x="970" y="912"/>
                  <a:pt x="970" y="912"/>
                </a:cubicBezTo>
                <a:cubicBezTo>
                  <a:pt x="966" y="915"/>
                  <a:pt x="966" y="915"/>
                  <a:pt x="966" y="915"/>
                </a:cubicBezTo>
                <a:cubicBezTo>
                  <a:pt x="968" y="906"/>
                  <a:pt x="968" y="906"/>
                  <a:pt x="968" y="906"/>
                </a:cubicBezTo>
                <a:cubicBezTo>
                  <a:pt x="968" y="906"/>
                  <a:pt x="972" y="904"/>
                  <a:pt x="971" y="902"/>
                </a:cubicBezTo>
                <a:cubicBezTo>
                  <a:pt x="969" y="900"/>
                  <a:pt x="967" y="904"/>
                  <a:pt x="967" y="904"/>
                </a:cubicBezTo>
                <a:cubicBezTo>
                  <a:pt x="968" y="899"/>
                  <a:pt x="968" y="899"/>
                  <a:pt x="968" y="899"/>
                </a:cubicBezTo>
                <a:cubicBezTo>
                  <a:pt x="968" y="899"/>
                  <a:pt x="967" y="899"/>
                  <a:pt x="967" y="898"/>
                </a:cubicBezTo>
                <a:cubicBezTo>
                  <a:pt x="967" y="896"/>
                  <a:pt x="963" y="894"/>
                  <a:pt x="963" y="894"/>
                </a:cubicBezTo>
                <a:cubicBezTo>
                  <a:pt x="961" y="897"/>
                  <a:pt x="961" y="897"/>
                  <a:pt x="961" y="897"/>
                </a:cubicBezTo>
                <a:cubicBezTo>
                  <a:pt x="961" y="897"/>
                  <a:pt x="958" y="893"/>
                  <a:pt x="956" y="891"/>
                </a:cubicBezTo>
                <a:cubicBezTo>
                  <a:pt x="954" y="889"/>
                  <a:pt x="948" y="889"/>
                  <a:pt x="948" y="889"/>
                </a:cubicBezTo>
                <a:cubicBezTo>
                  <a:pt x="947" y="888"/>
                  <a:pt x="942" y="884"/>
                  <a:pt x="942" y="884"/>
                </a:cubicBezTo>
                <a:cubicBezTo>
                  <a:pt x="940" y="886"/>
                  <a:pt x="940" y="886"/>
                  <a:pt x="940" y="886"/>
                </a:cubicBezTo>
                <a:cubicBezTo>
                  <a:pt x="940" y="886"/>
                  <a:pt x="936" y="885"/>
                  <a:pt x="934" y="885"/>
                </a:cubicBezTo>
                <a:cubicBezTo>
                  <a:pt x="932" y="885"/>
                  <a:pt x="930" y="892"/>
                  <a:pt x="930" y="892"/>
                </a:cubicBezTo>
                <a:cubicBezTo>
                  <a:pt x="932" y="895"/>
                  <a:pt x="932" y="895"/>
                  <a:pt x="932" y="895"/>
                </a:cubicBezTo>
                <a:cubicBezTo>
                  <a:pt x="932" y="895"/>
                  <a:pt x="929" y="895"/>
                  <a:pt x="927" y="895"/>
                </a:cubicBezTo>
                <a:cubicBezTo>
                  <a:pt x="925" y="895"/>
                  <a:pt x="923" y="900"/>
                  <a:pt x="923" y="900"/>
                </a:cubicBezTo>
                <a:cubicBezTo>
                  <a:pt x="923" y="900"/>
                  <a:pt x="921" y="907"/>
                  <a:pt x="920" y="906"/>
                </a:cubicBezTo>
                <a:cubicBezTo>
                  <a:pt x="918" y="906"/>
                  <a:pt x="922" y="901"/>
                  <a:pt x="921" y="899"/>
                </a:cubicBezTo>
                <a:cubicBezTo>
                  <a:pt x="921" y="896"/>
                  <a:pt x="916" y="901"/>
                  <a:pt x="916" y="901"/>
                </a:cubicBezTo>
                <a:cubicBezTo>
                  <a:pt x="915" y="899"/>
                  <a:pt x="915" y="899"/>
                  <a:pt x="915" y="899"/>
                </a:cubicBezTo>
                <a:cubicBezTo>
                  <a:pt x="915" y="899"/>
                  <a:pt x="911" y="900"/>
                  <a:pt x="908" y="899"/>
                </a:cubicBezTo>
                <a:cubicBezTo>
                  <a:pt x="906" y="898"/>
                  <a:pt x="906" y="895"/>
                  <a:pt x="906" y="893"/>
                </a:cubicBezTo>
                <a:cubicBezTo>
                  <a:pt x="906" y="890"/>
                  <a:pt x="905" y="888"/>
                  <a:pt x="905" y="888"/>
                </a:cubicBezTo>
                <a:cubicBezTo>
                  <a:pt x="904" y="887"/>
                  <a:pt x="901" y="892"/>
                  <a:pt x="901" y="892"/>
                </a:cubicBezTo>
                <a:cubicBezTo>
                  <a:pt x="901" y="892"/>
                  <a:pt x="896" y="895"/>
                  <a:pt x="894" y="896"/>
                </a:cubicBezTo>
                <a:cubicBezTo>
                  <a:pt x="891" y="896"/>
                  <a:pt x="888" y="895"/>
                  <a:pt x="888" y="895"/>
                </a:cubicBezTo>
                <a:cubicBezTo>
                  <a:pt x="894" y="893"/>
                  <a:pt x="894" y="893"/>
                  <a:pt x="894" y="893"/>
                </a:cubicBezTo>
                <a:cubicBezTo>
                  <a:pt x="894" y="893"/>
                  <a:pt x="896" y="891"/>
                  <a:pt x="896" y="890"/>
                </a:cubicBezTo>
                <a:cubicBezTo>
                  <a:pt x="897" y="889"/>
                  <a:pt x="897" y="886"/>
                  <a:pt x="897" y="886"/>
                </a:cubicBezTo>
                <a:cubicBezTo>
                  <a:pt x="897" y="886"/>
                  <a:pt x="899" y="885"/>
                  <a:pt x="900" y="882"/>
                </a:cubicBezTo>
                <a:cubicBezTo>
                  <a:pt x="900" y="880"/>
                  <a:pt x="905" y="876"/>
                  <a:pt x="908" y="874"/>
                </a:cubicBezTo>
                <a:cubicBezTo>
                  <a:pt x="910" y="873"/>
                  <a:pt x="910" y="871"/>
                  <a:pt x="911" y="869"/>
                </a:cubicBezTo>
                <a:cubicBezTo>
                  <a:pt x="912" y="867"/>
                  <a:pt x="916" y="865"/>
                  <a:pt x="916" y="865"/>
                </a:cubicBezTo>
                <a:cubicBezTo>
                  <a:pt x="913" y="864"/>
                  <a:pt x="913" y="864"/>
                  <a:pt x="913" y="864"/>
                </a:cubicBezTo>
                <a:cubicBezTo>
                  <a:pt x="913" y="864"/>
                  <a:pt x="916" y="863"/>
                  <a:pt x="916" y="859"/>
                </a:cubicBezTo>
                <a:cubicBezTo>
                  <a:pt x="916" y="856"/>
                  <a:pt x="910" y="858"/>
                  <a:pt x="908" y="856"/>
                </a:cubicBezTo>
                <a:cubicBezTo>
                  <a:pt x="906" y="853"/>
                  <a:pt x="906" y="849"/>
                  <a:pt x="905" y="841"/>
                </a:cubicBezTo>
                <a:cubicBezTo>
                  <a:pt x="904" y="833"/>
                  <a:pt x="903" y="829"/>
                  <a:pt x="901" y="829"/>
                </a:cubicBezTo>
                <a:cubicBezTo>
                  <a:pt x="899" y="828"/>
                  <a:pt x="900" y="832"/>
                  <a:pt x="900" y="833"/>
                </a:cubicBezTo>
                <a:cubicBezTo>
                  <a:pt x="900" y="834"/>
                  <a:pt x="898" y="833"/>
                  <a:pt x="898" y="832"/>
                </a:cubicBezTo>
                <a:cubicBezTo>
                  <a:pt x="897" y="831"/>
                  <a:pt x="895" y="824"/>
                  <a:pt x="895" y="824"/>
                </a:cubicBezTo>
                <a:cubicBezTo>
                  <a:pt x="891" y="822"/>
                  <a:pt x="891" y="822"/>
                  <a:pt x="891" y="822"/>
                </a:cubicBezTo>
                <a:cubicBezTo>
                  <a:pt x="887" y="816"/>
                  <a:pt x="887" y="816"/>
                  <a:pt x="887" y="816"/>
                </a:cubicBezTo>
                <a:cubicBezTo>
                  <a:pt x="883" y="816"/>
                  <a:pt x="883" y="816"/>
                  <a:pt x="883" y="816"/>
                </a:cubicBezTo>
                <a:cubicBezTo>
                  <a:pt x="883" y="816"/>
                  <a:pt x="878" y="814"/>
                  <a:pt x="876" y="812"/>
                </a:cubicBezTo>
                <a:cubicBezTo>
                  <a:pt x="876" y="812"/>
                  <a:pt x="876" y="812"/>
                  <a:pt x="876" y="812"/>
                </a:cubicBezTo>
                <a:cubicBezTo>
                  <a:pt x="874" y="810"/>
                  <a:pt x="864" y="810"/>
                  <a:pt x="864" y="810"/>
                </a:cubicBezTo>
                <a:cubicBezTo>
                  <a:pt x="864" y="812"/>
                  <a:pt x="864" y="812"/>
                  <a:pt x="864" y="812"/>
                </a:cubicBezTo>
                <a:cubicBezTo>
                  <a:pt x="857" y="811"/>
                  <a:pt x="857" y="811"/>
                  <a:pt x="857" y="811"/>
                </a:cubicBezTo>
                <a:cubicBezTo>
                  <a:pt x="857" y="813"/>
                  <a:pt x="857" y="813"/>
                  <a:pt x="857" y="813"/>
                </a:cubicBezTo>
                <a:cubicBezTo>
                  <a:pt x="849" y="810"/>
                  <a:pt x="849" y="810"/>
                  <a:pt x="849" y="810"/>
                </a:cubicBezTo>
                <a:cubicBezTo>
                  <a:pt x="845" y="811"/>
                  <a:pt x="845" y="811"/>
                  <a:pt x="845" y="811"/>
                </a:cubicBezTo>
                <a:cubicBezTo>
                  <a:pt x="845" y="811"/>
                  <a:pt x="845" y="809"/>
                  <a:pt x="844" y="807"/>
                </a:cubicBezTo>
                <a:cubicBezTo>
                  <a:pt x="844" y="806"/>
                  <a:pt x="841" y="807"/>
                  <a:pt x="841" y="807"/>
                </a:cubicBezTo>
                <a:cubicBezTo>
                  <a:pt x="840" y="804"/>
                  <a:pt x="840" y="804"/>
                  <a:pt x="840" y="804"/>
                </a:cubicBezTo>
                <a:cubicBezTo>
                  <a:pt x="840" y="804"/>
                  <a:pt x="837" y="801"/>
                  <a:pt x="834" y="801"/>
                </a:cubicBezTo>
                <a:cubicBezTo>
                  <a:pt x="831" y="800"/>
                  <a:pt x="830" y="806"/>
                  <a:pt x="830" y="806"/>
                </a:cubicBezTo>
                <a:cubicBezTo>
                  <a:pt x="830" y="806"/>
                  <a:pt x="832" y="797"/>
                  <a:pt x="832" y="796"/>
                </a:cubicBezTo>
                <a:cubicBezTo>
                  <a:pt x="832" y="794"/>
                  <a:pt x="830" y="789"/>
                  <a:pt x="828" y="787"/>
                </a:cubicBezTo>
                <a:cubicBezTo>
                  <a:pt x="827" y="786"/>
                  <a:pt x="819" y="783"/>
                  <a:pt x="819" y="783"/>
                </a:cubicBezTo>
                <a:cubicBezTo>
                  <a:pt x="819" y="783"/>
                  <a:pt x="818" y="781"/>
                  <a:pt x="817" y="780"/>
                </a:cubicBezTo>
                <a:cubicBezTo>
                  <a:pt x="816" y="778"/>
                  <a:pt x="813" y="782"/>
                  <a:pt x="813" y="782"/>
                </a:cubicBezTo>
                <a:cubicBezTo>
                  <a:pt x="813" y="782"/>
                  <a:pt x="811" y="781"/>
                  <a:pt x="809" y="780"/>
                </a:cubicBezTo>
                <a:cubicBezTo>
                  <a:pt x="808" y="780"/>
                  <a:pt x="805" y="783"/>
                  <a:pt x="805" y="783"/>
                </a:cubicBezTo>
                <a:cubicBezTo>
                  <a:pt x="801" y="780"/>
                  <a:pt x="801" y="780"/>
                  <a:pt x="801" y="780"/>
                </a:cubicBezTo>
                <a:cubicBezTo>
                  <a:pt x="801" y="780"/>
                  <a:pt x="806" y="780"/>
                  <a:pt x="807" y="779"/>
                </a:cubicBezTo>
                <a:cubicBezTo>
                  <a:pt x="808" y="777"/>
                  <a:pt x="808" y="775"/>
                  <a:pt x="808" y="775"/>
                </a:cubicBezTo>
                <a:cubicBezTo>
                  <a:pt x="808" y="775"/>
                  <a:pt x="810" y="775"/>
                  <a:pt x="810" y="772"/>
                </a:cubicBezTo>
                <a:cubicBezTo>
                  <a:pt x="811" y="769"/>
                  <a:pt x="805" y="770"/>
                  <a:pt x="805" y="770"/>
                </a:cubicBezTo>
                <a:cubicBezTo>
                  <a:pt x="805" y="770"/>
                  <a:pt x="804" y="767"/>
                  <a:pt x="802" y="767"/>
                </a:cubicBezTo>
                <a:cubicBezTo>
                  <a:pt x="801" y="766"/>
                  <a:pt x="801" y="770"/>
                  <a:pt x="801" y="770"/>
                </a:cubicBezTo>
                <a:cubicBezTo>
                  <a:pt x="801" y="770"/>
                  <a:pt x="800" y="768"/>
                  <a:pt x="800" y="767"/>
                </a:cubicBezTo>
                <a:cubicBezTo>
                  <a:pt x="800" y="765"/>
                  <a:pt x="797" y="766"/>
                  <a:pt x="797" y="766"/>
                </a:cubicBezTo>
                <a:cubicBezTo>
                  <a:pt x="796" y="770"/>
                  <a:pt x="796" y="770"/>
                  <a:pt x="796" y="770"/>
                </a:cubicBezTo>
                <a:cubicBezTo>
                  <a:pt x="796" y="770"/>
                  <a:pt x="795" y="768"/>
                  <a:pt x="794" y="767"/>
                </a:cubicBezTo>
                <a:cubicBezTo>
                  <a:pt x="794" y="766"/>
                  <a:pt x="794" y="763"/>
                  <a:pt x="794" y="763"/>
                </a:cubicBezTo>
                <a:cubicBezTo>
                  <a:pt x="789" y="764"/>
                  <a:pt x="789" y="764"/>
                  <a:pt x="789" y="764"/>
                </a:cubicBezTo>
                <a:cubicBezTo>
                  <a:pt x="789" y="764"/>
                  <a:pt x="793" y="762"/>
                  <a:pt x="793" y="761"/>
                </a:cubicBezTo>
                <a:cubicBezTo>
                  <a:pt x="793" y="760"/>
                  <a:pt x="790" y="760"/>
                  <a:pt x="790" y="759"/>
                </a:cubicBezTo>
                <a:cubicBezTo>
                  <a:pt x="790" y="758"/>
                  <a:pt x="799" y="758"/>
                  <a:pt x="799" y="757"/>
                </a:cubicBezTo>
                <a:cubicBezTo>
                  <a:pt x="800" y="756"/>
                  <a:pt x="781" y="757"/>
                  <a:pt x="781" y="757"/>
                </a:cubicBezTo>
                <a:cubicBezTo>
                  <a:pt x="782" y="759"/>
                  <a:pt x="782" y="759"/>
                  <a:pt x="782" y="759"/>
                </a:cubicBezTo>
                <a:cubicBezTo>
                  <a:pt x="782" y="759"/>
                  <a:pt x="778" y="760"/>
                  <a:pt x="776" y="761"/>
                </a:cubicBezTo>
                <a:cubicBezTo>
                  <a:pt x="774" y="761"/>
                  <a:pt x="769" y="765"/>
                  <a:pt x="769" y="765"/>
                </a:cubicBezTo>
                <a:cubicBezTo>
                  <a:pt x="764" y="765"/>
                  <a:pt x="757" y="758"/>
                  <a:pt x="757" y="758"/>
                </a:cubicBezTo>
                <a:cubicBezTo>
                  <a:pt x="757" y="758"/>
                  <a:pt x="740" y="759"/>
                  <a:pt x="738" y="759"/>
                </a:cubicBezTo>
                <a:cubicBezTo>
                  <a:pt x="736" y="759"/>
                  <a:pt x="736" y="757"/>
                  <a:pt x="736" y="754"/>
                </a:cubicBezTo>
                <a:cubicBezTo>
                  <a:pt x="736" y="751"/>
                  <a:pt x="734" y="749"/>
                  <a:pt x="729" y="748"/>
                </a:cubicBezTo>
                <a:cubicBezTo>
                  <a:pt x="723" y="747"/>
                  <a:pt x="716" y="752"/>
                  <a:pt x="716" y="752"/>
                </a:cubicBezTo>
                <a:cubicBezTo>
                  <a:pt x="716" y="752"/>
                  <a:pt x="710" y="753"/>
                  <a:pt x="707" y="756"/>
                </a:cubicBezTo>
                <a:cubicBezTo>
                  <a:pt x="703" y="759"/>
                  <a:pt x="708" y="764"/>
                  <a:pt x="709" y="768"/>
                </a:cubicBezTo>
                <a:cubicBezTo>
                  <a:pt x="709" y="772"/>
                  <a:pt x="703" y="776"/>
                  <a:pt x="703" y="776"/>
                </a:cubicBezTo>
                <a:cubicBezTo>
                  <a:pt x="704" y="772"/>
                  <a:pt x="704" y="772"/>
                  <a:pt x="704" y="772"/>
                </a:cubicBezTo>
                <a:cubicBezTo>
                  <a:pt x="704" y="772"/>
                  <a:pt x="700" y="771"/>
                  <a:pt x="699" y="769"/>
                </a:cubicBezTo>
                <a:cubicBezTo>
                  <a:pt x="697" y="767"/>
                  <a:pt x="701" y="763"/>
                  <a:pt x="702" y="761"/>
                </a:cubicBezTo>
                <a:cubicBezTo>
                  <a:pt x="704" y="759"/>
                  <a:pt x="703" y="756"/>
                  <a:pt x="703" y="753"/>
                </a:cubicBezTo>
                <a:cubicBezTo>
                  <a:pt x="703" y="751"/>
                  <a:pt x="701" y="748"/>
                  <a:pt x="701" y="748"/>
                </a:cubicBezTo>
                <a:cubicBezTo>
                  <a:pt x="701" y="748"/>
                  <a:pt x="705" y="746"/>
                  <a:pt x="706" y="745"/>
                </a:cubicBezTo>
                <a:cubicBezTo>
                  <a:pt x="707" y="745"/>
                  <a:pt x="710" y="744"/>
                  <a:pt x="710" y="740"/>
                </a:cubicBezTo>
                <a:cubicBezTo>
                  <a:pt x="710" y="736"/>
                  <a:pt x="702" y="739"/>
                  <a:pt x="700" y="739"/>
                </a:cubicBezTo>
                <a:cubicBezTo>
                  <a:pt x="699" y="739"/>
                  <a:pt x="699" y="744"/>
                  <a:pt x="698" y="745"/>
                </a:cubicBezTo>
                <a:cubicBezTo>
                  <a:pt x="696" y="746"/>
                  <a:pt x="694" y="745"/>
                  <a:pt x="692" y="745"/>
                </a:cubicBezTo>
                <a:cubicBezTo>
                  <a:pt x="691" y="745"/>
                  <a:pt x="688" y="750"/>
                  <a:pt x="688" y="750"/>
                </a:cubicBezTo>
                <a:cubicBezTo>
                  <a:pt x="683" y="751"/>
                  <a:pt x="683" y="751"/>
                  <a:pt x="683" y="751"/>
                </a:cubicBezTo>
                <a:cubicBezTo>
                  <a:pt x="683" y="751"/>
                  <a:pt x="681" y="749"/>
                  <a:pt x="680" y="750"/>
                </a:cubicBezTo>
                <a:cubicBezTo>
                  <a:pt x="678" y="751"/>
                  <a:pt x="678" y="754"/>
                  <a:pt x="678" y="754"/>
                </a:cubicBezTo>
                <a:cubicBezTo>
                  <a:pt x="678" y="754"/>
                  <a:pt x="677" y="757"/>
                  <a:pt x="676" y="757"/>
                </a:cubicBezTo>
                <a:cubicBezTo>
                  <a:pt x="675" y="757"/>
                  <a:pt x="676" y="755"/>
                  <a:pt x="676" y="755"/>
                </a:cubicBezTo>
                <a:cubicBezTo>
                  <a:pt x="676" y="755"/>
                  <a:pt x="675" y="754"/>
                  <a:pt x="674" y="754"/>
                </a:cubicBezTo>
                <a:cubicBezTo>
                  <a:pt x="673" y="754"/>
                  <a:pt x="670" y="755"/>
                  <a:pt x="669" y="755"/>
                </a:cubicBezTo>
                <a:cubicBezTo>
                  <a:pt x="668" y="756"/>
                  <a:pt x="665" y="759"/>
                  <a:pt x="664" y="761"/>
                </a:cubicBezTo>
                <a:cubicBezTo>
                  <a:pt x="664" y="762"/>
                  <a:pt x="665" y="764"/>
                  <a:pt x="665" y="764"/>
                </a:cubicBezTo>
                <a:cubicBezTo>
                  <a:pt x="663" y="768"/>
                  <a:pt x="663" y="768"/>
                  <a:pt x="663" y="768"/>
                </a:cubicBezTo>
                <a:cubicBezTo>
                  <a:pt x="664" y="771"/>
                  <a:pt x="664" y="771"/>
                  <a:pt x="664" y="771"/>
                </a:cubicBezTo>
                <a:cubicBezTo>
                  <a:pt x="664" y="771"/>
                  <a:pt x="661" y="772"/>
                  <a:pt x="660" y="772"/>
                </a:cubicBezTo>
                <a:cubicBezTo>
                  <a:pt x="659" y="773"/>
                  <a:pt x="657" y="776"/>
                  <a:pt x="657" y="777"/>
                </a:cubicBezTo>
                <a:cubicBezTo>
                  <a:pt x="656" y="778"/>
                  <a:pt x="653" y="779"/>
                  <a:pt x="653" y="779"/>
                </a:cubicBezTo>
                <a:cubicBezTo>
                  <a:pt x="650" y="780"/>
                  <a:pt x="650" y="780"/>
                  <a:pt x="650" y="780"/>
                </a:cubicBezTo>
                <a:cubicBezTo>
                  <a:pt x="652" y="784"/>
                  <a:pt x="652" y="784"/>
                  <a:pt x="652" y="784"/>
                </a:cubicBezTo>
                <a:cubicBezTo>
                  <a:pt x="652" y="784"/>
                  <a:pt x="652" y="788"/>
                  <a:pt x="651" y="789"/>
                </a:cubicBezTo>
                <a:cubicBezTo>
                  <a:pt x="649" y="789"/>
                  <a:pt x="650" y="787"/>
                  <a:pt x="650" y="785"/>
                </a:cubicBezTo>
                <a:cubicBezTo>
                  <a:pt x="650" y="783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2" y="778"/>
                  <a:pt x="642" y="778"/>
                  <a:pt x="642" y="778"/>
                </a:cubicBezTo>
                <a:cubicBezTo>
                  <a:pt x="642" y="778"/>
                  <a:pt x="641" y="774"/>
                  <a:pt x="638" y="772"/>
                </a:cubicBezTo>
                <a:cubicBezTo>
                  <a:pt x="635" y="771"/>
                  <a:pt x="630" y="771"/>
                  <a:pt x="630" y="771"/>
                </a:cubicBezTo>
                <a:cubicBezTo>
                  <a:pt x="630" y="770"/>
                  <a:pt x="630" y="770"/>
                  <a:pt x="630" y="770"/>
                </a:cubicBezTo>
                <a:cubicBezTo>
                  <a:pt x="630" y="770"/>
                  <a:pt x="624" y="769"/>
                  <a:pt x="623" y="770"/>
                </a:cubicBezTo>
                <a:cubicBezTo>
                  <a:pt x="622" y="772"/>
                  <a:pt x="619" y="774"/>
                  <a:pt x="619" y="774"/>
                </a:cubicBezTo>
                <a:cubicBezTo>
                  <a:pt x="619" y="774"/>
                  <a:pt x="617" y="772"/>
                  <a:pt x="615" y="774"/>
                </a:cubicBezTo>
                <a:cubicBezTo>
                  <a:pt x="614" y="775"/>
                  <a:pt x="611" y="779"/>
                  <a:pt x="609" y="779"/>
                </a:cubicBezTo>
                <a:cubicBezTo>
                  <a:pt x="607" y="779"/>
                  <a:pt x="605" y="778"/>
                  <a:pt x="605" y="778"/>
                </a:cubicBezTo>
                <a:cubicBezTo>
                  <a:pt x="603" y="775"/>
                  <a:pt x="603" y="775"/>
                  <a:pt x="603" y="775"/>
                </a:cubicBezTo>
                <a:cubicBezTo>
                  <a:pt x="601" y="777"/>
                  <a:pt x="601" y="777"/>
                  <a:pt x="601" y="777"/>
                </a:cubicBezTo>
                <a:cubicBezTo>
                  <a:pt x="601" y="777"/>
                  <a:pt x="598" y="778"/>
                  <a:pt x="597" y="776"/>
                </a:cubicBezTo>
                <a:cubicBezTo>
                  <a:pt x="596" y="774"/>
                  <a:pt x="598" y="772"/>
                  <a:pt x="596" y="771"/>
                </a:cubicBezTo>
                <a:cubicBezTo>
                  <a:pt x="596" y="770"/>
                  <a:pt x="595" y="770"/>
                  <a:pt x="595" y="770"/>
                </a:cubicBezTo>
                <a:cubicBezTo>
                  <a:pt x="593" y="769"/>
                  <a:pt x="591" y="767"/>
                  <a:pt x="590" y="765"/>
                </a:cubicBezTo>
                <a:cubicBezTo>
                  <a:pt x="589" y="763"/>
                  <a:pt x="587" y="760"/>
                  <a:pt x="587" y="760"/>
                </a:cubicBezTo>
                <a:cubicBezTo>
                  <a:pt x="586" y="757"/>
                  <a:pt x="586" y="757"/>
                  <a:pt x="586" y="757"/>
                </a:cubicBezTo>
                <a:cubicBezTo>
                  <a:pt x="586" y="757"/>
                  <a:pt x="586" y="757"/>
                  <a:pt x="586" y="756"/>
                </a:cubicBezTo>
                <a:cubicBezTo>
                  <a:pt x="586" y="756"/>
                  <a:pt x="586" y="756"/>
                  <a:pt x="586" y="756"/>
                </a:cubicBezTo>
                <a:cubicBezTo>
                  <a:pt x="586" y="756"/>
                  <a:pt x="584" y="753"/>
                  <a:pt x="584" y="750"/>
                </a:cubicBezTo>
                <a:cubicBezTo>
                  <a:pt x="584" y="747"/>
                  <a:pt x="586" y="748"/>
                  <a:pt x="586" y="746"/>
                </a:cubicBezTo>
                <a:cubicBezTo>
                  <a:pt x="586" y="744"/>
                  <a:pt x="585" y="742"/>
                  <a:pt x="585" y="742"/>
                </a:cubicBezTo>
                <a:cubicBezTo>
                  <a:pt x="586" y="735"/>
                  <a:pt x="586" y="735"/>
                  <a:pt x="586" y="735"/>
                </a:cubicBezTo>
                <a:cubicBezTo>
                  <a:pt x="588" y="738"/>
                  <a:pt x="588" y="738"/>
                  <a:pt x="588" y="738"/>
                </a:cubicBezTo>
                <a:cubicBezTo>
                  <a:pt x="589" y="726"/>
                  <a:pt x="589" y="726"/>
                  <a:pt x="589" y="726"/>
                </a:cubicBezTo>
                <a:cubicBezTo>
                  <a:pt x="589" y="726"/>
                  <a:pt x="590" y="721"/>
                  <a:pt x="592" y="719"/>
                </a:cubicBezTo>
                <a:cubicBezTo>
                  <a:pt x="594" y="718"/>
                  <a:pt x="594" y="714"/>
                  <a:pt x="594" y="713"/>
                </a:cubicBezTo>
                <a:cubicBezTo>
                  <a:pt x="593" y="712"/>
                  <a:pt x="592" y="711"/>
                  <a:pt x="592" y="710"/>
                </a:cubicBezTo>
                <a:cubicBezTo>
                  <a:pt x="592" y="710"/>
                  <a:pt x="595" y="710"/>
                  <a:pt x="595" y="708"/>
                </a:cubicBezTo>
                <a:cubicBezTo>
                  <a:pt x="594" y="707"/>
                  <a:pt x="593" y="705"/>
                  <a:pt x="593" y="705"/>
                </a:cubicBezTo>
                <a:cubicBezTo>
                  <a:pt x="589" y="704"/>
                  <a:pt x="589" y="704"/>
                  <a:pt x="589" y="704"/>
                </a:cubicBezTo>
                <a:cubicBezTo>
                  <a:pt x="589" y="704"/>
                  <a:pt x="587" y="703"/>
                  <a:pt x="585" y="701"/>
                </a:cubicBezTo>
                <a:cubicBezTo>
                  <a:pt x="583" y="699"/>
                  <a:pt x="581" y="700"/>
                  <a:pt x="581" y="700"/>
                </a:cubicBezTo>
                <a:cubicBezTo>
                  <a:pt x="581" y="700"/>
                  <a:pt x="581" y="697"/>
                  <a:pt x="578" y="697"/>
                </a:cubicBezTo>
                <a:cubicBezTo>
                  <a:pt x="576" y="697"/>
                  <a:pt x="573" y="699"/>
                  <a:pt x="573" y="699"/>
                </a:cubicBezTo>
                <a:cubicBezTo>
                  <a:pt x="573" y="699"/>
                  <a:pt x="571" y="697"/>
                  <a:pt x="569" y="697"/>
                </a:cubicBezTo>
                <a:cubicBezTo>
                  <a:pt x="568" y="697"/>
                  <a:pt x="564" y="701"/>
                  <a:pt x="564" y="701"/>
                </a:cubicBezTo>
                <a:cubicBezTo>
                  <a:pt x="559" y="700"/>
                  <a:pt x="559" y="700"/>
                  <a:pt x="559" y="700"/>
                </a:cubicBezTo>
                <a:cubicBezTo>
                  <a:pt x="559" y="700"/>
                  <a:pt x="557" y="699"/>
                  <a:pt x="556" y="699"/>
                </a:cubicBezTo>
                <a:cubicBezTo>
                  <a:pt x="555" y="699"/>
                  <a:pt x="552" y="700"/>
                  <a:pt x="552" y="700"/>
                </a:cubicBezTo>
                <a:cubicBezTo>
                  <a:pt x="552" y="700"/>
                  <a:pt x="551" y="697"/>
                  <a:pt x="550" y="697"/>
                </a:cubicBezTo>
                <a:cubicBezTo>
                  <a:pt x="550" y="697"/>
                  <a:pt x="546" y="700"/>
                  <a:pt x="546" y="700"/>
                </a:cubicBezTo>
                <a:cubicBezTo>
                  <a:pt x="544" y="698"/>
                  <a:pt x="544" y="698"/>
                  <a:pt x="544" y="698"/>
                </a:cubicBezTo>
                <a:cubicBezTo>
                  <a:pt x="541" y="700"/>
                  <a:pt x="541" y="700"/>
                  <a:pt x="541" y="700"/>
                </a:cubicBezTo>
                <a:cubicBezTo>
                  <a:pt x="540" y="699"/>
                  <a:pt x="540" y="699"/>
                  <a:pt x="540" y="699"/>
                </a:cubicBezTo>
                <a:cubicBezTo>
                  <a:pt x="542" y="693"/>
                  <a:pt x="542" y="693"/>
                  <a:pt x="542" y="693"/>
                </a:cubicBezTo>
                <a:cubicBezTo>
                  <a:pt x="544" y="694"/>
                  <a:pt x="544" y="694"/>
                  <a:pt x="544" y="694"/>
                </a:cubicBezTo>
                <a:cubicBezTo>
                  <a:pt x="544" y="694"/>
                  <a:pt x="547" y="691"/>
                  <a:pt x="547" y="689"/>
                </a:cubicBezTo>
                <a:cubicBezTo>
                  <a:pt x="547" y="686"/>
                  <a:pt x="546" y="684"/>
                  <a:pt x="547" y="682"/>
                </a:cubicBezTo>
                <a:cubicBezTo>
                  <a:pt x="548" y="680"/>
                  <a:pt x="551" y="675"/>
                  <a:pt x="551" y="674"/>
                </a:cubicBezTo>
                <a:cubicBezTo>
                  <a:pt x="551" y="673"/>
                  <a:pt x="547" y="672"/>
                  <a:pt x="547" y="672"/>
                </a:cubicBezTo>
                <a:cubicBezTo>
                  <a:pt x="549" y="669"/>
                  <a:pt x="549" y="669"/>
                  <a:pt x="549" y="669"/>
                </a:cubicBezTo>
                <a:cubicBezTo>
                  <a:pt x="552" y="666"/>
                  <a:pt x="552" y="666"/>
                  <a:pt x="552" y="666"/>
                </a:cubicBezTo>
                <a:cubicBezTo>
                  <a:pt x="552" y="666"/>
                  <a:pt x="551" y="670"/>
                  <a:pt x="552" y="671"/>
                </a:cubicBezTo>
                <a:cubicBezTo>
                  <a:pt x="553" y="671"/>
                  <a:pt x="554" y="671"/>
                  <a:pt x="554" y="671"/>
                </a:cubicBezTo>
                <a:cubicBezTo>
                  <a:pt x="557" y="662"/>
                  <a:pt x="557" y="662"/>
                  <a:pt x="557" y="662"/>
                </a:cubicBezTo>
                <a:cubicBezTo>
                  <a:pt x="556" y="660"/>
                  <a:pt x="556" y="660"/>
                  <a:pt x="556" y="660"/>
                </a:cubicBezTo>
                <a:cubicBezTo>
                  <a:pt x="559" y="659"/>
                  <a:pt x="559" y="659"/>
                  <a:pt x="559" y="659"/>
                </a:cubicBezTo>
                <a:cubicBezTo>
                  <a:pt x="559" y="658"/>
                  <a:pt x="559" y="658"/>
                  <a:pt x="559" y="658"/>
                </a:cubicBezTo>
                <a:cubicBezTo>
                  <a:pt x="557" y="657"/>
                  <a:pt x="557" y="657"/>
                  <a:pt x="557" y="657"/>
                </a:cubicBezTo>
                <a:cubicBezTo>
                  <a:pt x="559" y="654"/>
                  <a:pt x="559" y="654"/>
                  <a:pt x="559" y="654"/>
                </a:cubicBezTo>
                <a:cubicBezTo>
                  <a:pt x="560" y="651"/>
                  <a:pt x="560" y="651"/>
                  <a:pt x="560" y="651"/>
                </a:cubicBezTo>
                <a:cubicBezTo>
                  <a:pt x="560" y="651"/>
                  <a:pt x="566" y="644"/>
                  <a:pt x="567" y="642"/>
                </a:cubicBezTo>
                <a:cubicBezTo>
                  <a:pt x="568" y="641"/>
                  <a:pt x="570" y="636"/>
                  <a:pt x="567" y="635"/>
                </a:cubicBezTo>
                <a:cubicBezTo>
                  <a:pt x="565" y="635"/>
                  <a:pt x="560" y="636"/>
                  <a:pt x="560" y="636"/>
                </a:cubicBezTo>
                <a:cubicBezTo>
                  <a:pt x="560" y="636"/>
                  <a:pt x="555" y="635"/>
                  <a:pt x="554" y="635"/>
                </a:cubicBezTo>
                <a:cubicBezTo>
                  <a:pt x="553" y="635"/>
                  <a:pt x="547" y="636"/>
                  <a:pt x="544" y="637"/>
                </a:cubicBezTo>
                <a:cubicBezTo>
                  <a:pt x="541" y="638"/>
                  <a:pt x="536" y="637"/>
                  <a:pt x="534" y="638"/>
                </a:cubicBezTo>
                <a:cubicBezTo>
                  <a:pt x="533" y="640"/>
                  <a:pt x="531" y="644"/>
                  <a:pt x="531" y="647"/>
                </a:cubicBezTo>
                <a:cubicBezTo>
                  <a:pt x="530" y="651"/>
                  <a:pt x="530" y="654"/>
                  <a:pt x="530" y="654"/>
                </a:cubicBezTo>
                <a:cubicBezTo>
                  <a:pt x="528" y="655"/>
                  <a:pt x="528" y="655"/>
                  <a:pt x="528" y="655"/>
                </a:cubicBezTo>
                <a:cubicBezTo>
                  <a:pt x="528" y="655"/>
                  <a:pt x="528" y="659"/>
                  <a:pt x="527" y="660"/>
                </a:cubicBezTo>
                <a:cubicBezTo>
                  <a:pt x="526" y="661"/>
                  <a:pt x="521" y="663"/>
                  <a:pt x="520" y="664"/>
                </a:cubicBezTo>
                <a:cubicBezTo>
                  <a:pt x="519" y="666"/>
                  <a:pt x="520" y="670"/>
                  <a:pt x="517" y="671"/>
                </a:cubicBezTo>
                <a:cubicBezTo>
                  <a:pt x="514" y="671"/>
                  <a:pt x="516" y="667"/>
                  <a:pt x="513" y="667"/>
                </a:cubicBezTo>
                <a:cubicBezTo>
                  <a:pt x="509" y="667"/>
                  <a:pt x="504" y="669"/>
                  <a:pt x="500" y="669"/>
                </a:cubicBezTo>
                <a:cubicBezTo>
                  <a:pt x="495" y="669"/>
                  <a:pt x="490" y="674"/>
                  <a:pt x="488" y="673"/>
                </a:cubicBezTo>
                <a:cubicBezTo>
                  <a:pt x="486" y="673"/>
                  <a:pt x="486" y="668"/>
                  <a:pt x="484" y="668"/>
                </a:cubicBezTo>
                <a:cubicBezTo>
                  <a:pt x="481" y="667"/>
                  <a:pt x="476" y="667"/>
                  <a:pt x="476" y="667"/>
                </a:cubicBezTo>
                <a:cubicBezTo>
                  <a:pt x="476" y="667"/>
                  <a:pt x="475" y="663"/>
                  <a:pt x="474" y="662"/>
                </a:cubicBezTo>
                <a:cubicBezTo>
                  <a:pt x="473" y="660"/>
                  <a:pt x="471" y="658"/>
                  <a:pt x="471" y="658"/>
                </a:cubicBezTo>
                <a:cubicBezTo>
                  <a:pt x="471" y="654"/>
                  <a:pt x="471" y="654"/>
                  <a:pt x="471" y="654"/>
                </a:cubicBezTo>
                <a:cubicBezTo>
                  <a:pt x="466" y="645"/>
                  <a:pt x="466" y="645"/>
                  <a:pt x="466" y="645"/>
                </a:cubicBezTo>
                <a:cubicBezTo>
                  <a:pt x="466" y="639"/>
                  <a:pt x="466" y="639"/>
                  <a:pt x="466" y="639"/>
                </a:cubicBezTo>
                <a:cubicBezTo>
                  <a:pt x="463" y="635"/>
                  <a:pt x="463" y="635"/>
                  <a:pt x="463" y="635"/>
                </a:cubicBezTo>
                <a:cubicBezTo>
                  <a:pt x="463" y="623"/>
                  <a:pt x="463" y="623"/>
                  <a:pt x="463" y="623"/>
                </a:cubicBezTo>
                <a:cubicBezTo>
                  <a:pt x="463" y="623"/>
                  <a:pt x="466" y="619"/>
                  <a:pt x="466" y="616"/>
                </a:cubicBezTo>
                <a:cubicBezTo>
                  <a:pt x="466" y="614"/>
                  <a:pt x="467" y="608"/>
                  <a:pt x="467" y="608"/>
                </a:cubicBezTo>
                <a:cubicBezTo>
                  <a:pt x="466" y="602"/>
                  <a:pt x="466" y="602"/>
                  <a:pt x="466" y="602"/>
                </a:cubicBezTo>
                <a:cubicBezTo>
                  <a:pt x="469" y="601"/>
                  <a:pt x="469" y="601"/>
                  <a:pt x="469" y="601"/>
                </a:cubicBezTo>
                <a:cubicBezTo>
                  <a:pt x="469" y="601"/>
                  <a:pt x="469" y="593"/>
                  <a:pt x="471" y="592"/>
                </a:cubicBezTo>
                <a:cubicBezTo>
                  <a:pt x="473" y="592"/>
                  <a:pt x="474" y="594"/>
                  <a:pt x="475" y="592"/>
                </a:cubicBezTo>
                <a:cubicBezTo>
                  <a:pt x="475" y="590"/>
                  <a:pt x="477" y="586"/>
                  <a:pt x="477" y="586"/>
                </a:cubicBezTo>
                <a:cubicBezTo>
                  <a:pt x="475" y="576"/>
                  <a:pt x="475" y="576"/>
                  <a:pt x="475" y="576"/>
                </a:cubicBezTo>
                <a:cubicBezTo>
                  <a:pt x="478" y="574"/>
                  <a:pt x="478" y="574"/>
                  <a:pt x="478" y="574"/>
                </a:cubicBezTo>
                <a:cubicBezTo>
                  <a:pt x="475" y="572"/>
                  <a:pt x="475" y="572"/>
                  <a:pt x="475" y="572"/>
                </a:cubicBezTo>
                <a:cubicBezTo>
                  <a:pt x="475" y="569"/>
                  <a:pt x="475" y="569"/>
                  <a:pt x="475" y="569"/>
                </a:cubicBezTo>
                <a:cubicBezTo>
                  <a:pt x="475" y="569"/>
                  <a:pt x="479" y="572"/>
                  <a:pt x="480" y="569"/>
                </a:cubicBezTo>
                <a:cubicBezTo>
                  <a:pt x="480" y="567"/>
                  <a:pt x="480" y="565"/>
                  <a:pt x="480" y="565"/>
                </a:cubicBezTo>
                <a:cubicBezTo>
                  <a:pt x="483" y="564"/>
                  <a:pt x="483" y="564"/>
                  <a:pt x="483" y="564"/>
                </a:cubicBezTo>
                <a:cubicBezTo>
                  <a:pt x="484" y="560"/>
                  <a:pt x="484" y="560"/>
                  <a:pt x="484" y="560"/>
                </a:cubicBezTo>
                <a:cubicBezTo>
                  <a:pt x="486" y="561"/>
                  <a:pt x="486" y="561"/>
                  <a:pt x="486" y="561"/>
                </a:cubicBezTo>
                <a:cubicBezTo>
                  <a:pt x="489" y="560"/>
                  <a:pt x="489" y="560"/>
                  <a:pt x="489" y="560"/>
                </a:cubicBezTo>
                <a:cubicBezTo>
                  <a:pt x="488" y="557"/>
                  <a:pt x="488" y="557"/>
                  <a:pt x="488" y="557"/>
                </a:cubicBezTo>
                <a:cubicBezTo>
                  <a:pt x="490" y="558"/>
                  <a:pt x="490" y="558"/>
                  <a:pt x="490" y="558"/>
                </a:cubicBezTo>
                <a:cubicBezTo>
                  <a:pt x="490" y="558"/>
                  <a:pt x="491" y="554"/>
                  <a:pt x="492" y="554"/>
                </a:cubicBezTo>
                <a:cubicBezTo>
                  <a:pt x="493" y="555"/>
                  <a:pt x="493" y="558"/>
                  <a:pt x="495" y="557"/>
                </a:cubicBezTo>
                <a:cubicBezTo>
                  <a:pt x="496" y="556"/>
                  <a:pt x="502" y="555"/>
                  <a:pt x="503" y="553"/>
                </a:cubicBezTo>
                <a:cubicBezTo>
                  <a:pt x="505" y="551"/>
                  <a:pt x="508" y="547"/>
                  <a:pt x="508" y="547"/>
                </a:cubicBezTo>
                <a:cubicBezTo>
                  <a:pt x="508" y="547"/>
                  <a:pt x="506" y="542"/>
                  <a:pt x="508" y="542"/>
                </a:cubicBezTo>
                <a:cubicBezTo>
                  <a:pt x="510" y="542"/>
                  <a:pt x="513" y="547"/>
                  <a:pt x="515" y="546"/>
                </a:cubicBezTo>
                <a:cubicBezTo>
                  <a:pt x="518" y="544"/>
                  <a:pt x="519" y="538"/>
                  <a:pt x="520" y="540"/>
                </a:cubicBezTo>
                <a:cubicBezTo>
                  <a:pt x="521" y="541"/>
                  <a:pt x="522" y="542"/>
                  <a:pt x="523" y="542"/>
                </a:cubicBezTo>
                <a:cubicBezTo>
                  <a:pt x="524" y="542"/>
                  <a:pt x="526" y="539"/>
                  <a:pt x="526" y="539"/>
                </a:cubicBezTo>
                <a:cubicBezTo>
                  <a:pt x="526" y="539"/>
                  <a:pt x="530" y="546"/>
                  <a:pt x="533" y="545"/>
                </a:cubicBezTo>
                <a:cubicBezTo>
                  <a:pt x="536" y="545"/>
                  <a:pt x="536" y="538"/>
                  <a:pt x="540" y="542"/>
                </a:cubicBezTo>
                <a:cubicBezTo>
                  <a:pt x="543" y="545"/>
                  <a:pt x="541" y="549"/>
                  <a:pt x="544" y="549"/>
                </a:cubicBezTo>
                <a:cubicBezTo>
                  <a:pt x="546" y="549"/>
                  <a:pt x="549" y="550"/>
                  <a:pt x="549" y="550"/>
                </a:cubicBezTo>
                <a:cubicBezTo>
                  <a:pt x="549" y="550"/>
                  <a:pt x="549" y="547"/>
                  <a:pt x="550" y="548"/>
                </a:cubicBezTo>
                <a:cubicBezTo>
                  <a:pt x="552" y="549"/>
                  <a:pt x="553" y="553"/>
                  <a:pt x="554" y="550"/>
                </a:cubicBezTo>
                <a:cubicBezTo>
                  <a:pt x="555" y="548"/>
                  <a:pt x="554" y="545"/>
                  <a:pt x="554" y="545"/>
                </a:cubicBezTo>
                <a:cubicBezTo>
                  <a:pt x="557" y="546"/>
                  <a:pt x="557" y="546"/>
                  <a:pt x="557" y="546"/>
                </a:cubicBezTo>
                <a:cubicBezTo>
                  <a:pt x="558" y="548"/>
                  <a:pt x="558" y="548"/>
                  <a:pt x="558" y="548"/>
                </a:cubicBezTo>
                <a:cubicBezTo>
                  <a:pt x="560" y="549"/>
                  <a:pt x="560" y="549"/>
                  <a:pt x="560" y="549"/>
                </a:cubicBezTo>
                <a:cubicBezTo>
                  <a:pt x="560" y="551"/>
                  <a:pt x="560" y="551"/>
                  <a:pt x="560" y="551"/>
                </a:cubicBezTo>
                <a:cubicBezTo>
                  <a:pt x="560" y="551"/>
                  <a:pt x="565" y="552"/>
                  <a:pt x="564" y="550"/>
                </a:cubicBezTo>
                <a:cubicBezTo>
                  <a:pt x="563" y="547"/>
                  <a:pt x="560" y="546"/>
                  <a:pt x="560" y="546"/>
                </a:cubicBezTo>
                <a:cubicBezTo>
                  <a:pt x="559" y="544"/>
                  <a:pt x="559" y="544"/>
                  <a:pt x="559" y="544"/>
                </a:cubicBezTo>
                <a:cubicBezTo>
                  <a:pt x="559" y="544"/>
                  <a:pt x="563" y="543"/>
                  <a:pt x="563" y="542"/>
                </a:cubicBezTo>
                <a:cubicBezTo>
                  <a:pt x="562" y="540"/>
                  <a:pt x="562" y="540"/>
                  <a:pt x="560" y="540"/>
                </a:cubicBezTo>
                <a:cubicBezTo>
                  <a:pt x="558" y="540"/>
                  <a:pt x="552" y="541"/>
                  <a:pt x="554" y="538"/>
                </a:cubicBezTo>
                <a:cubicBezTo>
                  <a:pt x="556" y="535"/>
                  <a:pt x="558" y="537"/>
                  <a:pt x="560" y="538"/>
                </a:cubicBezTo>
                <a:cubicBezTo>
                  <a:pt x="563" y="538"/>
                  <a:pt x="564" y="538"/>
                  <a:pt x="566" y="536"/>
                </a:cubicBezTo>
                <a:cubicBezTo>
                  <a:pt x="568" y="535"/>
                  <a:pt x="571" y="535"/>
                  <a:pt x="571" y="535"/>
                </a:cubicBezTo>
                <a:cubicBezTo>
                  <a:pt x="571" y="536"/>
                  <a:pt x="571" y="536"/>
                  <a:pt x="571" y="536"/>
                </a:cubicBezTo>
                <a:cubicBezTo>
                  <a:pt x="571" y="536"/>
                  <a:pt x="577" y="536"/>
                  <a:pt x="577" y="534"/>
                </a:cubicBezTo>
                <a:cubicBezTo>
                  <a:pt x="577" y="533"/>
                  <a:pt x="578" y="530"/>
                  <a:pt x="579" y="531"/>
                </a:cubicBezTo>
                <a:cubicBezTo>
                  <a:pt x="580" y="532"/>
                  <a:pt x="580" y="536"/>
                  <a:pt x="580" y="536"/>
                </a:cubicBezTo>
                <a:cubicBezTo>
                  <a:pt x="580" y="536"/>
                  <a:pt x="587" y="534"/>
                  <a:pt x="589" y="534"/>
                </a:cubicBezTo>
                <a:cubicBezTo>
                  <a:pt x="590" y="534"/>
                  <a:pt x="592" y="536"/>
                  <a:pt x="592" y="536"/>
                </a:cubicBezTo>
                <a:cubicBezTo>
                  <a:pt x="592" y="536"/>
                  <a:pt x="591" y="533"/>
                  <a:pt x="593" y="534"/>
                </a:cubicBezTo>
                <a:cubicBezTo>
                  <a:pt x="595" y="535"/>
                  <a:pt x="595" y="538"/>
                  <a:pt x="595" y="538"/>
                </a:cubicBezTo>
                <a:cubicBezTo>
                  <a:pt x="600" y="537"/>
                  <a:pt x="600" y="537"/>
                  <a:pt x="600" y="537"/>
                </a:cubicBezTo>
                <a:cubicBezTo>
                  <a:pt x="599" y="538"/>
                  <a:pt x="599" y="538"/>
                  <a:pt x="599" y="538"/>
                </a:cubicBezTo>
                <a:cubicBezTo>
                  <a:pt x="599" y="538"/>
                  <a:pt x="599" y="545"/>
                  <a:pt x="603" y="544"/>
                </a:cubicBezTo>
                <a:cubicBezTo>
                  <a:pt x="607" y="543"/>
                  <a:pt x="609" y="538"/>
                  <a:pt x="613" y="539"/>
                </a:cubicBezTo>
                <a:cubicBezTo>
                  <a:pt x="617" y="540"/>
                  <a:pt x="617" y="547"/>
                  <a:pt x="619" y="548"/>
                </a:cubicBezTo>
                <a:cubicBezTo>
                  <a:pt x="621" y="549"/>
                  <a:pt x="625" y="549"/>
                  <a:pt x="625" y="549"/>
                </a:cubicBezTo>
                <a:cubicBezTo>
                  <a:pt x="624" y="555"/>
                  <a:pt x="624" y="555"/>
                  <a:pt x="624" y="555"/>
                </a:cubicBezTo>
                <a:cubicBezTo>
                  <a:pt x="624" y="555"/>
                  <a:pt x="620" y="560"/>
                  <a:pt x="620" y="562"/>
                </a:cubicBezTo>
                <a:cubicBezTo>
                  <a:pt x="621" y="564"/>
                  <a:pt x="623" y="564"/>
                  <a:pt x="623" y="564"/>
                </a:cubicBezTo>
                <a:cubicBezTo>
                  <a:pt x="624" y="566"/>
                  <a:pt x="624" y="566"/>
                  <a:pt x="624" y="566"/>
                </a:cubicBezTo>
                <a:cubicBezTo>
                  <a:pt x="620" y="569"/>
                  <a:pt x="620" y="569"/>
                  <a:pt x="620" y="569"/>
                </a:cubicBezTo>
                <a:cubicBezTo>
                  <a:pt x="623" y="576"/>
                  <a:pt x="623" y="576"/>
                  <a:pt x="623" y="576"/>
                </a:cubicBezTo>
                <a:cubicBezTo>
                  <a:pt x="623" y="576"/>
                  <a:pt x="626" y="572"/>
                  <a:pt x="626" y="573"/>
                </a:cubicBezTo>
                <a:cubicBezTo>
                  <a:pt x="626" y="574"/>
                  <a:pt x="624" y="579"/>
                  <a:pt x="624" y="579"/>
                </a:cubicBezTo>
                <a:cubicBezTo>
                  <a:pt x="626" y="579"/>
                  <a:pt x="626" y="579"/>
                  <a:pt x="626" y="579"/>
                </a:cubicBezTo>
                <a:cubicBezTo>
                  <a:pt x="626" y="586"/>
                  <a:pt x="626" y="586"/>
                  <a:pt x="626" y="586"/>
                </a:cubicBezTo>
                <a:cubicBezTo>
                  <a:pt x="626" y="586"/>
                  <a:pt x="630" y="586"/>
                  <a:pt x="630" y="587"/>
                </a:cubicBezTo>
                <a:cubicBezTo>
                  <a:pt x="630" y="588"/>
                  <a:pt x="629" y="591"/>
                  <a:pt x="629" y="591"/>
                </a:cubicBezTo>
                <a:cubicBezTo>
                  <a:pt x="632" y="595"/>
                  <a:pt x="632" y="595"/>
                  <a:pt x="632" y="595"/>
                </a:cubicBezTo>
                <a:cubicBezTo>
                  <a:pt x="632" y="595"/>
                  <a:pt x="637" y="594"/>
                  <a:pt x="638" y="592"/>
                </a:cubicBezTo>
                <a:cubicBezTo>
                  <a:pt x="638" y="591"/>
                  <a:pt x="639" y="588"/>
                  <a:pt x="639" y="588"/>
                </a:cubicBezTo>
                <a:cubicBezTo>
                  <a:pt x="641" y="588"/>
                  <a:pt x="641" y="588"/>
                  <a:pt x="641" y="588"/>
                </a:cubicBezTo>
                <a:cubicBezTo>
                  <a:pt x="641" y="588"/>
                  <a:pt x="641" y="584"/>
                  <a:pt x="643" y="582"/>
                </a:cubicBezTo>
                <a:cubicBezTo>
                  <a:pt x="644" y="579"/>
                  <a:pt x="645" y="576"/>
                  <a:pt x="644" y="574"/>
                </a:cubicBezTo>
                <a:cubicBezTo>
                  <a:pt x="644" y="572"/>
                  <a:pt x="641" y="565"/>
                  <a:pt x="641" y="563"/>
                </a:cubicBezTo>
                <a:cubicBezTo>
                  <a:pt x="641" y="561"/>
                  <a:pt x="643" y="558"/>
                  <a:pt x="643" y="555"/>
                </a:cubicBezTo>
                <a:cubicBezTo>
                  <a:pt x="643" y="551"/>
                  <a:pt x="639" y="546"/>
                  <a:pt x="639" y="543"/>
                </a:cubicBezTo>
                <a:cubicBezTo>
                  <a:pt x="640" y="540"/>
                  <a:pt x="639" y="532"/>
                  <a:pt x="641" y="529"/>
                </a:cubicBezTo>
                <a:cubicBezTo>
                  <a:pt x="644" y="526"/>
                  <a:pt x="645" y="520"/>
                  <a:pt x="645" y="520"/>
                </a:cubicBezTo>
                <a:cubicBezTo>
                  <a:pt x="647" y="519"/>
                  <a:pt x="647" y="519"/>
                  <a:pt x="647" y="519"/>
                </a:cubicBezTo>
                <a:cubicBezTo>
                  <a:pt x="650" y="517"/>
                  <a:pt x="650" y="517"/>
                  <a:pt x="650" y="517"/>
                </a:cubicBezTo>
                <a:cubicBezTo>
                  <a:pt x="651" y="513"/>
                  <a:pt x="651" y="513"/>
                  <a:pt x="651" y="513"/>
                </a:cubicBezTo>
                <a:cubicBezTo>
                  <a:pt x="653" y="514"/>
                  <a:pt x="653" y="514"/>
                  <a:pt x="653" y="514"/>
                </a:cubicBezTo>
                <a:cubicBezTo>
                  <a:pt x="654" y="511"/>
                  <a:pt x="654" y="511"/>
                  <a:pt x="654" y="511"/>
                </a:cubicBezTo>
                <a:cubicBezTo>
                  <a:pt x="654" y="511"/>
                  <a:pt x="660" y="512"/>
                  <a:pt x="661" y="511"/>
                </a:cubicBezTo>
                <a:cubicBezTo>
                  <a:pt x="662" y="510"/>
                  <a:pt x="661" y="508"/>
                  <a:pt x="661" y="508"/>
                </a:cubicBezTo>
                <a:cubicBezTo>
                  <a:pt x="664" y="508"/>
                  <a:pt x="664" y="508"/>
                  <a:pt x="664" y="508"/>
                </a:cubicBezTo>
                <a:cubicBezTo>
                  <a:pt x="665" y="506"/>
                  <a:pt x="665" y="506"/>
                  <a:pt x="665" y="506"/>
                </a:cubicBezTo>
                <a:cubicBezTo>
                  <a:pt x="667" y="506"/>
                  <a:pt x="667" y="506"/>
                  <a:pt x="667" y="506"/>
                </a:cubicBezTo>
                <a:cubicBezTo>
                  <a:pt x="671" y="502"/>
                  <a:pt x="671" y="502"/>
                  <a:pt x="671" y="502"/>
                </a:cubicBezTo>
                <a:cubicBezTo>
                  <a:pt x="671" y="502"/>
                  <a:pt x="672" y="498"/>
                  <a:pt x="676" y="497"/>
                </a:cubicBezTo>
                <a:cubicBezTo>
                  <a:pt x="680" y="496"/>
                  <a:pt x="682" y="498"/>
                  <a:pt x="684" y="496"/>
                </a:cubicBezTo>
                <a:cubicBezTo>
                  <a:pt x="686" y="494"/>
                  <a:pt x="687" y="491"/>
                  <a:pt x="687" y="491"/>
                </a:cubicBezTo>
                <a:cubicBezTo>
                  <a:pt x="689" y="491"/>
                  <a:pt x="689" y="491"/>
                  <a:pt x="689" y="491"/>
                </a:cubicBezTo>
                <a:cubicBezTo>
                  <a:pt x="690" y="488"/>
                  <a:pt x="690" y="488"/>
                  <a:pt x="690" y="488"/>
                </a:cubicBezTo>
                <a:cubicBezTo>
                  <a:pt x="701" y="487"/>
                  <a:pt x="701" y="487"/>
                  <a:pt x="701" y="487"/>
                </a:cubicBezTo>
                <a:cubicBezTo>
                  <a:pt x="702" y="484"/>
                  <a:pt x="702" y="484"/>
                  <a:pt x="702" y="484"/>
                </a:cubicBezTo>
                <a:cubicBezTo>
                  <a:pt x="697" y="484"/>
                  <a:pt x="697" y="484"/>
                  <a:pt x="697" y="484"/>
                </a:cubicBezTo>
                <a:cubicBezTo>
                  <a:pt x="697" y="484"/>
                  <a:pt x="700" y="483"/>
                  <a:pt x="699" y="482"/>
                </a:cubicBezTo>
                <a:cubicBezTo>
                  <a:pt x="699" y="480"/>
                  <a:pt x="697" y="479"/>
                  <a:pt x="697" y="479"/>
                </a:cubicBezTo>
                <a:cubicBezTo>
                  <a:pt x="702" y="478"/>
                  <a:pt x="702" y="478"/>
                  <a:pt x="702" y="478"/>
                </a:cubicBezTo>
                <a:cubicBezTo>
                  <a:pt x="705" y="479"/>
                  <a:pt x="705" y="479"/>
                  <a:pt x="705" y="479"/>
                </a:cubicBezTo>
                <a:cubicBezTo>
                  <a:pt x="710" y="474"/>
                  <a:pt x="710" y="474"/>
                  <a:pt x="710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0"/>
                  <a:pt x="702" y="470"/>
                  <a:pt x="702" y="470"/>
                </a:cubicBezTo>
                <a:cubicBezTo>
                  <a:pt x="704" y="472"/>
                  <a:pt x="704" y="472"/>
                  <a:pt x="704" y="472"/>
                </a:cubicBezTo>
                <a:cubicBezTo>
                  <a:pt x="710" y="470"/>
                  <a:pt x="710" y="470"/>
                  <a:pt x="710" y="470"/>
                </a:cubicBezTo>
                <a:cubicBezTo>
                  <a:pt x="711" y="462"/>
                  <a:pt x="711" y="462"/>
                  <a:pt x="711" y="462"/>
                </a:cubicBezTo>
                <a:cubicBezTo>
                  <a:pt x="707" y="464"/>
                  <a:pt x="707" y="464"/>
                  <a:pt x="707" y="464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3" y="457"/>
                  <a:pt x="703" y="457"/>
                  <a:pt x="703" y="457"/>
                </a:cubicBezTo>
                <a:cubicBezTo>
                  <a:pt x="709" y="461"/>
                  <a:pt x="709" y="461"/>
                  <a:pt x="709" y="461"/>
                </a:cubicBezTo>
                <a:cubicBezTo>
                  <a:pt x="710" y="459"/>
                  <a:pt x="710" y="459"/>
                  <a:pt x="710" y="459"/>
                </a:cubicBezTo>
                <a:cubicBezTo>
                  <a:pt x="707" y="457"/>
                  <a:pt x="707" y="457"/>
                  <a:pt x="707" y="457"/>
                </a:cubicBezTo>
                <a:cubicBezTo>
                  <a:pt x="711" y="457"/>
                  <a:pt x="711" y="457"/>
                  <a:pt x="711" y="457"/>
                </a:cubicBezTo>
                <a:cubicBezTo>
                  <a:pt x="711" y="457"/>
                  <a:pt x="707" y="451"/>
                  <a:pt x="707" y="450"/>
                </a:cubicBezTo>
                <a:cubicBezTo>
                  <a:pt x="707" y="448"/>
                  <a:pt x="708" y="448"/>
                  <a:pt x="708" y="448"/>
                </a:cubicBezTo>
                <a:cubicBezTo>
                  <a:pt x="708" y="448"/>
                  <a:pt x="704" y="445"/>
                  <a:pt x="704" y="445"/>
                </a:cubicBezTo>
                <a:cubicBezTo>
                  <a:pt x="705" y="444"/>
                  <a:pt x="709" y="442"/>
                  <a:pt x="709" y="442"/>
                </a:cubicBezTo>
                <a:cubicBezTo>
                  <a:pt x="708" y="445"/>
                  <a:pt x="708" y="445"/>
                  <a:pt x="708" y="445"/>
                </a:cubicBezTo>
                <a:cubicBezTo>
                  <a:pt x="712" y="449"/>
                  <a:pt x="712" y="449"/>
                  <a:pt x="712" y="449"/>
                </a:cubicBezTo>
                <a:cubicBezTo>
                  <a:pt x="712" y="449"/>
                  <a:pt x="714" y="444"/>
                  <a:pt x="714" y="441"/>
                </a:cubicBezTo>
                <a:cubicBezTo>
                  <a:pt x="714" y="438"/>
                  <a:pt x="722" y="432"/>
                  <a:pt x="722" y="434"/>
                </a:cubicBezTo>
                <a:cubicBezTo>
                  <a:pt x="721" y="435"/>
                  <a:pt x="717" y="442"/>
                  <a:pt x="717" y="442"/>
                </a:cubicBezTo>
                <a:cubicBezTo>
                  <a:pt x="715" y="447"/>
                  <a:pt x="715" y="447"/>
                  <a:pt x="715" y="447"/>
                </a:cubicBezTo>
                <a:cubicBezTo>
                  <a:pt x="718" y="447"/>
                  <a:pt x="718" y="447"/>
                  <a:pt x="718" y="447"/>
                </a:cubicBezTo>
                <a:cubicBezTo>
                  <a:pt x="718" y="447"/>
                  <a:pt x="717" y="452"/>
                  <a:pt x="716" y="452"/>
                </a:cubicBezTo>
                <a:cubicBezTo>
                  <a:pt x="715" y="453"/>
                  <a:pt x="712" y="460"/>
                  <a:pt x="713" y="460"/>
                </a:cubicBezTo>
                <a:cubicBezTo>
                  <a:pt x="714" y="460"/>
                  <a:pt x="717" y="455"/>
                  <a:pt x="718" y="454"/>
                </a:cubicBezTo>
                <a:cubicBezTo>
                  <a:pt x="719" y="453"/>
                  <a:pt x="725" y="450"/>
                  <a:pt x="726" y="447"/>
                </a:cubicBezTo>
                <a:cubicBezTo>
                  <a:pt x="726" y="445"/>
                  <a:pt x="725" y="440"/>
                  <a:pt x="725" y="438"/>
                </a:cubicBezTo>
                <a:cubicBezTo>
                  <a:pt x="725" y="436"/>
                  <a:pt x="726" y="430"/>
                  <a:pt x="728" y="429"/>
                </a:cubicBezTo>
                <a:cubicBezTo>
                  <a:pt x="729" y="429"/>
                  <a:pt x="728" y="430"/>
                  <a:pt x="727" y="433"/>
                </a:cubicBezTo>
                <a:cubicBezTo>
                  <a:pt x="727" y="435"/>
                  <a:pt x="729" y="436"/>
                  <a:pt x="729" y="436"/>
                </a:cubicBezTo>
                <a:cubicBezTo>
                  <a:pt x="729" y="436"/>
                  <a:pt x="728" y="441"/>
                  <a:pt x="729" y="441"/>
                </a:cubicBezTo>
                <a:cubicBezTo>
                  <a:pt x="729" y="441"/>
                  <a:pt x="736" y="433"/>
                  <a:pt x="738" y="431"/>
                </a:cubicBezTo>
                <a:cubicBezTo>
                  <a:pt x="740" y="429"/>
                  <a:pt x="745" y="426"/>
                  <a:pt x="744" y="425"/>
                </a:cubicBezTo>
                <a:cubicBezTo>
                  <a:pt x="743" y="424"/>
                  <a:pt x="741" y="425"/>
                  <a:pt x="741" y="423"/>
                </a:cubicBezTo>
                <a:cubicBezTo>
                  <a:pt x="741" y="420"/>
                  <a:pt x="745" y="422"/>
                  <a:pt x="749" y="422"/>
                </a:cubicBezTo>
                <a:cubicBezTo>
                  <a:pt x="754" y="422"/>
                  <a:pt x="763" y="417"/>
                  <a:pt x="763" y="417"/>
                </a:cubicBezTo>
                <a:cubicBezTo>
                  <a:pt x="760" y="416"/>
                  <a:pt x="760" y="416"/>
                  <a:pt x="760" y="416"/>
                </a:cubicBezTo>
                <a:cubicBezTo>
                  <a:pt x="760" y="416"/>
                  <a:pt x="755" y="418"/>
                  <a:pt x="753" y="418"/>
                </a:cubicBezTo>
                <a:cubicBezTo>
                  <a:pt x="750" y="418"/>
                  <a:pt x="746" y="420"/>
                  <a:pt x="747" y="417"/>
                </a:cubicBezTo>
                <a:cubicBezTo>
                  <a:pt x="748" y="415"/>
                  <a:pt x="755" y="414"/>
                  <a:pt x="755" y="414"/>
                </a:cubicBezTo>
                <a:cubicBezTo>
                  <a:pt x="767" y="414"/>
                  <a:pt x="767" y="414"/>
                  <a:pt x="767" y="414"/>
                </a:cubicBezTo>
                <a:cubicBezTo>
                  <a:pt x="773" y="408"/>
                  <a:pt x="773" y="408"/>
                  <a:pt x="773" y="408"/>
                </a:cubicBezTo>
                <a:cubicBezTo>
                  <a:pt x="775" y="410"/>
                  <a:pt x="775" y="410"/>
                  <a:pt x="775" y="410"/>
                </a:cubicBezTo>
                <a:cubicBezTo>
                  <a:pt x="778" y="408"/>
                  <a:pt x="778" y="408"/>
                  <a:pt x="778" y="408"/>
                </a:cubicBezTo>
                <a:cubicBezTo>
                  <a:pt x="778" y="413"/>
                  <a:pt x="778" y="413"/>
                  <a:pt x="778" y="413"/>
                </a:cubicBezTo>
                <a:cubicBezTo>
                  <a:pt x="782" y="410"/>
                  <a:pt x="782" y="410"/>
                  <a:pt x="782" y="410"/>
                </a:cubicBezTo>
                <a:cubicBezTo>
                  <a:pt x="786" y="410"/>
                  <a:pt x="786" y="410"/>
                  <a:pt x="786" y="410"/>
                </a:cubicBezTo>
                <a:cubicBezTo>
                  <a:pt x="787" y="405"/>
                  <a:pt x="787" y="405"/>
                  <a:pt x="787" y="405"/>
                </a:cubicBezTo>
                <a:cubicBezTo>
                  <a:pt x="785" y="403"/>
                  <a:pt x="785" y="403"/>
                  <a:pt x="785" y="403"/>
                </a:cubicBezTo>
                <a:cubicBezTo>
                  <a:pt x="784" y="407"/>
                  <a:pt x="784" y="407"/>
                  <a:pt x="784" y="407"/>
                </a:cubicBezTo>
                <a:cubicBezTo>
                  <a:pt x="781" y="408"/>
                  <a:pt x="781" y="408"/>
                  <a:pt x="781" y="408"/>
                </a:cubicBezTo>
                <a:cubicBezTo>
                  <a:pt x="781" y="404"/>
                  <a:pt x="781" y="404"/>
                  <a:pt x="781" y="404"/>
                </a:cubicBezTo>
                <a:cubicBezTo>
                  <a:pt x="778" y="401"/>
                  <a:pt x="778" y="401"/>
                  <a:pt x="778" y="401"/>
                </a:cubicBezTo>
                <a:cubicBezTo>
                  <a:pt x="782" y="399"/>
                  <a:pt x="782" y="399"/>
                  <a:pt x="782" y="399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6" y="391"/>
                  <a:pt x="788" y="390"/>
                </a:cubicBezTo>
                <a:cubicBezTo>
                  <a:pt x="790" y="389"/>
                  <a:pt x="791" y="385"/>
                  <a:pt x="791" y="385"/>
                </a:cubicBezTo>
                <a:cubicBezTo>
                  <a:pt x="795" y="386"/>
                  <a:pt x="795" y="386"/>
                  <a:pt x="795" y="386"/>
                </a:cubicBezTo>
                <a:cubicBezTo>
                  <a:pt x="797" y="383"/>
                  <a:pt x="797" y="383"/>
                  <a:pt x="797" y="383"/>
                </a:cubicBezTo>
                <a:cubicBezTo>
                  <a:pt x="797" y="383"/>
                  <a:pt x="798" y="385"/>
                  <a:pt x="799" y="384"/>
                </a:cubicBezTo>
                <a:cubicBezTo>
                  <a:pt x="801" y="383"/>
                  <a:pt x="807" y="378"/>
                  <a:pt x="807" y="378"/>
                </a:cubicBezTo>
                <a:cubicBezTo>
                  <a:pt x="807" y="382"/>
                  <a:pt x="807" y="382"/>
                  <a:pt x="807" y="382"/>
                </a:cubicBezTo>
                <a:cubicBezTo>
                  <a:pt x="807" y="382"/>
                  <a:pt x="814" y="378"/>
                  <a:pt x="816" y="377"/>
                </a:cubicBezTo>
                <a:cubicBezTo>
                  <a:pt x="817" y="375"/>
                  <a:pt x="824" y="375"/>
                  <a:pt x="824" y="375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5" y="371"/>
                  <a:pt x="827" y="372"/>
                  <a:pt x="830" y="371"/>
                </a:cubicBezTo>
                <a:cubicBezTo>
                  <a:pt x="833" y="370"/>
                  <a:pt x="835" y="366"/>
                  <a:pt x="835" y="366"/>
                </a:cubicBezTo>
                <a:cubicBezTo>
                  <a:pt x="837" y="369"/>
                  <a:pt x="837" y="369"/>
                  <a:pt x="837" y="369"/>
                </a:cubicBezTo>
                <a:cubicBezTo>
                  <a:pt x="837" y="369"/>
                  <a:pt x="843" y="366"/>
                  <a:pt x="844" y="366"/>
                </a:cubicBezTo>
                <a:cubicBezTo>
                  <a:pt x="845" y="365"/>
                  <a:pt x="850" y="364"/>
                  <a:pt x="850" y="364"/>
                </a:cubicBezTo>
                <a:cubicBezTo>
                  <a:pt x="852" y="364"/>
                  <a:pt x="852" y="364"/>
                  <a:pt x="852" y="364"/>
                </a:cubicBezTo>
                <a:cubicBezTo>
                  <a:pt x="846" y="369"/>
                  <a:pt x="846" y="369"/>
                  <a:pt x="846" y="369"/>
                </a:cubicBezTo>
                <a:cubicBezTo>
                  <a:pt x="859" y="367"/>
                  <a:pt x="859" y="367"/>
                  <a:pt x="859" y="367"/>
                </a:cubicBezTo>
                <a:cubicBezTo>
                  <a:pt x="859" y="367"/>
                  <a:pt x="853" y="368"/>
                  <a:pt x="852" y="369"/>
                </a:cubicBezTo>
                <a:cubicBezTo>
                  <a:pt x="852" y="370"/>
                  <a:pt x="851" y="372"/>
                  <a:pt x="851" y="372"/>
                </a:cubicBezTo>
                <a:cubicBezTo>
                  <a:pt x="851" y="372"/>
                  <a:pt x="847" y="370"/>
                  <a:pt x="846" y="370"/>
                </a:cubicBezTo>
                <a:cubicBezTo>
                  <a:pt x="844" y="371"/>
                  <a:pt x="830" y="378"/>
                  <a:pt x="830" y="380"/>
                </a:cubicBezTo>
                <a:cubicBezTo>
                  <a:pt x="829" y="381"/>
                  <a:pt x="828" y="386"/>
                  <a:pt x="829" y="387"/>
                </a:cubicBezTo>
                <a:cubicBezTo>
                  <a:pt x="830" y="387"/>
                  <a:pt x="831" y="386"/>
                  <a:pt x="831" y="386"/>
                </a:cubicBezTo>
                <a:cubicBezTo>
                  <a:pt x="831" y="386"/>
                  <a:pt x="831" y="389"/>
                  <a:pt x="833" y="388"/>
                </a:cubicBezTo>
                <a:cubicBezTo>
                  <a:pt x="835" y="388"/>
                  <a:pt x="836" y="385"/>
                  <a:pt x="836" y="385"/>
                </a:cubicBezTo>
                <a:cubicBezTo>
                  <a:pt x="836" y="385"/>
                  <a:pt x="841" y="385"/>
                  <a:pt x="844" y="382"/>
                </a:cubicBezTo>
                <a:cubicBezTo>
                  <a:pt x="847" y="380"/>
                  <a:pt x="850" y="375"/>
                  <a:pt x="850" y="375"/>
                </a:cubicBezTo>
                <a:cubicBezTo>
                  <a:pt x="850" y="375"/>
                  <a:pt x="850" y="379"/>
                  <a:pt x="853" y="378"/>
                </a:cubicBezTo>
                <a:cubicBezTo>
                  <a:pt x="856" y="377"/>
                  <a:pt x="863" y="374"/>
                  <a:pt x="866" y="374"/>
                </a:cubicBezTo>
                <a:cubicBezTo>
                  <a:pt x="868" y="373"/>
                  <a:pt x="879" y="370"/>
                  <a:pt x="879" y="370"/>
                </a:cubicBezTo>
                <a:cubicBezTo>
                  <a:pt x="877" y="368"/>
                  <a:pt x="877" y="368"/>
                  <a:pt x="877" y="368"/>
                </a:cubicBezTo>
                <a:cubicBezTo>
                  <a:pt x="878" y="365"/>
                  <a:pt x="878" y="365"/>
                  <a:pt x="878" y="365"/>
                </a:cubicBezTo>
                <a:cubicBezTo>
                  <a:pt x="873" y="366"/>
                  <a:pt x="873" y="366"/>
                  <a:pt x="873" y="366"/>
                </a:cubicBezTo>
                <a:cubicBezTo>
                  <a:pt x="873" y="363"/>
                  <a:pt x="873" y="363"/>
                  <a:pt x="873" y="363"/>
                </a:cubicBezTo>
                <a:cubicBezTo>
                  <a:pt x="873" y="363"/>
                  <a:pt x="868" y="366"/>
                  <a:pt x="867" y="366"/>
                </a:cubicBezTo>
                <a:cubicBezTo>
                  <a:pt x="866" y="365"/>
                  <a:pt x="866" y="364"/>
                  <a:pt x="866" y="364"/>
                </a:cubicBezTo>
                <a:cubicBezTo>
                  <a:pt x="866" y="364"/>
                  <a:pt x="859" y="364"/>
                  <a:pt x="858" y="363"/>
                </a:cubicBezTo>
                <a:cubicBezTo>
                  <a:pt x="857" y="362"/>
                  <a:pt x="855" y="360"/>
                  <a:pt x="857" y="360"/>
                </a:cubicBezTo>
                <a:cubicBezTo>
                  <a:pt x="859" y="360"/>
                  <a:pt x="856" y="357"/>
                  <a:pt x="854" y="358"/>
                </a:cubicBezTo>
                <a:cubicBezTo>
                  <a:pt x="852" y="359"/>
                  <a:pt x="851" y="355"/>
                  <a:pt x="851" y="353"/>
                </a:cubicBezTo>
                <a:cubicBezTo>
                  <a:pt x="851" y="352"/>
                  <a:pt x="853" y="350"/>
                  <a:pt x="853" y="350"/>
                </a:cubicBezTo>
                <a:cubicBezTo>
                  <a:pt x="850" y="350"/>
                  <a:pt x="850" y="350"/>
                  <a:pt x="850" y="350"/>
                </a:cubicBezTo>
                <a:cubicBezTo>
                  <a:pt x="850" y="350"/>
                  <a:pt x="854" y="346"/>
                  <a:pt x="855" y="345"/>
                </a:cubicBezTo>
                <a:cubicBezTo>
                  <a:pt x="857" y="343"/>
                  <a:pt x="861" y="339"/>
                  <a:pt x="861" y="339"/>
                </a:cubicBezTo>
                <a:cubicBezTo>
                  <a:pt x="859" y="338"/>
                  <a:pt x="859" y="338"/>
                  <a:pt x="859" y="338"/>
                </a:cubicBezTo>
                <a:cubicBezTo>
                  <a:pt x="856" y="342"/>
                  <a:pt x="856" y="342"/>
                  <a:pt x="856" y="342"/>
                </a:cubicBezTo>
                <a:cubicBezTo>
                  <a:pt x="853" y="341"/>
                  <a:pt x="853" y="341"/>
                  <a:pt x="853" y="341"/>
                </a:cubicBezTo>
                <a:cubicBezTo>
                  <a:pt x="849" y="343"/>
                  <a:pt x="849" y="343"/>
                  <a:pt x="849" y="343"/>
                </a:cubicBezTo>
                <a:cubicBezTo>
                  <a:pt x="848" y="341"/>
                  <a:pt x="848" y="341"/>
                  <a:pt x="848" y="341"/>
                </a:cubicBezTo>
                <a:cubicBezTo>
                  <a:pt x="844" y="339"/>
                  <a:pt x="844" y="339"/>
                  <a:pt x="844" y="339"/>
                </a:cubicBezTo>
                <a:cubicBezTo>
                  <a:pt x="841" y="340"/>
                  <a:pt x="841" y="340"/>
                  <a:pt x="841" y="340"/>
                </a:cubicBezTo>
                <a:cubicBezTo>
                  <a:pt x="849" y="337"/>
                  <a:pt x="849" y="337"/>
                  <a:pt x="849" y="337"/>
                </a:cubicBezTo>
                <a:cubicBezTo>
                  <a:pt x="849" y="337"/>
                  <a:pt x="850" y="339"/>
                  <a:pt x="852" y="339"/>
                </a:cubicBezTo>
                <a:cubicBezTo>
                  <a:pt x="854" y="339"/>
                  <a:pt x="859" y="335"/>
                  <a:pt x="859" y="335"/>
                </a:cubicBezTo>
                <a:cubicBezTo>
                  <a:pt x="859" y="335"/>
                  <a:pt x="864" y="336"/>
                  <a:pt x="865" y="334"/>
                </a:cubicBezTo>
                <a:cubicBezTo>
                  <a:pt x="865" y="333"/>
                  <a:pt x="863" y="331"/>
                  <a:pt x="863" y="331"/>
                </a:cubicBezTo>
                <a:cubicBezTo>
                  <a:pt x="867" y="330"/>
                  <a:pt x="867" y="330"/>
                  <a:pt x="867" y="330"/>
                </a:cubicBezTo>
                <a:cubicBezTo>
                  <a:pt x="867" y="330"/>
                  <a:pt x="865" y="326"/>
                  <a:pt x="856" y="326"/>
                </a:cubicBezTo>
                <a:cubicBezTo>
                  <a:pt x="847" y="326"/>
                  <a:pt x="837" y="330"/>
                  <a:pt x="832" y="331"/>
                </a:cubicBezTo>
                <a:cubicBezTo>
                  <a:pt x="827" y="332"/>
                  <a:pt x="819" y="337"/>
                  <a:pt x="818" y="338"/>
                </a:cubicBezTo>
                <a:cubicBezTo>
                  <a:pt x="816" y="339"/>
                  <a:pt x="808" y="346"/>
                  <a:pt x="805" y="348"/>
                </a:cubicBezTo>
                <a:cubicBezTo>
                  <a:pt x="803" y="350"/>
                  <a:pt x="796" y="351"/>
                  <a:pt x="796" y="351"/>
                </a:cubicBezTo>
                <a:cubicBezTo>
                  <a:pt x="796" y="351"/>
                  <a:pt x="806" y="345"/>
                  <a:pt x="808" y="343"/>
                </a:cubicBezTo>
                <a:cubicBezTo>
                  <a:pt x="810" y="341"/>
                  <a:pt x="813" y="338"/>
                  <a:pt x="813" y="338"/>
                </a:cubicBezTo>
                <a:cubicBezTo>
                  <a:pt x="810" y="336"/>
                  <a:pt x="810" y="336"/>
                  <a:pt x="810" y="336"/>
                </a:cubicBezTo>
                <a:cubicBezTo>
                  <a:pt x="810" y="336"/>
                  <a:pt x="814" y="338"/>
                  <a:pt x="815" y="337"/>
                </a:cubicBezTo>
                <a:cubicBezTo>
                  <a:pt x="816" y="336"/>
                  <a:pt x="827" y="329"/>
                  <a:pt x="829" y="327"/>
                </a:cubicBezTo>
                <a:cubicBezTo>
                  <a:pt x="832" y="325"/>
                  <a:pt x="840" y="324"/>
                  <a:pt x="840" y="324"/>
                </a:cubicBezTo>
                <a:cubicBezTo>
                  <a:pt x="841" y="325"/>
                  <a:pt x="846" y="317"/>
                  <a:pt x="852" y="316"/>
                </a:cubicBezTo>
                <a:cubicBezTo>
                  <a:pt x="858" y="315"/>
                  <a:pt x="874" y="314"/>
                  <a:pt x="878" y="314"/>
                </a:cubicBezTo>
                <a:cubicBezTo>
                  <a:pt x="881" y="314"/>
                  <a:pt x="893" y="318"/>
                  <a:pt x="895" y="317"/>
                </a:cubicBezTo>
                <a:cubicBezTo>
                  <a:pt x="898" y="317"/>
                  <a:pt x="902" y="314"/>
                  <a:pt x="904" y="314"/>
                </a:cubicBezTo>
                <a:cubicBezTo>
                  <a:pt x="906" y="314"/>
                  <a:pt x="913" y="313"/>
                  <a:pt x="915" y="311"/>
                </a:cubicBezTo>
                <a:cubicBezTo>
                  <a:pt x="918" y="309"/>
                  <a:pt x="923" y="304"/>
                  <a:pt x="925" y="303"/>
                </a:cubicBezTo>
                <a:cubicBezTo>
                  <a:pt x="927" y="303"/>
                  <a:pt x="931" y="303"/>
                  <a:pt x="931" y="303"/>
                </a:cubicBezTo>
                <a:cubicBezTo>
                  <a:pt x="931" y="303"/>
                  <a:pt x="934" y="301"/>
                  <a:pt x="936" y="301"/>
                </a:cubicBezTo>
                <a:cubicBezTo>
                  <a:pt x="938" y="301"/>
                  <a:pt x="938" y="302"/>
                  <a:pt x="941" y="300"/>
                </a:cubicBezTo>
                <a:cubicBezTo>
                  <a:pt x="941" y="300"/>
                  <a:pt x="955" y="297"/>
                  <a:pt x="954" y="294"/>
                </a:cubicBezTo>
                <a:cubicBezTo>
                  <a:pt x="953" y="292"/>
                  <a:pt x="949" y="290"/>
                  <a:pt x="949" y="290"/>
                </a:cubicBezTo>
                <a:cubicBezTo>
                  <a:pt x="949" y="290"/>
                  <a:pt x="954" y="290"/>
                  <a:pt x="954" y="288"/>
                </a:cubicBezTo>
                <a:cubicBezTo>
                  <a:pt x="954" y="286"/>
                  <a:pt x="953" y="284"/>
                  <a:pt x="953" y="284"/>
                </a:cubicBezTo>
                <a:cubicBezTo>
                  <a:pt x="953" y="284"/>
                  <a:pt x="959" y="285"/>
                  <a:pt x="957" y="281"/>
                </a:cubicBezTo>
                <a:cubicBezTo>
                  <a:pt x="956" y="278"/>
                  <a:pt x="951" y="276"/>
                  <a:pt x="950" y="277"/>
                </a:cubicBezTo>
                <a:cubicBezTo>
                  <a:pt x="948" y="279"/>
                  <a:pt x="949" y="282"/>
                  <a:pt x="945" y="280"/>
                </a:cubicBezTo>
                <a:cubicBezTo>
                  <a:pt x="942" y="278"/>
                  <a:pt x="947" y="276"/>
                  <a:pt x="947" y="276"/>
                </a:cubicBezTo>
                <a:cubicBezTo>
                  <a:pt x="947" y="273"/>
                  <a:pt x="947" y="273"/>
                  <a:pt x="947" y="273"/>
                </a:cubicBezTo>
                <a:cubicBezTo>
                  <a:pt x="943" y="272"/>
                  <a:pt x="943" y="272"/>
                  <a:pt x="943" y="272"/>
                </a:cubicBezTo>
                <a:cubicBezTo>
                  <a:pt x="943" y="272"/>
                  <a:pt x="933" y="276"/>
                  <a:pt x="932" y="277"/>
                </a:cubicBezTo>
                <a:cubicBezTo>
                  <a:pt x="932" y="278"/>
                  <a:pt x="924" y="279"/>
                  <a:pt x="924" y="279"/>
                </a:cubicBezTo>
                <a:cubicBezTo>
                  <a:pt x="920" y="282"/>
                  <a:pt x="920" y="282"/>
                  <a:pt x="920" y="282"/>
                </a:cubicBezTo>
                <a:cubicBezTo>
                  <a:pt x="921" y="279"/>
                  <a:pt x="921" y="279"/>
                  <a:pt x="921" y="279"/>
                </a:cubicBezTo>
                <a:cubicBezTo>
                  <a:pt x="918" y="276"/>
                  <a:pt x="918" y="276"/>
                  <a:pt x="918" y="276"/>
                </a:cubicBezTo>
                <a:cubicBezTo>
                  <a:pt x="923" y="278"/>
                  <a:pt x="923" y="278"/>
                  <a:pt x="923" y="278"/>
                </a:cubicBezTo>
                <a:cubicBezTo>
                  <a:pt x="925" y="276"/>
                  <a:pt x="925" y="276"/>
                  <a:pt x="925" y="276"/>
                </a:cubicBezTo>
                <a:cubicBezTo>
                  <a:pt x="929" y="276"/>
                  <a:pt x="929" y="276"/>
                  <a:pt x="929" y="276"/>
                </a:cubicBezTo>
                <a:cubicBezTo>
                  <a:pt x="929" y="273"/>
                  <a:pt x="929" y="273"/>
                  <a:pt x="929" y="273"/>
                </a:cubicBezTo>
                <a:cubicBezTo>
                  <a:pt x="929" y="273"/>
                  <a:pt x="934" y="274"/>
                  <a:pt x="936" y="273"/>
                </a:cubicBezTo>
                <a:cubicBezTo>
                  <a:pt x="939" y="271"/>
                  <a:pt x="942" y="270"/>
                  <a:pt x="942" y="270"/>
                </a:cubicBezTo>
                <a:cubicBezTo>
                  <a:pt x="942" y="270"/>
                  <a:pt x="952" y="271"/>
                  <a:pt x="952" y="270"/>
                </a:cubicBezTo>
                <a:cubicBezTo>
                  <a:pt x="952" y="269"/>
                  <a:pt x="948" y="267"/>
                  <a:pt x="948" y="267"/>
                </a:cubicBezTo>
                <a:cubicBezTo>
                  <a:pt x="948" y="264"/>
                  <a:pt x="948" y="264"/>
                  <a:pt x="948" y="264"/>
                </a:cubicBezTo>
                <a:cubicBezTo>
                  <a:pt x="948" y="264"/>
                  <a:pt x="942" y="265"/>
                  <a:pt x="941" y="265"/>
                </a:cubicBezTo>
                <a:cubicBezTo>
                  <a:pt x="940" y="265"/>
                  <a:pt x="939" y="262"/>
                  <a:pt x="939" y="262"/>
                </a:cubicBezTo>
                <a:cubicBezTo>
                  <a:pt x="931" y="265"/>
                  <a:pt x="931" y="265"/>
                  <a:pt x="931" y="265"/>
                </a:cubicBezTo>
                <a:cubicBezTo>
                  <a:pt x="931" y="261"/>
                  <a:pt x="931" y="261"/>
                  <a:pt x="931" y="261"/>
                </a:cubicBezTo>
                <a:cubicBezTo>
                  <a:pt x="925" y="263"/>
                  <a:pt x="925" y="263"/>
                  <a:pt x="925" y="263"/>
                </a:cubicBezTo>
                <a:cubicBezTo>
                  <a:pt x="925" y="263"/>
                  <a:pt x="932" y="256"/>
                  <a:pt x="930" y="255"/>
                </a:cubicBezTo>
                <a:cubicBezTo>
                  <a:pt x="928" y="254"/>
                  <a:pt x="923" y="254"/>
                  <a:pt x="923" y="254"/>
                </a:cubicBezTo>
                <a:cubicBezTo>
                  <a:pt x="924" y="251"/>
                  <a:pt x="924" y="251"/>
                  <a:pt x="924" y="251"/>
                </a:cubicBezTo>
                <a:cubicBezTo>
                  <a:pt x="919" y="251"/>
                  <a:pt x="919" y="251"/>
                  <a:pt x="919" y="251"/>
                </a:cubicBezTo>
                <a:cubicBezTo>
                  <a:pt x="921" y="248"/>
                  <a:pt x="921" y="248"/>
                  <a:pt x="921" y="248"/>
                </a:cubicBezTo>
                <a:cubicBezTo>
                  <a:pt x="917" y="244"/>
                  <a:pt x="917" y="244"/>
                  <a:pt x="917" y="244"/>
                </a:cubicBezTo>
                <a:cubicBezTo>
                  <a:pt x="917" y="244"/>
                  <a:pt x="923" y="246"/>
                  <a:pt x="925" y="244"/>
                </a:cubicBezTo>
                <a:cubicBezTo>
                  <a:pt x="927" y="243"/>
                  <a:pt x="929" y="242"/>
                  <a:pt x="929" y="242"/>
                </a:cubicBezTo>
                <a:cubicBezTo>
                  <a:pt x="923" y="238"/>
                  <a:pt x="923" y="238"/>
                  <a:pt x="923" y="238"/>
                </a:cubicBezTo>
                <a:cubicBezTo>
                  <a:pt x="930" y="234"/>
                  <a:pt x="930" y="234"/>
                  <a:pt x="930" y="234"/>
                </a:cubicBezTo>
                <a:cubicBezTo>
                  <a:pt x="923" y="231"/>
                  <a:pt x="923" y="231"/>
                  <a:pt x="923" y="231"/>
                </a:cubicBezTo>
                <a:cubicBezTo>
                  <a:pt x="917" y="232"/>
                  <a:pt x="917" y="232"/>
                  <a:pt x="917" y="232"/>
                </a:cubicBezTo>
                <a:cubicBezTo>
                  <a:pt x="924" y="229"/>
                  <a:pt x="924" y="229"/>
                  <a:pt x="924" y="229"/>
                </a:cubicBezTo>
                <a:cubicBezTo>
                  <a:pt x="919" y="228"/>
                  <a:pt x="919" y="228"/>
                  <a:pt x="919" y="228"/>
                </a:cubicBezTo>
                <a:cubicBezTo>
                  <a:pt x="925" y="225"/>
                  <a:pt x="925" y="225"/>
                  <a:pt x="925" y="225"/>
                </a:cubicBezTo>
                <a:cubicBezTo>
                  <a:pt x="924" y="221"/>
                  <a:pt x="924" y="221"/>
                  <a:pt x="924" y="221"/>
                </a:cubicBezTo>
                <a:cubicBezTo>
                  <a:pt x="920" y="221"/>
                  <a:pt x="920" y="221"/>
                  <a:pt x="920" y="221"/>
                </a:cubicBezTo>
                <a:cubicBezTo>
                  <a:pt x="920" y="221"/>
                  <a:pt x="923" y="219"/>
                  <a:pt x="922" y="215"/>
                </a:cubicBezTo>
                <a:cubicBezTo>
                  <a:pt x="920" y="211"/>
                  <a:pt x="918" y="211"/>
                  <a:pt x="918" y="211"/>
                </a:cubicBezTo>
                <a:cubicBezTo>
                  <a:pt x="920" y="208"/>
                  <a:pt x="920" y="208"/>
                  <a:pt x="920" y="208"/>
                </a:cubicBezTo>
                <a:cubicBezTo>
                  <a:pt x="920" y="208"/>
                  <a:pt x="915" y="211"/>
                  <a:pt x="914" y="212"/>
                </a:cubicBezTo>
                <a:cubicBezTo>
                  <a:pt x="913" y="214"/>
                  <a:pt x="914" y="215"/>
                  <a:pt x="914" y="215"/>
                </a:cubicBezTo>
                <a:cubicBezTo>
                  <a:pt x="910" y="214"/>
                  <a:pt x="910" y="214"/>
                  <a:pt x="910" y="214"/>
                </a:cubicBezTo>
                <a:cubicBezTo>
                  <a:pt x="911" y="218"/>
                  <a:pt x="911" y="218"/>
                  <a:pt x="911" y="218"/>
                </a:cubicBezTo>
                <a:cubicBezTo>
                  <a:pt x="907" y="218"/>
                  <a:pt x="907" y="218"/>
                  <a:pt x="907" y="218"/>
                </a:cubicBezTo>
                <a:cubicBezTo>
                  <a:pt x="905" y="221"/>
                  <a:pt x="905" y="221"/>
                  <a:pt x="905" y="221"/>
                </a:cubicBezTo>
                <a:cubicBezTo>
                  <a:pt x="906" y="222"/>
                  <a:pt x="906" y="222"/>
                  <a:pt x="906" y="222"/>
                </a:cubicBezTo>
                <a:cubicBezTo>
                  <a:pt x="903" y="223"/>
                  <a:pt x="903" y="223"/>
                  <a:pt x="903" y="223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8" y="229"/>
                  <a:pt x="898" y="229"/>
                  <a:pt x="898" y="229"/>
                </a:cubicBezTo>
                <a:cubicBezTo>
                  <a:pt x="900" y="224"/>
                  <a:pt x="900" y="224"/>
                  <a:pt x="900" y="224"/>
                </a:cubicBezTo>
                <a:cubicBezTo>
                  <a:pt x="900" y="224"/>
                  <a:pt x="898" y="220"/>
                  <a:pt x="896" y="222"/>
                </a:cubicBezTo>
                <a:cubicBezTo>
                  <a:pt x="894" y="224"/>
                  <a:pt x="892" y="227"/>
                  <a:pt x="890" y="227"/>
                </a:cubicBezTo>
                <a:cubicBezTo>
                  <a:pt x="889" y="227"/>
                  <a:pt x="883" y="232"/>
                  <a:pt x="883" y="232"/>
                </a:cubicBezTo>
                <a:cubicBezTo>
                  <a:pt x="884" y="229"/>
                  <a:pt x="884" y="229"/>
                  <a:pt x="884" y="229"/>
                </a:cubicBezTo>
                <a:cubicBezTo>
                  <a:pt x="884" y="226"/>
                  <a:pt x="884" y="226"/>
                  <a:pt x="884" y="226"/>
                </a:cubicBezTo>
                <a:cubicBezTo>
                  <a:pt x="879" y="231"/>
                  <a:pt x="879" y="231"/>
                  <a:pt x="879" y="231"/>
                </a:cubicBezTo>
                <a:cubicBezTo>
                  <a:pt x="869" y="233"/>
                  <a:pt x="869" y="233"/>
                  <a:pt x="869" y="233"/>
                </a:cubicBez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83" y="224"/>
                  <a:pt x="880" y="223"/>
                </a:cubicBezTo>
                <a:cubicBezTo>
                  <a:pt x="878" y="222"/>
                  <a:pt x="875" y="223"/>
                  <a:pt x="875" y="223"/>
                </a:cubicBezTo>
                <a:cubicBezTo>
                  <a:pt x="875" y="223"/>
                  <a:pt x="868" y="226"/>
                  <a:pt x="868" y="224"/>
                </a:cubicBezTo>
                <a:cubicBezTo>
                  <a:pt x="868" y="221"/>
                  <a:pt x="872" y="221"/>
                  <a:pt x="872" y="221"/>
                </a:cubicBezTo>
                <a:cubicBezTo>
                  <a:pt x="872" y="222"/>
                  <a:pt x="872" y="222"/>
                  <a:pt x="872" y="222"/>
                </a:cubicBezTo>
                <a:cubicBezTo>
                  <a:pt x="875" y="221"/>
                  <a:pt x="875" y="221"/>
                  <a:pt x="875" y="221"/>
                </a:cubicBezTo>
                <a:cubicBezTo>
                  <a:pt x="874" y="217"/>
                  <a:pt x="874" y="217"/>
                  <a:pt x="874" y="217"/>
                </a:cubicBezTo>
                <a:cubicBezTo>
                  <a:pt x="874" y="217"/>
                  <a:pt x="879" y="214"/>
                  <a:pt x="877" y="213"/>
                </a:cubicBezTo>
                <a:cubicBezTo>
                  <a:pt x="876" y="211"/>
                  <a:pt x="870" y="211"/>
                  <a:pt x="870" y="211"/>
                </a:cubicBezTo>
                <a:cubicBezTo>
                  <a:pt x="870" y="211"/>
                  <a:pt x="879" y="211"/>
                  <a:pt x="880" y="208"/>
                </a:cubicBezTo>
                <a:cubicBezTo>
                  <a:pt x="881" y="206"/>
                  <a:pt x="881" y="205"/>
                  <a:pt x="882" y="205"/>
                </a:cubicBezTo>
                <a:cubicBezTo>
                  <a:pt x="884" y="204"/>
                  <a:pt x="888" y="203"/>
                  <a:pt x="886" y="202"/>
                </a:cubicBezTo>
                <a:cubicBezTo>
                  <a:pt x="884" y="200"/>
                  <a:pt x="882" y="203"/>
                  <a:pt x="882" y="203"/>
                </a:cubicBezTo>
                <a:cubicBezTo>
                  <a:pt x="880" y="199"/>
                  <a:pt x="880" y="199"/>
                  <a:pt x="880" y="199"/>
                </a:cubicBezTo>
                <a:cubicBezTo>
                  <a:pt x="880" y="199"/>
                  <a:pt x="874" y="200"/>
                  <a:pt x="872" y="200"/>
                </a:cubicBezTo>
                <a:cubicBezTo>
                  <a:pt x="870" y="200"/>
                  <a:pt x="870" y="197"/>
                  <a:pt x="871" y="196"/>
                </a:cubicBezTo>
                <a:cubicBezTo>
                  <a:pt x="873" y="195"/>
                  <a:pt x="873" y="194"/>
                  <a:pt x="872" y="193"/>
                </a:cubicBezTo>
                <a:cubicBezTo>
                  <a:pt x="870" y="193"/>
                  <a:pt x="869" y="194"/>
                  <a:pt x="869" y="194"/>
                </a:cubicBezTo>
                <a:cubicBezTo>
                  <a:pt x="870" y="191"/>
                  <a:pt x="870" y="191"/>
                  <a:pt x="870" y="191"/>
                </a:cubicBezTo>
                <a:cubicBezTo>
                  <a:pt x="865" y="192"/>
                  <a:pt x="865" y="192"/>
                  <a:pt x="865" y="192"/>
                </a:cubicBezTo>
                <a:cubicBezTo>
                  <a:pt x="865" y="192"/>
                  <a:pt x="866" y="186"/>
                  <a:pt x="862" y="186"/>
                </a:cubicBezTo>
                <a:cubicBezTo>
                  <a:pt x="859" y="186"/>
                  <a:pt x="853" y="189"/>
                  <a:pt x="853" y="189"/>
                </a:cubicBezTo>
                <a:cubicBezTo>
                  <a:pt x="853" y="189"/>
                  <a:pt x="851" y="187"/>
                  <a:pt x="850" y="187"/>
                </a:cubicBezTo>
                <a:cubicBezTo>
                  <a:pt x="848" y="187"/>
                  <a:pt x="844" y="189"/>
                  <a:pt x="844" y="189"/>
                </a:cubicBezTo>
                <a:cubicBezTo>
                  <a:pt x="844" y="189"/>
                  <a:pt x="835" y="184"/>
                  <a:pt x="831" y="185"/>
                </a:cubicBezTo>
                <a:cubicBezTo>
                  <a:pt x="828" y="186"/>
                  <a:pt x="827" y="188"/>
                  <a:pt x="827" y="188"/>
                </a:cubicBezTo>
                <a:cubicBezTo>
                  <a:pt x="827" y="188"/>
                  <a:pt x="822" y="190"/>
                  <a:pt x="824" y="192"/>
                </a:cubicBezTo>
                <a:cubicBezTo>
                  <a:pt x="825" y="194"/>
                  <a:pt x="828" y="194"/>
                  <a:pt x="827" y="196"/>
                </a:cubicBezTo>
                <a:cubicBezTo>
                  <a:pt x="826" y="197"/>
                  <a:pt x="820" y="201"/>
                  <a:pt x="820" y="201"/>
                </a:cubicBezTo>
                <a:cubicBezTo>
                  <a:pt x="817" y="202"/>
                  <a:pt x="817" y="202"/>
                  <a:pt x="817" y="202"/>
                </a:cubicBezTo>
                <a:cubicBezTo>
                  <a:pt x="820" y="204"/>
                  <a:pt x="820" y="204"/>
                  <a:pt x="820" y="204"/>
                </a:cubicBezTo>
                <a:cubicBezTo>
                  <a:pt x="820" y="204"/>
                  <a:pt x="817" y="205"/>
                  <a:pt x="817" y="207"/>
                </a:cubicBezTo>
                <a:cubicBezTo>
                  <a:pt x="817" y="209"/>
                  <a:pt x="818" y="211"/>
                  <a:pt x="817" y="213"/>
                </a:cubicBezTo>
                <a:cubicBezTo>
                  <a:pt x="815" y="215"/>
                  <a:pt x="813" y="213"/>
                  <a:pt x="811" y="215"/>
                </a:cubicBezTo>
                <a:cubicBezTo>
                  <a:pt x="808" y="216"/>
                  <a:pt x="808" y="219"/>
                  <a:pt x="808" y="219"/>
                </a:cubicBezTo>
                <a:cubicBezTo>
                  <a:pt x="808" y="219"/>
                  <a:pt x="805" y="220"/>
                  <a:pt x="804" y="221"/>
                </a:cubicBezTo>
                <a:cubicBezTo>
                  <a:pt x="803" y="222"/>
                  <a:pt x="798" y="223"/>
                  <a:pt x="799" y="225"/>
                </a:cubicBezTo>
                <a:cubicBezTo>
                  <a:pt x="799" y="227"/>
                  <a:pt x="807" y="230"/>
                  <a:pt x="807" y="232"/>
                </a:cubicBezTo>
                <a:cubicBezTo>
                  <a:pt x="807" y="233"/>
                  <a:pt x="807" y="247"/>
                  <a:pt x="799" y="251"/>
                </a:cubicBezTo>
                <a:cubicBezTo>
                  <a:pt x="792" y="255"/>
                  <a:pt x="783" y="263"/>
                  <a:pt x="779" y="263"/>
                </a:cubicBezTo>
                <a:cubicBezTo>
                  <a:pt x="775" y="263"/>
                  <a:pt x="765" y="264"/>
                  <a:pt x="764" y="266"/>
                </a:cubicBezTo>
                <a:cubicBezTo>
                  <a:pt x="764" y="267"/>
                  <a:pt x="766" y="273"/>
                  <a:pt x="766" y="274"/>
                </a:cubicBezTo>
                <a:cubicBezTo>
                  <a:pt x="766" y="275"/>
                  <a:pt x="762" y="280"/>
                  <a:pt x="761" y="283"/>
                </a:cubicBezTo>
                <a:cubicBezTo>
                  <a:pt x="760" y="286"/>
                  <a:pt x="761" y="293"/>
                  <a:pt x="761" y="293"/>
                </a:cubicBezTo>
                <a:cubicBezTo>
                  <a:pt x="761" y="293"/>
                  <a:pt x="754" y="297"/>
                  <a:pt x="753" y="298"/>
                </a:cubicBezTo>
                <a:cubicBezTo>
                  <a:pt x="753" y="299"/>
                  <a:pt x="753" y="302"/>
                  <a:pt x="753" y="302"/>
                </a:cubicBezTo>
                <a:cubicBezTo>
                  <a:pt x="750" y="306"/>
                  <a:pt x="750" y="306"/>
                  <a:pt x="750" y="306"/>
                </a:cubicBezTo>
                <a:cubicBezTo>
                  <a:pt x="750" y="306"/>
                  <a:pt x="752" y="301"/>
                  <a:pt x="749" y="300"/>
                </a:cubicBezTo>
                <a:cubicBezTo>
                  <a:pt x="747" y="300"/>
                  <a:pt x="743" y="303"/>
                  <a:pt x="744" y="305"/>
                </a:cubicBezTo>
                <a:cubicBezTo>
                  <a:pt x="745" y="308"/>
                  <a:pt x="743" y="310"/>
                  <a:pt x="743" y="310"/>
                </a:cubicBezTo>
                <a:cubicBezTo>
                  <a:pt x="743" y="310"/>
                  <a:pt x="743" y="305"/>
                  <a:pt x="742" y="304"/>
                </a:cubicBezTo>
                <a:cubicBezTo>
                  <a:pt x="740" y="303"/>
                  <a:pt x="732" y="306"/>
                  <a:pt x="732" y="306"/>
                </a:cubicBezTo>
                <a:cubicBezTo>
                  <a:pt x="732" y="306"/>
                  <a:pt x="740" y="301"/>
                  <a:pt x="739" y="298"/>
                </a:cubicBezTo>
                <a:cubicBezTo>
                  <a:pt x="738" y="296"/>
                  <a:pt x="731" y="293"/>
                  <a:pt x="731" y="293"/>
                </a:cubicBezTo>
                <a:cubicBezTo>
                  <a:pt x="731" y="293"/>
                  <a:pt x="734" y="293"/>
                  <a:pt x="734" y="291"/>
                </a:cubicBezTo>
                <a:cubicBezTo>
                  <a:pt x="734" y="290"/>
                  <a:pt x="732" y="284"/>
                  <a:pt x="732" y="284"/>
                </a:cubicBezTo>
                <a:cubicBezTo>
                  <a:pt x="736" y="281"/>
                  <a:pt x="736" y="281"/>
                  <a:pt x="736" y="281"/>
                </a:cubicBezTo>
                <a:cubicBezTo>
                  <a:pt x="736" y="278"/>
                  <a:pt x="736" y="278"/>
                  <a:pt x="736" y="278"/>
                </a:cubicBezTo>
                <a:cubicBezTo>
                  <a:pt x="740" y="276"/>
                  <a:pt x="740" y="276"/>
                  <a:pt x="740" y="276"/>
                </a:cubicBezTo>
                <a:cubicBezTo>
                  <a:pt x="740" y="271"/>
                  <a:pt x="740" y="271"/>
                  <a:pt x="740" y="271"/>
                </a:cubicBezTo>
                <a:cubicBezTo>
                  <a:pt x="740" y="271"/>
                  <a:pt x="750" y="265"/>
                  <a:pt x="745" y="262"/>
                </a:cubicBezTo>
                <a:cubicBezTo>
                  <a:pt x="740" y="260"/>
                  <a:pt x="725" y="261"/>
                  <a:pt x="725" y="261"/>
                </a:cubicBezTo>
                <a:cubicBezTo>
                  <a:pt x="720" y="262"/>
                  <a:pt x="720" y="262"/>
                  <a:pt x="720" y="262"/>
                </a:cubicBezTo>
                <a:cubicBezTo>
                  <a:pt x="720" y="262"/>
                  <a:pt x="723" y="258"/>
                  <a:pt x="721" y="257"/>
                </a:cubicBezTo>
                <a:cubicBezTo>
                  <a:pt x="719" y="256"/>
                  <a:pt x="709" y="254"/>
                  <a:pt x="709" y="254"/>
                </a:cubicBezTo>
                <a:cubicBezTo>
                  <a:pt x="709" y="254"/>
                  <a:pt x="710" y="249"/>
                  <a:pt x="706" y="246"/>
                </a:cubicBezTo>
                <a:cubicBezTo>
                  <a:pt x="702" y="243"/>
                  <a:pt x="697" y="243"/>
                  <a:pt x="697" y="243"/>
                </a:cubicBezTo>
                <a:cubicBezTo>
                  <a:pt x="697" y="243"/>
                  <a:pt x="697" y="241"/>
                  <a:pt x="691" y="240"/>
                </a:cubicBezTo>
                <a:cubicBezTo>
                  <a:pt x="686" y="240"/>
                  <a:pt x="671" y="243"/>
                  <a:pt x="671" y="243"/>
                </a:cubicBezTo>
                <a:cubicBezTo>
                  <a:pt x="671" y="243"/>
                  <a:pt x="678" y="241"/>
                  <a:pt x="678" y="238"/>
                </a:cubicBezTo>
                <a:cubicBezTo>
                  <a:pt x="678" y="236"/>
                  <a:pt x="682" y="225"/>
                  <a:pt x="682" y="225"/>
                </a:cubicBezTo>
                <a:cubicBezTo>
                  <a:pt x="682" y="225"/>
                  <a:pt x="676" y="224"/>
                  <a:pt x="675" y="224"/>
                </a:cubicBezTo>
                <a:cubicBezTo>
                  <a:pt x="675" y="224"/>
                  <a:pt x="670" y="228"/>
                  <a:pt x="670" y="228"/>
                </a:cubicBezTo>
                <a:cubicBezTo>
                  <a:pt x="672" y="224"/>
                  <a:pt x="672" y="224"/>
                  <a:pt x="672" y="224"/>
                </a:cubicBezTo>
                <a:cubicBezTo>
                  <a:pt x="671" y="221"/>
                  <a:pt x="671" y="221"/>
                  <a:pt x="671" y="221"/>
                </a:cubicBezTo>
                <a:cubicBezTo>
                  <a:pt x="671" y="221"/>
                  <a:pt x="677" y="216"/>
                  <a:pt x="679" y="212"/>
                </a:cubicBezTo>
                <a:cubicBezTo>
                  <a:pt x="682" y="207"/>
                  <a:pt x="696" y="199"/>
                  <a:pt x="696" y="199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704" y="194"/>
                  <a:pt x="704" y="194"/>
                  <a:pt x="704" y="194"/>
                </a:cubicBezTo>
                <a:cubicBezTo>
                  <a:pt x="704" y="192"/>
                  <a:pt x="704" y="192"/>
                  <a:pt x="704" y="192"/>
                </a:cubicBezTo>
                <a:cubicBezTo>
                  <a:pt x="709" y="191"/>
                  <a:pt x="709" y="191"/>
                  <a:pt x="709" y="191"/>
                </a:cubicBezTo>
                <a:cubicBezTo>
                  <a:pt x="710" y="188"/>
                  <a:pt x="710" y="188"/>
                  <a:pt x="710" y="188"/>
                </a:cubicBezTo>
                <a:cubicBezTo>
                  <a:pt x="714" y="188"/>
                  <a:pt x="714" y="188"/>
                  <a:pt x="714" y="188"/>
                </a:cubicBezTo>
                <a:cubicBezTo>
                  <a:pt x="721" y="182"/>
                  <a:pt x="721" y="182"/>
                  <a:pt x="721" y="182"/>
                </a:cubicBezTo>
                <a:cubicBezTo>
                  <a:pt x="721" y="182"/>
                  <a:pt x="737" y="183"/>
                  <a:pt x="737" y="180"/>
                </a:cubicBezTo>
                <a:cubicBezTo>
                  <a:pt x="737" y="177"/>
                  <a:pt x="733" y="174"/>
                  <a:pt x="733" y="174"/>
                </a:cubicBezTo>
                <a:cubicBezTo>
                  <a:pt x="724" y="175"/>
                  <a:pt x="724" y="175"/>
                  <a:pt x="724" y="175"/>
                </a:cubicBezTo>
                <a:cubicBezTo>
                  <a:pt x="726" y="173"/>
                  <a:pt x="726" y="173"/>
                  <a:pt x="726" y="173"/>
                </a:cubicBezTo>
                <a:cubicBezTo>
                  <a:pt x="718" y="170"/>
                  <a:pt x="718" y="170"/>
                  <a:pt x="718" y="170"/>
                </a:cubicBezTo>
                <a:cubicBezTo>
                  <a:pt x="721" y="169"/>
                  <a:pt x="721" y="169"/>
                  <a:pt x="721" y="169"/>
                </a:cubicBezTo>
                <a:cubicBezTo>
                  <a:pt x="733" y="172"/>
                  <a:pt x="733" y="172"/>
                  <a:pt x="733" y="172"/>
                </a:cubicBezTo>
                <a:cubicBezTo>
                  <a:pt x="733" y="172"/>
                  <a:pt x="737" y="177"/>
                  <a:pt x="741" y="175"/>
                </a:cubicBezTo>
                <a:cubicBezTo>
                  <a:pt x="745" y="174"/>
                  <a:pt x="749" y="167"/>
                  <a:pt x="750" y="168"/>
                </a:cubicBezTo>
                <a:cubicBezTo>
                  <a:pt x="752" y="169"/>
                  <a:pt x="756" y="171"/>
                  <a:pt x="758" y="171"/>
                </a:cubicBezTo>
                <a:cubicBezTo>
                  <a:pt x="758" y="171"/>
                  <a:pt x="767" y="167"/>
                  <a:pt x="771" y="165"/>
                </a:cubicBezTo>
                <a:cubicBezTo>
                  <a:pt x="775" y="164"/>
                  <a:pt x="782" y="160"/>
                  <a:pt x="779" y="159"/>
                </a:cubicBezTo>
                <a:cubicBezTo>
                  <a:pt x="777" y="158"/>
                  <a:pt x="765" y="158"/>
                  <a:pt x="765" y="158"/>
                </a:cubicBezTo>
                <a:cubicBezTo>
                  <a:pt x="764" y="155"/>
                  <a:pt x="764" y="155"/>
                  <a:pt x="764" y="155"/>
                </a:cubicBezTo>
                <a:cubicBezTo>
                  <a:pt x="753" y="151"/>
                  <a:pt x="753" y="151"/>
                  <a:pt x="753" y="151"/>
                </a:cubicBezTo>
                <a:cubicBezTo>
                  <a:pt x="753" y="151"/>
                  <a:pt x="764" y="149"/>
                  <a:pt x="767" y="151"/>
                </a:cubicBezTo>
                <a:cubicBezTo>
                  <a:pt x="771" y="152"/>
                  <a:pt x="773" y="157"/>
                  <a:pt x="777" y="157"/>
                </a:cubicBezTo>
                <a:cubicBezTo>
                  <a:pt x="780" y="157"/>
                  <a:pt x="796" y="149"/>
                  <a:pt x="796" y="149"/>
                </a:cubicBezTo>
                <a:cubicBezTo>
                  <a:pt x="792" y="148"/>
                  <a:pt x="792" y="148"/>
                  <a:pt x="792" y="148"/>
                </a:cubicBezTo>
                <a:cubicBezTo>
                  <a:pt x="792" y="148"/>
                  <a:pt x="795" y="145"/>
                  <a:pt x="799" y="145"/>
                </a:cubicBezTo>
                <a:cubicBezTo>
                  <a:pt x="803" y="145"/>
                  <a:pt x="804" y="148"/>
                  <a:pt x="804" y="148"/>
                </a:cubicBezTo>
                <a:cubicBezTo>
                  <a:pt x="808" y="149"/>
                  <a:pt x="808" y="149"/>
                  <a:pt x="808" y="149"/>
                </a:cubicBezTo>
                <a:cubicBezTo>
                  <a:pt x="808" y="147"/>
                  <a:pt x="808" y="147"/>
                  <a:pt x="808" y="147"/>
                </a:cubicBezTo>
                <a:cubicBezTo>
                  <a:pt x="808" y="147"/>
                  <a:pt x="811" y="150"/>
                  <a:pt x="812" y="148"/>
                </a:cubicBezTo>
                <a:cubicBezTo>
                  <a:pt x="813" y="147"/>
                  <a:pt x="810" y="143"/>
                  <a:pt x="810" y="143"/>
                </a:cubicBezTo>
                <a:cubicBezTo>
                  <a:pt x="807" y="142"/>
                  <a:pt x="807" y="142"/>
                  <a:pt x="807" y="142"/>
                </a:cubicBezTo>
                <a:cubicBezTo>
                  <a:pt x="812" y="140"/>
                  <a:pt x="812" y="140"/>
                  <a:pt x="812" y="140"/>
                </a:cubicBezTo>
                <a:cubicBezTo>
                  <a:pt x="812" y="140"/>
                  <a:pt x="815" y="149"/>
                  <a:pt x="817" y="148"/>
                </a:cubicBezTo>
                <a:cubicBezTo>
                  <a:pt x="819" y="148"/>
                  <a:pt x="843" y="141"/>
                  <a:pt x="840" y="137"/>
                </a:cubicBezTo>
                <a:cubicBezTo>
                  <a:pt x="837" y="133"/>
                  <a:pt x="835" y="130"/>
                  <a:pt x="837" y="128"/>
                </a:cubicBezTo>
                <a:cubicBezTo>
                  <a:pt x="839" y="127"/>
                  <a:pt x="850" y="126"/>
                  <a:pt x="850" y="125"/>
                </a:cubicBezTo>
                <a:cubicBezTo>
                  <a:pt x="850" y="124"/>
                  <a:pt x="848" y="119"/>
                  <a:pt x="848" y="119"/>
                </a:cubicBezTo>
                <a:cubicBezTo>
                  <a:pt x="845" y="115"/>
                  <a:pt x="845" y="115"/>
                  <a:pt x="845" y="115"/>
                </a:cubicBezTo>
                <a:cubicBezTo>
                  <a:pt x="845" y="115"/>
                  <a:pt x="832" y="112"/>
                  <a:pt x="827" y="115"/>
                </a:cubicBezTo>
                <a:cubicBezTo>
                  <a:pt x="821" y="119"/>
                  <a:pt x="826" y="122"/>
                  <a:pt x="826" y="122"/>
                </a:cubicBezTo>
                <a:cubicBezTo>
                  <a:pt x="821" y="125"/>
                  <a:pt x="821" y="125"/>
                  <a:pt x="821" y="125"/>
                </a:cubicBezTo>
                <a:cubicBezTo>
                  <a:pt x="818" y="125"/>
                  <a:pt x="818" y="125"/>
                  <a:pt x="818" y="125"/>
                </a:cubicBezTo>
                <a:cubicBezTo>
                  <a:pt x="809" y="131"/>
                  <a:pt x="809" y="131"/>
                  <a:pt x="809" y="131"/>
                </a:cubicBezTo>
                <a:cubicBezTo>
                  <a:pt x="805" y="133"/>
                  <a:pt x="805" y="133"/>
                  <a:pt x="805" y="133"/>
                </a:cubicBezTo>
                <a:cubicBezTo>
                  <a:pt x="805" y="133"/>
                  <a:pt x="803" y="136"/>
                  <a:pt x="802" y="137"/>
                </a:cubicBezTo>
                <a:cubicBezTo>
                  <a:pt x="801" y="138"/>
                  <a:pt x="797" y="138"/>
                  <a:pt x="797" y="138"/>
                </a:cubicBezTo>
                <a:cubicBezTo>
                  <a:pt x="792" y="140"/>
                  <a:pt x="792" y="140"/>
                  <a:pt x="792" y="140"/>
                </a:cubicBezTo>
                <a:cubicBezTo>
                  <a:pt x="792" y="140"/>
                  <a:pt x="790" y="133"/>
                  <a:pt x="791" y="131"/>
                </a:cubicBezTo>
                <a:cubicBezTo>
                  <a:pt x="792" y="129"/>
                  <a:pt x="799" y="130"/>
                  <a:pt x="800" y="126"/>
                </a:cubicBezTo>
                <a:cubicBezTo>
                  <a:pt x="801" y="123"/>
                  <a:pt x="798" y="120"/>
                  <a:pt x="797" y="120"/>
                </a:cubicBezTo>
                <a:cubicBezTo>
                  <a:pt x="796" y="120"/>
                  <a:pt x="785" y="125"/>
                  <a:pt x="785" y="125"/>
                </a:cubicBezTo>
                <a:cubicBezTo>
                  <a:pt x="781" y="129"/>
                  <a:pt x="781" y="129"/>
                  <a:pt x="781" y="129"/>
                </a:cubicBezTo>
                <a:cubicBezTo>
                  <a:pt x="780" y="127"/>
                  <a:pt x="780" y="127"/>
                  <a:pt x="780" y="127"/>
                </a:cubicBezTo>
                <a:cubicBezTo>
                  <a:pt x="784" y="123"/>
                  <a:pt x="784" y="123"/>
                  <a:pt x="784" y="123"/>
                </a:cubicBezTo>
                <a:cubicBezTo>
                  <a:pt x="783" y="121"/>
                  <a:pt x="783" y="121"/>
                  <a:pt x="783" y="121"/>
                </a:cubicBezTo>
                <a:cubicBezTo>
                  <a:pt x="790" y="118"/>
                  <a:pt x="790" y="118"/>
                  <a:pt x="790" y="118"/>
                </a:cubicBezTo>
                <a:cubicBezTo>
                  <a:pt x="784" y="117"/>
                  <a:pt x="784" y="117"/>
                  <a:pt x="784" y="117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78" y="117"/>
                  <a:pt x="778" y="117"/>
                  <a:pt x="778" y="117"/>
                </a:cubicBezTo>
                <a:cubicBezTo>
                  <a:pt x="775" y="116"/>
                  <a:pt x="775" y="116"/>
                  <a:pt x="775" y="116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8" y="113"/>
                  <a:pt x="788" y="111"/>
                </a:cubicBezTo>
                <a:cubicBezTo>
                  <a:pt x="787" y="108"/>
                  <a:pt x="782" y="108"/>
                  <a:pt x="784" y="105"/>
                </a:cubicBezTo>
                <a:cubicBezTo>
                  <a:pt x="787" y="101"/>
                  <a:pt x="789" y="96"/>
                  <a:pt x="786" y="96"/>
                </a:cubicBezTo>
                <a:cubicBezTo>
                  <a:pt x="780" y="94"/>
                  <a:pt x="780" y="94"/>
                  <a:pt x="780" y="94"/>
                </a:cubicBezTo>
                <a:cubicBezTo>
                  <a:pt x="776" y="95"/>
                  <a:pt x="776" y="95"/>
                  <a:pt x="776" y="95"/>
                </a:cubicBezTo>
                <a:cubicBezTo>
                  <a:pt x="776" y="95"/>
                  <a:pt x="771" y="96"/>
                  <a:pt x="771" y="97"/>
                </a:cubicBezTo>
                <a:cubicBezTo>
                  <a:pt x="770" y="98"/>
                  <a:pt x="772" y="99"/>
                  <a:pt x="771" y="100"/>
                </a:cubicBezTo>
                <a:cubicBezTo>
                  <a:pt x="769" y="100"/>
                  <a:pt x="762" y="98"/>
                  <a:pt x="760" y="100"/>
                </a:cubicBezTo>
                <a:cubicBezTo>
                  <a:pt x="759" y="102"/>
                  <a:pt x="755" y="104"/>
                  <a:pt x="757" y="105"/>
                </a:cubicBezTo>
                <a:cubicBezTo>
                  <a:pt x="759" y="106"/>
                  <a:pt x="761" y="106"/>
                  <a:pt x="761" y="106"/>
                </a:cubicBezTo>
                <a:cubicBezTo>
                  <a:pt x="761" y="106"/>
                  <a:pt x="751" y="109"/>
                  <a:pt x="751" y="112"/>
                </a:cubicBezTo>
                <a:cubicBezTo>
                  <a:pt x="752" y="114"/>
                  <a:pt x="757" y="116"/>
                  <a:pt x="757" y="116"/>
                </a:cubicBezTo>
                <a:cubicBezTo>
                  <a:pt x="761" y="115"/>
                  <a:pt x="761" y="115"/>
                  <a:pt x="761" y="115"/>
                </a:cubicBezTo>
                <a:cubicBezTo>
                  <a:pt x="761" y="115"/>
                  <a:pt x="760" y="119"/>
                  <a:pt x="762" y="119"/>
                </a:cubicBezTo>
                <a:cubicBezTo>
                  <a:pt x="763" y="118"/>
                  <a:pt x="769" y="117"/>
                  <a:pt x="767" y="119"/>
                </a:cubicBezTo>
                <a:cubicBezTo>
                  <a:pt x="764" y="120"/>
                  <a:pt x="763" y="120"/>
                  <a:pt x="763" y="120"/>
                </a:cubicBezTo>
                <a:cubicBezTo>
                  <a:pt x="760" y="119"/>
                  <a:pt x="760" y="119"/>
                  <a:pt x="760" y="119"/>
                </a:cubicBezTo>
                <a:cubicBezTo>
                  <a:pt x="759" y="121"/>
                  <a:pt x="759" y="121"/>
                  <a:pt x="759" y="121"/>
                </a:cubicBezTo>
                <a:cubicBezTo>
                  <a:pt x="759" y="121"/>
                  <a:pt x="752" y="122"/>
                  <a:pt x="754" y="123"/>
                </a:cubicBezTo>
                <a:cubicBezTo>
                  <a:pt x="757" y="124"/>
                  <a:pt x="763" y="120"/>
                  <a:pt x="761" y="122"/>
                </a:cubicBezTo>
                <a:cubicBezTo>
                  <a:pt x="760" y="125"/>
                  <a:pt x="756" y="127"/>
                  <a:pt x="753" y="128"/>
                </a:cubicBezTo>
                <a:cubicBezTo>
                  <a:pt x="751" y="129"/>
                  <a:pt x="746" y="132"/>
                  <a:pt x="746" y="132"/>
                </a:cubicBezTo>
                <a:cubicBezTo>
                  <a:pt x="746" y="132"/>
                  <a:pt x="742" y="129"/>
                  <a:pt x="741" y="131"/>
                </a:cubicBezTo>
                <a:cubicBezTo>
                  <a:pt x="740" y="132"/>
                  <a:pt x="736" y="134"/>
                  <a:pt x="736" y="136"/>
                </a:cubicBezTo>
                <a:cubicBezTo>
                  <a:pt x="736" y="138"/>
                  <a:pt x="735" y="140"/>
                  <a:pt x="735" y="140"/>
                </a:cubicBezTo>
                <a:cubicBezTo>
                  <a:pt x="734" y="138"/>
                  <a:pt x="734" y="138"/>
                  <a:pt x="734" y="138"/>
                </a:cubicBezTo>
                <a:cubicBezTo>
                  <a:pt x="734" y="138"/>
                  <a:pt x="729" y="138"/>
                  <a:pt x="729" y="136"/>
                </a:cubicBezTo>
                <a:cubicBezTo>
                  <a:pt x="730" y="135"/>
                  <a:pt x="738" y="129"/>
                  <a:pt x="738" y="129"/>
                </a:cubicBezTo>
                <a:cubicBezTo>
                  <a:pt x="733" y="129"/>
                  <a:pt x="733" y="129"/>
                  <a:pt x="733" y="129"/>
                </a:cubicBezTo>
                <a:cubicBezTo>
                  <a:pt x="733" y="129"/>
                  <a:pt x="732" y="126"/>
                  <a:pt x="730" y="126"/>
                </a:cubicBezTo>
                <a:cubicBezTo>
                  <a:pt x="729" y="126"/>
                  <a:pt x="725" y="128"/>
                  <a:pt x="725" y="128"/>
                </a:cubicBezTo>
                <a:cubicBezTo>
                  <a:pt x="725" y="128"/>
                  <a:pt x="721" y="126"/>
                  <a:pt x="720" y="128"/>
                </a:cubicBezTo>
                <a:cubicBezTo>
                  <a:pt x="720" y="129"/>
                  <a:pt x="719" y="131"/>
                  <a:pt x="720" y="131"/>
                </a:cubicBezTo>
                <a:cubicBezTo>
                  <a:pt x="721" y="131"/>
                  <a:pt x="727" y="134"/>
                  <a:pt x="725" y="135"/>
                </a:cubicBezTo>
                <a:cubicBezTo>
                  <a:pt x="723" y="135"/>
                  <a:pt x="719" y="132"/>
                  <a:pt x="719" y="132"/>
                </a:cubicBezTo>
                <a:cubicBezTo>
                  <a:pt x="716" y="130"/>
                  <a:pt x="716" y="130"/>
                  <a:pt x="716" y="130"/>
                </a:cubicBezTo>
                <a:cubicBezTo>
                  <a:pt x="716" y="134"/>
                  <a:pt x="716" y="134"/>
                  <a:pt x="716" y="134"/>
                </a:cubicBezTo>
                <a:cubicBezTo>
                  <a:pt x="716" y="134"/>
                  <a:pt x="713" y="136"/>
                  <a:pt x="711" y="136"/>
                </a:cubicBezTo>
                <a:cubicBezTo>
                  <a:pt x="709" y="135"/>
                  <a:pt x="702" y="134"/>
                  <a:pt x="700" y="134"/>
                </a:cubicBezTo>
                <a:cubicBezTo>
                  <a:pt x="698" y="134"/>
                  <a:pt x="693" y="134"/>
                  <a:pt x="691" y="134"/>
                </a:cubicBezTo>
                <a:cubicBezTo>
                  <a:pt x="688" y="134"/>
                  <a:pt x="685" y="130"/>
                  <a:pt x="685" y="130"/>
                </a:cubicBezTo>
                <a:cubicBezTo>
                  <a:pt x="677" y="131"/>
                  <a:pt x="677" y="131"/>
                  <a:pt x="677" y="131"/>
                </a:cubicBezTo>
                <a:cubicBezTo>
                  <a:pt x="677" y="131"/>
                  <a:pt x="673" y="128"/>
                  <a:pt x="672" y="128"/>
                </a:cubicBezTo>
                <a:cubicBezTo>
                  <a:pt x="670" y="127"/>
                  <a:pt x="667" y="127"/>
                  <a:pt x="664" y="129"/>
                </a:cubicBezTo>
                <a:cubicBezTo>
                  <a:pt x="662" y="130"/>
                  <a:pt x="663" y="130"/>
                  <a:pt x="660" y="130"/>
                </a:cubicBezTo>
                <a:cubicBezTo>
                  <a:pt x="657" y="130"/>
                  <a:pt x="651" y="129"/>
                  <a:pt x="650" y="131"/>
                </a:cubicBezTo>
                <a:cubicBezTo>
                  <a:pt x="648" y="133"/>
                  <a:pt x="646" y="138"/>
                  <a:pt x="646" y="138"/>
                </a:cubicBezTo>
                <a:cubicBezTo>
                  <a:pt x="644" y="142"/>
                  <a:pt x="644" y="142"/>
                  <a:pt x="644" y="142"/>
                </a:cubicBezTo>
                <a:cubicBezTo>
                  <a:pt x="640" y="143"/>
                  <a:pt x="640" y="143"/>
                  <a:pt x="640" y="143"/>
                </a:cubicBezTo>
                <a:cubicBezTo>
                  <a:pt x="639" y="147"/>
                  <a:pt x="639" y="147"/>
                  <a:pt x="639" y="147"/>
                </a:cubicBezTo>
                <a:cubicBezTo>
                  <a:pt x="636" y="140"/>
                  <a:pt x="636" y="140"/>
                  <a:pt x="636" y="140"/>
                </a:cubicBezTo>
                <a:cubicBezTo>
                  <a:pt x="636" y="140"/>
                  <a:pt x="644" y="142"/>
                  <a:pt x="642" y="138"/>
                </a:cubicBezTo>
                <a:cubicBezTo>
                  <a:pt x="640" y="134"/>
                  <a:pt x="633" y="134"/>
                  <a:pt x="633" y="134"/>
                </a:cubicBezTo>
                <a:cubicBezTo>
                  <a:pt x="634" y="132"/>
                  <a:pt x="634" y="132"/>
                  <a:pt x="634" y="132"/>
                </a:cubicBezTo>
                <a:cubicBezTo>
                  <a:pt x="634" y="132"/>
                  <a:pt x="619" y="134"/>
                  <a:pt x="611" y="134"/>
                </a:cubicBezTo>
                <a:cubicBezTo>
                  <a:pt x="604" y="134"/>
                  <a:pt x="590" y="134"/>
                  <a:pt x="593" y="132"/>
                </a:cubicBezTo>
                <a:cubicBezTo>
                  <a:pt x="595" y="131"/>
                  <a:pt x="613" y="132"/>
                  <a:pt x="609" y="127"/>
                </a:cubicBezTo>
                <a:cubicBezTo>
                  <a:pt x="604" y="122"/>
                  <a:pt x="600" y="122"/>
                  <a:pt x="595" y="122"/>
                </a:cubicBezTo>
                <a:cubicBezTo>
                  <a:pt x="590" y="123"/>
                  <a:pt x="582" y="120"/>
                  <a:pt x="581" y="119"/>
                </a:cubicBezTo>
                <a:cubicBezTo>
                  <a:pt x="580" y="119"/>
                  <a:pt x="576" y="119"/>
                  <a:pt x="576" y="119"/>
                </a:cubicBezTo>
                <a:cubicBezTo>
                  <a:pt x="576" y="119"/>
                  <a:pt x="566" y="113"/>
                  <a:pt x="562" y="113"/>
                </a:cubicBezTo>
                <a:cubicBezTo>
                  <a:pt x="558" y="113"/>
                  <a:pt x="552" y="119"/>
                  <a:pt x="552" y="119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48" y="116"/>
                  <a:pt x="548" y="116"/>
                  <a:pt x="548" y="116"/>
                </a:cubicBezTo>
                <a:cubicBezTo>
                  <a:pt x="548" y="115"/>
                  <a:pt x="548" y="115"/>
                  <a:pt x="548" y="115"/>
                </a:cubicBezTo>
                <a:cubicBezTo>
                  <a:pt x="552" y="110"/>
                  <a:pt x="552" y="110"/>
                  <a:pt x="552" y="110"/>
                </a:cubicBezTo>
                <a:cubicBezTo>
                  <a:pt x="552" y="110"/>
                  <a:pt x="544" y="114"/>
                  <a:pt x="542" y="116"/>
                </a:cubicBezTo>
                <a:cubicBezTo>
                  <a:pt x="541" y="117"/>
                  <a:pt x="537" y="122"/>
                  <a:pt x="534" y="119"/>
                </a:cubicBezTo>
                <a:cubicBezTo>
                  <a:pt x="531" y="115"/>
                  <a:pt x="536" y="112"/>
                  <a:pt x="535" y="110"/>
                </a:cubicBezTo>
                <a:cubicBezTo>
                  <a:pt x="534" y="107"/>
                  <a:pt x="530" y="105"/>
                  <a:pt x="529" y="107"/>
                </a:cubicBezTo>
                <a:cubicBezTo>
                  <a:pt x="528" y="109"/>
                  <a:pt x="531" y="110"/>
                  <a:pt x="531" y="110"/>
                </a:cubicBezTo>
                <a:cubicBezTo>
                  <a:pt x="531" y="110"/>
                  <a:pt x="527" y="110"/>
                  <a:pt x="525" y="111"/>
                </a:cubicBezTo>
                <a:cubicBezTo>
                  <a:pt x="522" y="111"/>
                  <a:pt x="519" y="114"/>
                  <a:pt x="518" y="115"/>
                </a:cubicBezTo>
                <a:cubicBezTo>
                  <a:pt x="517" y="115"/>
                  <a:pt x="513" y="114"/>
                  <a:pt x="513" y="114"/>
                </a:cubicBezTo>
                <a:cubicBezTo>
                  <a:pt x="513" y="114"/>
                  <a:pt x="503" y="116"/>
                  <a:pt x="502" y="117"/>
                </a:cubicBezTo>
                <a:cubicBezTo>
                  <a:pt x="501" y="117"/>
                  <a:pt x="496" y="120"/>
                  <a:pt x="496" y="120"/>
                </a:cubicBezTo>
                <a:cubicBezTo>
                  <a:pt x="493" y="117"/>
                  <a:pt x="493" y="117"/>
                  <a:pt x="493" y="117"/>
                </a:cubicBezTo>
                <a:cubicBezTo>
                  <a:pt x="493" y="117"/>
                  <a:pt x="486" y="121"/>
                  <a:pt x="484" y="121"/>
                </a:cubicBezTo>
                <a:cubicBezTo>
                  <a:pt x="482" y="121"/>
                  <a:pt x="478" y="124"/>
                  <a:pt x="478" y="124"/>
                </a:cubicBezTo>
                <a:cubicBezTo>
                  <a:pt x="474" y="124"/>
                  <a:pt x="474" y="124"/>
                  <a:pt x="474" y="124"/>
                </a:cubicBezTo>
                <a:cubicBezTo>
                  <a:pt x="474" y="124"/>
                  <a:pt x="477" y="120"/>
                  <a:pt x="481" y="120"/>
                </a:cubicBezTo>
                <a:cubicBezTo>
                  <a:pt x="484" y="119"/>
                  <a:pt x="491" y="116"/>
                  <a:pt x="491" y="116"/>
                </a:cubicBezTo>
                <a:cubicBezTo>
                  <a:pt x="491" y="116"/>
                  <a:pt x="497" y="117"/>
                  <a:pt x="500" y="116"/>
                </a:cubicBezTo>
                <a:cubicBezTo>
                  <a:pt x="502" y="115"/>
                  <a:pt x="515" y="112"/>
                  <a:pt x="515" y="112"/>
                </a:cubicBezTo>
                <a:cubicBezTo>
                  <a:pt x="515" y="112"/>
                  <a:pt x="517" y="111"/>
                  <a:pt x="516" y="110"/>
                </a:cubicBezTo>
                <a:cubicBezTo>
                  <a:pt x="514" y="109"/>
                  <a:pt x="510" y="111"/>
                  <a:pt x="510" y="111"/>
                </a:cubicBezTo>
                <a:cubicBezTo>
                  <a:pt x="510" y="111"/>
                  <a:pt x="506" y="111"/>
                  <a:pt x="505" y="111"/>
                </a:cubicBezTo>
                <a:cubicBezTo>
                  <a:pt x="503" y="111"/>
                  <a:pt x="502" y="113"/>
                  <a:pt x="501" y="113"/>
                </a:cubicBezTo>
                <a:cubicBezTo>
                  <a:pt x="500" y="113"/>
                  <a:pt x="496" y="113"/>
                  <a:pt x="496" y="113"/>
                </a:cubicBezTo>
                <a:cubicBezTo>
                  <a:pt x="492" y="114"/>
                  <a:pt x="492" y="114"/>
                  <a:pt x="492" y="114"/>
                </a:cubicBezTo>
                <a:cubicBezTo>
                  <a:pt x="492" y="114"/>
                  <a:pt x="489" y="114"/>
                  <a:pt x="486" y="115"/>
                </a:cubicBezTo>
                <a:cubicBezTo>
                  <a:pt x="484" y="115"/>
                  <a:pt x="482" y="118"/>
                  <a:pt x="482" y="118"/>
                </a:cubicBezTo>
                <a:cubicBezTo>
                  <a:pt x="479" y="118"/>
                  <a:pt x="479" y="118"/>
                  <a:pt x="479" y="118"/>
                </a:cubicBezTo>
                <a:cubicBezTo>
                  <a:pt x="471" y="121"/>
                  <a:pt x="471" y="121"/>
                  <a:pt x="471" y="121"/>
                </a:cubicBezTo>
                <a:cubicBezTo>
                  <a:pt x="471" y="121"/>
                  <a:pt x="468" y="122"/>
                  <a:pt x="468" y="122"/>
                </a:cubicBezTo>
                <a:cubicBezTo>
                  <a:pt x="467" y="123"/>
                  <a:pt x="467" y="126"/>
                  <a:pt x="465" y="125"/>
                </a:cubicBezTo>
                <a:cubicBezTo>
                  <a:pt x="464" y="125"/>
                  <a:pt x="463" y="121"/>
                  <a:pt x="466" y="121"/>
                </a:cubicBezTo>
                <a:cubicBezTo>
                  <a:pt x="468" y="121"/>
                  <a:pt x="474" y="119"/>
                  <a:pt x="476" y="117"/>
                </a:cubicBezTo>
                <a:cubicBezTo>
                  <a:pt x="478" y="116"/>
                  <a:pt x="469" y="115"/>
                  <a:pt x="468" y="117"/>
                </a:cubicBezTo>
                <a:cubicBezTo>
                  <a:pt x="466" y="119"/>
                  <a:pt x="460" y="120"/>
                  <a:pt x="459" y="120"/>
                </a:cubicBezTo>
                <a:cubicBezTo>
                  <a:pt x="458" y="120"/>
                  <a:pt x="458" y="125"/>
                  <a:pt x="458" y="125"/>
                </a:cubicBezTo>
                <a:cubicBezTo>
                  <a:pt x="454" y="123"/>
                  <a:pt x="454" y="123"/>
                  <a:pt x="454" y="123"/>
                </a:cubicBezTo>
                <a:cubicBezTo>
                  <a:pt x="445" y="122"/>
                  <a:pt x="445" y="122"/>
                  <a:pt x="445" y="122"/>
                </a:cubicBezTo>
                <a:cubicBezTo>
                  <a:pt x="445" y="122"/>
                  <a:pt x="440" y="120"/>
                  <a:pt x="440" y="119"/>
                </a:cubicBezTo>
                <a:cubicBezTo>
                  <a:pt x="441" y="117"/>
                  <a:pt x="442" y="116"/>
                  <a:pt x="442" y="116"/>
                </a:cubicBezTo>
                <a:cubicBezTo>
                  <a:pt x="426" y="116"/>
                  <a:pt x="426" y="116"/>
                  <a:pt x="426" y="116"/>
                </a:cubicBezTo>
                <a:cubicBezTo>
                  <a:pt x="426" y="116"/>
                  <a:pt x="426" y="111"/>
                  <a:pt x="420" y="111"/>
                </a:cubicBezTo>
                <a:cubicBezTo>
                  <a:pt x="415" y="112"/>
                  <a:pt x="408" y="114"/>
                  <a:pt x="407" y="114"/>
                </a:cubicBezTo>
                <a:cubicBezTo>
                  <a:pt x="407" y="114"/>
                  <a:pt x="401" y="111"/>
                  <a:pt x="400" y="110"/>
                </a:cubicBezTo>
                <a:cubicBezTo>
                  <a:pt x="399" y="110"/>
                  <a:pt x="389" y="110"/>
                  <a:pt x="389" y="110"/>
                </a:cubicBezTo>
                <a:cubicBezTo>
                  <a:pt x="389" y="110"/>
                  <a:pt x="385" y="108"/>
                  <a:pt x="382" y="108"/>
                </a:cubicBezTo>
                <a:cubicBezTo>
                  <a:pt x="378" y="108"/>
                  <a:pt x="363" y="108"/>
                  <a:pt x="362" y="108"/>
                </a:cubicBezTo>
                <a:cubicBezTo>
                  <a:pt x="362" y="108"/>
                  <a:pt x="363" y="105"/>
                  <a:pt x="363" y="105"/>
                </a:cubicBezTo>
                <a:cubicBezTo>
                  <a:pt x="363" y="105"/>
                  <a:pt x="355" y="104"/>
                  <a:pt x="354" y="104"/>
                </a:cubicBezTo>
                <a:cubicBezTo>
                  <a:pt x="353" y="104"/>
                  <a:pt x="346" y="105"/>
                  <a:pt x="346" y="105"/>
                </a:cubicBezTo>
                <a:cubicBezTo>
                  <a:pt x="351" y="101"/>
                  <a:pt x="351" y="101"/>
                  <a:pt x="351" y="101"/>
                </a:cubicBezTo>
                <a:cubicBezTo>
                  <a:pt x="339" y="105"/>
                  <a:pt x="339" y="105"/>
                  <a:pt x="339" y="105"/>
                </a:cubicBezTo>
                <a:cubicBezTo>
                  <a:pt x="344" y="101"/>
                  <a:pt x="344" y="101"/>
                  <a:pt x="344" y="101"/>
                </a:cubicBezTo>
                <a:cubicBezTo>
                  <a:pt x="339" y="100"/>
                  <a:pt x="339" y="100"/>
                  <a:pt x="339" y="100"/>
                </a:cubicBezTo>
                <a:cubicBezTo>
                  <a:pt x="339" y="100"/>
                  <a:pt x="333" y="105"/>
                  <a:pt x="327" y="105"/>
                </a:cubicBezTo>
                <a:cubicBezTo>
                  <a:pt x="320" y="105"/>
                  <a:pt x="311" y="104"/>
                  <a:pt x="309" y="105"/>
                </a:cubicBezTo>
                <a:cubicBezTo>
                  <a:pt x="307" y="107"/>
                  <a:pt x="301" y="108"/>
                  <a:pt x="301" y="108"/>
                </a:cubicBezTo>
                <a:cubicBezTo>
                  <a:pt x="301" y="108"/>
                  <a:pt x="291" y="108"/>
                  <a:pt x="285" y="109"/>
                </a:cubicBezTo>
                <a:cubicBezTo>
                  <a:pt x="280" y="110"/>
                  <a:pt x="267" y="119"/>
                  <a:pt x="258" y="121"/>
                </a:cubicBezTo>
                <a:cubicBezTo>
                  <a:pt x="250" y="122"/>
                  <a:pt x="239" y="123"/>
                  <a:pt x="239" y="123"/>
                </a:cubicBezTo>
                <a:cubicBezTo>
                  <a:pt x="239" y="123"/>
                  <a:pt x="226" y="127"/>
                  <a:pt x="226" y="128"/>
                </a:cubicBezTo>
                <a:cubicBezTo>
                  <a:pt x="227" y="129"/>
                  <a:pt x="231" y="131"/>
                  <a:pt x="231" y="131"/>
                </a:cubicBezTo>
                <a:cubicBezTo>
                  <a:pt x="231" y="131"/>
                  <a:pt x="234" y="136"/>
                  <a:pt x="233" y="137"/>
                </a:cubicBezTo>
                <a:cubicBezTo>
                  <a:pt x="231" y="138"/>
                  <a:pt x="230" y="139"/>
                  <a:pt x="230" y="139"/>
                </a:cubicBezTo>
                <a:cubicBezTo>
                  <a:pt x="242" y="140"/>
                  <a:pt x="242" y="140"/>
                  <a:pt x="242" y="140"/>
                </a:cubicBezTo>
                <a:cubicBezTo>
                  <a:pt x="238" y="144"/>
                  <a:pt x="238" y="144"/>
                  <a:pt x="238" y="144"/>
                </a:cubicBezTo>
                <a:cubicBezTo>
                  <a:pt x="247" y="145"/>
                  <a:pt x="247" y="145"/>
                  <a:pt x="247" y="145"/>
                </a:cubicBezTo>
                <a:cubicBezTo>
                  <a:pt x="246" y="147"/>
                  <a:pt x="246" y="147"/>
                  <a:pt x="246" y="147"/>
                </a:cubicBezTo>
                <a:cubicBezTo>
                  <a:pt x="238" y="147"/>
                  <a:pt x="238" y="147"/>
                  <a:pt x="238" y="147"/>
                </a:cubicBezTo>
                <a:cubicBezTo>
                  <a:pt x="237" y="149"/>
                  <a:pt x="237" y="149"/>
                  <a:pt x="237" y="149"/>
                </a:cubicBezTo>
                <a:cubicBezTo>
                  <a:pt x="232" y="149"/>
                  <a:pt x="232" y="149"/>
                  <a:pt x="232" y="149"/>
                </a:cubicBezTo>
                <a:cubicBezTo>
                  <a:pt x="232" y="149"/>
                  <a:pt x="225" y="150"/>
                  <a:pt x="220" y="150"/>
                </a:cubicBezTo>
                <a:cubicBezTo>
                  <a:pt x="215" y="150"/>
                  <a:pt x="216" y="148"/>
                  <a:pt x="219" y="147"/>
                </a:cubicBezTo>
                <a:cubicBezTo>
                  <a:pt x="222" y="146"/>
                  <a:pt x="213" y="145"/>
                  <a:pt x="213" y="145"/>
                </a:cubicBezTo>
                <a:cubicBezTo>
                  <a:pt x="213" y="145"/>
                  <a:pt x="203" y="145"/>
                  <a:pt x="202" y="147"/>
                </a:cubicBezTo>
                <a:cubicBezTo>
                  <a:pt x="202" y="148"/>
                  <a:pt x="203" y="149"/>
                  <a:pt x="203" y="149"/>
                </a:cubicBezTo>
                <a:cubicBezTo>
                  <a:pt x="203" y="149"/>
                  <a:pt x="195" y="150"/>
                  <a:pt x="191" y="150"/>
                </a:cubicBezTo>
                <a:cubicBezTo>
                  <a:pt x="186" y="151"/>
                  <a:pt x="172" y="154"/>
                  <a:pt x="175" y="155"/>
                </a:cubicBezTo>
                <a:cubicBezTo>
                  <a:pt x="179" y="156"/>
                  <a:pt x="183" y="157"/>
                  <a:pt x="183" y="157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6" y="165"/>
                  <a:pt x="181" y="165"/>
                  <a:pt x="184" y="165"/>
                </a:cubicBezTo>
                <a:cubicBezTo>
                  <a:pt x="187" y="165"/>
                  <a:pt x="190" y="165"/>
                  <a:pt x="190" y="165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4"/>
                  <a:pt x="198" y="164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00" y="166"/>
                  <a:pt x="207" y="162"/>
                  <a:pt x="208" y="162"/>
                </a:cubicBezTo>
                <a:cubicBezTo>
                  <a:pt x="209" y="162"/>
                  <a:pt x="211" y="164"/>
                  <a:pt x="213" y="163"/>
                </a:cubicBezTo>
                <a:cubicBezTo>
                  <a:pt x="215" y="162"/>
                  <a:pt x="219" y="159"/>
                  <a:pt x="219" y="161"/>
                </a:cubicBezTo>
                <a:cubicBezTo>
                  <a:pt x="219" y="163"/>
                  <a:pt x="217" y="165"/>
                  <a:pt x="217" y="165"/>
                </a:cubicBezTo>
                <a:cubicBezTo>
                  <a:pt x="209" y="166"/>
                  <a:pt x="209" y="166"/>
                  <a:pt x="209" y="166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10" y="170"/>
                  <a:pt x="204" y="176"/>
                  <a:pt x="200" y="176"/>
                </a:cubicBezTo>
                <a:cubicBezTo>
                  <a:pt x="197" y="176"/>
                  <a:pt x="192" y="176"/>
                  <a:pt x="192" y="176"/>
                </a:cubicBezTo>
                <a:cubicBezTo>
                  <a:pt x="190" y="174"/>
                  <a:pt x="190" y="174"/>
                  <a:pt x="190" y="174"/>
                </a:cubicBezTo>
                <a:cubicBezTo>
                  <a:pt x="188" y="175"/>
                  <a:pt x="188" y="175"/>
                  <a:pt x="188" y="175"/>
                </a:cubicBezTo>
                <a:cubicBezTo>
                  <a:pt x="188" y="177"/>
                  <a:pt x="188" y="177"/>
                  <a:pt x="188" y="177"/>
                </a:cubicBezTo>
                <a:cubicBezTo>
                  <a:pt x="188" y="177"/>
                  <a:pt x="179" y="182"/>
                  <a:pt x="177" y="180"/>
                </a:cubicBezTo>
                <a:cubicBezTo>
                  <a:pt x="174" y="178"/>
                  <a:pt x="172" y="178"/>
                  <a:pt x="172" y="178"/>
                </a:cubicBezTo>
                <a:cubicBezTo>
                  <a:pt x="159" y="185"/>
                  <a:pt x="159" y="185"/>
                  <a:pt x="159" y="185"/>
                </a:cubicBezTo>
                <a:cubicBezTo>
                  <a:pt x="157" y="188"/>
                  <a:pt x="157" y="188"/>
                  <a:pt x="157" y="188"/>
                </a:cubicBezTo>
                <a:cubicBezTo>
                  <a:pt x="156" y="185"/>
                  <a:pt x="156" y="185"/>
                  <a:pt x="156" y="185"/>
                </a:cubicBezTo>
                <a:cubicBezTo>
                  <a:pt x="156" y="185"/>
                  <a:pt x="151" y="187"/>
                  <a:pt x="148" y="188"/>
                </a:cubicBezTo>
                <a:cubicBezTo>
                  <a:pt x="145" y="189"/>
                  <a:pt x="143" y="192"/>
                  <a:pt x="143" y="192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39" y="194"/>
                  <a:pt x="139" y="194"/>
                  <a:pt x="139" y="194"/>
                </a:cubicBezTo>
                <a:cubicBezTo>
                  <a:pt x="139" y="194"/>
                  <a:pt x="136" y="193"/>
                  <a:pt x="135" y="194"/>
                </a:cubicBezTo>
                <a:cubicBezTo>
                  <a:pt x="135" y="195"/>
                  <a:pt x="135" y="197"/>
                  <a:pt x="135" y="197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41" y="196"/>
                  <a:pt x="141" y="196"/>
                  <a:pt x="141" y="196"/>
                </a:cubicBezTo>
                <a:cubicBezTo>
                  <a:pt x="138" y="198"/>
                  <a:pt x="138" y="198"/>
                  <a:pt x="138" y="198"/>
                </a:cubicBezTo>
                <a:cubicBezTo>
                  <a:pt x="138" y="200"/>
                  <a:pt x="138" y="200"/>
                  <a:pt x="138" y="200"/>
                </a:cubicBezTo>
                <a:cubicBezTo>
                  <a:pt x="136" y="201"/>
                  <a:pt x="136" y="201"/>
                  <a:pt x="136" y="201"/>
                </a:cubicBezTo>
                <a:cubicBezTo>
                  <a:pt x="136" y="201"/>
                  <a:pt x="146" y="201"/>
                  <a:pt x="144" y="203"/>
                </a:cubicBezTo>
                <a:cubicBezTo>
                  <a:pt x="142" y="205"/>
                  <a:pt x="138" y="205"/>
                  <a:pt x="138" y="205"/>
                </a:cubicBezTo>
                <a:cubicBezTo>
                  <a:pt x="134" y="205"/>
                  <a:pt x="134" y="205"/>
                  <a:pt x="134" y="205"/>
                </a:cubicBezTo>
                <a:cubicBezTo>
                  <a:pt x="136" y="204"/>
                  <a:pt x="136" y="204"/>
                  <a:pt x="136" y="204"/>
                </a:cubicBezTo>
                <a:cubicBezTo>
                  <a:pt x="134" y="203"/>
                  <a:pt x="134" y="203"/>
                  <a:pt x="134" y="203"/>
                </a:cubicBezTo>
                <a:cubicBezTo>
                  <a:pt x="134" y="203"/>
                  <a:pt x="128" y="205"/>
                  <a:pt x="128" y="206"/>
                </a:cubicBezTo>
                <a:cubicBezTo>
                  <a:pt x="128" y="206"/>
                  <a:pt x="130" y="207"/>
                  <a:pt x="130" y="207"/>
                </a:cubicBezTo>
                <a:cubicBezTo>
                  <a:pt x="130" y="207"/>
                  <a:pt x="127" y="213"/>
                  <a:pt x="128" y="213"/>
                </a:cubicBezTo>
                <a:cubicBezTo>
                  <a:pt x="129" y="213"/>
                  <a:pt x="138" y="212"/>
                  <a:pt x="138" y="212"/>
                </a:cubicBezTo>
                <a:cubicBezTo>
                  <a:pt x="145" y="209"/>
                  <a:pt x="145" y="209"/>
                  <a:pt x="145" y="209"/>
                </a:cubicBezTo>
                <a:cubicBezTo>
                  <a:pt x="154" y="205"/>
                  <a:pt x="154" y="205"/>
                  <a:pt x="154" y="205"/>
                </a:cubicBezTo>
                <a:cubicBezTo>
                  <a:pt x="154" y="205"/>
                  <a:pt x="145" y="209"/>
                  <a:pt x="144" y="211"/>
                </a:cubicBezTo>
                <a:cubicBezTo>
                  <a:pt x="143" y="212"/>
                  <a:pt x="143" y="216"/>
                  <a:pt x="142" y="216"/>
                </a:cubicBezTo>
                <a:cubicBezTo>
                  <a:pt x="140" y="217"/>
                  <a:pt x="138" y="215"/>
                  <a:pt x="137" y="217"/>
                </a:cubicBezTo>
                <a:cubicBezTo>
                  <a:pt x="135" y="219"/>
                  <a:pt x="135" y="221"/>
                  <a:pt x="133" y="222"/>
                </a:cubicBezTo>
                <a:cubicBezTo>
                  <a:pt x="132" y="223"/>
                  <a:pt x="129" y="225"/>
                  <a:pt x="129" y="225"/>
                </a:cubicBezTo>
                <a:cubicBezTo>
                  <a:pt x="137" y="224"/>
                  <a:pt x="137" y="224"/>
                  <a:pt x="137" y="224"/>
                </a:cubicBezTo>
                <a:cubicBezTo>
                  <a:pt x="135" y="227"/>
                  <a:pt x="135" y="227"/>
                  <a:pt x="135" y="227"/>
                </a:cubicBezTo>
                <a:cubicBezTo>
                  <a:pt x="135" y="227"/>
                  <a:pt x="142" y="220"/>
                  <a:pt x="145" y="221"/>
                </a:cubicBezTo>
                <a:cubicBezTo>
                  <a:pt x="149" y="221"/>
                  <a:pt x="147" y="223"/>
                  <a:pt x="147" y="223"/>
                </a:cubicBezTo>
                <a:cubicBezTo>
                  <a:pt x="150" y="222"/>
                  <a:pt x="150" y="222"/>
                  <a:pt x="150" y="222"/>
                </a:cubicBezTo>
                <a:cubicBezTo>
                  <a:pt x="150" y="222"/>
                  <a:pt x="148" y="227"/>
                  <a:pt x="150" y="227"/>
                </a:cubicBezTo>
                <a:cubicBezTo>
                  <a:pt x="153" y="227"/>
                  <a:pt x="157" y="223"/>
                  <a:pt x="157" y="223"/>
                </a:cubicBezTo>
                <a:cubicBezTo>
                  <a:pt x="163" y="220"/>
                  <a:pt x="163" y="220"/>
                  <a:pt x="163" y="220"/>
                </a:cubicBezTo>
                <a:cubicBezTo>
                  <a:pt x="164" y="222"/>
                  <a:pt x="164" y="222"/>
                  <a:pt x="164" y="222"/>
                </a:cubicBezTo>
                <a:cubicBezTo>
                  <a:pt x="160" y="222"/>
                  <a:pt x="160" y="222"/>
                  <a:pt x="160" y="222"/>
                </a:cubicBezTo>
                <a:cubicBezTo>
                  <a:pt x="160" y="222"/>
                  <a:pt x="157" y="225"/>
                  <a:pt x="159" y="225"/>
                </a:cubicBezTo>
                <a:cubicBezTo>
                  <a:pt x="162" y="225"/>
                  <a:pt x="171" y="222"/>
                  <a:pt x="171" y="222"/>
                </a:cubicBezTo>
                <a:cubicBezTo>
                  <a:pt x="177" y="220"/>
                  <a:pt x="177" y="220"/>
                  <a:pt x="177" y="220"/>
                </a:cubicBezTo>
                <a:cubicBezTo>
                  <a:pt x="171" y="223"/>
                  <a:pt x="171" y="223"/>
                  <a:pt x="171" y="223"/>
                </a:cubicBezTo>
                <a:cubicBezTo>
                  <a:pt x="171" y="225"/>
                  <a:pt x="171" y="225"/>
                  <a:pt x="171" y="225"/>
                </a:cubicBezTo>
                <a:cubicBezTo>
                  <a:pt x="171" y="225"/>
                  <a:pt x="167" y="226"/>
                  <a:pt x="164" y="226"/>
                </a:cubicBezTo>
                <a:cubicBezTo>
                  <a:pt x="162" y="227"/>
                  <a:pt x="160" y="230"/>
                  <a:pt x="160" y="23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51" y="235"/>
                  <a:pt x="151" y="235"/>
                  <a:pt x="151" y="235"/>
                </a:cubicBezTo>
                <a:cubicBezTo>
                  <a:pt x="151" y="237"/>
                  <a:pt x="151" y="237"/>
                  <a:pt x="151" y="237"/>
                </a:cubicBezTo>
                <a:cubicBezTo>
                  <a:pt x="146" y="237"/>
                  <a:pt x="146" y="237"/>
                  <a:pt x="146" y="237"/>
                </a:cubicBezTo>
                <a:cubicBezTo>
                  <a:pt x="146" y="237"/>
                  <a:pt x="136" y="239"/>
                  <a:pt x="135" y="240"/>
                </a:cubicBezTo>
                <a:cubicBezTo>
                  <a:pt x="134" y="242"/>
                  <a:pt x="135" y="245"/>
                  <a:pt x="133" y="245"/>
                </a:cubicBezTo>
                <a:cubicBezTo>
                  <a:pt x="131" y="245"/>
                  <a:pt x="126" y="245"/>
                  <a:pt x="122" y="245"/>
                </a:cubicBezTo>
                <a:cubicBezTo>
                  <a:pt x="119" y="246"/>
                  <a:pt x="108" y="254"/>
                  <a:pt x="108" y="254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3" y="257"/>
                  <a:pt x="103" y="257"/>
                  <a:pt x="103" y="257"/>
                </a:cubicBezTo>
                <a:cubicBezTo>
                  <a:pt x="103" y="254"/>
                  <a:pt x="103" y="254"/>
                  <a:pt x="103" y="254"/>
                </a:cubicBezTo>
                <a:cubicBezTo>
                  <a:pt x="103" y="254"/>
                  <a:pt x="96" y="253"/>
                  <a:pt x="94" y="255"/>
                </a:cubicBezTo>
                <a:cubicBezTo>
                  <a:pt x="91" y="256"/>
                  <a:pt x="86" y="258"/>
                  <a:pt x="86" y="258"/>
                </a:cubicBezTo>
                <a:cubicBezTo>
                  <a:pt x="84" y="258"/>
                  <a:pt x="84" y="258"/>
                  <a:pt x="84" y="258"/>
                </a:cubicBezTo>
                <a:cubicBezTo>
                  <a:pt x="85" y="259"/>
                  <a:pt x="85" y="259"/>
                  <a:pt x="85" y="259"/>
                </a:cubicBezTo>
                <a:cubicBezTo>
                  <a:pt x="81" y="260"/>
                  <a:pt x="81" y="260"/>
                  <a:pt x="81" y="260"/>
                </a:cubicBezTo>
                <a:cubicBezTo>
                  <a:pt x="79" y="261"/>
                  <a:pt x="79" y="261"/>
                  <a:pt x="79" y="261"/>
                </a:cubicBezTo>
                <a:cubicBezTo>
                  <a:pt x="76" y="261"/>
                  <a:pt x="76" y="261"/>
                  <a:pt x="76" y="261"/>
                </a:cubicBezTo>
                <a:cubicBezTo>
                  <a:pt x="72" y="264"/>
                  <a:pt x="72" y="264"/>
                  <a:pt x="72" y="264"/>
                </a:cubicBezTo>
                <a:cubicBezTo>
                  <a:pt x="73" y="265"/>
                  <a:pt x="73" y="265"/>
                  <a:pt x="73" y="265"/>
                </a:cubicBezTo>
                <a:cubicBezTo>
                  <a:pt x="75" y="263"/>
                  <a:pt x="75" y="263"/>
                  <a:pt x="75" y="263"/>
                </a:cubicBezTo>
                <a:cubicBezTo>
                  <a:pt x="78" y="264"/>
                  <a:pt x="78" y="264"/>
                  <a:pt x="78" y="264"/>
                </a:cubicBezTo>
                <a:cubicBezTo>
                  <a:pt x="81" y="262"/>
                  <a:pt x="81" y="262"/>
                  <a:pt x="81" y="262"/>
                </a:cubicBezTo>
                <a:cubicBezTo>
                  <a:pt x="81" y="263"/>
                  <a:pt x="81" y="263"/>
                  <a:pt x="81" y="263"/>
                </a:cubicBezTo>
                <a:cubicBezTo>
                  <a:pt x="81" y="263"/>
                  <a:pt x="86" y="263"/>
                  <a:pt x="87" y="262"/>
                </a:cubicBezTo>
                <a:cubicBezTo>
                  <a:pt x="89" y="260"/>
                  <a:pt x="92" y="257"/>
                  <a:pt x="94" y="257"/>
                </a:cubicBezTo>
                <a:cubicBezTo>
                  <a:pt x="96" y="256"/>
                  <a:pt x="94" y="260"/>
                  <a:pt x="97" y="260"/>
                </a:cubicBezTo>
                <a:cubicBezTo>
                  <a:pt x="100" y="260"/>
                  <a:pt x="108" y="256"/>
                  <a:pt x="108" y="256"/>
                </a:cubicBezTo>
                <a:cubicBezTo>
                  <a:pt x="112" y="258"/>
                  <a:pt x="112" y="258"/>
                  <a:pt x="112" y="258"/>
                </a:cubicBezTo>
                <a:cubicBezTo>
                  <a:pt x="115" y="255"/>
                  <a:pt x="115" y="255"/>
                  <a:pt x="115" y="255"/>
                </a:cubicBezTo>
                <a:cubicBezTo>
                  <a:pt x="115" y="255"/>
                  <a:pt x="122" y="255"/>
                  <a:pt x="125" y="253"/>
                </a:cubicBezTo>
                <a:cubicBezTo>
                  <a:pt x="127" y="251"/>
                  <a:pt x="130" y="248"/>
                  <a:pt x="131" y="248"/>
                </a:cubicBezTo>
                <a:cubicBezTo>
                  <a:pt x="133" y="248"/>
                  <a:pt x="136" y="248"/>
                  <a:pt x="136" y="248"/>
                </a:cubicBezTo>
                <a:cubicBezTo>
                  <a:pt x="137" y="246"/>
                  <a:pt x="137" y="246"/>
                  <a:pt x="137" y="246"/>
                </a:cubicBezTo>
                <a:cubicBezTo>
                  <a:pt x="142" y="246"/>
                  <a:pt x="142" y="246"/>
                  <a:pt x="142" y="246"/>
                </a:cubicBezTo>
                <a:cubicBezTo>
                  <a:pt x="143" y="245"/>
                  <a:pt x="143" y="245"/>
                  <a:pt x="143" y="245"/>
                </a:cubicBezTo>
                <a:cubicBezTo>
                  <a:pt x="143" y="245"/>
                  <a:pt x="150" y="243"/>
                  <a:pt x="153" y="242"/>
                </a:cubicBezTo>
                <a:cubicBezTo>
                  <a:pt x="156" y="240"/>
                  <a:pt x="159" y="238"/>
                  <a:pt x="159" y="238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176" y="232"/>
                  <a:pt x="176" y="232"/>
                  <a:pt x="176" y="232"/>
                </a:cubicBezTo>
                <a:cubicBezTo>
                  <a:pt x="176" y="232"/>
                  <a:pt x="185" y="232"/>
                  <a:pt x="187" y="230"/>
                </a:cubicBezTo>
                <a:cubicBezTo>
                  <a:pt x="188" y="229"/>
                  <a:pt x="191" y="226"/>
                  <a:pt x="191" y="226"/>
                </a:cubicBezTo>
                <a:cubicBezTo>
                  <a:pt x="191" y="226"/>
                  <a:pt x="200" y="225"/>
                  <a:pt x="200" y="223"/>
                </a:cubicBezTo>
                <a:cubicBezTo>
                  <a:pt x="201" y="221"/>
                  <a:pt x="198" y="221"/>
                  <a:pt x="198" y="221"/>
                </a:cubicBezTo>
                <a:cubicBezTo>
                  <a:pt x="198" y="221"/>
                  <a:pt x="203" y="218"/>
                  <a:pt x="205" y="217"/>
                </a:cubicBezTo>
                <a:cubicBezTo>
                  <a:pt x="207" y="216"/>
                  <a:pt x="212" y="214"/>
                  <a:pt x="212" y="214"/>
                </a:cubicBezTo>
                <a:cubicBezTo>
                  <a:pt x="223" y="210"/>
                  <a:pt x="223" y="210"/>
                  <a:pt x="223" y="210"/>
                </a:cubicBezTo>
                <a:cubicBezTo>
                  <a:pt x="222" y="208"/>
                  <a:pt x="222" y="208"/>
                  <a:pt x="222" y="208"/>
                </a:cubicBezTo>
                <a:cubicBezTo>
                  <a:pt x="222" y="208"/>
                  <a:pt x="227" y="209"/>
                  <a:pt x="228" y="208"/>
                </a:cubicBezTo>
                <a:cubicBezTo>
                  <a:pt x="230" y="207"/>
                  <a:pt x="236" y="204"/>
                  <a:pt x="236" y="204"/>
                </a:cubicBezTo>
                <a:cubicBezTo>
                  <a:pt x="236" y="204"/>
                  <a:pt x="249" y="199"/>
                  <a:pt x="250" y="198"/>
                </a:cubicBezTo>
                <a:cubicBezTo>
                  <a:pt x="252" y="197"/>
                  <a:pt x="258" y="202"/>
                  <a:pt x="258" y="202"/>
                </a:cubicBezTo>
                <a:cubicBezTo>
                  <a:pt x="253" y="202"/>
                  <a:pt x="253" y="202"/>
                  <a:pt x="253" y="202"/>
                </a:cubicBezTo>
                <a:cubicBezTo>
                  <a:pt x="250" y="200"/>
                  <a:pt x="250" y="200"/>
                  <a:pt x="250" y="200"/>
                </a:cubicBezTo>
                <a:cubicBezTo>
                  <a:pt x="246" y="203"/>
                  <a:pt x="246" y="203"/>
                  <a:pt x="246" y="203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241" y="203"/>
                  <a:pt x="236" y="208"/>
                  <a:pt x="234" y="209"/>
                </a:cubicBezTo>
                <a:cubicBezTo>
                  <a:pt x="232" y="209"/>
                  <a:pt x="224" y="211"/>
                  <a:pt x="225" y="212"/>
                </a:cubicBezTo>
                <a:cubicBezTo>
                  <a:pt x="226" y="214"/>
                  <a:pt x="230" y="214"/>
                  <a:pt x="230" y="214"/>
                </a:cubicBezTo>
                <a:cubicBezTo>
                  <a:pt x="230" y="214"/>
                  <a:pt x="226" y="216"/>
                  <a:pt x="225" y="216"/>
                </a:cubicBezTo>
                <a:cubicBezTo>
                  <a:pt x="224" y="216"/>
                  <a:pt x="218" y="216"/>
                  <a:pt x="218" y="217"/>
                </a:cubicBezTo>
                <a:cubicBezTo>
                  <a:pt x="218" y="218"/>
                  <a:pt x="219" y="221"/>
                  <a:pt x="223" y="219"/>
                </a:cubicBezTo>
                <a:cubicBezTo>
                  <a:pt x="227" y="217"/>
                  <a:pt x="236" y="212"/>
                  <a:pt x="240" y="212"/>
                </a:cubicBezTo>
                <a:cubicBezTo>
                  <a:pt x="244" y="211"/>
                  <a:pt x="250" y="213"/>
                  <a:pt x="253" y="211"/>
                </a:cubicBezTo>
                <a:cubicBezTo>
                  <a:pt x="256" y="210"/>
                  <a:pt x="261" y="205"/>
                  <a:pt x="261" y="205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203"/>
                  <a:pt x="272" y="199"/>
                  <a:pt x="274" y="199"/>
                </a:cubicBezTo>
                <a:cubicBezTo>
                  <a:pt x="276" y="199"/>
                  <a:pt x="277" y="201"/>
                  <a:pt x="277" y="201"/>
                </a:cubicBezTo>
                <a:cubicBezTo>
                  <a:pt x="285" y="199"/>
                  <a:pt x="285" y="199"/>
                  <a:pt x="285" y="199"/>
                </a:cubicBezTo>
                <a:cubicBezTo>
                  <a:pt x="280" y="203"/>
                  <a:pt x="280" y="203"/>
                  <a:pt x="280" y="203"/>
                </a:cubicBezTo>
                <a:cubicBezTo>
                  <a:pt x="282" y="205"/>
                  <a:pt x="282" y="205"/>
                  <a:pt x="282" y="205"/>
                </a:cubicBezTo>
                <a:cubicBezTo>
                  <a:pt x="282" y="205"/>
                  <a:pt x="282" y="207"/>
                  <a:pt x="282" y="207"/>
                </a:cubicBezTo>
                <a:cubicBezTo>
                  <a:pt x="283" y="207"/>
                  <a:pt x="292" y="202"/>
                  <a:pt x="292" y="202"/>
                </a:cubicBezTo>
                <a:cubicBezTo>
                  <a:pt x="292" y="202"/>
                  <a:pt x="284" y="208"/>
                  <a:pt x="286" y="209"/>
                </a:cubicBezTo>
                <a:cubicBezTo>
                  <a:pt x="288" y="210"/>
                  <a:pt x="294" y="210"/>
                  <a:pt x="294" y="210"/>
                </a:cubicBezTo>
                <a:cubicBezTo>
                  <a:pt x="308" y="212"/>
                  <a:pt x="308" y="212"/>
                  <a:pt x="308" y="212"/>
                </a:cubicBezTo>
                <a:cubicBezTo>
                  <a:pt x="312" y="209"/>
                  <a:pt x="312" y="209"/>
                  <a:pt x="312" y="209"/>
                </a:cubicBezTo>
                <a:cubicBezTo>
                  <a:pt x="312" y="209"/>
                  <a:pt x="310" y="214"/>
                  <a:pt x="312" y="214"/>
                </a:cubicBezTo>
                <a:cubicBezTo>
                  <a:pt x="314" y="214"/>
                  <a:pt x="321" y="214"/>
                  <a:pt x="321" y="214"/>
                </a:cubicBezTo>
                <a:cubicBezTo>
                  <a:pt x="326" y="212"/>
                  <a:pt x="326" y="212"/>
                  <a:pt x="326" y="212"/>
                </a:cubicBezTo>
                <a:cubicBezTo>
                  <a:pt x="326" y="212"/>
                  <a:pt x="317" y="215"/>
                  <a:pt x="318" y="217"/>
                </a:cubicBezTo>
                <a:cubicBezTo>
                  <a:pt x="319" y="219"/>
                  <a:pt x="322" y="220"/>
                  <a:pt x="322" y="220"/>
                </a:cubicBezTo>
                <a:cubicBezTo>
                  <a:pt x="322" y="220"/>
                  <a:pt x="322" y="228"/>
                  <a:pt x="324" y="228"/>
                </a:cubicBezTo>
                <a:cubicBezTo>
                  <a:pt x="327" y="228"/>
                  <a:pt x="333" y="227"/>
                  <a:pt x="333" y="227"/>
                </a:cubicBezTo>
                <a:cubicBezTo>
                  <a:pt x="332" y="223"/>
                  <a:pt x="332" y="223"/>
                  <a:pt x="332" y="223"/>
                </a:cubicBezTo>
                <a:cubicBezTo>
                  <a:pt x="335" y="222"/>
                  <a:pt x="335" y="222"/>
                  <a:pt x="335" y="222"/>
                </a:cubicBezTo>
                <a:cubicBezTo>
                  <a:pt x="337" y="224"/>
                  <a:pt x="337" y="224"/>
                  <a:pt x="337" y="224"/>
                </a:cubicBezTo>
                <a:cubicBezTo>
                  <a:pt x="341" y="223"/>
                  <a:pt x="341" y="223"/>
                  <a:pt x="341" y="223"/>
                </a:cubicBezTo>
                <a:cubicBezTo>
                  <a:pt x="341" y="223"/>
                  <a:pt x="337" y="228"/>
                  <a:pt x="339" y="228"/>
                </a:cubicBezTo>
                <a:cubicBezTo>
                  <a:pt x="341" y="229"/>
                  <a:pt x="345" y="223"/>
                  <a:pt x="345" y="223"/>
                </a:cubicBezTo>
                <a:cubicBezTo>
                  <a:pt x="349" y="217"/>
                  <a:pt x="349" y="217"/>
                  <a:pt x="349" y="217"/>
                </a:cubicBezTo>
                <a:cubicBezTo>
                  <a:pt x="346" y="226"/>
                  <a:pt x="346" y="226"/>
                  <a:pt x="346" y="226"/>
                </a:cubicBezTo>
                <a:cubicBezTo>
                  <a:pt x="346" y="229"/>
                  <a:pt x="346" y="229"/>
                  <a:pt x="346" y="229"/>
                </a:cubicBezTo>
                <a:cubicBezTo>
                  <a:pt x="351" y="227"/>
                  <a:pt x="351" y="227"/>
                  <a:pt x="351" y="227"/>
                </a:cubicBezTo>
                <a:cubicBezTo>
                  <a:pt x="348" y="231"/>
                  <a:pt x="348" y="231"/>
                  <a:pt x="348" y="231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49" y="233"/>
                  <a:pt x="349" y="233"/>
                  <a:pt x="349" y="233"/>
                </a:cubicBezTo>
                <a:cubicBezTo>
                  <a:pt x="349" y="236"/>
                  <a:pt x="349" y="236"/>
                  <a:pt x="349" y="236"/>
                </a:cubicBezTo>
                <a:cubicBezTo>
                  <a:pt x="345" y="238"/>
                  <a:pt x="345" y="238"/>
                  <a:pt x="345" y="238"/>
                </a:cubicBezTo>
                <a:cubicBezTo>
                  <a:pt x="342" y="240"/>
                  <a:pt x="342" y="240"/>
                  <a:pt x="342" y="240"/>
                </a:cubicBezTo>
                <a:cubicBezTo>
                  <a:pt x="347" y="243"/>
                  <a:pt x="347" y="243"/>
                  <a:pt x="347" y="243"/>
                </a:cubicBezTo>
                <a:cubicBezTo>
                  <a:pt x="346" y="247"/>
                  <a:pt x="346" y="247"/>
                  <a:pt x="346" y="247"/>
                </a:cubicBezTo>
                <a:cubicBezTo>
                  <a:pt x="344" y="250"/>
                  <a:pt x="344" y="250"/>
                  <a:pt x="344" y="250"/>
                </a:cubicBezTo>
                <a:cubicBezTo>
                  <a:pt x="346" y="251"/>
                  <a:pt x="346" y="251"/>
                  <a:pt x="346" y="251"/>
                </a:cubicBezTo>
                <a:cubicBezTo>
                  <a:pt x="343" y="254"/>
                  <a:pt x="343" y="254"/>
                  <a:pt x="343" y="254"/>
                </a:cubicBezTo>
                <a:cubicBezTo>
                  <a:pt x="347" y="254"/>
                  <a:pt x="347" y="254"/>
                  <a:pt x="347" y="254"/>
                </a:cubicBezTo>
                <a:cubicBezTo>
                  <a:pt x="353" y="252"/>
                  <a:pt x="353" y="252"/>
                  <a:pt x="353" y="252"/>
                </a:cubicBezTo>
                <a:cubicBezTo>
                  <a:pt x="348" y="257"/>
                  <a:pt x="348" y="257"/>
                  <a:pt x="348" y="257"/>
                </a:cubicBezTo>
                <a:cubicBezTo>
                  <a:pt x="346" y="259"/>
                  <a:pt x="346" y="259"/>
                  <a:pt x="346" y="259"/>
                </a:cubicBezTo>
                <a:cubicBezTo>
                  <a:pt x="349" y="260"/>
                  <a:pt x="349" y="260"/>
                  <a:pt x="349" y="260"/>
                </a:cubicBezTo>
                <a:cubicBezTo>
                  <a:pt x="342" y="263"/>
                  <a:pt x="342" y="263"/>
                  <a:pt x="342" y="263"/>
                </a:cubicBezTo>
                <a:cubicBezTo>
                  <a:pt x="340" y="265"/>
                  <a:pt x="340" y="265"/>
                  <a:pt x="340" y="265"/>
                </a:cubicBezTo>
                <a:cubicBezTo>
                  <a:pt x="342" y="266"/>
                  <a:pt x="342" y="266"/>
                  <a:pt x="342" y="266"/>
                </a:cubicBezTo>
                <a:cubicBezTo>
                  <a:pt x="342" y="266"/>
                  <a:pt x="342" y="266"/>
                  <a:pt x="342" y="267"/>
                </a:cubicBezTo>
                <a:cubicBezTo>
                  <a:pt x="341" y="268"/>
                  <a:pt x="341" y="269"/>
                  <a:pt x="341" y="270"/>
                </a:cubicBezTo>
                <a:cubicBezTo>
                  <a:pt x="341" y="272"/>
                  <a:pt x="340" y="275"/>
                  <a:pt x="340" y="275"/>
                </a:cubicBezTo>
                <a:cubicBezTo>
                  <a:pt x="338" y="276"/>
                  <a:pt x="338" y="276"/>
                  <a:pt x="338" y="276"/>
                </a:cubicBezTo>
                <a:cubicBezTo>
                  <a:pt x="338" y="276"/>
                  <a:pt x="340" y="277"/>
                  <a:pt x="340" y="278"/>
                </a:cubicBezTo>
                <a:cubicBezTo>
                  <a:pt x="340" y="280"/>
                  <a:pt x="342" y="280"/>
                  <a:pt x="342" y="280"/>
                </a:cubicBezTo>
                <a:cubicBezTo>
                  <a:pt x="342" y="280"/>
                  <a:pt x="352" y="272"/>
                  <a:pt x="352" y="274"/>
                </a:cubicBezTo>
                <a:cubicBezTo>
                  <a:pt x="352" y="276"/>
                  <a:pt x="349" y="276"/>
                  <a:pt x="348" y="277"/>
                </a:cubicBezTo>
                <a:cubicBezTo>
                  <a:pt x="348" y="278"/>
                  <a:pt x="349" y="280"/>
                  <a:pt x="349" y="280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45" y="282"/>
                  <a:pt x="345" y="282"/>
                  <a:pt x="345" y="282"/>
                </a:cubicBezTo>
                <a:cubicBezTo>
                  <a:pt x="345" y="282"/>
                  <a:pt x="340" y="287"/>
                  <a:pt x="342" y="287"/>
                </a:cubicBezTo>
                <a:cubicBezTo>
                  <a:pt x="344" y="288"/>
                  <a:pt x="345" y="289"/>
                  <a:pt x="345" y="289"/>
                </a:cubicBezTo>
                <a:cubicBezTo>
                  <a:pt x="345" y="289"/>
                  <a:pt x="343" y="293"/>
                  <a:pt x="344" y="293"/>
                </a:cubicBezTo>
                <a:cubicBezTo>
                  <a:pt x="346" y="292"/>
                  <a:pt x="354" y="286"/>
                  <a:pt x="354" y="286"/>
                </a:cubicBezTo>
                <a:cubicBezTo>
                  <a:pt x="354" y="288"/>
                  <a:pt x="354" y="288"/>
                  <a:pt x="354" y="288"/>
                </a:cubicBezTo>
                <a:cubicBezTo>
                  <a:pt x="350" y="290"/>
                  <a:pt x="350" y="290"/>
                  <a:pt x="350" y="290"/>
                </a:cubicBezTo>
                <a:cubicBezTo>
                  <a:pt x="353" y="292"/>
                  <a:pt x="353" y="292"/>
                  <a:pt x="353" y="292"/>
                </a:cubicBezTo>
                <a:cubicBezTo>
                  <a:pt x="353" y="292"/>
                  <a:pt x="352" y="296"/>
                  <a:pt x="351" y="295"/>
                </a:cubicBezTo>
                <a:cubicBezTo>
                  <a:pt x="349" y="295"/>
                  <a:pt x="349" y="293"/>
                  <a:pt x="349" y="293"/>
                </a:cubicBezTo>
                <a:cubicBezTo>
                  <a:pt x="349" y="293"/>
                  <a:pt x="342" y="295"/>
                  <a:pt x="340" y="296"/>
                </a:cubicBezTo>
                <a:cubicBezTo>
                  <a:pt x="339" y="298"/>
                  <a:pt x="338" y="299"/>
                  <a:pt x="338" y="299"/>
                </a:cubicBezTo>
                <a:cubicBezTo>
                  <a:pt x="338" y="299"/>
                  <a:pt x="342" y="298"/>
                  <a:pt x="343" y="298"/>
                </a:cubicBezTo>
                <a:cubicBezTo>
                  <a:pt x="344" y="298"/>
                  <a:pt x="348" y="298"/>
                  <a:pt x="348" y="298"/>
                </a:cubicBezTo>
                <a:cubicBezTo>
                  <a:pt x="348" y="298"/>
                  <a:pt x="341" y="300"/>
                  <a:pt x="339" y="301"/>
                </a:cubicBezTo>
                <a:cubicBezTo>
                  <a:pt x="338" y="301"/>
                  <a:pt x="339" y="303"/>
                  <a:pt x="339" y="303"/>
                </a:cubicBezTo>
                <a:cubicBezTo>
                  <a:pt x="339" y="303"/>
                  <a:pt x="332" y="301"/>
                  <a:pt x="334" y="303"/>
                </a:cubicBezTo>
                <a:cubicBezTo>
                  <a:pt x="336" y="306"/>
                  <a:pt x="338" y="307"/>
                  <a:pt x="338" y="307"/>
                </a:cubicBezTo>
                <a:cubicBezTo>
                  <a:pt x="344" y="305"/>
                  <a:pt x="344" y="305"/>
                  <a:pt x="344" y="305"/>
                </a:cubicBezTo>
                <a:cubicBezTo>
                  <a:pt x="346" y="308"/>
                  <a:pt x="346" y="308"/>
                  <a:pt x="346" y="308"/>
                </a:cubicBezTo>
                <a:cubicBezTo>
                  <a:pt x="351" y="305"/>
                  <a:pt x="351" y="305"/>
                  <a:pt x="351" y="305"/>
                </a:cubicBezTo>
                <a:cubicBezTo>
                  <a:pt x="351" y="305"/>
                  <a:pt x="345" y="312"/>
                  <a:pt x="347" y="312"/>
                </a:cubicBezTo>
                <a:cubicBezTo>
                  <a:pt x="349" y="312"/>
                  <a:pt x="355" y="307"/>
                  <a:pt x="355" y="307"/>
                </a:cubicBezTo>
                <a:cubicBezTo>
                  <a:pt x="355" y="307"/>
                  <a:pt x="350" y="313"/>
                  <a:pt x="351" y="313"/>
                </a:cubicBezTo>
                <a:cubicBezTo>
                  <a:pt x="351" y="313"/>
                  <a:pt x="355" y="312"/>
                  <a:pt x="355" y="312"/>
                </a:cubicBezTo>
                <a:cubicBezTo>
                  <a:pt x="355" y="312"/>
                  <a:pt x="347" y="318"/>
                  <a:pt x="350" y="319"/>
                </a:cubicBezTo>
                <a:cubicBezTo>
                  <a:pt x="352" y="319"/>
                  <a:pt x="358" y="315"/>
                  <a:pt x="358" y="315"/>
                </a:cubicBezTo>
                <a:cubicBezTo>
                  <a:pt x="358" y="315"/>
                  <a:pt x="353" y="320"/>
                  <a:pt x="354" y="321"/>
                </a:cubicBezTo>
                <a:cubicBezTo>
                  <a:pt x="355" y="321"/>
                  <a:pt x="359" y="322"/>
                  <a:pt x="359" y="323"/>
                </a:cubicBezTo>
                <a:cubicBezTo>
                  <a:pt x="359" y="323"/>
                  <a:pt x="358" y="327"/>
                  <a:pt x="358" y="329"/>
                </a:cubicBezTo>
                <a:cubicBezTo>
                  <a:pt x="358" y="329"/>
                  <a:pt x="358" y="329"/>
                  <a:pt x="358" y="329"/>
                </a:cubicBezTo>
                <a:cubicBezTo>
                  <a:pt x="358" y="331"/>
                  <a:pt x="357" y="332"/>
                  <a:pt x="357" y="333"/>
                </a:cubicBezTo>
                <a:cubicBezTo>
                  <a:pt x="356" y="334"/>
                  <a:pt x="356" y="339"/>
                  <a:pt x="356" y="339"/>
                </a:cubicBezTo>
                <a:cubicBezTo>
                  <a:pt x="351" y="341"/>
                  <a:pt x="351" y="341"/>
                  <a:pt x="351" y="341"/>
                </a:cubicBezTo>
                <a:cubicBezTo>
                  <a:pt x="351" y="344"/>
                  <a:pt x="351" y="344"/>
                  <a:pt x="351" y="344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4" y="346"/>
                  <a:pt x="344" y="346"/>
                  <a:pt x="344" y="346"/>
                </a:cubicBezTo>
                <a:cubicBezTo>
                  <a:pt x="344" y="346"/>
                  <a:pt x="346" y="342"/>
                  <a:pt x="347" y="341"/>
                </a:cubicBezTo>
                <a:cubicBezTo>
                  <a:pt x="348" y="341"/>
                  <a:pt x="352" y="338"/>
                  <a:pt x="350" y="338"/>
                </a:cubicBezTo>
                <a:cubicBezTo>
                  <a:pt x="348" y="338"/>
                  <a:pt x="346" y="338"/>
                  <a:pt x="344" y="338"/>
                </a:cubicBezTo>
                <a:cubicBezTo>
                  <a:pt x="342" y="338"/>
                  <a:pt x="340" y="334"/>
                  <a:pt x="338" y="335"/>
                </a:cubicBezTo>
                <a:cubicBezTo>
                  <a:pt x="336" y="336"/>
                  <a:pt x="335" y="334"/>
                  <a:pt x="334" y="338"/>
                </a:cubicBezTo>
                <a:cubicBezTo>
                  <a:pt x="334" y="343"/>
                  <a:pt x="334" y="345"/>
                  <a:pt x="333" y="346"/>
                </a:cubicBezTo>
                <a:cubicBezTo>
                  <a:pt x="333" y="346"/>
                  <a:pt x="331" y="349"/>
                  <a:pt x="331" y="349"/>
                </a:cubicBezTo>
                <a:cubicBezTo>
                  <a:pt x="335" y="350"/>
                  <a:pt x="335" y="350"/>
                  <a:pt x="335" y="350"/>
                </a:cubicBezTo>
                <a:cubicBezTo>
                  <a:pt x="331" y="351"/>
                  <a:pt x="331" y="351"/>
                  <a:pt x="331" y="351"/>
                </a:cubicBezTo>
                <a:cubicBezTo>
                  <a:pt x="331" y="353"/>
                  <a:pt x="331" y="353"/>
                  <a:pt x="331" y="353"/>
                </a:cubicBezTo>
                <a:cubicBezTo>
                  <a:pt x="329" y="357"/>
                  <a:pt x="329" y="357"/>
                  <a:pt x="329" y="357"/>
                </a:cubicBezTo>
                <a:cubicBezTo>
                  <a:pt x="329" y="357"/>
                  <a:pt x="333" y="358"/>
                  <a:pt x="333" y="359"/>
                </a:cubicBezTo>
                <a:cubicBezTo>
                  <a:pt x="333" y="360"/>
                  <a:pt x="326" y="359"/>
                  <a:pt x="326" y="359"/>
                </a:cubicBezTo>
                <a:cubicBezTo>
                  <a:pt x="326" y="359"/>
                  <a:pt x="318" y="371"/>
                  <a:pt x="316" y="374"/>
                </a:cubicBezTo>
                <a:cubicBezTo>
                  <a:pt x="314" y="376"/>
                  <a:pt x="304" y="388"/>
                  <a:pt x="304" y="388"/>
                </a:cubicBezTo>
                <a:cubicBezTo>
                  <a:pt x="305" y="391"/>
                  <a:pt x="305" y="391"/>
                  <a:pt x="305" y="391"/>
                </a:cubicBezTo>
                <a:cubicBezTo>
                  <a:pt x="305" y="391"/>
                  <a:pt x="302" y="392"/>
                  <a:pt x="300" y="394"/>
                </a:cubicBezTo>
                <a:cubicBezTo>
                  <a:pt x="297" y="397"/>
                  <a:pt x="297" y="400"/>
                  <a:pt x="297" y="400"/>
                </a:cubicBezTo>
                <a:cubicBezTo>
                  <a:pt x="295" y="403"/>
                  <a:pt x="295" y="403"/>
                  <a:pt x="295" y="403"/>
                </a:cubicBezTo>
                <a:cubicBezTo>
                  <a:pt x="294" y="410"/>
                  <a:pt x="294" y="410"/>
                  <a:pt x="294" y="410"/>
                </a:cubicBezTo>
                <a:cubicBezTo>
                  <a:pt x="294" y="410"/>
                  <a:pt x="289" y="417"/>
                  <a:pt x="288" y="418"/>
                </a:cubicBezTo>
                <a:cubicBezTo>
                  <a:pt x="286" y="419"/>
                  <a:pt x="282" y="422"/>
                  <a:pt x="282" y="424"/>
                </a:cubicBezTo>
                <a:cubicBezTo>
                  <a:pt x="283" y="427"/>
                  <a:pt x="286" y="428"/>
                  <a:pt x="286" y="430"/>
                </a:cubicBezTo>
                <a:cubicBezTo>
                  <a:pt x="285" y="432"/>
                  <a:pt x="281" y="437"/>
                  <a:pt x="281" y="440"/>
                </a:cubicBezTo>
                <a:cubicBezTo>
                  <a:pt x="281" y="442"/>
                  <a:pt x="283" y="451"/>
                  <a:pt x="283" y="451"/>
                </a:cubicBezTo>
                <a:cubicBezTo>
                  <a:pt x="287" y="449"/>
                  <a:pt x="287" y="449"/>
                  <a:pt x="287" y="449"/>
                </a:cubicBezTo>
                <a:cubicBezTo>
                  <a:pt x="296" y="450"/>
                  <a:pt x="296" y="450"/>
                  <a:pt x="296" y="450"/>
                </a:cubicBezTo>
                <a:cubicBezTo>
                  <a:pt x="296" y="450"/>
                  <a:pt x="288" y="450"/>
                  <a:pt x="288" y="451"/>
                </a:cubicBezTo>
                <a:cubicBezTo>
                  <a:pt x="287" y="452"/>
                  <a:pt x="287" y="455"/>
                  <a:pt x="287" y="455"/>
                </a:cubicBezTo>
                <a:cubicBezTo>
                  <a:pt x="287" y="455"/>
                  <a:pt x="285" y="452"/>
                  <a:pt x="284" y="453"/>
                </a:cubicBezTo>
                <a:cubicBezTo>
                  <a:pt x="283" y="454"/>
                  <a:pt x="281" y="458"/>
                  <a:pt x="282" y="460"/>
                </a:cubicBezTo>
                <a:cubicBezTo>
                  <a:pt x="283" y="462"/>
                  <a:pt x="286" y="462"/>
                  <a:pt x="286" y="462"/>
                </a:cubicBezTo>
                <a:cubicBezTo>
                  <a:pt x="286" y="462"/>
                  <a:pt x="286" y="466"/>
                  <a:pt x="285" y="466"/>
                </a:cubicBezTo>
                <a:cubicBezTo>
                  <a:pt x="284" y="466"/>
                  <a:pt x="282" y="469"/>
                  <a:pt x="282" y="470"/>
                </a:cubicBezTo>
                <a:cubicBezTo>
                  <a:pt x="282" y="472"/>
                  <a:pt x="285" y="475"/>
                  <a:pt x="285" y="475"/>
                </a:cubicBezTo>
                <a:cubicBezTo>
                  <a:pt x="285" y="475"/>
                  <a:pt x="289" y="482"/>
                  <a:pt x="289" y="483"/>
                </a:cubicBezTo>
                <a:cubicBezTo>
                  <a:pt x="289" y="485"/>
                  <a:pt x="284" y="489"/>
                  <a:pt x="287" y="490"/>
                </a:cubicBezTo>
                <a:cubicBezTo>
                  <a:pt x="289" y="491"/>
                  <a:pt x="294" y="491"/>
                  <a:pt x="294" y="491"/>
                </a:cubicBezTo>
                <a:cubicBezTo>
                  <a:pt x="294" y="491"/>
                  <a:pt x="295" y="495"/>
                  <a:pt x="297" y="495"/>
                </a:cubicBezTo>
                <a:cubicBezTo>
                  <a:pt x="300" y="495"/>
                  <a:pt x="303" y="494"/>
                  <a:pt x="303" y="494"/>
                </a:cubicBezTo>
                <a:cubicBezTo>
                  <a:pt x="304" y="498"/>
                  <a:pt x="304" y="498"/>
                  <a:pt x="304" y="498"/>
                </a:cubicBezTo>
                <a:cubicBezTo>
                  <a:pt x="304" y="498"/>
                  <a:pt x="311" y="500"/>
                  <a:pt x="311" y="504"/>
                </a:cubicBezTo>
                <a:cubicBezTo>
                  <a:pt x="311" y="505"/>
                  <a:pt x="310" y="508"/>
                  <a:pt x="310" y="511"/>
                </a:cubicBezTo>
                <a:cubicBezTo>
                  <a:pt x="309" y="513"/>
                  <a:pt x="309" y="514"/>
                  <a:pt x="309" y="515"/>
                </a:cubicBezTo>
                <a:cubicBezTo>
                  <a:pt x="309" y="518"/>
                  <a:pt x="312" y="522"/>
                  <a:pt x="312" y="522"/>
                </a:cubicBezTo>
                <a:cubicBezTo>
                  <a:pt x="309" y="523"/>
                  <a:pt x="309" y="523"/>
                  <a:pt x="309" y="523"/>
                </a:cubicBezTo>
                <a:cubicBezTo>
                  <a:pt x="311" y="526"/>
                  <a:pt x="311" y="526"/>
                  <a:pt x="311" y="526"/>
                </a:cubicBezTo>
                <a:cubicBezTo>
                  <a:pt x="309" y="528"/>
                  <a:pt x="309" y="528"/>
                  <a:pt x="309" y="528"/>
                </a:cubicBezTo>
                <a:cubicBezTo>
                  <a:pt x="312" y="531"/>
                  <a:pt x="312" y="531"/>
                  <a:pt x="312" y="531"/>
                </a:cubicBezTo>
                <a:cubicBezTo>
                  <a:pt x="310" y="535"/>
                  <a:pt x="310" y="535"/>
                  <a:pt x="310" y="535"/>
                </a:cubicBezTo>
                <a:cubicBezTo>
                  <a:pt x="312" y="536"/>
                  <a:pt x="312" y="536"/>
                  <a:pt x="312" y="536"/>
                </a:cubicBezTo>
                <a:cubicBezTo>
                  <a:pt x="312" y="536"/>
                  <a:pt x="311" y="544"/>
                  <a:pt x="313" y="546"/>
                </a:cubicBezTo>
                <a:cubicBezTo>
                  <a:pt x="315" y="548"/>
                  <a:pt x="318" y="547"/>
                  <a:pt x="318" y="547"/>
                </a:cubicBezTo>
                <a:cubicBezTo>
                  <a:pt x="318" y="547"/>
                  <a:pt x="323" y="556"/>
                  <a:pt x="323" y="558"/>
                </a:cubicBezTo>
                <a:cubicBezTo>
                  <a:pt x="323" y="559"/>
                  <a:pt x="319" y="565"/>
                  <a:pt x="319" y="565"/>
                </a:cubicBezTo>
                <a:cubicBezTo>
                  <a:pt x="321" y="566"/>
                  <a:pt x="321" y="566"/>
                  <a:pt x="321" y="566"/>
                </a:cubicBezTo>
                <a:cubicBezTo>
                  <a:pt x="319" y="568"/>
                  <a:pt x="319" y="568"/>
                  <a:pt x="319" y="568"/>
                </a:cubicBezTo>
                <a:cubicBezTo>
                  <a:pt x="317" y="565"/>
                  <a:pt x="317" y="565"/>
                  <a:pt x="317" y="565"/>
                </a:cubicBezTo>
                <a:cubicBezTo>
                  <a:pt x="310" y="565"/>
                  <a:pt x="310" y="565"/>
                  <a:pt x="310" y="565"/>
                </a:cubicBezTo>
                <a:cubicBezTo>
                  <a:pt x="314" y="569"/>
                  <a:pt x="314" y="569"/>
                  <a:pt x="314" y="569"/>
                </a:cubicBezTo>
                <a:cubicBezTo>
                  <a:pt x="315" y="572"/>
                  <a:pt x="315" y="572"/>
                  <a:pt x="315" y="572"/>
                </a:cubicBezTo>
                <a:cubicBezTo>
                  <a:pt x="318" y="572"/>
                  <a:pt x="318" y="572"/>
                  <a:pt x="318" y="572"/>
                </a:cubicBezTo>
                <a:cubicBezTo>
                  <a:pt x="318" y="572"/>
                  <a:pt x="321" y="577"/>
                  <a:pt x="322" y="577"/>
                </a:cubicBezTo>
                <a:cubicBezTo>
                  <a:pt x="323" y="576"/>
                  <a:pt x="327" y="574"/>
                  <a:pt x="327" y="574"/>
                </a:cubicBezTo>
                <a:cubicBezTo>
                  <a:pt x="327" y="574"/>
                  <a:pt x="326" y="579"/>
                  <a:pt x="328" y="581"/>
                </a:cubicBezTo>
                <a:cubicBezTo>
                  <a:pt x="329" y="583"/>
                  <a:pt x="332" y="585"/>
                  <a:pt x="332" y="587"/>
                </a:cubicBezTo>
                <a:cubicBezTo>
                  <a:pt x="332" y="589"/>
                  <a:pt x="329" y="594"/>
                  <a:pt x="330" y="596"/>
                </a:cubicBezTo>
                <a:cubicBezTo>
                  <a:pt x="331" y="599"/>
                  <a:pt x="336" y="603"/>
                  <a:pt x="339" y="606"/>
                </a:cubicBezTo>
                <a:cubicBezTo>
                  <a:pt x="341" y="610"/>
                  <a:pt x="345" y="614"/>
                  <a:pt x="345" y="614"/>
                </a:cubicBezTo>
                <a:cubicBezTo>
                  <a:pt x="345" y="614"/>
                  <a:pt x="343" y="620"/>
                  <a:pt x="346" y="620"/>
                </a:cubicBezTo>
                <a:cubicBezTo>
                  <a:pt x="349" y="620"/>
                  <a:pt x="353" y="616"/>
                  <a:pt x="353" y="616"/>
                </a:cubicBezTo>
                <a:cubicBezTo>
                  <a:pt x="352" y="613"/>
                  <a:pt x="352" y="613"/>
                  <a:pt x="352" y="613"/>
                </a:cubicBezTo>
                <a:cubicBezTo>
                  <a:pt x="352" y="613"/>
                  <a:pt x="350" y="606"/>
                  <a:pt x="349" y="605"/>
                </a:cubicBezTo>
                <a:cubicBezTo>
                  <a:pt x="347" y="604"/>
                  <a:pt x="345" y="605"/>
                  <a:pt x="345" y="605"/>
                </a:cubicBezTo>
                <a:cubicBezTo>
                  <a:pt x="342" y="601"/>
                  <a:pt x="342" y="601"/>
                  <a:pt x="342" y="601"/>
                </a:cubicBezTo>
                <a:cubicBezTo>
                  <a:pt x="342" y="601"/>
                  <a:pt x="343" y="599"/>
                  <a:pt x="343" y="597"/>
                </a:cubicBezTo>
                <a:cubicBezTo>
                  <a:pt x="342" y="595"/>
                  <a:pt x="343" y="591"/>
                  <a:pt x="343" y="591"/>
                </a:cubicBezTo>
                <a:cubicBezTo>
                  <a:pt x="340" y="587"/>
                  <a:pt x="340" y="587"/>
                  <a:pt x="340" y="587"/>
                </a:cubicBezTo>
                <a:cubicBezTo>
                  <a:pt x="340" y="587"/>
                  <a:pt x="342" y="582"/>
                  <a:pt x="341" y="579"/>
                </a:cubicBezTo>
                <a:cubicBezTo>
                  <a:pt x="341" y="577"/>
                  <a:pt x="336" y="577"/>
                  <a:pt x="336" y="577"/>
                </a:cubicBezTo>
                <a:cubicBezTo>
                  <a:pt x="336" y="570"/>
                  <a:pt x="336" y="570"/>
                  <a:pt x="336" y="570"/>
                </a:cubicBezTo>
                <a:cubicBezTo>
                  <a:pt x="333" y="566"/>
                  <a:pt x="333" y="566"/>
                  <a:pt x="333" y="566"/>
                </a:cubicBezTo>
                <a:cubicBezTo>
                  <a:pt x="333" y="558"/>
                  <a:pt x="333" y="558"/>
                  <a:pt x="333" y="558"/>
                </a:cubicBezTo>
                <a:cubicBezTo>
                  <a:pt x="333" y="558"/>
                  <a:pt x="330" y="554"/>
                  <a:pt x="329" y="552"/>
                </a:cubicBezTo>
                <a:cubicBezTo>
                  <a:pt x="328" y="551"/>
                  <a:pt x="327" y="546"/>
                  <a:pt x="327" y="546"/>
                </a:cubicBezTo>
                <a:cubicBezTo>
                  <a:pt x="327" y="546"/>
                  <a:pt x="322" y="538"/>
                  <a:pt x="323" y="537"/>
                </a:cubicBezTo>
                <a:cubicBezTo>
                  <a:pt x="323" y="536"/>
                  <a:pt x="325" y="533"/>
                  <a:pt x="324" y="530"/>
                </a:cubicBezTo>
                <a:cubicBezTo>
                  <a:pt x="324" y="528"/>
                  <a:pt x="327" y="524"/>
                  <a:pt x="327" y="52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19"/>
                  <a:pt x="331" y="523"/>
                  <a:pt x="332" y="523"/>
                </a:cubicBezTo>
                <a:cubicBezTo>
                  <a:pt x="334" y="523"/>
                  <a:pt x="337" y="522"/>
                  <a:pt x="337" y="522"/>
                </a:cubicBezTo>
                <a:cubicBezTo>
                  <a:pt x="337" y="522"/>
                  <a:pt x="336" y="525"/>
                  <a:pt x="338" y="526"/>
                </a:cubicBezTo>
                <a:cubicBezTo>
                  <a:pt x="339" y="526"/>
                  <a:pt x="341" y="526"/>
                  <a:pt x="341" y="526"/>
                </a:cubicBezTo>
                <a:cubicBezTo>
                  <a:pt x="341" y="526"/>
                  <a:pt x="341" y="529"/>
                  <a:pt x="341" y="532"/>
                </a:cubicBezTo>
                <a:cubicBezTo>
                  <a:pt x="341" y="536"/>
                  <a:pt x="342" y="548"/>
                  <a:pt x="342" y="548"/>
                </a:cubicBezTo>
                <a:cubicBezTo>
                  <a:pt x="342" y="548"/>
                  <a:pt x="347" y="564"/>
                  <a:pt x="348" y="564"/>
                </a:cubicBezTo>
                <a:cubicBezTo>
                  <a:pt x="350" y="564"/>
                  <a:pt x="354" y="564"/>
                  <a:pt x="354" y="564"/>
                </a:cubicBezTo>
                <a:cubicBezTo>
                  <a:pt x="354" y="564"/>
                  <a:pt x="350" y="566"/>
                  <a:pt x="352" y="570"/>
                </a:cubicBezTo>
                <a:cubicBezTo>
                  <a:pt x="354" y="573"/>
                  <a:pt x="358" y="573"/>
                  <a:pt x="358" y="573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63" y="577"/>
                  <a:pt x="363" y="577"/>
                  <a:pt x="363" y="577"/>
                </a:cubicBezTo>
                <a:cubicBezTo>
                  <a:pt x="363" y="583"/>
                  <a:pt x="363" y="583"/>
                  <a:pt x="363" y="583"/>
                </a:cubicBezTo>
                <a:cubicBezTo>
                  <a:pt x="363" y="583"/>
                  <a:pt x="357" y="585"/>
                  <a:pt x="359" y="588"/>
                </a:cubicBezTo>
                <a:cubicBezTo>
                  <a:pt x="361" y="592"/>
                  <a:pt x="362" y="589"/>
                  <a:pt x="362" y="589"/>
                </a:cubicBezTo>
                <a:cubicBezTo>
                  <a:pt x="362" y="589"/>
                  <a:pt x="364" y="593"/>
                  <a:pt x="365" y="593"/>
                </a:cubicBezTo>
                <a:cubicBezTo>
                  <a:pt x="367" y="594"/>
                  <a:pt x="370" y="594"/>
                  <a:pt x="370" y="595"/>
                </a:cubicBezTo>
                <a:cubicBezTo>
                  <a:pt x="370" y="595"/>
                  <a:pt x="370" y="598"/>
                  <a:pt x="370" y="598"/>
                </a:cubicBezTo>
                <a:cubicBezTo>
                  <a:pt x="370" y="598"/>
                  <a:pt x="367" y="602"/>
                  <a:pt x="369" y="602"/>
                </a:cubicBezTo>
                <a:cubicBezTo>
                  <a:pt x="372" y="602"/>
                  <a:pt x="374" y="602"/>
                  <a:pt x="374" y="602"/>
                </a:cubicBezTo>
                <a:cubicBezTo>
                  <a:pt x="374" y="606"/>
                  <a:pt x="374" y="606"/>
                  <a:pt x="374" y="606"/>
                </a:cubicBezTo>
                <a:cubicBezTo>
                  <a:pt x="374" y="606"/>
                  <a:pt x="379" y="611"/>
                  <a:pt x="381" y="614"/>
                </a:cubicBezTo>
                <a:cubicBezTo>
                  <a:pt x="383" y="617"/>
                  <a:pt x="387" y="623"/>
                  <a:pt x="387" y="625"/>
                </a:cubicBezTo>
                <a:cubicBezTo>
                  <a:pt x="387" y="627"/>
                  <a:pt x="386" y="628"/>
                  <a:pt x="386" y="631"/>
                </a:cubicBezTo>
                <a:cubicBezTo>
                  <a:pt x="387" y="633"/>
                  <a:pt x="390" y="635"/>
                  <a:pt x="389" y="637"/>
                </a:cubicBezTo>
                <a:cubicBezTo>
                  <a:pt x="389" y="639"/>
                  <a:pt x="385" y="641"/>
                  <a:pt x="385" y="642"/>
                </a:cubicBezTo>
                <a:cubicBezTo>
                  <a:pt x="385" y="644"/>
                  <a:pt x="387" y="645"/>
                  <a:pt x="387" y="645"/>
                </a:cubicBezTo>
                <a:cubicBezTo>
                  <a:pt x="387" y="645"/>
                  <a:pt x="382" y="645"/>
                  <a:pt x="382" y="648"/>
                </a:cubicBezTo>
                <a:cubicBezTo>
                  <a:pt x="382" y="652"/>
                  <a:pt x="382" y="660"/>
                  <a:pt x="387" y="661"/>
                </a:cubicBezTo>
                <a:cubicBezTo>
                  <a:pt x="392" y="661"/>
                  <a:pt x="396" y="662"/>
                  <a:pt x="397" y="665"/>
                </a:cubicBezTo>
                <a:cubicBezTo>
                  <a:pt x="399" y="668"/>
                  <a:pt x="400" y="673"/>
                  <a:pt x="404" y="674"/>
                </a:cubicBezTo>
                <a:cubicBezTo>
                  <a:pt x="407" y="674"/>
                  <a:pt x="413" y="673"/>
                  <a:pt x="415" y="675"/>
                </a:cubicBezTo>
                <a:cubicBezTo>
                  <a:pt x="417" y="677"/>
                  <a:pt x="419" y="683"/>
                  <a:pt x="425" y="686"/>
                </a:cubicBezTo>
                <a:cubicBezTo>
                  <a:pt x="432" y="688"/>
                  <a:pt x="441" y="688"/>
                  <a:pt x="442" y="690"/>
                </a:cubicBezTo>
                <a:cubicBezTo>
                  <a:pt x="444" y="692"/>
                  <a:pt x="445" y="695"/>
                  <a:pt x="447" y="695"/>
                </a:cubicBezTo>
                <a:cubicBezTo>
                  <a:pt x="449" y="695"/>
                  <a:pt x="450" y="698"/>
                  <a:pt x="450" y="698"/>
                </a:cubicBezTo>
                <a:cubicBezTo>
                  <a:pt x="450" y="698"/>
                  <a:pt x="459" y="697"/>
                  <a:pt x="460" y="698"/>
                </a:cubicBezTo>
                <a:cubicBezTo>
                  <a:pt x="460" y="699"/>
                  <a:pt x="462" y="703"/>
                  <a:pt x="465" y="702"/>
                </a:cubicBezTo>
                <a:cubicBezTo>
                  <a:pt x="468" y="701"/>
                  <a:pt x="482" y="693"/>
                  <a:pt x="485" y="694"/>
                </a:cubicBezTo>
                <a:cubicBezTo>
                  <a:pt x="487" y="695"/>
                  <a:pt x="501" y="707"/>
                  <a:pt x="502" y="708"/>
                </a:cubicBezTo>
                <a:cubicBezTo>
                  <a:pt x="503" y="709"/>
                  <a:pt x="503" y="712"/>
                  <a:pt x="504" y="714"/>
                </a:cubicBezTo>
                <a:cubicBezTo>
                  <a:pt x="505" y="715"/>
                  <a:pt x="505" y="716"/>
                  <a:pt x="507" y="717"/>
                </a:cubicBezTo>
                <a:cubicBezTo>
                  <a:pt x="511" y="718"/>
                  <a:pt x="512" y="720"/>
                  <a:pt x="514" y="721"/>
                </a:cubicBezTo>
                <a:cubicBezTo>
                  <a:pt x="516" y="722"/>
                  <a:pt x="521" y="721"/>
                  <a:pt x="521" y="721"/>
                </a:cubicBezTo>
                <a:cubicBezTo>
                  <a:pt x="521" y="721"/>
                  <a:pt x="522" y="722"/>
                  <a:pt x="523" y="723"/>
                </a:cubicBezTo>
                <a:cubicBezTo>
                  <a:pt x="525" y="724"/>
                  <a:pt x="527" y="725"/>
                  <a:pt x="527" y="726"/>
                </a:cubicBezTo>
                <a:cubicBezTo>
                  <a:pt x="529" y="726"/>
                  <a:pt x="533" y="726"/>
                  <a:pt x="533" y="726"/>
                </a:cubicBezTo>
                <a:cubicBezTo>
                  <a:pt x="537" y="729"/>
                  <a:pt x="537" y="729"/>
                  <a:pt x="537" y="729"/>
                </a:cubicBezTo>
                <a:cubicBezTo>
                  <a:pt x="541" y="728"/>
                  <a:pt x="541" y="728"/>
                  <a:pt x="541" y="728"/>
                </a:cubicBezTo>
                <a:cubicBezTo>
                  <a:pt x="544" y="730"/>
                  <a:pt x="544" y="730"/>
                  <a:pt x="544" y="730"/>
                </a:cubicBezTo>
                <a:cubicBezTo>
                  <a:pt x="546" y="726"/>
                  <a:pt x="546" y="726"/>
                  <a:pt x="546" y="726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51" y="728"/>
                  <a:pt x="551" y="728"/>
                  <a:pt x="551" y="728"/>
                </a:cubicBezTo>
                <a:cubicBezTo>
                  <a:pt x="553" y="730"/>
                  <a:pt x="552" y="732"/>
                  <a:pt x="552" y="732"/>
                </a:cubicBezTo>
                <a:cubicBezTo>
                  <a:pt x="548" y="732"/>
                  <a:pt x="548" y="732"/>
                  <a:pt x="548" y="732"/>
                </a:cubicBezTo>
                <a:cubicBezTo>
                  <a:pt x="555" y="739"/>
                  <a:pt x="555" y="739"/>
                  <a:pt x="555" y="739"/>
                </a:cubicBezTo>
                <a:cubicBezTo>
                  <a:pt x="555" y="739"/>
                  <a:pt x="556" y="745"/>
                  <a:pt x="558" y="747"/>
                </a:cubicBezTo>
                <a:cubicBezTo>
                  <a:pt x="560" y="748"/>
                  <a:pt x="564" y="751"/>
                  <a:pt x="565" y="752"/>
                </a:cubicBezTo>
                <a:cubicBezTo>
                  <a:pt x="565" y="752"/>
                  <a:pt x="565" y="752"/>
                  <a:pt x="565" y="752"/>
                </a:cubicBezTo>
                <a:cubicBezTo>
                  <a:pt x="563" y="755"/>
                  <a:pt x="563" y="755"/>
                  <a:pt x="563" y="755"/>
                </a:cubicBezTo>
                <a:cubicBezTo>
                  <a:pt x="563" y="755"/>
                  <a:pt x="566" y="757"/>
                  <a:pt x="565" y="758"/>
                </a:cubicBezTo>
                <a:cubicBezTo>
                  <a:pt x="564" y="759"/>
                  <a:pt x="561" y="761"/>
                  <a:pt x="563" y="764"/>
                </a:cubicBezTo>
                <a:cubicBezTo>
                  <a:pt x="564" y="767"/>
                  <a:pt x="568" y="767"/>
                  <a:pt x="568" y="767"/>
                </a:cubicBezTo>
                <a:cubicBezTo>
                  <a:pt x="568" y="767"/>
                  <a:pt x="571" y="771"/>
                  <a:pt x="572" y="769"/>
                </a:cubicBezTo>
                <a:cubicBezTo>
                  <a:pt x="572" y="768"/>
                  <a:pt x="571" y="766"/>
                  <a:pt x="571" y="766"/>
                </a:cubicBezTo>
                <a:cubicBezTo>
                  <a:pt x="571" y="766"/>
                  <a:pt x="566" y="762"/>
                  <a:pt x="568" y="762"/>
                </a:cubicBezTo>
                <a:cubicBezTo>
                  <a:pt x="569" y="762"/>
                  <a:pt x="575" y="766"/>
                  <a:pt x="575" y="766"/>
                </a:cubicBezTo>
                <a:cubicBezTo>
                  <a:pt x="575" y="766"/>
                  <a:pt x="574" y="770"/>
                  <a:pt x="575" y="770"/>
                </a:cubicBezTo>
                <a:cubicBezTo>
                  <a:pt x="576" y="770"/>
                  <a:pt x="581" y="771"/>
                  <a:pt x="581" y="771"/>
                </a:cubicBezTo>
                <a:cubicBezTo>
                  <a:pt x="583" y="777"/>
                  <a:pt x="583" y="777"/>
                  <a:pt x="583" y="777"/>
                </a:cubicBezTo>
                <a:cubicBezTo>
                  <a:pt x="583" y="777"/>
                  <a:pt x="581" y="778"/>
                  <a:pt x="583" y="780"/>
                </a:cubicBezTo>
                <a:cubicBezTo>
                  <a:pt x="585" y="782"/>
                  <a:pt x="588" y="783"/>
                  <a:pt x="588" y="783"/>
                </a:cubicBezTo>
                <a:cubicBezTo>
                  <a:pt x="586" y="779"/>
                  <a:pt x="586" y="779"/>
                  <a:pt x="586" y="779"/>
                </a:cubicBezTo>
                <a:cubicBezTo>
                  <a:pt x="591" y="784"/>
                  <a:pt x="591" y="784"/>
                  <a:pt x="591" y="784"/>
                </a:cubicBezTo>
                <a:cubicBezTo>
                  <a:pt x="597" y="783"/>
                  <a:pt x="597" y="783"/>
                  <a:pt x="597" y="783"/>
                </a:cubicBezTo>
                <a:cubicBezTo>
                  <a:pt x="598" y="786"/>
                  <a:pt x="598" y="786"/>
                  <a:pt x="598" y="786"/>
                </a:cubicBezTo>
                <a:cubicBezTo>
                  <a:pt x="602" y="785"/>
                  <a:pt x="602" y="785"/>
                  <a:pt x="602" y="785"/>
                </a:cubicBezTo>
                <a:cubicBezTo>
                  <a:pt x="602" y="785"/>
                  <a:pt x="601" y="790"/>
                  <a:pt x="603" y="791"/>
                </a:cubicBezTo>
                <a:cubicBezTo>
                  <a:pt x="605" y="792"/>
                  <a:pt x="607" y="790"/>
                  <a:pt x="607" y="790"/>
                </a:cubicBezTo>
                <a:cubicBezTo>
                  <a:pt x="607" y="787"/>
                  <a:pt x="607" y="787"/>
                  <a:pt x="607" y="787"/>
                </a:cubicBezTo>
                <a:cubicBezTo>
                  <a:pt x="609" y="787"/>
                  <a:pt x="609" y="787"/>
                  <a:pt x="609" y="787"/>
                </a:cubicBezTo>
                <a:cubicBezTo>
                  <a:pt x="609" y="787"/>
                  <a:pt x="610" y="798"/>
                  <a:pt x="613" y="797"/>
                </a:cubicBezTo>
                <a:cubicBezTo>
                  <a:pt x="616" y="795"/>
                  <a:pt x="619" y="793"/>
                  <a:pt x="619" y="793"/>
                </a:cubicBezTo>
                <a:cubicBezTo>
                  <a:pt x="619" y="793"/>
                  <a:pt x="611" y="788"/>
                  <a:pt x="613" y="786"/>
                </a:cubicBezTo>
                <a:cubicBezTo>
                  <a:pt x="616" y="784"/>
                  <a:pt x="618" y="783"/>
                  <a:pt x="620" y="782"/>
                </a:cubicBezTo>
                <a:cubicBezTo>
                  <a:pt x="622" y="780"/>
                  <a:pt x="624" y="776"/>
                  <a:pt x="626" y="776"/>
                </a:cubicBezTo>
                <a:cubicBezTo>
                  <a:pt x="628" y="777"/>
                  <a:pt x="631" y="778"/>
                  <a:pt x="633" y="778"/>
                </a:cubicBezTo>
                <a:cubicBezTo>
                  <a:pt x="634" y="779"/>
                  <a:pt x="636" y="782"/>
                  <a:pt x="636" y="782"/>
                </a:cubicBezTo>
                <a:cubicBezTo>
                  <a:pt x="637" y="782"/>
                  <a:pt x="637" y="782"/>
                  <a:pt x="637" y="782"/>
                </a:cubicBezTo>
                <a:cubicBezTo>
                  <a:pt x="642" y="786"/>
                  <a:pt x="642" y="786"/>
                  <a:pt x="642" y="786"/>
                </a:cubicBezTo>
                <a:cubicBezTo>
                  <a:pt x="637" y="784"/>
                  <a:pt x="637" y="784"/>
                  <a:pt x="637" y="784"/>
                </a:cubicBezTo>
                <a:cubicBezTo>
                  <a:pt x="637" y="784"/>
                  <a:pt x="637" y="790"/>
                  <a:pt x="637" y="791"/>
                </a:cubicBezTo>
                <a:cubicBezTo>
                  <a:pt x="637" y="792"/>
                  <a:pt x="639" y="795"/>
                  <a:pt x="640" y="795"/>
                </a:cubicBezTo>
                <a:cubicBezTo>
                  <a:pt x="641" y="799"/>
                  <a:pt x="641" y="799"/>
                  <a:pt x="641" y="799"/>
                </a:cubicBezTo>
                <a:cubicBezTo>
                  <a:pt x="641" y="800"/>
                  <a:pt x="641" y="800"/>
                  <a:pt x="641" y="800"/>
                </a:cubicBezTo>
                <a:cubicBezTo>
                  <a:pt x="641" y="800"/>
                  <a:pt x="643" y="801"/>
                  <a:pt x="644" y="804"/>
                </a:cubicBezTo>
                <a:cubicBezTo>
                  <a:pt x="645" y="806"/>
                  <a:pt x="642" y="806"/>
                  <a:pt x="642" y="806"/>
                </a:cubicBezTo>
                <a:cubicBezTo>
                  <a:pt x="644" y="809"/>
                  <a:pt x="644" y="809"/>
                  <a:pt x="644" y="809"/>
                </a:cubicBezTo>
                <a:cubicBezTo>
                  <a:pt x="645" y="814"/>
                  <a:pt x="645" y="814"/>
                  <a:pt x="645" y="814"/>
                </a:cubicBezTo>
                <a:cubicBezTo>
                  <a:pt x="642" y="815"/>
                  <a:pt x="642" y="815"/>
                  <a:pt x="642" y="815"/>
                </a:cubicBezTo>
                <a:cubicBezTo>
                  <a:pt x="644" y="817"/>
                  <a:pt x="644" y="817"/>
                  <a:pt x="644" y="817"/>
                </a:cubicBezTo>
                <a:cubicBezTo>
                  <a:pt x="644" y="826"/>
                  <a:pt x="644" y="826"/>
                  <a:pt x="644" y="826"/>
                </a:cubicBezTo>
                <a:cubicBezTo>
                  <a:pt x="644" y="826"/>
                  <a:pt x="641" y="828"/>
                  <a:pt x="641" y="831"/>
                </a:cubicBezTo>
                <a:cubicBezTo>
                  <a:pt x="641" y="833"/>
                  <a:pt x="645" y="833"/>
                  <a:pt x="645" y="836"/>
                </a:cubicBezTo>
                <a:cubicBezTo>
                  <a:pt x="645" y="840"/>
                  <a:pt x="640" y="843"/>
                  <a:pt x="640" y="843"/>
                </a:cubicBezTo>
                <a:cubicBezTo>
                  <a:pt x="641" y="845"/>
                  <a:pt x="641" y="845"/>
                  <a:pt x="641" y="845"/>
                </a:cubicBezTo>
                <a:cubicBezTo>
                  <a:pt x="637" y="848"/>
                  <a:pt x="637" y="848"/>
                  <a:pt x="637" y="848"/>
                </a:cubicBezTo>
                <a:cubicBezTo>
                  <a:pt x="637" y="848"/>
                  <a:pt x="633" y="848"/>
                  <a:pt x="631" y="850"/>
                </a:cubicBezTo>
                <a:cubicBezTo>
                  <a:pt x="630" y="852"/>
                  <a:pt x="631" y="857"/>
                  <a:pt x="631" y="857"/>
                </a:cubicBezTo>
                <a:cubicBezTo>
                  <a:pt x="631" y="857"/>
                  <a:pt x="626" y="855"/>
                  <a:pt x="626" y="858"/>
                </a:cubicBezTo>
                <a:cubicBezTo>
                  <a:pt x="626" y="859"/>
                  <a:pt x="626" y="859"/>
                  <a:pt x="626" y="859"/>
                </a:cubicBezTo>
                <a:cubicBezTo>
                  <a:pt x="626" y="862"/>
                  <a:pt x="627" y="862"/>
                  <a:pt x="627" y="864"/>
                </a:cubicBezTo>
                <a:cubicBezTo>
                  <a:pt x="626" y="866"/>
                  <a:pt x="620" y="867"/>
                  <a:pt x="620" y="867"/>
                </a:cubicBezTo>
                <a:cubicBezTo>
                  <a:pt x="619" y="865"/>
                  <a:pt x="619" y="865"/>
                  <a:pt x="619" y="865"/>
                </a:cubicBezTo>
                <a:cubicBezTo>
                  <a:pt x="619" y="865"/>
                  <a:pt x="615" y="867"/>
                  <a:pt x="615" y="869"/>
                </a:cubicBezTo>
                <a:cubicBezTo>
                  <a:pt x="614" y="871"/>
                  <a:pt x="616" y="873"/>
                  <a:pt x="616" y="876"/>
                </a:cubicBezTo>
                <a:cubicBezTo>
                  <a:pt x="616" y="878"/>
                  <a:pt x="613" y="878"/>
                  <a:pt x="612" y="880"/>
                </a:cubicBezTo>
                <a:cubicBezTo>
                  <a:pt x="611" y="881"/>
                  <a:pt x="614" y="884"/>
                  <a:pt x="614" y="884"/>
                </a:cubicBezTo>
                <a:cubicBezTo>
                  <a:pt x="611" y="884"/>
                  <a:pt x="611" y="884"/>
                  <a:pt x="611" y="884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06" y="890"/>
                  <a:pt x="606" y="890"/>
                  <a:pt x="606" y="890"/>
                </a:cubicBezTo>
                <a:cubicBezTo>
                  <a:pt x="609" y="892"/>
                  <a:pt x="609" y="892"/>
                  <a:pt x="609" y="892"/>
                </a:cubicBezTo>
                <a:cubicBezTo>
                  <a:pt x="607" y="896"/>
                  <a:pt x="607" y="896"/>
                  <a:pt x="607" y="896"/>
                </a:cubicBezTo>
                <a:cubicBezTo>
                  <a:pt x="607" y="896"/>
                  <a:pt x="609" y="896"/>
                  <a:pt x="609" y="899"/>
                </a:cubicBezTo>
                <a:cubicBezTo>
                  <a:pt x="609" y="901"/>
                  <a:pt x="606" y="902"/>
                  <a:pt x="606" y="902"/>
                </a:cubicBezTo>
                <a:cubicBezTo>
                  <a:pt x="608" y="903"/>
                  <a:pt x="608" y="903"/>
                  <a:pt x="608" y="903"/>
                </a:cubicBezTo>
                <a:cubicBezTo>
                  <a:pt x="608" y="903"/>
                  <a:pt x="605" y="906"/>
                  <a:pt x="610" y="907"/>
                </a:cubicBezTo>
                <a:cubicBezTo>
                  <a:pt x="615" y="909"/>
                  <a:pt x="616" y="904"/>
                  <a:pt x="616" y="904"/>
                </a:cubicBezTo>
                <a:cubicBezTo>
                  <a:pt x="619" y="905"/>
                  <a:pt x="619" y="905"/>
                  <a:pt x="619" y="905"/>
                </a:cubicBezTo>
                <a:cubicBezTo>
                  <a:pt x="621" y="907"/>
                  <a:pt x="619" y="911"/>
                  <a:pt x="618" y="913"/>
                </a:cubicBezTo>
                <a:cubicBezTo>
                  <a:pt x="618" y="916"/>
                  <a:pt x="613" y="916"/>
                  <a:pt x="613" y="916"/>
                </a:cubicBezTo>
                <a:cubicBezTo>
                  <a:pt x="613" y="916"/>
                  <a:pt x="608" y="922"/>
                  <a:pt x="606" y="924"/>
                </a:cubicBezTo>
                <a:cubicBezTo>
                  <a:pt x="604" y="925"/>
                  <a:pt x="604" y="927"/>
                  <a:pt x="604" y="930"/>
                </a:cubicBezTo>
                <a:cubicBezTo>
                  <a:pt x="604" y="933"/>
                  <a:pt x="607" y="932"/>
                  <a:pt x="607" y="932"/>
                </a:cubicBezTo>
                <a:cubicBezTo>
                  <a:pt x="606" y="936"/>
                  <a:pt x="606" y="936"/>
                  <a:pt x="606" y="936"/>
                </a:cubicBezTo>
                <a:cubicBezTo>
                  <a:pt x="606" y="936"/>
                  <a:pt x="609" y="938"/>
                  <a:pt x="610" y="940"/>
                </a:cubicBezTo>
                <a:cubicBezTo>
                  <a:pt x="610" y="943"/>
                  <a:pt x="606" y="943"/>
                  <a:pt x="606" y="946"/>
                </a:cubicBezTo>
                <a:cubicBezTo>
                  <a:pt x="606" y="949"/>
                  <a:pt x="613" y="949"/>
                  <a:pt x="615" y="951"/>
                </a:cubicBezTo>
                <a:cubicBezTo>
                  <a:pt x="616" y="952"/>
                  <a:pt x="621" y="958"/>
                  <a:pt x="622" y="959"/>
                </a:cubicBezTo>
                <a:cubicBezTo>
                  <a:pt x="622" y="960"/>
                  <a:pt x="625" y="964"/>
                  <a:pt x="625" y="966"/>
                </a:cubicBezTo>
                <a:cubicBezTo>
                  <a:pt x="625" y="967"/>
                  <a:pt x="630" y="972"/>
                  <a:pt x="630" y="974"/>
                </a:cubicBezTo>
                <a:cubicBezTo>
                  <a:pt x="631" y="975"/>
                  <a:pt x="638" y="986"/>
                  <a:pt x="638" y="986"/>
                </a:cubicBezTo>
                <a:cubicBezTo>
                  <a:pt x="639" y="991"/>
                  <a:pt x="639" y="991"/>
                  <a:pt x="639" y="991"/>
                </a:cubicBezTo>
                <a:cubicBezTo>
                  <a:pt x="639" y="991"/>
                  <a:pt x="645" y="1003"/>
                  <a:pt x="645" y="1004"/>
                </a:cubicBezTo>
                <a:cubicBezTo>
                  <a:pt x="645" y="1006"/>
                  <a:pt x="647" y="1006"/>
                  <a:pt x="649" y="1007"/>
                </a:cubicBezTo>
                <a:cubicBezTo>
                  <a:pt x="650" y="1008"/>
                  <a:pt x="650" y="1010"/>
                  <a:pt x="650" y="1012"/>
                </a:cubicBezTo>
                <a:cubicBezTo>
                  <a:pt x="650" y="1015"/>
                  <a:pt x="657" y="1023"/>
                  <a:pt x="660" y="1026"/>
                </a:cubicBezTo>
                <a:cubicBezTo>
                  <a:pt x="662" y="1030"/>
                  <a:pt x="660" y="1035"/>
                  <a:pt x="660" y="1036"/>
                </a:cubicBezTo>
                <a:cubicBezTo>
                  <a:pt x="660" y="1038"/>
                  <a:pt x="665" y="1043"/>
                  <a:pt x="668" y="1045"/>
                </a:cubicBezTo>
                <a:cubicBezTo>
                  <a:pt x="670" y="1046"/>
                  <a:pt x="672" y="1050"/>
                  <a:pt x="673" y="1052"/>
                </a:cubicBezTo>
                <a:cubicBezTo>
                  <a:pt x="675" y="1053"/>
                  <a:pt x="685" y="1057"/>
                  <a:pt x="688" y="1059"/>
                </a:cubicBezTo>
                <a:cubicBezTo>
                  <a:pt x="691" y="1060"/>
                  <a:pt x="696" y="1062"/>
                  <a:pt x="701" y="1065"/>
                </a:cubicBezTo>
                <a:cubicBezTo>
                  <a:pt x="705" y="1069"/>
                  <a:pt x="712" y="1073"/>
                  <a:pt x="712" y="1073"/>
                </a:cubicBezTo>
                <a:cubicBezTo>
                  <a:pt x="713" y="1076"/>
                  <a:pt x="713" y="1076"/>
                  <a:pt x="713" y="1076"/>
                </a:cubicBezTo>
                <a:cubicBezTo>
                  <a:pt x="713" y="1076"/>
                  <a:pt x="716" y="1078"/>
                  <a:pt x="717" y="1079"/>
                </a:cubicBezTo>
                <a:cubicBezTo>
                  <a:pt x="718" y="1081"/>
                  <a:pt x="724" y="1084"/>
                  <a:pt x="724" y="1084"/>
                </a:cubicBezTo>
                <a:cubicBezTo>
                  <a:pt x="724" y="1085"/>
                  <a:pt x="724" y="1085"/>
                  <a:pt x="724" y="1085"/>
                </a:cubicBezTo>
                <a:cubicBezTo>
                  <a:pt x="724" y="1090"/>
                  <a:pt x="724" y="1090"/>
                  <a:pt x="724" y="1090"/>
                </a:cubicBezTo>
                <a:cubicBezTo>
                  <a:pt x="724" y="1090"/>
                  <a:pt x="727" y="1096"/>
                  <a:pt x="728" y="1100"/>
                </a:cubicBezTo>
                <a:cubicBezTo>
                  <a:pt x="729" y="1104"/>
                  <a:pt x="729" y="1110"/>
                  <a:pt x="729" y="1113"/>
                </a:cubicBezTo>
                <a:cubicBezTo>
                  <a:pt x="729" y="1116"/>
                  <a:pt x="731" y="1118"/>
                  <a:pt x="731" y="1123"/>
                </a:cubicBezTo>
                <a:cubicBezTo>
                  <a:pt x="731" y="1128"/>
                  <a:pt x="731" y="1136"/>
                  <a:pt x="731" y="1136"/>
                </a:cubicBezTo>
                <a:cubicBezTo>
                  <a:pt x="728" y="1137"/>
                  <a:pt x="728" y="1137"/>
                  <a:pt x="728" y="1137"/>
                </a:cubicBezTo>
                <a:cubicBezTo>
                  <a:pt x="729" y="1142"/>
                  <a:pt x="729" y="1142"/>
                  <a:pt x="729" y="1142"/>
                </a:cubicBezTo>
                <a:cubicBezTo>
                  <a:pt x="732" y="1143"/>
                  <a:pt x="732" y="1143"/>
                  <a:pt x="732" y="1143"/>
                </a:cubicBezTo>
                <a:cubicBezTo>
                  <a:pt x="731" y="1156"/>
                  <a:pt x="731" y="1156"/>
                  <a:pt x="731" y="1156"/>
                </a:cubicBezTo>
                <a:cubicBezTo>
                  <a:pt x="734" y="1162"/>
                  <a:pt x="734" y="1162"/>
                  <a:pt x="734" y="1162"/>
                </a:cubicBezTo>
                <a:cubicBezTo>
                  <a:pt x="731" y="1165"/>
                  <a:pt x="731" y="1165"/>
                  <a:pt x="731" y="1165"/>
                </a:cubicBezTo>
                <a:cubicBezTo>
                  <a:pt x="733" y="1174"/>
                  <a:pt x="733" y="1174"/>
                  <a:pt x="733" y="1174"/>
                </a:cubicBezTo>
                <a:cubicBezTo>
                  <a:pt x="733" y="1174"/>
                  <a:pt x="734" y="1174"/>
                  <a:pt x="735" y="1178"/>
                </a:cubicBezTo>
                <a:cubicBezTo>
                  <a:pt x="735" y="1181"/>
                  <a:pt x="733" y="1182"/>
                  <a:pt x="733" y="1182"/>
                </a:cubicBezTo>
                <a:cubicBezTo>
                  <a:pt x="732" y="1186"/>
                  <a:pt x="732" y="1186"/>
                  <a:pt x="732" y="1186"/>
                </a:cubicBezTo>
                <a:cubicBezTo>
                  <a:pt x="734" y="1188"/>
                  <a:pt x="734" y="1188"/>
                  <a:pt x="734" y="1188"/>
                </a:cubicBezTo>
                <a:cubicBezTo>
                  <a:pt x="734" y="1188"/>
                  <a:pt x="732" y="1189"/>
                  <a:pt x="731" y="1192"/>
                </a:cubicBezTo>
                <a:cubicBezTo>
                  <a:pt x="730" y="1195"/>
                  <a:pt x="732" y="1195"/>
                  <a:pt x="732" y="1195"/>
                </a:cubicBezTo>
                <a:cubicBezTo>
                  <a:pt x="732" y="1195"/>
                  <a:pt x="733" y="1196"/>
                  <a:pt x="733" y="1199"/>
                </a:cubicBezTo>
                <a:cubicBezTo>
                  <a:pt x="733" y="1201"/>
                  <a:pt x="731" y="1200"/>
                  <a:pt x="731" y="1205"/>
                </a:cubicBezTo>
                <a:cubicBezTo>
                  <a:pt x="731" y="1209"/>
                  <a:pt x="734" y="1209"/>
                  <a:pt x="735" y="1211"/>
                </a:cubicBezTo>
                <a:cubicBezTo>
                  <a:pt x="736" y="1212"/>
                  <a:pt x="735" y="1218"/>
                  <a:pt x="735" y="1218"/>
                </a:cubicBezTo>
                <a:cubicBezTo>
                  <a:pt x="735" y="1218"/>
                  <a:pt x="733" y="1217"/>
                  <a:pt x="732" y="1218"/>
                </a:cubicBezTo>
                <a:cubicBezTo>
                  <a:pt x="731" y="1218"/>
                  <a:pt x="732" y="1221"/>
                  <a:pt x="734" y="1226"/>
                </a:cubicBezTo>
                <a:cubicBezTo>
                  <a:pt x="735" y="1230"/>
                  <a:pt x="738" y="1236"/>
                  <a:pt x="738" y="1236"/>
                </a:cubicBezTo>
                <a:cubicBezTo>
                  <a:pt x="738" y="1236"/>
                  <a:pt x="738" y="1239"/>
                  <a:pt x="740" y="1240"/>
                </a:cubicBezTo>
                <a:cubicBezTo>
                  <a:pt x="741" y="1242"/>
                  <a:pt x="740" y="1248"/>
                  <a:pt x="740" y="1248"/>
                </a:cubicBezTo>
                <a:cubicBezTo>
                  <a:pt x="740" y="1252"/>
                  <a:pt x="740" y="1252"/>
                  <a:pt x="740" y="1252"/>
                </a:cubicBezTo>
                <a:cubicBezTo>
                  <a:pt x="743" y="1255"/>
                  <a:pt x="743" y="1255"/>
                  <a:pt x="743" y="1255"/>
                </a:cubicBezTo>
                <a:cubicBezTo>
                  <a:pt x="743" y="1255"/>
                  <a:pt x="741" y="1261"/>
                  <a:pt x="741" y="1264"/>
                </a:cubicBezTo>
                <a:cubicBezTo>
                  <a:pt x="741" y="1267"/>
                  <a:pt x="741" y="1273"/>
                  <a:pt x="741" y="1273"/>
                </a:cubicBezTo>
                <a:cubicBezTo>
                  <a:pt x="738" y="1278"/>
                  <a:pt x="738" y="1278"/>
                  <a:pt x="738" y="1278"/>
                </a:cubicBezTo>
                <a:cubicBezTo>
                  <a:pt x="740" y="1280"/>
                  <a:pt x="740" y="1280"/>
                  <a:pt x="740" y="1280"/>
                </a:cubicBezTo>
                <a:cubicBezTo>
                  <a:pt x="740" y="1280"/>
                  <a:pt x="739" y="1283"/>
                  <a:pt x="739" y="1285"/>
                </a:cubicBezTo>
                <a:cubicBezTo>
                  <a:pt x="739" y="1287"/>
                  <a:pt x="738" y="1296"/>
                  <a:pt x="738" y="1296"/>
                </a:cubicBezTo>
                <a:cubicBezTo>
                  <a:pt x="736" y="1296"/>
                  <a:pt x="736" y="1296"/>
                  <a:pt x="736" y="1296"/>
                </a:cubicBezTo>
                <a:cubicBezTo>
                  <a:pt x="736" y="1299"/>
                  <a:pt x="736" y="1299"/>
                  <a:pt x="736" y="1299"/>
                </a:cubicBezTo>
                <a:cubicBezTo>
                  <a:pt x="739" y="1306"/>
                  <a:pt x="739" y="1306"/>
                  <a:pt x="739" y="1306"/>
                </a:cubicBezTo>
                <a:cubicBezTo>
                  <a:pt x="739" y="1306"/>
                  <a:pt x="739" y="1310"/>
                  <a:pt x="739" y="1312"/>
                </a:cubicBezTo>
                <a:cubicBezTo>
                  <a:pt x="739" y="1314"/>
                  <a:pt x="744" y="1315"/>
                  <a:pt x="745" y="1319"/>
                </a:cubicBezTo>
                <a:cubicBezTo>
                  <a:pt x="746" y="1322"/>
                  <a:pt x="744" y="1330"/>
                  <a:pt x="744" y="1330"/>
                </a:cubicBezTo>
                <a:cubicBezTo>
                  <a:pt x="746" y="1331"/>
                  <a:pt x="746" y="1331"/>
                  <a:pt x="746" y="1331"/>
                </a:cubicBezTo>
                <a:cubicBezTo>
                  <a:pt x="746" y="1331"/>
                  <a:pt x="746" y="1337"/>
                  <a:pt x="746" y="1340"/>
                </a:cubicBezTo>
                <a:cubicBezTo>
                  <a:pt x="746" y="1342"/>
                  <a:pt x="752" y="1344"/>
                  <a:pt x="752" y="1344"/>
                </a:cubicBezTo>
                <a:cubicBezTo>
                  <a:pt x="751" y="1347"/>
                  <a:pt x="751" y="1347"/>
                  <a:pt x="751" y="1347"/>
                </a:cubicBezTo>
                <a:cubicBezTo>
                  <a:pt x="757" y="1347"/>
                  <a:pt x="757" y="1347"/>
                  <a:pt x="757" y="1347"/>
                </a:cubicBezTo>
                <a:cubicBezTo>
                  <a:pt x="757" y="1343"/>
                  <a:pt x="757" y="1343"/>
                  <a:pt x="757" y="1343"/>
                </a:cubicBezTo>
                <a:cubicBezTo>
                  <a:pt x="757" y="1343"/>
                  <a:pt x="759" y="1345"/>
                  <a:pt x="761" y="1345"/>
                </a:cubicBezTo>
                <a:cubicBezTo>
                  <a:pt x="763" y="1345"/>
                  <a:pt x="763" y="1342"/>
                  <a:pt x="763" y="1342"/>
                </a:cubicBezTo>
                <a:cubicBezTo>
                  <a:pt x="764" y="1345"/>
                  <a:pt x="764" y="1345"/>
                  <a:pt x="764" y="1345"/>
                </a:cubicBezTo>
                <a:cubicBezTo>
                  <a:pt x="764" y="1345"/>
                  <a:pt x="760" y="1347"/>
                  <a:pt x="760" y="1349"/>
                </a:cubicBezTo>
                <a:cubicBezTo>
                  <a:pt x="759" y="1352"/>
                  <a:pt x="763" y="1349"/>
                  <a:pt x="764" y="1350"/>
                </a:cubicBezTo>
                <a:cubicBezTo>
                  <a:pt x="766" y="1351"/>
                  <a:pt x="765" y="1353"/>
                  <a:pt x="765" y="1353"/>
                </a:cubicBezTo>
                <a:cubicBezTo>
                  <a:pt x="761" y="1353"/>
                  <a:pt x="761" y="1353"/>
                  <a:pt x="761" y="1353"/>
                </a:cubicBezTo>
                <a:cubicBezTo>
                  <a:pt x="764" y="1356"/>
                  <a:pt x="764" y="1356"/>
                  <a:pt x="764" y="1356"/>
                </a:cubicBezTo>
                <a:cubicBezTo>
                  <a:pt x="762" y="1357"/>
                  <a:pt x="762" y="1357"/>
                  <a:pt x="762" y="1357"/>
                </a:cubicBezTo>
                <a:cubicBezTo>
                  <a:pt x="765" y="1361"/>
                  <a:pt x="765" y="1361"/>
                  <a:pt x="765" y="1361"/>
                </a:cubicBezTo>
                <a:cubicBezTo>
                  <a:pt x="765" y="1361"/>
                  <a:pt x="763" y="1363"/>
                  <a:pt x="762" y="1365"/>
                </a:cubicBezTo>
                <a:cubicBezTo>
                  <a:pt x="760" y="1367"/>
                  <a:pt x="768" y="1369"/>
                  <a:pt x="768" y="1369"/>
                </a:cubicBezTo>
                <a:cubicBezTo>
                  <a:pt x="768" y="1369"/>
                  <a:pt x="767" y="1370"/>
                  <a:pt x="766" y="1371"/>
                </a:cubicBezTo>
                <a:cubicBezTo>
                  <a:pt x="765" y="1371"/>
                  <a:pt x="766" y="1374"/>
                  <a:pt x="768" y="1375"/>
                </a:cubicBezTo>
                <a:cubicBezTo>
                  <a:pt x="770" y="1376"/>
                  <a:pt x="773" y="1375"/>
                  <a:pt x="773" y="1375"/>
                </a:cubicBezTo>
                <a:cubicBezTo>
                  <a:pt x="774" y="1380"/>
                  <a:pt x="774" y="1380"/>
                  <a:pt x="774" y="1380"/>
                </a:cubicBezTo>
                <a:cubicBezTo>
                  <a:pt x="774" y="1380"/>
                  <a:pt x="770" y="1383"/>
                  <a:pt x="769" y="1384"/>
                </a:cubicBezTo>
                <a:cubicBezTo>
                  <a:pt x="768" y="1386"/>
                  <a:pt x="772" y="1386"/>
                  <a:pt x="772" y="1386"/>
                </a:cubicBezTo>
                <a:cubicBezTo>
                  <a:pt x="772" y="1386"/>
                  <a:pt x="777" y="1387"/>
                  <a:pt x="777" y="1388"/>
                </a:cubicBezTo>
                <a:cubicBezTo>
                  <a:pt x="777" y="1390"/>
                  <a:pt x="773" y="1388"/>
                  <a:pt x="771" y="1387"/>
                </a:cubicBezTo>
                <a:cubicBezTo>
                  <a:pt x="769" y="1386"/>
                  <a:pt x="769" y="1390"/>
                  <a:pt x="769" y="1390"/>
                </a:cubicBezTo>
                <a:cubicBezTo>
                  <a:pt x="773" y="1390"/>
                  <a:pt x="773" y="1390"/>
                  <a:pt x="773" y="1390"/>
                </a:cubicBezTo>
                <a:cubicBezTo>
                  <a:pt x="770" y="1392"/>
                  <a:pt x="770" y="1392"/>
                  <a:pt x="770" y="1392"/>
                </a:cubicBezTo>
                <a:cubicBezTo>
                  <a:pt x="770" y="1395"/>
                  <a:pt x="770" y="1395"/>
                  <a:pt x="770" y="1395"/>
                </a:cubicBezTo>
                <a:cubicBezTo>
                  <a:pt x="770" y="1395"/>
                  <a:pt x="774" y="1394"/>
                  <a:pt x="772" y="1398"/>
                </a:cubicBezTo>
                <a:cubicBezTo>
                  <a:pt x="771" y="1403"/>
                  <a:pt x="769" y="1396"/>
                  <a:pt x="769" y="1396"/>
                </a:cubicBezTo>
                <a:cubicBezTo>
                  <a:pt x="764" y="1396"/>
                  <a:pt x="764" y="1396"/>
                  <a:pt x="764" y="1396"/>
                </a:cubicBezTo>
                <a:cubicBezTo>
                  <a:pt x="767" y="1395"/>
                  <a:pt x="767" y="1395"/>
                  <a:pt x="767" y="1395"/>
                </a:cubicBezTo>
                <a:cubicBezTo>
                  <a:pt x="767" y="1395"/>
                  <a:pt x="763" y="1391"/>
                  <a:pt x="763" y="1391"/>
                </a:cubicBezTo>
                <a:cubicBezTo>
                  <a:pt x="762" y="1392"/>
                  <a:pt x="763" y="1394"/>
                  <a:pt x="763" y="1394"/>
                </a:cubicBezTo>
                <a:cubicBezTo>
                  <a:pt x="761" y="1392"/>
                  <a:pt x="761" y="1392"/>
                  <a:pt x="761" y="1392"/>
                </a:cubicBezTo>
                <a:cubicBezTo>
                  <a:pt x="756" y="1394"/>
                  <a:pt x="756" y="1394"/>
                  <a:pt x="756" y="1394"/>
                </a:cubicBezTo>
                <a:cubicBezTo>
                  <a:pt x="761" y="1395"/>
                  <a:pt x="761" y="1395"/>
                  <a:pt x="761" y="1395"/>
                </a:cubicBezTo>
                <a:cubicBezTo>
                  <a:pt x="761" y="1395"/>
                  <a:pt x="760" y="1395"/>
                  <a:pt x="759" y="1397"/>
                </a:cubicBezTo>
                <a:cubicBezTo>
                  <a:pt x="758" y="1398"/>
                  <a:pt x="755" y="1399"/>
                  <a:pt x="755" y="1401"/>
                </a:cubicBezTo>
                <a:cubicBezTo>
                  <a:pt x="754" y="1403"/>
                  <a:pt x="759" y="1404"/>
                  <a:pt x="759" y="1404"/>
                </a:cubicBezTo>
                <a:cubicBezTo>
                  <a:pt x="760" y="1403"/>
                  <a:pt x="758" y="1401"/>
                  <a:pt x="758" y="1401"/>
                </a:cubicBezTo>
                <a:cubicBezTo>
                  <a:pt x="761" y="1401"/>
                  <a:pt x="761" y="1401"/>
                  <a:pt x="761" y="1401"/>
                </a:cubicBezTo>
                <a:cubicBezTo>
                  <a:pt x="761" y="1401"/>
                  <a:pt x="762" y="1402"/>
                  <a:pt x="763" y="1403"/>
                </a:cubicBezTo>
                <a:cubicBezTo>
                  <a:pt x="764" y="1404"/>
                  <a:pt x="769" y="1403"/>
                  <a:pt x="769" y="1403"/>
                </a:cubicBezTo>
                <a:cubicBezTo>
                  <a:pt x="769" y="1403"/>
                  <a:pt x="772" y="1404"/>
                  <a:pt x="773" y="1406"/>
                </a:cubicBezTo>
                <a:cubicBezTo>
                  <a:pt x="774" y="1408"/>
                  <a:pt x="770" y="1409"/>
                  <a:pt x="770" y="1409"/>
                </a:cubicBezTo>
                <a:cubicBezTo>
                  <a:pt x="772" y="1411"/>
                  <a:pt x="772" y="1411"/>
                  <a:pt x="772" y="1411"/>
                </a:cubicBezTo>
                <a:cubicBezTo>
                  <a:pt x="774" y="1411"/>
                  <a:pt x="774" y="1411"/>
                  <a:pt x="774" y="1411"/>
                </a:cubicBezTo>
                <a:cubicBezTo>
                  <a:pt x="774" y="1413"/>
                  <a:pt x="774" y="1413"/>
                  <a:pt x="774" y="1413"/>
                </a:cubicBezTo>
                <a:cubicBezTo>
                  <a:pt x="777" y="1414"/>
                  <a:pt x="777" y="1414"/>
                  <a:pt x="777" y="1414"/>
                </a:cubicBezTo>
                <a:cubicBezTo>
                  <a:pt x="778" y="1411"/>
                  <a:pt x="778" y="1411"/>
                  <a:pt x="778" y="1411"/>
                </a:cubicBezTo>
                <a:cubicBezTo>
                  <a:pt x="780" y="1414"/>
                  <a:pt x="780" y="1414"/>
                  <a:pt x="780" y="1414"/>
                </a:cubicBezTo>
                <a:cubicBezTo>
                  <a:pt x="780" y="1414"/>
                  <a:pt x="784" y="1414"/>
                  <a:pt x="783" y="1417"/>
                </a:cubicBezTo>
                <a:cubicBezTo>
                  <a:pt x="782" y="1420"/>
                  <a:pt x="778" y="1417"/>
                  <a:pt x="776" y="1416"/>
                </a:cubicBezTo>
                <a:cubicBezTo>
                  <a:pt x="774" y="1416"/>
                  <a:pt x="776" y="1419"/>
                  <a:pt x="776" y="1419"/>
                </a:cubicBezTo>
                <a:cubicBezTo>
                  <a:pt x="776" y="1419"/>
                  <a:pt x="780" y="1420"/>
                  <a:pt x="780" y="1423"/>
                </a:cubicBezTo>
                <a:cubicBezTo>
                  <a:pt x="781" y="1426"/>
                  <a:pt x="777" y="1425"/>
                  <a:pt x="777" y="1425"/>
                </a:cubicBezTo>
                <a:cubicBezTo>
                  <a:pt x="779" y="1428"/>
                  <a:pt x="779" y="1428"/>
                  <a:pt x="779" y="1428"/>
                </a:cubicBezTo>
                <a:cubicBezTo>
                  <a:pt x="781" y="1433"/>
                  <a:pt x="781" y="1433"/>
                  <a:pt x="781" y="1433"/>
                </a:cubicBezTo>
                <a:cubicBezTo>
                  <a:pt x="783" y="1427"/>
                  <a:pt x="783" y="1427"/>
                  <a:pt x="783" y="1427"/>
                </a:cubicBezTo>
                <a:cubicBezTo>
                  <a:pt x="783" y="1431"/>
                  <a:pt x="783" y="1431"/>
                  <a:pt x="783" y="1431"/>
                </a:cubicBezTo>
                <a:cubicBezTo>
                  <a:pt x="786" y="1434"/>
                  <a:pt x="786" y="1434"/>
                  <a:pt x="786" y="1434"/>
                </a:cubicBezTo>
                <a:cubicBezTo>
                  <a:pt x="782" y="1434"/>
                  <a:pt x="782" y="1434"/>
                  <a:pt x="782" y="1434"/>
                </a:cubicBezTo>
                <a:cubicBezTo>
                  <a:pt x="783" y="1437"/>
                  <a:pt x="783" y="1437"/>
                  <a:pt x="783" y="1437"/>
                </a:cubicBezTo>
                <a:cubicBezTo>
                  <a:pt x="786" y="1437"/>
                  <a:pt x="786" y="1437"/>
                  <a:pt x="786" y="1437"/>
                </a:cubicBezTo>
                <a:cubicBezTo>
                  <a:pt x="784" y="1439"/>
                  <a:pt x="784" y="1439"/>
                  <a:pt x="784" y="1439"/>
                </a:cubicBezTo>
                <a:cubicBezTo>
                  <a:pt x="789" y="1440"/>
                  <a:pt x="789" y="1440"/>
                  <a:pt x="789" y="1440"/>
                </a:cubicBezTo>
                <a:cubicBezTo>
                  <a:pt x="786" y="1442"/>
                  <a:pt x="786" y="1442"/>
                  <a:pt x="786" y="1442"/>
                </a:cubicBezTo>
                <a:cubicBezTo>
                  <a:pt x="790" y="1443"/>
                  <a:pt x="790" y="1443"/>
                  <a:pt x="790" y="1443"/>
                </a:cubicBezTo>
                <a:cubicBezTo>
                  <a:pt x="789" y="1445"/>
                  <a:pt x="789" y="1445"/>
                  <a:pt x="789" y="1445"/>
                </a:cubicBezTo>
                <a:cubicBezTo>
                  <a:pt x="791" y="1446"/>
                  <a:pt x="791" y="1446"/>
                  <a:pt x="791" y="1446"/>
                </a:cubicBezTo>
                <a:cubicBezTo>
                  <a:pt x="791" y="1446"/>
                  <a:pt x="792" y="1441"/>
                  <a:pt x="793" y="1444"/>
                </a:cubicBezTo>
                <a:cubicBezTo>
                  <a:pt x="795" y="1446"/>
                  <a:pt x="793" y="1447"/>
                  <a:pt x="791" y="1448"/>
                </a:cubicBezTo>
                <a:cubicBezTo>
                  <a:pt x="790" y="1449"/>
                  <a:pt x="791" y="1450"/>
                  <a:pt x="791" y="1450"/>
                </a:cubicBezTo>
                <a:cubicBezTo>
                  <a:pt x="796" y="1451"/>
                  <a:pt x="796" y="1451"/>
                  <a:pt x="796" y="1451"/>
                </a:cubicBezTo>
                <a:cubicBezTo>
                  <a:pt x="796" y="1451"/>
                  <a:pt x="796" y="1453"/>
                  <a:pt x="797" y="1454"/>
                </a:cubicBezTo>
                <a:cubicBezTo>
                  <a:pt x="798" y="1455"/>
                  <a:pt x="802" y="1457"/>
                  <a:pt x="802" y="1457"/>
                </a:cubicBezTo>
                <a:cubicBezTo>
                  <a:pt x="801" y="1452"/>
                  <a:pt x="801" y="1452"/>
                  <a:pt x="801" y="1452"/>
                </a:cubicBezTo>
                <a:cubicBezTo>
                  <a:pt x="801" y="1452"/>
                  <a:pt x="806" y="1454"/>
                  <a:pt x="809" y="1456"/>
                </a:cubicBezTo>
                <a:cubicBezTo>
                  <a:pt x="812" y="1458"/>
                  <a:pt x="809" y="1460"/>
                  <a:pt x="809" y="1460"/>
                </a:cubicBezTo>
                <a:cubicBezTo>
                  <a:pt x="812" y="1462"/>
                  <a:pt x="812" y="1462"/>
                  <a:pt x="812" y="1462"/>
                </a:cubicBezTo>
                <a:cubicBezTo>
                  <a:pt x="812" y="1464"/>
                  <a:pt x="812" y="1464"/>
                  <a:pt x="812" y="1464"/>
                </a:cubicBezTo>
                <a:cubicBezTo>
                  <a:pt x="820" y="1464"/>
                  <a:pt x="820" y="1464"/>
                  <a:pt x="820" y="1464"/>
                </a:cubicBezTo>
                <a:cubicBezTo>
                  <a:pt x="821" y="1466"/>
                  <a:pt x="821" y="1466"/>
                  <a:pt x="821" y="1466"/>
                </a:cubicBezTo>
                <a:cubicBezTo>
                  <a:pt x="816" y="1466"/>
                  <a:pt x="816" y="1466"/>
                  <a:pt x="816" y="1466"/>
                </a:cubicBezTo>
                <a:cubicBezTo>
                  <a:pt x="815" y="1468"/>
                  <a:pt x="815" y="1468"/>
                  <a:pt x="815" y="1468"/>
                </a:cubicBezTo>
                <a:cubicBezTo>
                  <a:pt x="812" y="1468"/>
                  <a:pt x="812" y="1468"/>
                  <a:pt x="812" y="1468"/>
                </a:cubicBezTo>
                <a:cubicBezTo>
                  <a:pt x="810" y="1470"/>
                  <a:pt x="810" y="1470"/>
                  <a:pt x="810" y="1470"/>
                </a:cubicBezTo>
                <a:cubicBezTo>
                  <a:pt x="814" y="1471"/>
                  <a:pt x="814" y="1471"/>
                  <a:pt x="814" y="1471"/>
                </a:cubicBezTo>
                <a:cubicBezTo>
                  <a:pt x="813" y="1473"/>
                  <a:pt x="813" y="1473"/>
                  <a:pt x="813" y="1473"/>
                </a:cubicBezTo>
                <a:cubicBezTo>
                  <a:pt x="816" y="1473"/>
                  <a:pt x="816" y="1473"/>
                  <a:pt x="816" y="1473"/>
                </a:cubicBezTo>
                <a:cubicBezTo>
                  <a:pt x="817" y="1470"/>
                  <a:pt x="817" y="1470"/>
                  <a:pt x="817" y="1470"/>
                </a:cubicBezTo>
                <a:cubicBezTo>
                  <a:pt x="820" y="1471"/>
                  <a:pt x="820" y="1471"/>
                  <a:pt x="820" y="1471"/>
                </a:cubicBezTo>
                <a:cubicBezTo>
                  <a:pt x="820" y="1471"/>
                  <a:pt x="824" y="1466"/>
                  <a:pt x="826" y="1467"/>
                </a:cubicBezTo>
                <a:cubicBezTo>
                  <a:pt x="828" y="1469"/>
                  <a:pt x="822" y="1474"/>
                  <a:pt x="822" y="1474"/>
                </a:cubicBezTo>
                <a:cubicBezTo>
                  <a:pt x="822" y="1474"/>
                  <a:pt x="821" y="1473"/>
                  <a:pt x="819" y="1473"/>
                </a:cubicBezTo>
                <a:cubicBezTo>
                  <a:pt x="817" y="1473"/>
                  <a:pt x="818" y="1475"/>
                  <a:pt x="818" y="1475"/>
                </a:cubicBezTo>
                <a:cubicBezTo>
                  <a:pt x="816" y="1475"/>
                  <a:pt x="816" y="1475"/>
                  <a:pt x="816" y="1475"/>
                </a:cubicBezTo>
                <a:cubicBezTo>
                  <a:pt x="814" y="1475"/>
                  <a:pt x="812" y="1477"/>
                  <a:pt x="812" y="1477"/>
                </a:cubicBezTo>
                <a:cubicBezTo>
                  <a:pt x="813" y="1478"/>
                  <a:pt x="813" y="1478"/>
                  <a:pt x="813" y="1478"/>
                </a:cubicBezTo>
                <a:cubicBezTo>
                  <a:pt x="814" y="1482"/>
                  <a:pt x="814" y="1482"/>
                  <a:pt x="814" y="1482"/>
                </a:cubicBezTo>
                <a:cubicBezTo>
                  <a:pt x="818" y="1480"/>
                  <a:pt x="818" y="1480"/>
                  <a:pt x="818" y="1480"/>
                </a:cubicBezTo>
                <a:cubicBezTo>
                  <a:pt x="818" y="1480"/>
                  <a:pt x="819" y="1482"/>
                  <a:pt x="820" y="1482"/>
                </a:cubicBezTo>
                <a:cubicBezTo>
                  <a:pt x="821" y="1482"/>
                  <a:pt x="822" y="1478"/>
                  <a:pt x="823" y="1477"/>
                </a:cubicBezTo>
                <a:cubicBezTo>
                  <a:pt x="825" y="1476"/>
                  <a:pt x="825" y="1478"/>
                  <a:pt x="825" y="1478"/>
                </a:cubicBezTo>
                <a:cubicBezTo>
                  <a:pt x="825" y="1478"/>
                  <a:pt x="828" y="1478"/>
                  <a:pt x="831" y="1478"/>
                </a:cubicBezTo>
                <a:cubicBezTo>
                  <a:pt x="834" y="1477"/>
                  <a:pt x="828" y="1472"/>
                  <a:pt x="828" y="1472"/>
                </a:cubicBezTo>
                <a:cubicBezTo>
                  <a:pt x="828" y="1467"/>
                  <a:pt x="828" y="1467"/>
                  <a:pt x="828" y="1467"/>
                </a:cubicBezTo>
                <a:cubicBezTo>
                  <a:pt x="833" y="1467"/>
                  <a:pt x="833" y="1467"/>
                  <a:pt x="833" y="1467"/>
                </a:cubicBezTo>
                <a:cubicBezTo>
                  <a:pt x="833" y="1464"/>
                  <a:pt x="833" y="1464"/>
                  <a:pt x="833" y="1464"/>
                </a:cubicBezTo>
                <a:cubicBezTo>
                  <a:pt x="836" y="1465"/>
                  <a:pt x="836" y="1465"/>
                  <a:pt x="836" y="1465"/>
                </a:cubicBezTo>
                <a:cubicBezTo>
                  <a:pt x="837" y="1462"/>
                  <a:pt x="837" y="1462"/>
                  <a:pt x="837" y="1462"/>
                </a:cubicBezTo>
                <a:cubicBezTo>
                  <a:pt x="837" y="1464"/>
                  <a:pt x="837" y="1464"/>
                  <a:pt x="837" y="1464"/>
                </a:cubicBezTo>
                <a:cubicBezTo>
                  <a:pt x="838" y="1461"/>
                  <a:pt x="838" y="1461"/>
                  <a:pt x="838" y="1461"/>
                </a:cubicBezTo>
                <a:cubicBezTo>
                  <a:pt x="839" y="1459"/>
                  <a:pt x="845" y="1463"/>
                  <a:pt x="845" y="1463"/>
                </a:cubicBezTo>
                <a:cubicBezTo>
                  <a:pt x="840" y="1455"/>
                  <a:pt x="840" y="1455"/>
                  <a:pt x="840" y="1455"/>
                </a:cubicBezTo>
                <a:cubicBezTo>
                  <a:pt x="837" y="1456"/>
                  <a:pt x="837" y="1456"/>
                  <a:pt x="837" y="1456"/>
                </a:cubicBezTo>
                <a:cubicBezTo>
                  <a:pt x="837" y="1454"/>
                  <a:pt x="837" y="1454"/>
                  <a:pt x="837" y="1454"/>
                </a:cubicBezTo>
                <a:cubicBezTo>
                  <a:pt x="832" y="1450"/>
                  <a:pt x="832" y="1450"/>
                  <a:pt x="832" y="1450"/>
                </a:cubicBezTo>
                <a:cubicBezTo>
                  <a:pt x="833" y="1445"/>
                  <a:pt x="833" y="1445"/>
                  <a:pt x="833" y="1445"/>
                </a:cubicBezTo>
                <a:cubicBezTo>
                  <a:pt x="831" y="1444"/>
                  <a:pt x="831" y="1444"/>
                  <a:pt x="831" y="1444"/>
                </a:cubicBezTo>
                <a:cubicBezTo>
                  <a:pt x="832" y="1442"/>
                  <a:pt x="832" y="1442"/>
                  <a:pt x="832" y="1442"/>
                </a:cubicBezTo>
                <a:cubicBezTo>
                  <a:pt x="832" y="1442"/>
                  <a:pt x="834" y="1442"/>
                  <a:pt x="834" y="1440"/>
                </a:cubicBezTo>
                <a:cubicBezTo>
                  <a:pt x="835" y="1438"/>
                  <a:pt x="829" y="1438"/>
                  <a:pt x="829" y="1438"/>
                </a:cubicBezTo>
                <a:cubicBezTo>
                  <a:pt x="831" y="1437"/>
                  <a:pt x="831" y="1437"/>
                  <a:pt x="831" y="1437"/>
                </a:cubicBezTo>
                <a:cubicBezTo>
                  <a:pt x="831" y="1435"/>
                  <a:pt x="831" y="1435"/>
                  <a:pt x="831" y="1435"/>
                </a:cubicBezTo>
                <a:cubicBezTo>
                  <a:pt x="834" y="1438"/>
                  <a:pt x="834" y="1438"/>
                  <a:pt x="834" y="1438"/>
                </a:cubicBezTo>
                <a:cubicBezTo>
                  <a:pt x="834" y="1438"/>
                  <a:pt x="837" y="1440"/>
                  <a:pt x="839" y="1438"/>
                </a:cubicBezTo>
                <a:cubicBezTo>
                  <a:pt x="841" y="1435"/>
                  <a:pt x="837" y="1430"/>
                  <a:pt x="837" y="1427"/>
                </a:cubicBezTo>
                <a:cubicBezTo>
                  <a:pt x="838" y="1424"/>
                  <a:pt x="847" y="1418"/>
                  <a:pt x="847" y="1416"/>
                </a:cubicBezTo>
                <a:cubicBezTo>
                  <a:pt x="848" y="1414"/>
                  <a:pt x="843" y="1414"/>
                  <a:pt x="843" y="1414"/>
                </a:cubicBezTo>
                <a:cubicBezTo>
                  <a:pt x="846" y="1414"/>
                  <a:pt x="846" y="1414"/>
                  <a:pt x="846" y="1414"/>
                </a:cubicBezTo>
                <a:cubicBezTo>
                  <a:pt x="846" y="1414"/>
                  <a:pt x="846" y="1410"/>
                  <a:pt x="845" y="1408"/>
                </a:cubicBezTo>
                <a:cubicBezTo>
                  <a:pt x="843" y="1405"/>
                  <a:pt x="841" y="1406"/>
                  <a:pt x="841" y="1406"/>
                </a:cubicBezTo>
                <a:cubicBezTo>
                  <a:pt x="838" y="1405"/>
                  <a:pt x="838" y="1405"/>
                  <a:pt x="838" y="1405"/>
                </a:cubicBezTo>
                <a:cubicBezTo>
                  <a:pt x="835" y="1405"/>
                  <a:pt x="835" y="1405"/>
                  <a:pt x="835" y="1405"/>
                </a:cubicBezTo>
                <a:cubicBezTo>
                  <a:pt x="835" y="1405"/>
                  <a:pt x="827" y="1401"/>
                  <a:pt x="825" y="1395"/>
                </a:cubicBezTo>
                <a:cubicBezTo>
                  <a:pt x="822" y="1390"/>
                  <a:pt x="826" y="1389"/>
                  <a:pt x="826" y="1389"/>
                </a:cubicBezTo>
                <a:cubicBezTo>
                  <a:pt x="827" y="1385"/>
                  <a:pt x="827" y="1385"/>
                  <a:pt x="827" y="1385"/>
                </a:cubicBezTo>
                <a:cubicBezTo>
                  <a:pt x="829" y="1385"/>
                  <a:pt x="829" y="1385"/>
                  <a:pt x="829" y="1385"/>
                </a:cubicBezTo>
                <a:cubicBezTo>
                  <a:pt x="830" y="1383"/>
                  <a:pt x="830" y="1383"/>
                  <a:pt x="830" y="1383"/>
                </a:cubicBezTo>
                <a:cubicBezTo>
                  <a:pt x="838" y="1382"/>
                  <a:pt x="838" y="1382"/>
                  <a:pt x="838" y="1382"/>
                </a:cubicBezTo>
                <a:cubicBezTo>
                  <a:pt x="836" y="1381"/>
                  <a:pt x="836" y="1381"/>
                  <a:pt x="836" y="1381"/>
                </a:cubicBezTo>
                <a:cubicBezTo>
                  <a:pt x="836" y="1378"/>
                  <a:pt x="836" y="1378"/>
                  <a:pt x="836" y="1378"/>
                </a:cubicBezTo>
                <a:cubicBezTo>
                  <a:pt x="838" y="1378"/>
                  <a:pt x="838" y="1378"/>
                  <a:pt x="838" y="1378"/>
                </a:cubicBezTo>
                <a:cubicBezTo>
                  <a:pt x="838" y="1378"/>
                  <a:pt x="839" y="1374"/>
                  <a:pt x="837" y="1372"/>
                </a:cubicBezTo>
                <a:cubicBezTo>
                  <a:pt x="836" y="1371"/>
                  <a:pt x="834" y="1368"/>
                  <a:pt x="835" y="1364"/>
                </a:cubicBezTo>
                <a:cubicBezTo>
                  <a:pt x="836" y="1361"/>
                  <a:pt x="841" y="1361"/>
                  <a:pt x="841" y="1361"/>
                </a:cubicBezTo>
                <a:cubicBezTo>
                  <a:pt x="841" y="1360"/>
                  <a:pt x="841" y="1360"/>
                  <a:pt x="841" y="1360"/>
                </a:cubicBezTo>
                <a:cubicBezTo>
                  <a:pt x="841" y="1360"/>
                  <a:pt x="837" y="1360"/>
                  <a:pt x="835" y="1359"/>
                </a:cubicBezTo>
                <a:cubicBezTo>
                  <a:pt x="834" y="1358"/>
                  <a:pt x="836" y="1356"/>
                  <a:pt x="837" y="1356"/>
                </a:cubicBezTo>
                <a:cubicBezTo>
                  <a:pt x="839" y="1355"/>
                  <a:pt x="842" y="1359"/>
                  <a:pt x="843" y="1359"/>
                </a:cubicBezTo>
                <a:cubicBezTo>
                  <a:pt x="845" y="1359"/>
                  <a:pt x="847" y="1358"/>
                  <a:pt x="847" y="1356"/>
                </a:cubicBezTo>
                <a:cubicBezTo>
                  <a:pt x="847" y="1354"/>
                  <a:pt x="844" y="1349"/>
                  <a:pt x="842" y="1350"/>
                </a:cubicBezTo>
                <a:cubicBezTo>
                  <a:pt x="839" y="1351"/>
                  <a:pt x="843" y="1353"/>
                  <a:pt x="841" y="1354"/>
                </a:cubicBezTo>
                <a:cubicBezTo>
                  <a:pt x="838" y="1356"/>
                  <a:pt x="835" y="1352"/>
                  <a:pt x="835" y="1352"/>
                </a:cubicBezTo>
                <a:cubicBezTo>
                  <a:pt x="835" y="1352"/>
                  <a:pt x="830" y="1352"/>
                  <a:pt x="830" y="1351"/>
                </a:cubicBezTo>
                <a:cubicBezTo>
                  <a:pt x="829" y="1350"/>
                  <a:pt x="830" y="1344"/>
                  <a:pt x="830" y="1343"/>
                </a:cubicBezTo>
                <a:cubicBezTo>
                  <a:pt x="830" y="1343"/>
                  <a:pt x="826" y="1339"/>
                  <a:pt x="827" y="1336"/>
                </a:cubicBezTo>
                <a:cubicBezTo>
                  <a:pt x="828" y="1333"/>
                  <a:pt x="831" y="1336"/>
                  <a:pt x="834" y="1337"/>
                </a:cubicBezTo>
                <a:cubicBezTo>
                  <a:pt x="837" y="1338"/>
                  <a:pt x="841" y="1341"/>
                  <a:pt x="843" y="1341"/>
                </a:cubicBezTo>
                <a:cubicBezTo>
                  <a:pt x="844" y="1341"/>
                  <a:pt x="851" y="1337"/>
                  <a:pt x="853" y="1336"/>
                </a:cubicBezTo>
                <a:cubicBezTo>
                  <a:pt x="855" y="1334"/>
                  <a:pt x="848" y="1331"/>
                  <a:pt x="848" y="1331"/>
                </a:cubicBezTo>
                <a:cubicBezTo>
                  <a:pt x="848" y="1327"/>
                  <a:pt x="848" y="1327"/>
                  <a:pt x="848" y="1327"/>
                </a:cubicBezTo>
                <a:cubicBezTo>
                  <a:pt x="848" y="1327"/>
                  <a:pt x="849" y="1324"/>
                  <a:pt x="850" y="1322"/>
                </a:cubicBezTo>
                <a:cubicBezTo>
                  <a:pt x="850" y="1319"/>
                  <a:pt x="846" y="1319"/>
                  <a:pt x="846" y="1319"/>
                </a:cubicBezTo>
                <a:cubicBezTo>
                  <a:pt x="845" y="1316"/>
                  <a:pt x="845" y="1316"/>
                  <a:pt x="845" y="1316"/>
                </a:cubicBezTo>
                <a:cubicBezTo>
                  <a:pt x="845" y="1316"/>
                  <a:pt x="844" y="1315"/>
                  <a:pt x="845" y="1313"/>
                </a:cubicBezTo>
                <a:cubicBezTo>
                  <a:pt x="846" y="1311"/>
                  <a:pt x="849" y="1319"/>
                  <a:pt x="849" y="1319"/>
                </a:cubicBezTo>
                <a:cubicBezTo>
                  <a:pt x="850" y="1318"/>
                  <a:pt x="850" y="1318"/>
                  <a:pt x="850" y="1318"/>
                </a:cubicBezTo>
                <a:cubicBezTo>
                  <a:pt x="849" y="1315"/>
                  <a:pt x="849" y="1315"/>
                  <a:pt x="849" y="1315"/>
                </a:cubicBezTo>
                <a:cubicBezTo>
                  <a:pt x="861" y="1317"/>
                  <a:pt x="861" y="1317"/>
                  <a:pt x="861" y="1317"/>
                </a:cubicBezTo>
                <a:cubicBezTo>
                  <a:pt x="861" y="1316"/>
                  <a:pt x="861" y="1316"/>
                  <a:pt x="861" y="1316"/>
                </a:cubicBezTo>
                <a:cubicBezTo>
                  <a:pt x="861" y="1316"/>
                  <a:pt x="864" y="1314"/>
                  <a:pt x="870" y="1313"/>
                </a:cubicBezTo>
                <a:cubicBezTo>
                  <a:pt x="876" y="1313"/>
                  <a:pt x="887" y="1307"/>
                  <a:pt x="887" y="1307"/>
                </a:cubicBezTo>
                <a:cubicBezTo>
                  <a:pt x="886" y="1302"/>
                  <a:pt x="886" y="1302"/>
                  <a:pt x="886" y="1302"/>
                </a:cubicBezTo>
                <a:cubicBezTo>
                  <a:pt x="889" y="1300"/>
                  <a:pt x="889" y="1300"/>
                  <a:pt x="889" y="1300"/>
                </a:cubicBezTo>
                <a:cubicBezTo>
                  <a:pt x="891" y="1293"/>
                  <a:pt x="891" y="1293"/>
                  <a:pt x="891" y="1293"/>
                </a:cubicBezTo>
                <a:cubicBezTo>
                  <a:pt x="889" y="1290"/>
                  <a:pt x="889" y="1290"/>
                  <a:pt x="889" y="1290"/>
                </a:cubicBezTo>
                <a:cubicBezTo>
                  <a:pt x="889" y="1286"/>
                  <a:pt x="889" y="1286"/>
                  <a:pt x="889" y="1286"/>
                </a:cubicBezTo>
                <a:cubicBezTo>
                  <a:pt x="889" y="1286"/>
                  <a:pt x="887" y="1284"/>
                  <a:pt x="885" y="1283"/>
                </a:cubicBezTo>
                <a:cubicBezTo>
                  <a:pt x="884" y="1283"/>
                  <a:pt x="882" y="1284"/>
                  <a:pt x="881" y="1283"/>
                </a:cubicBezTo>
                <a:cubicBezTo>
                  <a:pt x="879" y="1282"/>
                  <a:pt x="882" y="1281"/>
                  <a:pt x="883" y="1280"/>
                </a:cubicBezTo>
                <a:cubicBezTo>
                  <a:pt x="884" y="1278"/>
                  <a:pt x="883" y="1277"/>
                  <a:pt x="883" y="1275"/>
                </a:cubicBezTo>
                <a:cubicBezTo>
                  <a:pt x="883" y="1272"/>
                  <a:pt x="876" y="1271"/>
                  <a:pt x="871" y="1269"/>
                </a:cubicBezTo>
                <a:cubicBezTo>
                  <a:pt x="866" y="1266"/>
                  <a:pt x="866" y="1264"/>
                  <a:pt x="868" y="1261"/>
                </a:cubicBezTo>
                <a:cubicBezTo>
                  <a:pt x="868" y="1261"/>
                  <a:pt x="868" y="1261"/>
                  <a:pt x="869" y="1261"/>
                </a:cubicBezTo>
                <a:cubicBezTo>
                  <a:pt x="864" y="1256"/>
                  <a:pt x="864" y="1256"/>
                  <a:pt x="864" y="1256"/>
                </a:cubicBezTo>
                <a:cubicBezTo>
                  <a:pt x="869" y="1261"/>
                  <a:pt x="869" y="1261"/>
                  <a:pt x="869" y="1261"/>
                </a:cubicBezTo>
                <a:cubicBezTo>
                  <a:pt x="870" y="1260"/>
                  <a:pt x="873" y="1263"/>
                  <a:pt x="874" y="1265"/>
                </a:cubicBezTo>
                <a:cubicBezTo>
                  <a:pt x="874" y="1265"/>
                  <a:pt x="874" y="1265"/>
                  <a:pt x="874" y="1265"/>
                </a:cubicBezTo>
                <a:cubicBezTo>
                  <a:pt x="875" y="1265"/>
                  <a:pt x="875" y="1266"/>
                  <a:pt x="875" y="1266"/>
                </a:cubicBezTo>
                <a:cubicBezTo>
                  <a:pt x="881" y="1266"/>
                  <a:pt x="881" y="1266"/>
                  <a:pt x="881" y="1266"/>
                </a:cubicBezTo>
                <a:cubicBezTo>
                  <a:pt x="883" y="1268"/>
                  <a:pt x="883" y="1268"/>
                  <a:pt x="883" y="1268"/>
                </a:cubicBezTo>
                <a:cubicBezTo>
                  <a:pt x="883" y="1268"/>
                  <a:pt x="889" y="1268"/>
                  <a:pt x="895" y="1269"/>
                </a:cubicBezTo>
                <a:cubicBezTo>
                  <a:pt x="902" y="1270"/>
                  <a:pt x="906" y="1270"/>
                  <a:pt x="910" y="1267"/>
                </a:cubicBezTo>
                <a:cubicBezTo>
                  <a:pt x="913" y="1265"/>
                  <a:pt x="914" y="1258"/>
                  <a:pt x="914" y="1257"/>
                </a:cubicBezTo>
                <a:cubicBezTo>
                  <a:pt x="914" y="1256"/>
                  <a:pt x="914" y="1256"/>
                  <a:pt x="914" y="1256"/>
                </a:cubicBezTo>
                <a:cubicBezTo>
                  <a:pt x="914" y="1256"/>
                  <a:pt x="919" y="1251"/>
                  <a:pt x="920" y="1249"/>
                </a:cubicBezTo>
                <a:cubicBezTo>
                  <a:pt x="921" y="1247"/>
                  <a:pt x="920" y="1243"/>
                  <a:pt x="920" y="1243"/>
                </a:cubicBezTo>
                <a:cubicBezTo>
                  <a:pt x="922" y="1239"/>
                  <a:pt x="922" y="1239"/>
                  <a:pt x="922" y="1239"/>
                </a:cubicBezTo>
                <a:cubicBezTo>
                  <a:pt x="922" y="1239"/>
                  <a:pt x="920" y="1237"/>
                  <a:pt x="920" y="1235"/>
                </a:cubicBezTo>
                <a:cubicBezTo>
                  <a:pt x="920" y="1233"/>
                  <a:pt x="922" y="1233"/>
                  <a:pt x="922" y="1233"/>
                </a:cubicBezTo>
                <a:cubicBezTo>
                  <a:pt x="923" y="1230"/>
                  <a:pt x="923" y="1230"/>
                  <a:pt x="923" y="1230"/>
                </a:cubicBezTo>
                <a:cubicBezTo>
                  <a:pt x="923" y="1230"/>
                  <a:pt x="925" y="1229"/>
                  <a:pt x="926" y="1228"/>
                </a:cubicBezTo>
                <a:cubicBezTo>
                  <a:pt x="927" y="1228"/>
                  <a:pt x="927" y="1225"/>
                  <a:pt x="927" y="1223"/>
                </a:cubicBezTo>
                <a:cubicBezTo>
                  <a:pt x="927" y="1221"/>
                  <a:pt x="930" y="1218"/>
                  <a:pt x="932" y="1217"/>
                </a:cubicBezTo>
                <a:cubicBezTo>
                  <a:pt x="934" y="1217"/>
                  <a:pt x="934" y="1222"/>
                  <a:pt x="934" y="1222"/>
                </a:cubicBezTo>
                <a:cubicBezTo>
                  <a:pt x="934" y="1222"/>
                  <a:pt x="932" y="1224"/>
                  <a:pt x="932" y="1224"/>
                </a:cubicBezTo>
                <a:cubicBezTo>
                  <a:pt x="931" y="1225"/>
                  <a:pt x="931" y="1227"/>
                  <a:pt x="931" y="1227"/>
                </a:cubicBezTo>
                <a:cubicBezTo>
                  <a:pt x="930" y="1228"/>
                  <a:pt x="930" y="1228"/>
                  <a:pt x="930" y="1228"/>
                </a:cubicBezTo>
                <a:cubicBezTo>
                  <a:pt x="930" y="1230"/>
                  <a:pt x="930" y="1230"/>
                  <a:pt x="930" y="1230"/>
                </a:cubicBezTo>
                <a:cubicBezTo>
                  <a:pt x="926" y="1234"/>
                  <a:pt x="926" y="1234"/>
                  <a:pt x="926" y="1234"/>
                </a:cubicBezTo>
                <a:cubicBezTo>
                  <a:pt x="922" y="1237"/>
                  <a:pt x="922" y="1237"/>
                  <a:pt x="922" y="1237"/>
                </a:cubicBezTo>
                <a:cubicBezTo>
                  <a:pt x="922" y="1237"/>
                  <a:pt x="923" y="1238"/>
                  <a:pt x="925" y="1238"/>
                </a:cubicBezTo>
                <a:cubicBezTo>
                  <a:pt x="926" y="1237"/>
                  <a:pt x="926" y="1235"/>
                  <a:pt x="927" y="1234"/>
                </a:cubicBezTo>
                <a:cubicBezTo>
                  <a:pt x="928" y="1233"/>
                  <a:pt x="929" y="1234"/>
                  <a:pt x="930" y="1234"/>
                </a:cubicBezTo>
                <a:cubicBezTo>
                  <a:pt x="931" y="1232"/>
                  <a:pt x="935" y="1225"/>
                  <a:pt x="936" y="1220"/>
                </a:cubicBezTo>
                <a:cubicBezTo>
                  <a:pt x="937" y="1215"/>
                  <a:pt x="940" y="1210"/>
                  <a:pt x="940" y="1207"/>
                </a:cubicBezTo>
                <a:cubicBezTo>
                  <a:pt x="941" y="1204"/>
                  <a:pt x="947" y="1201"/>
                  <a:pt x="948" y="1200"/>
                </a:cubicBezTo>
                <a:cubicBezTo>
                  <a:pt x="948" y="1199"/>
                  <a:pt x="946" y="1197"/>
                  <a:pt x="946" y="1197"/>
                </a:cubicBezTo>
                <a:cubicBezTo>
                  <a:pt x="949" y="1195"/>
                  <a:pt x="949" y="1195"/>
                  <a:pt x="949" y="1195"/>
                </a:cubicBezTo>
                <a:cubicBezTo>
                  <a:pt x="948" y="1190"/>
                  <a:pt x="948" y="1190"/>
                  <a:pt x="948" y="1190"/>
                </a:cubicBezTo>
                <a:cubicBezTo>
                  <a:pt x="949" y="1187"/>
                  <a:pt x="949" y="1187"/>
                  <a:pt x="949" y="1187"/>
                </a:cubicBezTo>
                <a:cubicBezTo>
                  <a:pt x="947" y="1186"/>
                  <a:pt x="947" y="1186"/>
                  <a:pt x="947" y="1186"/>
                </a:cubicBezTo>
                <a:cubicBezTo>
                  <a:pt x="947" y="1186"/>
                  <a:pt x="949" y="1184"/>
                  <a:pt x="949" y="1182"/>
                </a:cubicBezTo>
                <a:cubicBezTo>
                  <a:pt x="949" y="1181"/>
                  <a:pt x="946" y="1179"/>
                  <a:pt x="946" y="1179"/>
                </a:cubicBezTo>
                <a:cubicBezTo>
                  <a:pt x="945" y="1175"/>
                  <a:pt x="945" y="1175"/>
                  <a:pt x="945" y="1175"/>
                </a:cubicBezTo>
                <a:cubicBezTo>
                  <a:pt x="943" y="1172"/>
                  <a:pt x="943" y="1172"/>
                  <a:pt x="943" y="1172"/>
                </a:cubicBezTo>
                <a:cubicBezTo>
                  <a:pt x="946" y="1173"/>
                  <a:pt x="946" y="1173"/>
                  <a:pt x="946" y="1173"/>
                </a:cubicBezTo>
                <a:cubicBezTo>
                  <a:pt x="946" y="1169"/>
                  <a:pt x="946" y="1169"/>
                  <a:pt x="946" y="1169"/>
                </a:cubicBezTo>
                <a:cubicBezTo>
                  <a:pt x="944" y="1168"/>
                  <a:pt x="944" y="1168"/>
                  <a:pt x="944" y="1168"/>
                </a:cubicBezTo>
                <a:cubicBezTo>
                  <a:pt x="944" y="1168"/>
                  <a:pt x="947" y="1167"/>
                  <a:pt x="947" y="1166"/>
                </a:cubicBezTo>
                <a:cubicBezTo>
                  <a:pt x="947" y="1165"/>
                  <a:pt x="943" y="1163"/>
                  <a:pt x="943" y="1163"/>
                </a:cubicBezTo>
                <a:cubicBezTo>
                  <a:pt x="947" y="1161"/>
                  <a:pt x="947" y="1161"/>
                  <a:pt x="947" y="1161"/>
                </a:cubicBezTo>
                <a:cubicBezTo>
                  <a:pt x="947" y="1161"/>
                  <a:pt x="949" y="1164"/>
                  <a:pt x="951" y="1164"/>
                </a:cubicBezTo>
                <a:cubicBezTo>
                  <a:pt x="952" y="1163"/>
                  <a:pt x="951" y="1161"/>
                  <a:pt x="951" y="1161"/>
                </a:cubicBezTo>
                <a:cubicBezTo>
                  <a:pt x="951" y="1161"/>
                  <a:pt x="951" y="1158"/>
                  <a:pt x="953" y="1156"/>
                </a:cubicBezTo>
                <a:cubicBezTo>
                  <a:pt x="954" y="1154"/>
                  <a:pt x="957" y="1155"/>
                  <a:pt x="958" y="1154"/>
                </a:cubicBezTo>
                <a:cubicBezTo>
                  <a:pt x="959" y="1153"/>
                  <a:pt x="959" y="1152"/>
                  <a:pt x="959" y="1150"/>
                </a:cubicBezTo>
                <a:cubicBezTo>
                  <a:pt x="960" y="1149"/>
                  <a:pt x="964" y="1148"/>
                  <a:pt x="964" y="1148"/>
                </a:cubicBezTo>
                <a:cubicBezTo>
                  <a:pt x="964" y="1147"/>
                  <a:pt x="964" y="1147"/>
                  <a:pt x="964" y="1147"/>
                </a:cubicBezTo>
                <a:cubicBezTo>
                  <a:pt x="964" y="1147"/>
                  <a:pt x="966" y="1147"/>
                  <a:pt x="967" y="1147"/>
                </a:cubicBezTo>
                <a:cubicBezTo>
                  <a:pt x="968" y="1147"/>
                  <a:pt x="967" y="1144"/>
                  <a:pt x="969" y="1144"/>
                </a:cubicBezTo>
                <a:cubicBezTo>
                  <a:pt x="970" y="1144"/>
                  <a:pt x="974" y="1144"/>
                  <a:pt x="974" y="1144"/>
                </a:cubicBezTo>
                <a:cubicBezTo>
                  <a:pt x="975" y="1147"/>
                  <a:pt x="975" y="1147"/>
                  <a:pt x="975" y="1147"/>
                </a:cubicBezTo>
                <a:cubicBezTo>
                  <a:pt x="977" y="1146"/>
                  <a:pt x="977" y="1146"/>
                  <a:pt x="977" y="1146"/>
                </a:cubicBezTo>
                <a:cubicBezTo>
                  <a:pt x="974" y="1143"/>
                  <a:pt x="974" y="1143"/>
                  <a:pt x="974" y="1143"/>
                </a:cubicBezTo>
                <a:cubicBezTo>
                  <a:pt x="974" y="1143"/>
                  <a:pt x="976" y="1142"/>
                  <a:pt x="977" y="1141"/>
                </a:cubicBezTo>
                <a:cubicBezTo>
                  <a:pt x="978" y="1140"/>
                  <a:pt x="982" y="1140"/>
                  <a:pt x="982" y="1140"/>
                </a:cubicBezTo>
                <a:cubicBezTo>
                  <a:pt x="980" y="1138"/>
                  <a:pt x="980" y="1138"/>
                  <a:pt x="980" y="1138"/>
                </a:cubicBezTo>
                <a:cubicBezTo>
                  <a:pt x="980" y="1138"/>
                  <a:pt x="983" y="1136"/>
                  <a:pt x="984" y="1136"/>
                </a:cubicBezTo>
                <a:cubicBezTo>
                  <a:pt x="985" y="1136"/>
                  <a:pt x="984" y="1139"/>
                  <a:pt x="985" y="1139"/>
                </a:cubicBezTo>
                <a:cubicBezTo>
                  <a:pt x="985" y="1139"/>
                  <a:pt x="986" y="1135"/>
                  <a:pt x="986" y="1135"/>
                </a:cubicBezTo>
                <a:cubicBezTo>
                  <a:pt x="992" y="1137"/>
                  <a:pt x="992" y="1137"/>
                  <a:pt x="992" y="1137"/>
                </a:cubicBezTo>
                <a:cubicBezTo>
                  <a:pt x="992" y="1137"/>
                  <a:pt x="993" y="1132"/>
                  <a:pt x="995" y="1132"/>
                </a:cubicBezTo>
                <a:cubicBezTo>
                  <a:pt x="997" y="1132"/>
                  <a:pt x="997" y="1137"/>
                  <a:pt x="997" y="1137"/>
                </a:cubicBezTo>
                <a:cubicBezTo>
                  <a:pt x="1006" y="1135"/>
                  <a:pt x="1006" y="1135"/>
                  <a:pt x="1006" y="1135"/>
                </a:cubicBezTo>
                <a:cubicBezTo>
                  <a:pt x="1007" y="1133"/>
                  <a:pt x="1007" y="1133"/>
                  <a:pt x="1007" y="1133"/>
                </a:cubicBezTo>
                <a:cubicBezTo>
                  <a:pt x="1006" y="1132"/>
                  <a:pt x="1006" y="1132"/>
                  <a:pt x="1006" y="1132"/>
                </a:cubicBezTo>
                <a:cubicBezTo>
                  <a:pt x="1006" y="1132"/>
                  <a:pt x="1007" y="1130"/>
                  <a:pt x="1008" y="1128"/>
                </a:cubicBezTo>
                <a:cubicBezTo>
                  <a:pt x="1010" y="1126"/>
                  <a:pt x="1016" y="1125"/>
                  <a:pt x="1016" y="1125"/>
                </a:cubicBezTo>
                <a:cubicBezTo>
                  <a:pt x="1016" y="1125"/>
                  <a:pt x="1015" y="1122"/>
                  <a:pt x="1015" y="1122"/>
                </a:cubicBezTo>
                <a:cubicBezTo>
                  <a:pt x="1015" y="1121"/>
                  <a:pt x="1016" y="1112"/>
                  <a:pt x="1016" y="1112"/>
                </a:cubicBezTo>
                <a:cubicBezTo>
                  <a:pt x="1019" y="1108"/>
                  <a:pt x="1019" y="1108"/>
                  <a:pt x="1019" y="1108"/>
                </a:cubicBezTo>
                <a:cubicBezTo>
                  <a:pt x="1019" y="1105"/>
                  <a:pt x="1019" y="1105"/>
                  <a:pt x="1019" y="1105"/>
                </a:cubicBezTo>
                <a:cubicBezTo>
                  <a:pt x="1022" y="1104"/>
                  <a:pt x="1022" y="1104"/>
                  <a:pt x="1022" y="1104"/>
                </a:cubicBezTo>
                <a:cubicBezTo>
                  <a:pt x="1022" y="1100"/>
                  <a:pt x="1022" y="1100"/>
                  <a:pt x="1022" y="1100"/>
                </a:cubicBezTo>
                <a:cubicBezTo>
                  <a:pt x="1022" y="1100"/>
                  <a:pt x="1024" y="1099"/>
                  <a:pt x="1025" y="1099"/>
                </a:cubicBezTo>
                <a:cubicBezTo>
                  <a:pt x="1026" y="1099"/>
                  <a:pt x="1026" y="1093"/>
                  <a:pt x="1026" y="1093"/>
                </a:cubicBezTo>
                <a:cubicBezTo>
                  <a:pt x="1026" y="1093"/>
                  <a:pt x="1024" y="1087"/>
                  <a:pt x="1024" y="1084"/>
                </a:cubicBezTo>
                <a:cubicBezTo>
                  <a:pt x="1023" y="1081"/>
                  <a:pt x="1027" y="1079"/>
                  <a:pt x="1029" y="1077"/>
                </a:cubicBezTo>
                <a:cubicBezTo>
                  <a:pt x="1030" y="1076"/>
                  <a:pt x="1028" y="1072"/>
                  <a:pt x="1028" y="1072"/>
                </a:cubicBezTo>
                <a:cubicBezTo>
                  <a:pt x="1029" y="1064"/>
                  <a:pt x="1029" y="1064"/>
                  <a:pt x="1029" y="1064"/>
                </a:cubicBezTo>
                <a:cubicBezTo>
                  <a:pt x="1029" y="1064"/>
                  <a:pt x="1031" y="1057"/>
                  <a:pt x="1030" y="1055"/>
                </a:cubicBezTo>
                <a:cubicBezTo>
                  <a:pt x="1030" y="1053"/>
                  <a:pt x="1028" y="1041"/>
                  <a:pt x="1028" y="1041"/>
                </a:cubicBezTo>
                <a:cubicBezTo>
                  <a:pt x="1029" y="1036"/>
                  <a:pt x="1029" y="1036"/>
                  <a:pt x="1029" y="1036"/>
                </a:cubicBezTo>
                <a:cubicBezTo>
                  <a:pt x="1029" y="1036"/>
                  <a:pt x="1027" y="1029"/>
                  <a:pt x="1027" y="1028"/>
                </a:cubicBezTo>
                <a:cubicBezTo>
                  <a:pt x="1028" y="1026"/>
                  <a:pt x="1030" y="1024"/>
                  <a:pt x="1030" y="1024"/>
                </a:cubicBezTo>
                <a:cubicBezTo>
                  <a:pt x="1029" y="1021"/>
                  <a:pt x="1029" y="1021"/>
                  <a:pt x="1029" y="1021"/>
                </a:cubicBezTo>
                <a:cubicBezTo>
                  <a:pt x="1029" y="1021"/>
                  <a:pt x="1030" y="1019"/>
                  <a:pt x="1031" y="1019"/>
                </a:cubicBezTo>
                <a:cubicBezTo>
                  <a:pt x="1032" y="1019"/>
                  <a:pt x="1034" y="1023"/>
                  <a:pt x="1034" y="1023"/>
                </a:cubicBezTo>
                <a:cubicBezTo>
                  <a:pt x="1034" y="1023"/>
                  <a:pt x="1038" y="1019"/>
                  <a:pt x="1040" y="1017"/>
                </a:cubicBezTo>
                <a:cubicBezTo>
                  <a:pt x="1041" y="1015"/>
                  <a:pt x="1042" y="1006"/>
                  <a:pt x="1042" y="1006"/>
                </a:cubicBezTo>
                <a:cubicBezTo>
                  <a:pt x="1042" y="1006"/>
                  <a:pt x="1044" y="1005"/>
                  <a:pt x="1045" y="1004"/>
                </a:cubicBezTo>
                <a:cubicBezTo>
                  <a:pt x="1046" y="1003"/>
                  <a:pt x="1047" y="998"/>
                  <a:pt x="1047" y="998"/>
                </a:cubicBezTo>
                <a:cubicBezTo>
                  <a:pt x="1047" y="998"/>
                  <a:pt x="1050" y="997"/>
                  <a:pt x="1051" y="997"/>
                </a:cubicBezTo>
                <a:cubicBezTo>
                  <a:pt x="1053" y="997"/>
                  <a:pt x="1053" y="992"/>
                  <a:pt x="1053" y="992"/>
                </a:cubicBezTo>
                <a:cubicBezTo>
                  <a:pt x="1053" y="992"/>
                  <a:pt x="1056" y="991"/>
                  <a:pt x="1058" y="988"/>
                </a:cubicBezTo>
                <a:cubicBezTo>
                  <a:pt x="1061" y="984"/>
                  <a:pt x="1064" y="974"/>
                  <a:pt x="1064" y="974"/>
                </a:cubicBezTo>
                <a:cubicBezTo>
                  <a:pt x="1064" y="974"/>
                  <a:pt x="1067" y="971"/>
                  <a:pt x="1067" y="970"/>
                </a:cubicBezTo>
                <a:cubicBezTo>
                  <a:pt x="1067" y="969"/>
                  <a:pt x="1066" y="965"/>
                  <a:pt x="1066" y="965"/>
                </a:cubicBezTo>
                <a:cubicBezTo>
                  <a:pt x="1066" y="965"/>
                  <a:pt x="1067" y="961"/>
                  <a:pt x="1067" y="957"/>
                </a:cubicBezTo>
                <a:close/>
                <a:moveTo>
                  <a:pt x="660" y="375"/>
                </a:moveTo>
                <a:cubicBezTo>
                  <a:pt x="657" y="375"/>
                  <a:pt x="661" y="371"/>
                  <a:pt x="659" y="371"/>
                </a:cubicBezTo>
                <a:cubicBezTo>
                  <a:pt x="658" y="370"/>
                  <a:pt x="656" y="373"/>
                  <a:pt x="656" y="373"/>
                </a:cubicBezTo>
                <a:cubicBezTo>
                  <a:pt x="655" y="373"/>
                  <a:pt x="655" y="373"/>
                  <a:pt x="655" y="373"/>
                </a:cubicBezTo>
                <a:cubicBezTo>
                  <a:pt x="654" y="375"/>
                  <a:pt x="654" y="375"/>
                  <a:pt x="654" y="375"/>
                </a:cubicBezTo>
                <a:cubicBezTo>
                  <a:pt x="652" y="375"/>
                  <a:pt x="652" y="375"/>
                  <a:pt x="652" y="375"/>
                </a:cubicBezTo>
                <a:cubicBezTo>
                  <a:pt x="652" y="375"/>
                  <a:pt x="652" y="377"/>
                  <a:pt x="651" y="378"/>
                </a:cubicBezTo>
                <a:cubicBezTo>
                  <a:pt x="650" y="380"/>
                  <a:pt x="648" y="380"/>
                  <a:pt x="647" y="382"/>
                </a:cubicBezTo>
                <a:cubicBezTo>
                  <a:pt x="646" y="383"/>
                  <a:pt x="648" y="384"/>
                  <a:pt x="648" y="384"/>
                </a:cubicBezTo>
                <a:cubicBezTo>
                  <a:pt x="648" y="384"/>
                  <a:pt x="647" y="384"/>
                  <a:pt x="644" y="387"/>
                </a:cubicBezTo>
                <a:cubicBezTo>
                  <a:pt x="641" y="390"/>
                  <a:pt x="645" y="390"/>
                  <a:pt x="645" y="392"/>
                </a:cubicBezTo>
                <a:cubicBezTo>
                  <a:pt x="645" y="393"/>
                  <a:pt x="644" y="394"/>
                  <a:pt x="644" y="394"/>
                </a:cubicBezTo>
                <a:cubicBezTo>
                  <a:pt x="644" y="394"/>
                  <a:pt x="645" y="395"/>
                  <a:pt x="640" y="401"/>
                </a:cubicBezTo>
                <a:cubicBezTo>
                  <a:pt x="636" y="408"/>
                  <a:pt x="626" y="410"/>
                  <a:pt x="626" y="410"/>
                </a:cubicBezTo>
                <a:cubicBezTo>
                  <a:pt x="627" y="406"/>
                  <a:pt x="627" y="406"/>
                  <a:pt x="627" y="406"/>
                </a:cubicBezTo>
                <a:cubicBezTo>
                  <a:pt x="627" y="406"/>
                  <a:pt x="626" y="404"/>
                  <a:pt x="626" y="404"/>
                </a:cubicBezTo>
                <a:cubicBezTo>
                  <a:pt x="625" y="403"/>
                  <a:pt x="629" y="398"/>
                  <a:pt x="629" y="397"/>
                </a:cubicBezTo>
                <a:cubicBezTo>
                  <a:pt x="630" y="396"/>
                  <a:pt x="628" y="395"/>
                  <a:pt x="629" y="393"/>
                </a:cubicBezTo>
                <a:cubicBezTo>
                  <a:pt x="629" y="390"/>
                  <a:pt x="634" y="386"/>
                  <a:pt x="634" y="386"/>
                </a:cubicBezTo>
                <a:cubicBezTo>
                  <a:pt x="634" y="384"/>
                  <a:pt x="634" y="384"/>
                  <a:pt x="634" y="384"/>
                </a:cubicBezTo>
                <a:cubicBezTo>
                  <a:pt x="634" y="384"/>
                  <a:pt x="638" y="381"/>
                  <a:pt x="639" y="380"/>
                </a:cubicBezTo>
                <a:cubicBezTo>
                  <a:pt x="639" y="379"/>
                  <a:pt x="646" y="372"/>
                  <a:pt x="646" y="372"/>
                </a:cubicBezTo>
                <a:cubicBezTo>
                  <a:pt x="642" y="374"/>
                  <a:pt x="642" y="374"/>
                  <a:pt x="642" y="374"/>
                </a:cubicBezTo>
                <a:cubicBezTo>
                  <a:pt x="642" y="374"/>
                  <a:pt x="637" y="378"/>
                  <a:pt x="636" y="377"/>
                </a:cubicBezTo>
                <a:cubicBezTo>
                  <a:pt x="635" y="375"/>
                  <a:pt x="644" y="370"/>
                  <a:pt x="645" y="369"/>
                </a:cubicBezTo>
                <a:cubicBezTo>
                  <a:pt x="646" y="367"/>
                  <a:pt x="651" y="363"/>
                  <a:pt x="651" y="363"/>
                </a:cubicBezTo>
                <a:cubicBezTo>
                  <a:pt x="653" y="364"/>
                  <a:pt x="653" y="364"/>
                  <a:pt x="653" y="364"/>
                </a:cubicBezTo>
                <a:cubicBezTo>
                  <a:pt x="655" y="363"/>
                  <a:pt x="655" y="363"/>
                  <a:pt x="655" y="363"/>
                </a:cubicBezTo>
                <a:cubicBezTo>
                  <a:pt x="655" y="363"/>
                  <a:pt x="654" y="365"/>
                  <a:pt x="656" y="364"/>
                </a:cubicBezTo>
                <a:cubicBezTo>
                  <a:pt x="658" y="364"/>
                  <a:pt x="657" y="361"/>
                  <a:pt x="657" y="361"/>
                </a:cubicBezTo>
                <a:cubicBezTo>
                  <a:pt x="660" y="362"/>
                  <a:pt x="660" y="362"/>
                  <a:pt x="660" y="362"/>
                </a:cubicBezTo>
                <a:cubicBezTo>
                  <a:pt x="660" y="362"/>
                  <a:pt x="665" y="360"/>
                  <a:pt x="667" y="361"/>
                </a:cubicBezTo>
                <a:cubicBezTo>
                  <a:pt x="669" y="361"/>
                  <a:pt x="670" y="364"/>
                  <a:pt x="670" y="364"/>
                </a:cubicBezTo>
                <a:cubicBezTo>
                  <a:pt x="667" y="365"/>
                  <a:pt x="667" y="365"/>
                  <a:pt x="667" y="365"/>
                </a:cubicBezTo>
                <a:cubicBezTo>
                  <a:pt x="667" y="369"/>
                  <a:pt x="667" y="369"/>
                  <a:pt x="667" y="369"/>
                </a:cubicBezTo>
                <a:cubicBezTo>
                  <a:pt x="667" y="369"/>
                  <a:pt x="665" y="368"/>
                  <a:pt x="663" y="368"/>
                </a:cubicBezTo>
                <a:cubicBezTo>
                  <a:pt x="662" y="368"/>
                  <a:pt x="662" y="372"/>
                  <a:pt x="662" y="372"/>
                </a:cubicBezTo>
                <a:cubicBezTo>
                  <a:pt x="662" y="372"/>
                  <a:pt x="663" y="375"/>
                  <a:pt x="660" y="375"/>
                </a:cubicBezTo>
                <a:close/>
                <a:moveTo>
                  <a:pt x="691" y="406"/>
                </a:moveTo>
                <a:cubicBezTo>
                  <a:pt x="689" y="407"/>
                  <a:pt x="688" y="407"/>
                  <a:pt x="684" y="408"/>
                </a:cubicBezTo>
                <a:cubicBezTo>
                  <a:pt x="679" y="409"/>
                  <a:pt x="678" y="411"/>
                  <a:pt x="676" y="411"/>
                </a:cubicBezTo>
                <a:cubicBezTo>
                  <a:pt x="675" y="412"/>
                  <a:pt x="672" y="411"/>
                  <a:pt x="672" y="411"/>
                </a:cubicBezTo>
                <a:cubicBezTo>
                  <a:pt x="672" y="411"/>
                  <a:pt x="672" y="413"/>
                  <a:pt x="670" y="413"/>
                </a:cubicBezTo>
                <a:cubicBezTo>
                  <a:pt x="667" y="413"/>
                  <a:pt x="667" y="411"/>
                  <a:pt x="667" y="411"/>
                </a:cubicBezTo>
                <a:cubicBezTo>
                  <a:pt x="667" y="411"/>
                  <a:pt x="662" y="410"/>
                  <a:pt x="662" y="409"/>
                </a:cubicBezTo>
                <a:cubicBezTo>
                  <a:pt x="662" y="409"/>
                  <a:pt x="665" y="407"/>
                  <a:pt x="667" y="406"/>
                </a:cubicBezTo>
                <a:cubicBezTo>
                  <a:pt x="669" y="405"/>
                  <a:pt x="671" y="405"/>
                  <a:pt x="671" y="405"/>
                </a:cubicBezTo>
                <a:cubicBezTo>
                  <a:pt x="671" y="405"/>
                  <a:pt x="672" y="406"/>
                  <a:pt x="672" y="406"/>
                </a:cubicBezTo>
                <a:cubicBezTo>
                  <a:pt x="672" y="406"/>
                  <a:pt x="675" y="403"/>
                  <a:pt x="677" y="402"/>
                </a:cubicBezTo>
                <a:cubicBezTo>
                  <a:pt x="679" y="402"/>
                  <a:pt x="680" y="403"/>
                  <a:pt x="680" y="403"/>
                </a:cubicBezTo>
                <a:cubicBezTo>
                  <a:pt x="680" y="403"/>
                  <a:pt x="681" y="398"/>
                  <a:pt x="687" y="398"/>
                </a:cubicBezTo>
                <a:cubicBezTo>
                  <a:pt x="692" y="398"/>
                  <a:pt x="695" y="399"/>
                  <a:pt x="695" y="399"/>
                </a:cubicBezTo>
                <a:cubicBezTo>
                  <a:pt x="699" y="396"/>
                  <a:pt x="699" y="396"/>
                  <a:pt x="699" y="396"/>
                </a:cubicBezTo>
                <a:cubicBezTo>
                  <a:pt x="708" y="397"/>
                  <a:pt x="708" y="397"/>
                  <a:pt x="708" y="397"/>
                </a:cubicBezTo>
                <a:cubicBezTo>
                  <a:pt x="709" y="397"/>
                  <a:pt x="709" y="397"/>
                  <a:pt x="709" y="397"/>
                </a:cubicBezTo>
                <a:cubicBezTo>
                  <a:pt x="709" y="397"/>
                  <a:pt x="693" y="405"/>
                  <a:pt x="691" y="406"/>
                </a:cubicBezTo>
                <a:close/>
                <a:moveTo>
                  <a:pt x="721" y="384"/>
                </a:moveTo>
                <a:cubicBezTo>
                  <a:pt x="722" y="384"/>
                  <a:pt x="725" y="383"/>
                  <a:pt x="725" y="383"/>
                </a:cubicBezTo>
                <a:cubicBezTo>
                  <a:pt x="725" y="383"/>
                  <a:pt x="731" y="385"/>
                  <a:pt x="732" y="385"/>
                </a:cubicBezTo>
                <a:cubicBezTo>
                  <a:pt x="733" y="385"/>
                  <a:pt x="733" y="381"/>
                  <a:pt x="733" y="381"/>
                </a:cubicBezTo>
                <a:cubicBezTo>
                  <a:pt x="733" y="381"/>
                  <a:pt x="734" y="379"/>
                  <a:pt x="736" y="380"/>
                </a:cubicBezTo>
                <a:cubicBezTo>
                  <a:pt x="737" y="380"/>
                  <a:pt x="737" y="380"/>
                  <a:pt x="737" y="381"/>
                </a:cubicBezTo>
                <a:cubicBezTo>
                  <a:pt x="739" y="382"/>
                  <a:pt x="739" y="383"/>
                  <a:pt x="739" y="383"/>
                </a:cubicBezTo>
                <a:cubicBezTo>
                  <a:pt x="739" y="383"/>
                  <a:pt x="739" y="385"/>
                  <a:pt x="737" y="386"/>
                </a:cubicBezTo>
                <a:cubicBezTo>
                  <a:pt x="736" y="387"/>
                  <a:pt x="736" y="389"/>
                  <a:pt x="736" y="389"/>
                </a:cubicBezTo>
                <a:cubicBezTo>
                  <a:pt x="733" y="389"/>
                  <a:pt x="733" y="389"/>
                  <a:pt x="733" y="389"/>
                </a:cubicBezTo>
                <a:cubicBezTo>
                  <a:pt x="733" y="389"/>
                  <a:pt x="733" y="390"/>
                  <a:pt x="731" y="391"/>
                </a:cubicBezTo>
                <a:cubicBezTo>
                  <a:pt x="728" y="392"/>
                  <a:pt x="727" y="390"/>
                  <a:pt x="727" y="390"/>
                </a:cubicBezTo>
                <a:cubicBezTo>
                  <a:pt x="727" y="390"/>
                  <a:pt x="726" y="392"/>
                  <a:pt x="723" y="392"/>
                </a:cubicBezTo>
                <a:cubicBezTo>
                  <a:pt x="720" y="392"/>
                  <a:pt x="719" y="390"/>
                  <a:pt x="718" y="390"/>
                </a:cubicBezTo>
                <a:cubicBezTo>
                  <a:pt x="716" y="389"/>
                  <a:pt x="714" y="391"/>
                  <a:pt x="710" y="392"/>
                </a:cubicBezTo>
                <a:cubicBezTo>
                  <a:pt x="710" y="392"/>
                  <a:pt x="709" y="392"/>
                  <a:pt x="709" y="392"/>
                </a:cubicBezTo>
                <a:cubicBezTo>
                  <a:pt x="705" y="393"/>
                  <a:pt x="704" y="393"/>
                  <a:pt x="704" y="392"/>
                </a:cubicBezTo>
                <a:cubicBezTo>
                  <a:pt x="704" y="389"/>
                  <a:pt x="711" y="385"/>
                  <a:pt x="713" y="385"/>
                </a:cubicBezTo>
                <a:cubicBezTo>
                  <a:pt x="716" y="385"/>
                  <a:pt x="720" y="384"/>
                  <a:pt x="721" y="384"/>
                </a:cubicBezTo>
                <a:close/>
                <a:moveTo>
                  <a:pt x="683" y="359"/>
                </a:moveTo>
                <a:cubicBezTo>
                  <a:pt x="684" y="359"/>
                  <a:pt x="685" y="359"/>
                  <a:pt x="688" y="359"/>
                </a:cubicBezTo>
                <a:cubicBezTo>
                  <a:pt x="690" y="360"/>
                  <a:pt x="692" y="359"/>
                  <a:pt x="692" y="359"/>
                </a:cubicBezTo>
                <a:cubicBezTo>
                  <a:pt x="694" y="359"/>
                  <a:pt x="698" y="362"/>
                  <a:pt x="700" y="362"/>
                </a:cubicBezTo>
                <a:cubicBezTo>
                  <a:pt x="702" y="362"/>
                  <a:pt x="704" y="362"/>
                  <a:pt x="704" y="362"/>
                </a:cubicBezTo>
                <a:cubicBezTo>
                  <a:pt x="709" y="362"/>
                  <a:pt x="708" y="365"/>
                  <a:pt x="708" y="366"/>
                </a:cubicBezTo>
                <a:cubicBezTo>
                  <a:pt x="708" y="368"/>
                  <a:pt x="710" y="366"/>
                  <a:pt x="710" y="368"/>
                </a:cubicBezTo>
                <a:cubicBezTo>
                  <a:pt x="710" y="370"/>
                  <a:pt x="710" y="371"/>
                  <a:pt x="709" y="372"/>
                </a:cubicBezTo>
                <a:cubicBezTo>
                  <a:pt x="708" y="373"/>
                  <a:pt x="711" y="375"/>
                  <a:pt x="711" y="375"/>
                </a:cubicBezTo>
                <a:cubicBezTo>
                  <a:pt x="708" y="374"/>
                  <a:pt x="708" y="374"/>
                  <a:pt x="708" y="374"/>
                </a:cubicBezTo>
                <a:cubicBezTo>
                  <a:pt x="708" y="374"/>
                  <a:pt x="708" y="376"/>
                  <a:pt x="707" y="378"/>
                </a:cubicBezTo>
                <a:cubicBezTo>
                  <a:pt x="705" y="379"/>
                  <a:pt x="705" y="378"/>
                  <a:pt x="701" y="376"/>
                </a:cubicBezTo>
                <a:cubicBezTo>
                  <a:pt x="697" y="374"/>
                  <a:pt x="698" y="370"/>
                  <a:pt x="698" y="370"/>
                </a:cubicBezTo>
                <a:cubicBezTo>
                  <a:pt x="696" y="369"/>
                  <a:pt x="696" y="369"/>
                  <a:pt x="696" y="369"/>
                </a:cubicBezTo>
                <a:cubicBezTo>
                  <a:pt x="696" y="371"/>
                  <a:pt x="696" y="371"/>
                  <a:pt x="696" y="371"/>
                </a:cubicBezTo>
                <a:cubicBezTo>
                  <a:pt x="696" y="371"/>
                  <a:pt x="698" y="374"/>
                  <a:pt x="696" y="377"/>
                </a:cubicBezTo>
                <a:cubicBezTo>
                  <a:pt x="695" y="380"/>
                  <a:pt x="691" y="381"/>
                  <a:pt x="689" y="383"/>
                </a:cubicBezTo>
                <a:cubicBezTo>
                  <a:pt x="687" y="386"/>
                  <a:pt x="687" y="389"/>
                  <a:pt x="685" y="391"/>
                </a:cubicBezTo>
                <a:cubicBezTo>
                  <a:pt x="684" y="392"/>
                  <a:pt x="680" y="394"/>
                  <a:pt x="679" y="393"/>
                </a:cubicBezTo>
                <a:cubicBezTo>
                  <a:pt x="679" y="393"/>
                  <a:pt x="678" y="393"/>
                  <a:pt x="678" y="393"/>
                </a:cubicBezTo>
                <a:cubicBezTo>
                  <a:pt x="677" y="391"/>
                  <a:pt x="680" y="385"/>
                  <a:pt x="680" y="384"/>
                </a:cubicBezTo>
                <a:cubicBezTo>
                  <a:pt x="679" y="382"/>
                  <a:pt x="676" y="383"/>
                  <a:pt x="675" y="384"/>
                </a:cubicBezTo>
                <a:cubicBezTo>
                  <a:pt x="674" y="386"/>
                  <a:pt x="668" y="389"/>
                  <a:pt x="667" y="387"/>
                </a:cubicBezTo>
                <a:cubicBezTo>
                  <a:pt x="667" y="385"/>
                  <a:pt x="672" y="382"/>
                  <a:pt x="673" y="381"/>
                </a:cubicBezTo>
                <a:cubicBezTo>
                  <a:pt x="673" y="380"/>
                  <a:pt x="676" y="380"/>
                  <a:pt x="678" y="378"/>
                </a:cubicBezTo>
                <a:cubicBezTo>
                  <a:pt x="680" y="377"/>
                  <a:pt x="678" y="372"/>
                  <a:pt x="678" y="372"/>
                </a:cubicBezTo>
                <a:cubicBezTo>
                  <a:pt x="678" y="372"/>
                  <a:pt x="678" y="373"/>
                  <a:pt x="680" y="370"/>
                </a:cubicBezTo>
                <a:cubicBezTo>
                  <a:pt x="682" y="366"/>
                  <a:pt x="678" y="368"/>
                  <a:pt x="676" y="366"/>
                </a:cubicBezTo>
                <a:cubicBezTo>
                  <a:pt x="674" y="365"/>
                  <a:pt x="674" y="364"/>
                  <a:pt x="674" y="364"/>
                </a:cubicBezTo>
                <a:cubicBezTo>
                  <a:pt x="674" y="364"/>
                  <a:pt x="673" y="365"/>
                  <a:pt x="672" y="364"/>
                </a:cubicBezTo>
                <a:cubicBezTo>
                  <a:pt x="671" y="363"/>
                  <a:pt x="672" y="361"/>
                  <a:pt x="672" y="361"/>
                </a:cubicBezTo>
                <a:cubicBezTo>
                  <a:pt x="677" y="362"/>
                  <a:pt x="677" y="362"/>
                  <a:pt x="677" y="362"/>
                </a:cubicBezTo>
                <a:cubicBezTo>
                  <a:pt x="677" y="362"/>
                  <a:pt x="678" y="361"/>
                  <a:pt x="678" y="359"/>
                </a:cubicBezTo>
                <a:cubicBezTo>
                  <a:pt x="677" y="359"/>
                  <a:pt x="678" y="359"/>
                  <a:pt x="679" y="359"/>
                </a:cubicBezTo>
                <a:cubicBezTo>
                  <a:pt x="681" y="359"/>
                  <a:pt x="682" y="359"/>
                  <a:pt x="683" y="359"/>
                </a:cubicBezTo>
                <a:close/>
                <a:moveTo>
                  <a:pt x="630" y="343"/>
                </a:moveTo>
                <a:cubicBezTo>
                  <a:pt x="632" y="342"/>
                  <a:pt x="635" y="341"/>
                  <a:pt x="639" y="340"/>
                </a:cubicBezTo>
                <a:cubicBezTo>
                  <a:pt x="640" y="340"/>
                  <a:pt x="641" y="339"/>
                  <a:pt x="642" y="339"/>
                </a:cubicBezTo>
                <a:cubicBezTo>
                  <a:pt x="644" y="337"/>
                  <a:pt x="646" y="334"/>
                  <a:pt x="646" y="334"/>
                </a:cubicBezTo>
                <a:cubicBezTo>
                  <a:pt x="646" y="333"/>
                  <a:pt x="650" y="335"/>
                  <a:pt x="650" y="335"/>
                </a:cubicBezTo>
                <a:cubicBezTo>
                  <a:pt x="652" y="333"/>
                  <a:pt x="652" y="333"/>
                  <a:pt x="652" y="333"/>
                </a:cubicBezTo>
                <a:cubicBezTo>
                  <a:pt x="652" y="333"/>
                  <a:pt x="653" y="331"/>
                  <a:pt x="654" y="330"/>
                </a:cubicBezTo>
                <a:cubicBezTo>
                  <a:pt x="654" y="330"/>
                  <a:pt x="655" y="332"/>
                  <a:pt x="655" y="332"/>
                </a:cubicBezTo>
                <a:cubicBezTo>
                  <a:pt x="659" y="332"/>
                  <a:pt x="659" y="332"/>
                  <a:pt x="659" y="332"/>
                </a:cubicBezTo>
                <a:cubicBezTo>
                  <a:pt x="659" y="332"/>
                  <a:pt x="657" y="330"/>
                  <a:pt x="659" y="328"/>
                </a:cubicBezTo>
                <a:cubicBezTo>
                  <a:pt x="661" y="327"/>
                  <a:pt x="663" y="330"/>
                  <a:pt x="663" y="330"/>
                </a:cubicBezTo>
                <a:cubicBezTo>
                  <a:pt x="667" y="330"/>
                  <a:pt x="667" y="330"/>
                  <a:pt x="667" y="330"/>
                </a:cubicBezTo>
                <a:cubicBezTo>
                  <a:pt x="667" y="331"/>
                  <a:pt x="667" y="331"/>
                  <a:pt x="667" y="331"/>
                </a:cubicBezTo>
                <a:cubicBezTo>
                  <a:pt x="667" y="331"/>
                  <a:pt x="672" y="331"/>
                  <a:pt x="673" y="332"/>
                </a:cubicBezTo>
                <a:cubicBezTo>
                  <a:pt x="674" y="333"/>
                  <a:pt x="671" y="338"/>
                  <a:pt x="671" y="338"/>
                </a:cubicBezTo>
                <a:cubicBezTo>
                  <a:pt x="673" y="340"/>
                  <a:pt x="673" y="340"/>
                  <a:pt x="673" y="340"/>
                </a:cubicBezTo>
                <a:cubicBezTo>
                  <a:pt x="671" y="343"/>
                  <a:pt x="671" y="343"/>
                  <a:pt x="671" y="343"/>
                </a:cubicBezTo>
                <a:cubicBezTo>
                  <a:pt x="671" y="343"/>
                  <a:pt x="680" y="338"/>
                  <a:pt x="682" y="340"/>
                </a:cubicBezTo>
                <a:cubicBezTo>
                  <a:pt x="684" y="341"/>
                  <a:pt x="678" y="343"/>
                  <a:pt x="678" y="344"/>
                </a:cubicBezTo>
                <a:cubicBezTo>
                  <a:pt x="678" y="345"/>
                  <a:pt x="681" y="346"/>
                  <a:pt x="681" y="347"/>
                </a:cubicBezTo>
                <a:cubicBezTo>
                  <a:pt x="681" y="348"/>
                  <a:pt x="678" y="349"/>
                  <a:pt x="678" y="350"/>
                </a:cubicBezTo>
                <a:cubicBezTo>
                  <a:pt x="678" y="351"/>
                  <a:pt x="680" y="351"/>
                  <a:pt x="680" y="352"/>
                </a:cubicBezTo>
                <a:cubicBezTo>
                  <a:pt x="679" y="354"/>
                  <a:pt x="678" y="354"/>
                  <a:pt x="678" y="354"/>
                </a:cubicBezTo>
                <a:cubicBezTo>
                  <a:pt x="677" y="355"/>
                  <a:pt x="677" y="355"/>
                  <a:pt x="677" y="355"/>
                </a:cubicBezTo>
                <a:cubicBezTo>
                  <a:pt x="677" y="357"/>
                  <a:pt x="677" y="357"/>
                  <a:pt x="677" y="357"/>
                </a:cubicBezTo>
                <a:cubicBezTo>
                  <a:pt x="674" y="356"/>
                  <a:pt x="674" y="356"/>
                  <a:pt x="674" y="356"/>
                </a:cubicBezTo>
                <a:cubicBezTo>
                  <a:pt x="673" y="353"/>
                  <a:pt x="673" y="353"/>
                  <a:pt x="673" y="353"/>
                </a:cubicBezTo>
                <a:cubicBezTo>
                  <a:pt x="672" y="353"/>
                  <a:pt x="672" y="353"/>
                  <a:pt x="672" y="353"/>
                </a:cubicBezTo>
                <a:cubicBezTo>
                  <a:pt x="669" y="354"/>
                  <a:pt x="669" y="354"/>
                  <a:pt x="669" y="354"/>
                </a:cubicBezTo>
                <a:cubicBezTo>
                  <a:pt x="662" y="354"/>
                  <a:pt x="662" y="354"/>
                  <a:pt x="662" y="354"/>
                </a:cubicBezTo>
                <a:cubicBezTo>
                  <a:pt x="662" y="354"/>
                  <a:pt x="659" y="356"/>
                  <a:pt x="655" y="356"/>
                </a:cubicBezTo>
                <a:cubicBezTo>
                  <a:pt x="650" y="355"/>
                  <a:pt x="651" y="352"/>
                  <a:pt x="650" y="351"/>
                </a:cubicBezTo>
                <a:cubicBezTo>
                  <a:pt x="650" y="350"/>
                  <a:pt x="645" y="352"/>
                  <a:pt x="645" y="351"/>
                </a:cubicBezTo>
                <a:cubicBezTo>
                  <a:pt x="653" y="346"/>
                  <a:pt x="653" y="346"/>
                  <a:pt x="653" y="346"/>
                </a:cubicBezTo>
                <a:cubicBezTo>
                  <a:pt x="653" y="346"/>
                  <a:pt x="651" y="345"/>
                  <a:pt x="650" y="345"/>
                </a:cubicBezTo>
                <a:cubicBezTo>
                  <a:pt x="649" y="345"/>
                  <a:pt x="646" y="348"/>
                  <a:pt x="645" y="348"/>
                </a:cubicBezTo>
                <a:cubicBezTo>
                  <a:pt x="644" y="348"/>
                  <a:pt x="639" y="351"/>
                  <a:pt x="636" y="352"/>
                </a:cubicBezTo>
                <a:cubicBezTo>
                  <a:pt x="634" y="353"/>
                  <a:pt x="630" y="352"/>
                  <a:pt x="630" y="352"/>
                </a:cubicBezTo>
                <a:cubicBezTo>
                  <a:pt x="629" y="354"/>
                  <a:pt x="629" y="354"/>
                  <a:pt x="629" y="354"/>
                </a:cubicBezTo>
                <a:cubicBezTo>
                  <a:pt x="629" y="354"/>
                  <a:pt x="624" y="355"/>
                  <a:pt x="622" y="354"/>
                </a:cubicBezTo>
                <a:cubicBezTo>
                  <a:pt x="620" y="354"/>
                  <a:pt x="625" y="351"/>
                  <a:pt x="625" y="351"/>
                </a:cubicBezTo>
                <a:cubicBezTo>
                  <a:pt x="625" y="351"/>
                  <a:pt x="623" y="351"/>
                  <a:pt x="619" y="352"/>
                </a:cubicBezTo>
                <a:cubicBezTo>
                  <a:pt x="615" y="352"/>
                  <a:pt x="615" y="354"/>
                  <a:pt x="611" y="353"/>
                </a:cubicBezTo>
                <a:cubicBezTo>
                  <a:pt x="608" y="352"/>
                  <a:pt x="627" y="345"/>
                  <a:pt x="630" y="343"/>
                </a:cubicBezTo>
                <a:close/>
                <a:moveTo>
                  <a:pt x="599" y="275"/>
                </a:moveTo>
                <a:cubicBezTo>
                  <a:pt x="601" y="275"/>
                  <a:pt x="601" y="276"/>
                  <a:pt x="602" y="276"/>
                </a:cubicBezTo>
                <a:cubicBezTo>
                  <a:pt x="603" y="276"/>
                  <a:pt x="605" y="276"/>
                  <a:pt x="607" y="279"/>
                </a:cubicBezTo>
                <a:cubicBezTo>
                  <a:pt x="608" y="283"/>
                  <a:pt x="604" y="286"/>
                  <a:pt x="604" y="286"/>
                </a:cubicBezTo>
                <a:cubicBezTo>
                  <a:pt x="604" y="286"/>
                  <a:pt x="603" y="292"/>
                  <a:pt x="604" y="294"/>
                </a:cubicBezTo>
                <a:cubicBezTo>
                  <a:pt x="604" y="296"/>
                  <a:pt x="603" y="298"/>
                  <a:pt x="602" y="299"/>
                </a:cubicBezTo>
                <a:cubicBezTo>
                  <a:pt x="601" y="300"/>
                  <a:pt x="603" y="300"/>
                  <a:pt x="604" y="303"/>
                </a:cubicBezTo>
                <a:cubicBezTo>
                  <a:pt x="604" y="305"/>
                  <a:pt x="599" y="311"/>
                  <a:pt x="599" y="311"/>
                </a:cubicBezTo>
                <a:cubicBezTo>
                  <a:pt x="596" y="310"/>
                  <a:pt x="596" y="310"/>
                  <a:pt x="596" y="310"/>
                </a:cubicBezTo>
                <a:cubicBezTo>
                  <a:pt x="596" y="310"/>
                  <a:pt x="596" y="314"/>
                  <a:pt x="592" y="313"/>
                </a:cubicBezTo>
                <a:cubicBezTo>
                  <a:pt x="589" y="312"/>
                  <a:pt x="600" y="302"/>
                  <a:pt x="600" y="300"/>
                </a:cubicBezTo>
                <a:cubicBezTo>
                  <a:pt x="600" y="297"/>
                  <a:pt x="596" y="301"/>
                  <a:pt x="596" y="301"/>
                </a:cubicBezTo>
                <a:cubicBezTo>
                  <a:pt x="599" y="297"/>
                  <a:pt x="599" y="297"/>
                  <a:pt x="599" y="297"/>
                </a:cubicBezTo>
                <a:cubicBezTo>
                  <a:pt x="599" y="297"/>
                  <a:pt x="599" y="294"/>
                  <a:pt x="597" y="294"/>
                </a:cubicBezTo>
                <a:cubicBezTo>
                  <a:pt x="595" y="293"/>
                  <a:pt x="596" y="297"/>
                  <a:pt x="593" y="297"/>
                </a:cubicBezTo>
                <a:cubicBezTo>
                  <a:pt x="591" y="297"/>
                  <a:pt x="593" y="291"/>
                  <a:pt x="593" y="291"/>
                </a:cubicBezTo>
                <a:cubicBezTo>
                  <a:pt x="593" y="291"/>
                  <a:pt x="591" y="289"/>
                  <a:pt x="591" y="288"/>
                </a:cubicBezTo>
                <a:cubicBezTo>
                  <a:pt x="591" y="286"/>
                  <a:pt x="596" y="286"/>
                  <a:pt x="596" y="284"/>
                </a:cubicBezTo>
                <a:cubicBezTo>
                  <a:pt x="596" y="283"/>
                  <a:pt x="592" y="285"/>
                  <a:pt x="591" y="283"/>
                </a:cubicBezTo>
                <a:cubicBezTo>
                  <a:pt x="591" y="283"/>
                  <a:pt x="597" y="276"/>
                  <a:pt x="599" y="275"/>
                </a:cubicBezTo>
                <a:close/>
                <a:moveTo>
                  <a:pt x="581" y="181"/>
                </a:moveTo>
                <a:cubicBezTo>
                  <a:pt x="585" y="181"/>
                  <a:pt x="593" y="182"/>
                  <a:pt x="592" y="183"/>
                </a:cubicBezTo>
                <a:cubicBezTo>
                  <a:pt x="591" y="184"/>
                  <a:pt x="587" y="186"/>
                  <a:pt x="587" y="185"/>
                </a:cubicBezTo>
                <a:cubicBezTo>
                  <a:pt x="587" y="185"/>
                  <a:pt x="585" y="182"/>
                  <a:pt x="584" y="183"/>
                </a:cubicBezTo>
                <a:cubicBezTo>
                  <a:pt x="583" y="185"/>
                  <a:pt x="583" y="186"/>
                  <a:pt x="583" y="186"/>
                </a:cubicBezTo>
                <a:cubicBezTo>
                  <a:pt x="583" y="186"/>
                  <a:pt x="580" y="184"/>
                  <a:pt x="579" y="185"/>
                </a:cubicBezTo>
                <a:cubicBezTo>
                  <a:pt x="578" y="185"/>
                  <a:pt x="578" y="187"/>
                  <a:pt x="578" y="187"/>
                </a:cubicBezTo>
                <a:cubicBezTo>
                  <a:pt x="575" y="187"/>
                  <a:pt x="575" y="187"/>
                  <a:pt x="575" y="187"/>
                </a:cubicBezTo>
                <a:cubicBezTo>
                  <a:pt x="575" y="187"/>
                  <a:pt x="572" y="186"/>
                  <a:pt x="569" y="188"/>
                </a:cubicBezTo>
                <a:cubicBezTo>
                  <a:pt x="566" y="190"/>
                  <a:pt x="560" y="194"/>
                  <a:pt x="557" y="195"/>
                </a:cubicBezTo>
                <a:cubicBezTo>
                  <a:pt x="554" y="196"/>
                  <a:pt x="550" y="197"/>
                  <a:pt x="550" y="197"/>
                </a:cubicBezTo>
                <a:cubicBezTo>
                  <a:pt x="550" y="197"/>
                  <a:pt x="544" y="195"/>
                  <a:pt x="542" y="197"/>
                </a:cubicBezTo>
                <a:cubicBezTo>
                  <a:pt x="540" y="199"/>
                  <a:pt x="539" y="201"/>
                  <a:pt x="539" y="201"/>
                </a:cubicBezTo>
                <a:cubicBezTo>
                  <a:pt x="533" y="201"/>
                  <a:pt x="533" y="201"/>
                  <a:pt x="533" y="201"/>
                </a:cubicBezTo>
                <a:cubicBezTo>
                  <a:pt x="532" y="202"/>
                  <a:pt x="532" y="202"/>
                  <a:pt x="532" y="202"/>
                </a:cubicBezTo>
                <a:cubicBezTo>
                  <a:pt x="532" y="202"/>
                  <a:pt x="529" y="202"/>
                  <a:pt x="527" y="202"/>
                </a:cubicBezTo>
                <a:cubicBezTo>
                  <a:pt x="526" y="202"/>
                  <a:pt x="522" y="203"/>
                  <a:pt x="520" y="203"/>
                </a:cubicBezTo>
                <a:cubicBezTo>
                  <a:pt x="519" y="203"/>
                  <a:pt x="517" y="201"/>
                  <a:pt x="516" y="201"/>
                </a:cubicBezTo>
                <a:cubicBezTo>
                  <a:pt x="515" y="201"/>
                  <a:pt x="512" y="201"/>
                  <a:pt x="512" y="200"/>
                </a:cubicBezTo>
                <a:cubicBezTo>
                  <a:pt x="512" y="199"/>
                  <a:pt x="516" y="199"/>
                  <a:pt x="516" y="199"/>
                </a:cubicBezTo>
                <a:cubicBezTo>
                  <a:pt x="516" y="199"/>
                  <a:pt x="518" y="197"/>
                  <a:pt x="519" y="197"/>
                </a:cubicBezTo>
                <a:cubicBezTo>
                  <a:pt x="519" y="197"/>
                  <a:pt x="521" y="199"/>
                  <a:pt x="523" y="199"/>
                </a:cubicBezTo>
                <a:cubicBezTo>
                  <a:pt x="525" y="199"/>
                  <a:pt x="525" y="197"/>
                  <a:pt x="525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7"/>
                  <a:pt x="530" y="193"/>
                  <a:pt x="532" y="193"/>
                </a:cubicBezTo>
                <a:cubicBezTo>
                  <a:pt x="534" y="193"/>
                  <a:pt x="534" y="195"/>
                  <a:pt x="538" y="193"/>
                </a:cubicBezTo>
                <a:cubicBezTo>
                  <a:pt x="542" y="192"/>
                  <a:pt x="539" y="187"/>
                  <a:pt x="539" y="187"/>
                </a:cubicBezTo>
                <a:cubicBezTo>
                  <a:pt x="539" y="187"/>
                  <a:pt x="534" y="184"/>
                  <a:pt x="537" y="183"/>
                </a:cubicBezTo>
                <a:cubicBezTo>
                  <a:pt x="538" y="183"/>
                  <a:pt x="540" y="185"/>
                  <a:pt x="540" y="185"/>
                </a:cubicBezTo>
                <a:cubicBezTo>
                  <a:pt x="542" y="185"/>
                  <a:pt x="542" y="185"/>
                  <a:pt x="542" y="185"/>
                </a:cubicBezTo>
                <a:cubicBezTo>
                  <a:pt x="544" y="187"/>
                  <a:pt x="544" y="187"/>
                  <a:pt x="544" y="187"/>
                </a:cubicBezTo>
                <a:cubicBezTo>
                  <a:pt x="544" y="187"/>
                  <a:pt x="547" y="187"/>
                  <a:pt x="548" y="188"/>
                </a:cubicBezTo>
                <a:cubicBezTo>
                  <a:pt x="549" y="188"/>
                  <a:pt x="546" y="192"/>
                  <a:pt x="551" y="191"/>
                </a:cubicBezTo>
                <a:cubicBezTo>
                  <a:pt x="556" y="191"/>
                  <a:pt x="556" y="190"/>
                  <a:pt x="556" y="190"/>
                </a:cubicBezTo>
                <a:cubicBezTo>
                  <a:pt x="558" y="190"/>
                  <a:pt x="558" y="190"/>
                  <a:pt x="558" y="190"/>
                </a:cubicBezTo>
                <a:cubicBezTo>
                  <a:pt x="558" y="190"/>
                  <a:pt x="567" y="187"/>
                  <a:pt x="570" y="185"/>
                </a:cubicBezTo>
                <a:cubicBezTo>
                  <a:pt x="573" y="183"/>
                  <a:pt x="577" y="182"/>
                  <a:pt x="581" y="181"/>
                </a:cubicBezTo>
                <a:close/>
                <a:moveTo>
                  <a:pt x="511" y="147"/>
                </a:moveTo>
                <a:cubicBezTo>
                  <a:pt x="513" y="146"/>
                  <a:pt x="515" y="147"/>
                  <a:pt x="518" y="147"/>
                </a:cubicBezTo>
                <a:cubicBezTo>
                  <a:pt x="520" y="147"/>
                  <a:pt x="519" y="145"/>
                  <a:pt x="519" y="145"/>
                </a:cubicBezTo>
                <a:cubicBezTo>
                  <a:pt x="534" y="144"/>
                  <a:pt x="534" y="144"/>
                  <a:pt x="534" y="144"/>
                </a:cubicBezTo>
                <a:cubicBezTo>
                  <a:pt x="534" y="144"/>
                  <a:pt x="541" y="142"/>
                  <a:pt x="544" y="142"/>
                </a:cubicBezTo>
                <a:cubicBezTo>
                  <a:pt x="547" y="141"/>
                  <a:pt x="549" y="143"/>
                  <a:pt x="549" y="143"/>
                </a:cubicBezTo>
                <a:cubicBezTo>
                  <a:pt x="549" y="143"/>
                  <a:pt x="549" y="142"/>
                  <a:pt x="551" y="141"/>
                </a:cubicBezTo>
                <a:cubicBezTo>
                  <a:pt x="552" y="140"/>
                  <a:pt x="557" y="142"/>
                  <a:pt x="557" y="142"/>
                </a:cubicBezTo>
                <a:cubicBezTo>
                  <a:pt x="557" y="142"/>
                  <a:pt x="552" y="144"/>
                  <a:pt x="550" y="144"/>
                </a:cubicBezTo>
                <a:cubicBezTo>
                  <a:pt x="549" y="145"/>
                  <a:pt x="542" y="146"/>
                  <a:pt x="542" y="146"/>
                </a:cubicBezTo>
                <a:cubicBezTo>
                  <a:pt x="541" y="147"/>
                  <a:pt x="541" y="147"/>
                  <a:pt x="541" y="147"/>
                </a:cubicBezTo>
                <a:cubicBezTo>
                  <a:pt x="545" y="147"/>
                  <a:pt x="545" y="147"/>
                  <a:pt x="545" y="147"/>
                </a:cubicBezTo>
                <a:cubicBezTo>
                  <a:pt x="545" y="147"/>
                  <a:pt x="547" y="148"/>
                  <a:pt x="548" y="148"/>
                </a:cubicBezTo>
                <a:cubicBezTo>
                  <a:pt x="549" y="148"/>
                  <a:pt x="554" y="147"/>
                  <a:pt x="557" y="147"/>
                </a:cubicBezTo>
                <a:cubicBezTo>
                  <a:pt x="560" y="147"/>
                  <a:pt x="556" y="145"/>
                  <a:pt x="556" y="145"/>
                </a:cubicBezTo>
                <a:cubicBezTo>
                  <a:pt x="564" y="145"/>
                  <a:pt x="564" y="145"/>
                  <a:pt x="564" y="145"/>
                </a:cubicBezTo>
                <a:cubicBezTo>
                  <a:pt x="564" y="145"/>
                  <a:pt x="563" y="148"/>
                  <a:pt x="559" y="149"/>
                </a:cubicBezTo>
                <a:cubicBezTo>
                  <a:pt x="555" y="150"/>
                  <a:pt x="552" y="152"/>
                  <a:pt x="552" y="152"/>
                </a:cubicBezTo>
                <a:cubicBezTo>
                  <a:pt x="552" y="152"/>
                  <a:pt x="552" y="154"/>
                  <a:pt x="550" y="154"/>
                </a:cubicBezTo>
                <a:cubicBezTo>
                  <a:pt x="549" y="155"/>
                  <a:pt x="544" y="153"/>
                  <a:pt x="544" y="153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39" y="154"/>
                  <a:pt x="539" y="154"/>
                  <a:pt x="539" y="154"/>
                </a:cubicBezTo>
                <a:cubicBezTo>
                  <a:pt x="539" y="154"/>
                  <a:pt x="537" y="153"/>
                  <a:pt x="536" y="154"/>
                </a:cubicBezTo>
                <a:cubicBezTo>
                  <a:pt x="535" y="156"/>
                  <a:pt x="537" y="157"/>
                  <a:pt x="537" y="157"/>
                </a:cubicBezTo>
                <a:cubicBezTo>
                  <a:pt x="533" y="158"/>
                  <a:pt x="533" y="158"/>
                  <a:pt x="533" y="158"/>
                </a:cubicBezTo>
                <a:cubicBezTo>
                  <a:pt x="533" y="158"/>
                  <a:pt x="530" y="160"/>
                  <a:pt x="529" y="160"/>
                </a:cubicBezTo>
                <a:cubicBezTo>
                  <a:pt x="528" y="160"/>
                  <a:pt x="519" y="163"/>
                  <a:pt x="517" y="162"/>
                </a:cubicBezTo>
                <a:cubicBezTo>
                  <a:pt x="515" y="161"/>
                  <a:pt x="523" y="160"/>
                  <a:pt x="526" y="159"/>
                </a:cubicBezTo>
                <a:cubicBezTo>
                  <a:pt x="529" y="158"/>
                  <a:pt x="534" y="155"/>
                  <a:pt x="531" y="154"/>
                </a:cubicBezTo>
                <a:cubicBezTo>
                  <a:pt x="528" y="154"/>
                  <a:pt x="518" y="160"/>
                  <a:pt x="515" y="160"/>
                </a:cubicBezTo>
                <a:cubicBezTo>
                  <a:pt x="512" y="161"/>
                  <a:pt x="507" y="160"/>
                  <a:pt x="505" y="159"/>
                </a:cubicBezTo>
                <a:cubicBezTo>
                  <a:pt x="503" y="158"/>
                  <a:pt x="511" y="158"/>
                  <a:pt x="513" y="157"/>
                </a:cubicBezTo>
                <a:cubicBezTo>
                  <a:pt x="514" y="156"/>
                  <a:pt x="520" y="153"/>
                  <a:pt x="520" y="153"/>
                </a:cubicBezTo>
                <a:cubicBezTo>
                  <a:pt x="520" y="153"/>
                  <a:pt x="519" y="152"/>
                  <a:pt x="520" y="151"/>
                </a:cubicBezTo>
                <a:cubicBezTo>
                  <a:pt x="522" y="151"/>
                  <a:pt x="525" y="152"/>
                  <a:pt x="530" y="151"/>
                </a:cubicBezTo>
                <a:cubicBezTo>
                  <a:pt x="535" y="150"/>
                  <a:pt x="530" y="147"/>
                  <a:pt x="526" y="147"/>
                </a:cubicBezTo>
                <a:cubicBezTo>
                  <a:pt x="522" y="147"/>
                  <a:pt x="521" y="149"/>
                  <a:pt x="519" y="150"/>
                </a:cubicBezTo>
                <a:cubicBezTo>
                  <a:pt x="517" y="151"/>
                  <a:pt x="517" y="149"/>
                  <a:pt x="517" y="149"/>
                </a:cubicBezTo>
                <a:cubicBezTo>
                  <a:pt x="514" y="150"/>
                  <a:pt x="514" y="150"/>
                  <a:pt x="514" y="150"/>
                </a:cubicBezTo>
                <a:cubicBezTo>
                  <a:pt x="510" y="149"/>
                  <a:pt x="510" y="149"/>
                  <a:pt x="510" y="149"/>
                </a:cubicBezTo>
                <a:cubicBezTo>
                  <a:pt x="510" y="149"/>
                  <a:pt x="505" y="151"/>
                  <a:pt x="503" y="151"/>
                </a:cubicBezTo>
                <a:cubicBezTo>
                  <a:pt x="501" y="150"/>
                  <a:pt x="509" y="148"/>
                  <a:pt x="511" y="147"/>
                </a:cubicBezTo>
                <a:close/>
                <a:moveTo>
                  <a:pt x="573" y="754"/>
                </a:moveTo>
                <a:cubicBezTo>
                  <a:pt x="573" y="754"/>
                  <a:pt x="569" y="752"/>
                  <a:pt x="568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1"/>
                  <a:pt x="564" y="750"/>
                  <a:pt x="565" y="749"/>
                </a:cubicBezTo>
                <a:cubicBezTo>
                  <a:pt x="566" y="749"/>
                  <a:pt x="569" y="750"/>
                  <a:pt x="568" y="748"/>
                </a:cubicBezTo>
                <a:cubicBezTo>
                  <a:pt x="567" y="747"/>
                  <a:pt x="567" y="747"/>
                  <a:pt x="567" y="747"/>
                </a:cubicBezTo>
                <a:cubicBezTo>
                  <a:pt x="567" y="747"/>
                  <a:pt x="564" y="748"/>
                  <a:pt x="564" y="747"/>
                </a:cubicBezTo>
                <a:cubicBezTo>
                  <a:pt x="564" y="747"/>
                  <a:pt x="563" y="741"/>
                  <a:pt x="564" y="741"/>
                </a:cubicBezTo>
                <a:cubicBezTo>
                  <a:pt x="566" y="742"/>
                  <a:pt x="573" y="747"/>
                  <a:pt x="574" y="749"/>
                </a:cubicBezTo>
                <a:cubicBezTo>
                  <a:pt x="574" y="750"/>
                  <a:pt x="575" y="752"/>
                  <a:pt x="575" y="753"/>
                </a:cubicBezTo>
                <a:cubicBezTo>
                  <a:pt x="575" y="753"/>
                  <a:pt x="575" y="753"/>
                  <a:pt x="575" y="753"/>
                </a:cubicBezTo>
                <a:cubicBezTo>
                  <a:pt x="573" y="753"/>
                  <a:pt x="573" y="754"/>
                  <a:pt x="573" y="754"/>
                </a:cubicBezTo>
                <a:close/>
                <a:moveTo>
                  <a:pt x="737" y="1064"/>
                </a:moveTo>
                <a:cubicBezTo>
                  <a:pt x="736" y="1063"/>
                  <a:pt x="736" y="1063"/>
                  <a:pt x="736" y="1063"/>
                </a:cubicBezTo>
                <a:cubicBezTo>
                  <a:pt x="734" y="1061"/>
                  <a:pt x="734" y="1061"/>
                  <a:pt x="734" y="1061"/>
                </a:cubicBezTo>
                <a:cubicBezTo>
                  <a:pt x="734" y="1061"/>
                  <a:pt x="732" y="1060"/>
                  <a:pt x="730" y="1059"/>
                </a:cubicBezTo>
                <a:cubicBezTo>
                  <a:pt x="729" y="1058"/>
                  <a:pt x="728" y="1056"/>
                  <a:pt x="728" y="1056"/>
                </a:cubicBezTo>
                <a:cubicBezTo>
                  <a:pt x="728" y="1056"/>
                  <a:pt x="725" y="1057"/>
                  <a:pt x="724" y="1056"/>
                </a:cubicBezTo>
                <a:cubicBezTo>
                  <a:pt x="725" y="1053"/>
                  <a:pt x="725" y="1053"/>
                  <a:pt x="725" y="1053"/>
                </a:cubicBezTo>
                <a:cubicBezTo>
                  <a:pt x="725" y="1053"/>
                  <a:pt x="725" y="1049"/>
                  <a:pt x="726" y="1049"/>
                </a:cubicBezTo>
                <a:cubicBezTo>
                  <a:pt x="726" y="1048"/>
                  <a:pt x="729" y="1051"/>
                  <a:pt x="731" y="1052"/>
                </a:cubicBezTo>
                <a:cubicBezTo>
                  <a:pt x="732" y="1053"/>
                  <a:pt x="733" y="1054"/>
                  <a:pt x="733" y="1054"/>
                </a:cubicBezTo>
                <a:cubicBezTo>
                  <a:pt x="736" y="1057"/>
                  <a:pt x="736" y="1057"/>
                  <a:pt x="736" y="1057"/>
                </a:cubicBezTo>
                <a:cubicBezTo>
                  <a:pt x="736" y="1059"/>
                  <a:pt x="736" y="1059"/>
                  <a:pt x="736" y="1059"/>
                </a:cubicBezTo>
                <a:cubicBezTo>
                  <a:pt x="739" y="1061"/>
                  <a:pt x="739" y="1061"/>
                  <a:pt x="739" y="1061"/>
                </a:cubicBezTo>
                <a:cubicBezTo>
                  <a:pt x="737" y="1064"/>
                  <a:pt x="737" y="1064"/>
                  <a:pt x="737" y="1064"/>
                </a:cubicBezTo>
                <a:cubicBezTo>
                  <a:pt x="737" y="1064"/>
                  <a:pt x="737" y="1064"/>
                  <a:pt x="737" y="1064"/>
                </a:cubicBezTo>
                <a:close/>
                <a:moveTo>
                  <a:pt x="718" y="743"/>
                </a:moveTo>
                <a:cubicBezTo>
                  <a:pt x="718" y="744"/>
                  <a:pt x="719" y="747"/>
                  <a:pt x="719" y="747"/>
                </a:cubicBezTo>
                <a:cubicBezTo>
                  <a:pt x="723" y="747"/>
                  <a:pt x="723" y="747"/>
                  <a:pt x="723" y="747"/>
                </a:cubicBezTo>
                <a:cubicBezTo>
                  <a:pt x="723" y="747"/>
                  <a:pt x="724" y="741"/>
                  <a:pt x="722" y="740"/>
                </a:cubicBezTo>
                <a:cubicBezTo>
                  <a:pt x="719" y="740"/>
                  <a:pt x="718" y="741"/>
                  <a:pt x="718" y="743"/>
                </a:cubicBezTo>
                <a:close/>
                <a:moveTo>
                  <a:pt x="614" y="912"/>
                </a:moveTo>
                <a:cubicBezTo>
                  <a:pt x="617" y="911"/>
                  <a:pt x="618" y="907"/>
                  <a:pt x="616" y="907"/>
                </a:cubicBezTo>
                <a:cubicBezTo>
                  <a:pt x="614" y="908"/>
                  <a:pt x="613" y="912"/>
                  <a:pt x="614" y="912"/>
                </a:cubicBezTo>
                <a:close/>
                <a:moveTo>
                  <a:pt x="757" y="1376"/>
                </a:moveTo>
                <a:cubicBezTo>
                  <a:pt x="754" y="1376"/>
                  <a:pt x="754" y="1376"/>
                  <a:pt x="754" y="1376"/>
                </a:cubicBezTo>
                <a:cubicBezTo>
                  <a:pt x="755" y="1379"/>
                  <a:pt x="755" y="1379"/>
                  <a:pt x="755" y="1379"/>
                </a:cubicBezTo>
                <a:cubicBezTo>
                  <a:pt x="757" y="1376"/>
                  <a:pt x="757" y="1376"/>
                  <a:pt x="757" y="1376"/>
                </a:cubicBezTo>
                <a:cubicBezTo>
                  <a:pt x="757" y="1376"/>
                  <a:pt x="757" y="1376"/>
                  <a:pt x="757" y="1376"/>
                </a:cubicBezTo>
                <a:close/>
                <a:moveTo>
                  <a:pt x="759" y="1370"/>
                </a:moveTo>
                <a:cubicBezTo>
                  <a:pt x="756" y="1372"/>
                  <a:pt x="757" y="1374"/>
                  <a:pt x="759" y="1374"/>
                </a:cubicBezTo>
                <a:cubicBezTo>
                  <a:pt x="762" y="1373"/>
                  <a:pt x="762" y="1368"/>
                  <a:pt x="759" y="1370"/>
                </a:cubicBezTo>
                <a:close/>
                <a:moveTo>
                  <a:pt x="801" y="1470"/>
                </a:moveTo>
                <a:cubicBezTo>
                  <a:pt x="796" y="1467"/>
                  <a:pt x="796" y="1467"/>
                  <a:pt x="796" y="1467"/>
                </a:cubicBezTo>
                <a:cubicBezTo>
                  <a:pt x="800" y="1471"/>
                  <a:pt x="800" y="1471"/>
                  <a:pt x="800" y="1471"/>
                </a:cubicBezTo>
                <a:cubicBezTo>
                  <a:pt x="806" y="1472"/>
                  <a:pt x="806" y="1472"/>
                  <a:pt x="806" y="1472"/>
                </a:cubicBezTo>
                <a:cubicBezTo>
                  <a:pt x="808" y="1473"/>
                  <a:pt x="808" y="1473"/>
                  <a:pt x="808" y="1473"/>
                </a:cubicBezTo>
                <a:cubicBezTo>
                  <a:pt x="806" y="1470"/>
                  <a:pt x="806" y="1470"/>
                  <a:pt x="806" y="1470"/>
                </a:cubicBezTo>
                <a:cubicBezTo>
                  <a:pt x="801" y="1470"/>
                  <a:pt x="801" y="1470"/>
                  <a:pt x="801" y="1470"/>
                </a:cubicBezTo>
                <a:cubicBezTo>
                  <a:pt x="801" y="1470"/>
                  <a:pt x="801" y="1470"/>
                  <a:pt x="801" y="1470"/>
                </a:cubicBezTo>
                <a:close/>
                <a:moveTo>
                  <a:pt x="763" y="1385"/>
                </a:moveTo>
                <a:cubicBezTo>
                  <a:pt x="763" y="1388"/>
                  <a:pt x="763" y="1388"/>
                  <a:pt x="763" y="1388"/>
                </a:cubicBezTo>
                <a:cubicBezTo>
                  <a:pt x="767" y="1390"/>
                  <a:pt x="767" y="1390"/>
                  <a:pt x="767" y="1390"/>
                </a:cubicBezTo>
                <a:cubicBezTo>
                  <a:pt x="767" y="1387"/>
                  <a:pt x="767" y="1387"/>
                  <a:pt x="767" y="1387"/>
                </a:cubicBezTo>
                <a:cubicBezTo>
                  <a:pt x="765" y="1383"/>
                  <a:pt x="765" y="1383"/>
                  <a:pt x="765" y="1383"/>
                </a:cubicBezTo>
                <a:cubicBezTo>
                  <a:pt x="760" y="1383"/>
                  <a:pt x="760" y="1383"/>
                  <a:pt x="760" y="1383"/>
                </a:cubicBezTo>
                <a:cubicBezTo>
                  <a:pt x="763" y="1385"/>
                  <a:pt x="763" y="1385"/>
                  <a:pt x="763" y="1385"/>
                </a:cubicBezTo>
                <a:cubicBezTo>
                  <a:pt x="763" y="1385"/>
                  <a:pt x="763" y="1385"/>
                  <a:pt x="763" y="1385"/>
                </a:cubicBezTo>
                <a:close/>
                <a:moveTo>
                  <a:pt x="758" y="1379"/>
                </a:moveTo>
                <a:cubicBezTo>
                  <a:pt x="759" y="1381"/>
                  <a:pt x="759" y="1381"/>
                  <a:pt x="759" y="1381"/>
                </a:cubicBezTo>
                <a:cubicBezTo>
                  <a:pt x="763" y="1381"/>
                  <a:pt x="763" y="1381"/>
                  <a:pt x="763" y="1381"/>
                </a:cubicBezTo>
                <a:cubicBezTo>
                  <a:pt x="765" y="1378"/>
                  <a:pt x="765" y="1378"/>
                  <a:pt x="765" y="1378"/>
                </a:cubicBezTo>
                <a:cubicBezTo>
                  <a:pt x="761" y="1379"/>
                  <a:pt x="761" y="1379"/>
                  <a:pt x="761" y="1379"/>
                </a:cubicBezTo>
                <a:cubicBezTo>
                  <a:pt x="758" y="1379"/>
                  <a:pt x="758" y="1379"/>
                  <a:pt x="758" y="1379"/>
                </a:cubicBezTo>
                <a:cubicBezTo>
                  <a:pt x="758" y="1379"/>
                  <a:pt x="758" y="1379"/>
                  <a:pt x="758" y="1379"/>
                </a:cubicBezTo>
                <a:close/>
                <a:moveTo>
                  <a:pt x="776" y="1436"/>
                </a:moveTo>
                <a:cubicBezTo>
                  <a:pt x="777" y="1436"/>
                  <a:pt x="777" y="1434"/>
                  <a:pt x="777" y="1434"/>
                </a:cubicBezTo>
                <a:cubicBezTo>
                  <a:pt x="782" y="1438"/>
                  <a:pt x="782" y="1438"/>
                  <a:pt x="782" y="1438"/>
                </a:cubicBezTo>
                <a:cubicBezTo>
                  <a:pt x="782" y="1435"/>
                  <a:pt x="782" y="1435"/>
                  <a:pt x="782" y="1435"/>
                </a:cubicBezTo>
                <a:cubicBezTo>
                  <a:pt x="778" y="1430"/>
                  <a:pt x="778" y="1430"/>
                  <a:pt x="778" y="1430"/>
                </a:cubicBezTo>
                <a:cubicBezTo>
                  <a:pt x="778" y="1430"/>
                  <a:pt x="774" y="1425"/>
                  <a:pt x="774" y="1423"/>
                </a:cubicBezTo>
                <a:cubicBezTo>
                  <a:pt x="774" y="1420"/>
                  <a:pt x="772" y="1418"/>
                  <a:pt x="770" y="1417"/>
                </a:cubicBezTo>
                <a:cubicBezTo>
                  <a:pt x="768" y="1416"/>
                  <a:pt x="768" y="1418"/>
                  <a:pt x="768" y="1418"/>
                </a:cubicBezTo>
                <a:cubicBezTo>
                  <a:pt x="765" y="1417"/>
                  <a:pt x="765" y="1417"/>
                  <a:pt x="765" y="1417"/>
                </a:cubicBezTo>
                <a:cubicBezTo>
                  <a:pt x="765" y="1417"/>
                  <a:pt x="762" y="1423"/>
                  <a:pt x="764" y="1423"/>
                </a:cubicBezTo>
                <a:cubicBezTo>
                  <a:pt x="766" y="1423"/>
                  <a:pt x="770" y="1423"/>
                  <a:pt x="770" y="1423"/>
                </a:cubicBezTo>
                <a:cubicBezTo>
                  <a:pt x="767" y="1428"/>
                  <a:pt x="767" y="1428"/>
                  <a:pt x="767" y="1428"/>
                </a:cubicBezTo>
                <a:cubicBezTo>
                  <a:pt x="769" y="1428"/>
                  <a:pt x="769" y="1428"/>
                  <a:pt x="769" y="1428"/>
                </a:cubicBezTo>
                <a:cubicBezTo>
                  <a:pt x="772" y="1426"/>
                  <a:pt x="772" y="1426"/>
                  <a:pt x="772" y="1426"/>
                </a:cubicBezTo>
                <a:cubicBezTo>
                  <a:pt x="772" y="1429"/>
                  <a:pt x="772" y="1429"/>
                  <a:pt x="772" y="1429"/>
                </a:cubicBezTo>
                <a:cubicBezTo>
                  <a:pt x="772" y="1429"/>
                  <a:pt x="775" y="1437"/>
                  <a:pt x="776" y="1436"/>
                </a:cubicBezTo>
                <a:close/>
                <a:moveTo>
                  <a:pt x="775" y="1442"/>
                </a:moveTo>
                <a:cubicBezTo>
                  <a:pt x="777" y="1442"/>
                  <a:pt x="777" y="1442"/>
                  <a:pt x="777" y="1442"/>
                </a:cubicBezTo>
                <a:cubicBezTo>
                  <a:pt x="778" y="1446"/>
                  <a:pt x="778" y="1446"/>
                  <a:pt x="778" y="1446"/>
                </a:cubicBezTo>
                <a:cubicBezTo>
                  <a:pt x="780" y="1442"/>
                  <a:pt x="780" y="1442"/>
                  <a:pt x="780" y="1442"/>
                </a:cubicBezTo>
                <a:cubicBezTo>
                  <a:pt x="780" y="1439"/>
                  <a:pt x="780" y="1439"/>
                  <a:pt x="780" y="1439"/>
                </a:cubicBezTo>
                <a:cubicBezTo>
                  <a:pt x="776" y="1438"/>
                  <a:pt x="776" y="1438"/>
                  <a:pt x="776" y="1438"/>
                </a:cubicBezTo>
                <a:cubicBezTo>
                  <a:pt x="775" y="1442"/>
                  <a:pt x="775" y="1442"/>
                  <a:pt x="775" y="1442"/>
                </a:cubicBezTo>
                <a:cubicBezTo>
                  <a:pt x="775" y="1442"/>
                  <a:pt x="775" y="1442"/>
                  <a:pt x="775" y="1442"/>
                </a:cubicBezTo>
                <a:close/>
                <a:moveTo>
                  <a:pt x="786" y="1457"/>
                </a:moveTo>
                <a:cubicBezTo>
                  <a:pt x="791" y="1462"/>
                  <a:pt x="791" y="1462"/>
                  <a:pt x="791" y="1462"/>
                </a:cubicBezTo>
                <a:cubicBezTo>
                  <a:pt x="792" y="1460"/>
                  <a:pt x="792" y="1460"/>
                  <a:pt x="792" y="1460"/>
                </a:cubicBezTo>
                <a:cubicBezTo>
                  <a:pt x="788" y="1455"/>
                  <a:pt x="788" y="1455"/>
                  <a:pt x="788" y="1455"/>
                </a:cubicBezTo>
                <a:cubicBezTo>
                  <a:pt x="786" y="1457"/>
                  <a:pt x="786" y="1457"/>
                  <a:pt x="786" y="1457"/>
                </a:cubicBezTo>
                <a:cubicBezTo>
                  <a:pt x="786" y="1457"/>
                  <a:pt x="786" y="1457"/>
                  <a:pt x="786" y="1457"/>
                </a:cubicBezTo>
                <a:close/>
                <a:moveTo>
                  <a:pt x="801" y="1459"/>
                </a:moveTo>
                <a:cubicBezTo>
                  <a:pt x="798" y="1456"/>
                  <a:pt x="798" y="1456"/>
                  <a:pt x="798" y="1456"/>
                </a:cubicBezTo>
                <a:cubicBezTo>
                  <a:pt x="797" y="1461"/>
                  <a:pt x="797" y="1461"/>
                  <a:pt x="797" y="1461"/>
                </a:cubicBezTo>
                <a:cubicBezTo>
                  <a:pt x="794" y="1462"/>
                  <a:pt x="794" y="1462"/>
                  <a:pt x="794" y="1462"/>
                </a:cubicBezTo>
                <a:cubicBezTo>
                  <a:pt x="800" y="1464"/>
                  <a:pt x="800" y="1464"/>
                  <a:pt x="800" y="1464"/>
                </a:cubicBezTo>
                <a:cubicBezTo>
                  <a:pt x="801" y="1459"/>
                  <a:pt x="801" y="1459"/>
                  <a:pt x="801" y="1459"/>
                </a:cubicBezTo>
                <a:cubicBezTo>
                  <a:pt x="801" y="1459"/>
                  <a:pt x="801" y="1459"/>
                  <a:pt x="801" y="1459"/>
                </a:cubicBezTo>
                <a:close/>
                <a:moveTo>
                  <a:pt x="795" y="1456"/>
                </a:moveTo>
                <a:cubicBezTo>
                  <a:pt x="794" y="1455"/>
                  <a:pt x="794" y="1455"/>
                  <a:pt x="794" y="1455"/>
                </a:cubicBezTo>
                <a:cubicBezTo>
                  <a:pt x="793" y="1457"/>
                  <a:pt x="793" y="1457"/>
                  <a:pt x="793" y="1457"/>
                </a:cubicBezTo>
                <a:cubicBezTo>
                  <a:pt x="794" y="1459"/>
                  <a:pt x="794" y="1459"/>
                  <a:pt x="794" y="1459"/>
                </a:cubicBezTo>
                <a:cubicBezTo>
                  <a:pt x="795" y="1456"/>
                  <a:pt x="795" y="1456"/>
                  <a:pt x="795" y="1456"/>
                </a:cubicBezTo>
                <a:cubicBezTo>
                  <a:pt x="795" y="1456"/>
                  <a:pt x="795" y="1456"/>
                  <a:pt x="795" y="1456"/>
                </a:cubicBezTo>
                <a:close/>
                <a:moveTo>
                  <a:pt x="2034" y="29"/>
                </a:moveTo>
                <a:cubicBezTo>
                  <a:pt x="2034" y="31"/>
                  <a:pt x="2047" y="32"/>
                  <a:pt x="2047" y="32"/>
                </a:cubicBezTo>
                <a:cubicBezTo>
                  <a:pt x="2054" y="31"/>
                  <a:pt x="2054" y="31"/>
                  <a:pt x="2054" y="31"/>
                </a:cubicBezTo>
                <a:cubicBezTo>
                  <a:pt x="2062" y="34"/>
                  <a:pt x="2062" y="34"/>
                  <a:pt x="2062" y="34"/>
                </a:cubicBezTo>
                <a:cubicBezTo>
                  <a:pt x="2071" y="34"/>
                  <a:pt x="2071" y="34"/>
                  <a:pt x="2071" y="34"/>
                </a:cubicBezTo>
                <a:cubicBezTo>
                  <a:pt x="2070" y="30"/>
                  <a:pt x="2066" y="25"/>
                  <a:pt x="2062" y="25"/>
                </a:cubicBezTo>
                <a:cubicBezTo>
                  <a:pt x="2059" y="26"/>
                  <a:pt x="2055" y="28"/>
                  <a:pt x="2055" y="28"/>
                </a:cubicBezTo>
                <a:cubicBezTo>
                  <a:pt x="2052" y="25"/>
                  <a:pt x="2052" y="25"/>
                  <a:pt x="2052" y="25"/>
                </a:cubicBezTo>
                <a:cubicBezTo>
                  <a:pt x="2052" y="25"/>
                  <a:pt x="2034" y="28"/>
                  <a:pt x="2034" y="29"/>
                </a:cubicBezTo>
                <a:close/>
                <a:moveTo>
                  <a:pt x="2026" y="30"/>
                </a:moveTo>
                <a:cubicBezTo>
                  <a:pt x="2028" y="28"/>
                  <a:pt x="2028" y="28"/>
                  <a:pt x="2028" y="28"/>
                </a:cubicBezTo>
                <a:cubicBezTo>
                  <a:pt x="2015" y="28"/>
                  <a:pt x="2015" y="28"/>
                  <a:pt x="2015" y="28"/>
                </a:cubicBezTo>
                <a:cubicBezTo>
                  <a:pt x="2026" y="30"/>
                  <a:pt x="2026" y="30"/>
                  <a:pt x="2026" y="30"/>
                </a:cubicBezTo>
                <a:cubicBezTo>
                  <a:pt x="2026" y="30"/>
                  <a:pt x="2026" y="30"/>
                  <a:pt x="2026" y="30"/>
                </a:cubicBezTo>
                <a:close/>
                <a:moveTo>
                  <a:pt x="2021" y="26"/>
                </a:moveTo>
                <a:cubicBezTo>
                  <a:pt x="2021" y="26"/>
                  <a:pt x="2032" y="27"/>
                  <a:pt x="2035" y="26"/>
                </a:cubicBezTo>
                <a:cubicBezTo>
                  <a:pt x="2037" y="25"/>
                  <a:pt x="2046" y="26"/>
                  <a:pt x="2044" y="23"/>
                </a:cubicBezTo>
                <a:cubicBezTo>
                  <a:pt x="2043" y="19"/>
                  <a:pt x="2027" y="15"/>
                  <a:pt x="2027" y="15"/>
                </a:cubicBezTo>
                <a:cubicBezTo>
                  <a:pt x="2027" y="15"/>
                  <a:pt x="2016" y="13"/>
                  <a:pt x="2015" y="17"/>
                </a:cubicBezTo>
                <a:cubicBezTo>
                  <a:pt x="2015" y="21"/>
                  <a:pt x="2021" y="26"/>
                  <a:pt x="2021" y="26"/>
                </a:cubicBezTo>
                <a:close/>
                <a:moveTo>
                  <a:pt x="2092" y="40"/>
                </a:moveTo>
                <a:cubicBezTo>
                  <a:pt x="2114" y="39"/>
                  <a:pt x="2114" y="39"/>
                  <a:pt x="2114" y="39"/>
                </a:cubicBezTo>
                <a:cubicBezTo>
                  <a:pt x="2108" y="36"/>
                  <a:pt x="2108" y="36"/>
                  <a:pt x="2108" y="36"/>
                </a:cubicBezTo>
                <a:cubicBezTo>
                  <a:pt x="2108" y="36"/>
                  <a:pt x="2101" y="31"/>
                  <a:pt x="2098" y="31"/>
                </a:cubicBezTo>
                <a:cubicBezTo>
                  <a:pt x="2096" y="31"/>
                  <a:pt x="2093" y="34"/>
                  <a:pt x="2093" y="34"/>
                </a:cubicBezTo>
                <a:cubicBezTo>
                  <a:pt x="2093" y="34"/>
                  <a:pt x="2091" y="28"/>
                  <a:pt x="2087" y="28"/>
                </a:cubicBezTo>
                <a:cubicBezTo>
                  <a:pt x="2082" y="28"/>
                  <a:pt x="2080" y="42"/>
                  <a:pt x="2080" y="42"/>
                </a:cubicBezTo>
                <a:cubicBezTo>
                  <a:pt x="2083" y="44"/>
                  <a:pt x="2083" y="44"/>
                  <a:pt x="2083" y="44"/>
                </a:cubicBezTo>
                <a:cubicBezTo>
                  <a:pt x="2087" y="43"/>
                  <a:pt x="2092" y="40"/>
                  <a:pt x="2092" y="40"/>
                </a:cubicBezTo>
                <a:close/>
                <a:moveTo>
                  <a:pt x="2377" y="71"/>
                </a:moveTo>
                <a:cubicBezTo>
                  <a:pt x="2379" y="67"/>
                  <a:pt x="2379" y="67"/>
                  <a:pt x="2379" y="67"/>
                </a:cubicBezTo>
                <a:cubicBezTo>
                  <a:pt x="2379" y="67"/>
                  <a:pt x="2384" y="67"/>
                  <a:pt x="2386" y="67"/>
                </a:cubicBezTo>
                <a:cubicBezTo>
                  <a:pt x="2388" y="67"/>
                  <a:pt x="2395" y="67"/>
                  <a:pt x="2395" y="67"/>
                </a:cubicBezTo>
                <a:cubicBezTo>
                  <a:pt x="2386" y="62"/>
                  <a:pt x="2386" y="62"/>
                  <a:pt x="2386" y="62"/>
                </a:cubicBezTo>
                <a:cubicBezTo>
                  <a:pt x="2388" y="59"/>
                  <a:pt x="2388" y="59"/>
                  <a:pt x="2388" y="59"/>
                </a:cubicBezTo>
                <a:cubicBezTo>
                  <a:pt x="2375" y="57"/>
                  <a:pt x="2375" y="57"/>
                  <a:pt x="2375" y="57"/>
                </a:cubicBezTo>
                <a:cubicBezTo>
                  <a:pt x="2377" y="61"/>
                  <a:pt x="2377" y="61"/>
                  <a:pt x="2377" y="61"/>
                </a:cubicBezTo>
                <a:cubicBezTo>
                  <a:pt x="2377" y="61"/>
                  <a:pt x="2352" y="52"/>
                  <a:pt x="2352" y="59"/>
                </a:cubicBezTo>
                <a:cubicBezTo>
                  <a:pt x="2352" y="65"/>
                  <a:pt x="2377" y="71"/>
                  <a:pt x="2377" y="71"/>
                </a:cubicBezTo>
                <a:close/>
                <a:moveTo>
                  <a:pt x="2349" y="62"/>
                </a:moveTo>
                <a:cubicBezTo>
                  <a:pt x="2341" y="59"/>
                  <a:pt x="2341" y="59"/>
                  <a:pt x="2341" y="59"/>
                </a:cubicBezTo>
                <a:cubicBezTo>
                  <a:pt x="2344" y="64"/>
                  <a:pt x="2344" y="64"/>
                  <a:pt x="2344" y="64"/>
                </a:cubicBezTo>
                <a:cubicBezTo>
                  <a:pt x="2349" y="62"/>
                  <a:pt x="2349" y="62"/>
                  <a:pt x="2349" y="62"/>
                </a:cubicBezTo>
                <a:cubicBezTo>
                  <a:pt x="2349" y="62"/>
                  <a:pt x="2349" y="62"/>
                  <a:pt x="2349" y="62"/>
                </a:cubicBezTo>
                <a:close/>
                <a:moveTo>
                  <a:pt x="2195" y="73"/>
                </a:moveTo>
                <a:cubicBezTo>
                  <a:pt x="2201" y="74"/>
                  <a:pt x="2201" y="74"/>
                  <a:pt x="2201" y="74"/>
                </a:cubicBezTo>
                <a:cubicBezTo>
                  <a:pt x="2206" y="75"/>
                  <a:pt x="2210" y="72"/>
                  <a:pt x="2203" y="71"/>
                </a:cubicBezTo>
                <a:cubicBezTo>
                  <a:pt x="2197" y="70"/>
                  <a:pt x="2195" y="73"/>
                  <a:pt x="2195" y="73"/>
                </a:cubicBezTo>
                <a:close/>
                <a:moveTo>
                  <a:pt x="1988" y="85"/>
                </a:moveTo>
                <a:cubicBezTo>
                  <a:pt x="1983" y="81"/>
                  <a:pt x="1984" y="86"/>
                  <a:pt x="1984" y="86"/>
                </a:cubicBezTo>
                <a:cubicBezTo>
                  <a:pt x="1989" y="88"/>
                  <a:pt x="1993" y="88"/>
                  <a:pt x="1988" y="85"/>
                </a:cubicBezTo>
                <a:close/>
                <a:moveTo>
                  <a:pt x="1718" y="483"/>
                </a:moveTo>
                <a:cubicBezTo>
                  <a:pt x="1719" y="486"/>
                  <a:pt x="1724" y="489"/>
                  <a:pt x="1726" y="489"/>
                </a:cubicBezTo>
                <a:cubicBezTo>
                  <a:pt x="1727" y="488"/>
                  <a:pt x="1731" y="485"/>
                  <a:pt x="1731" y="485"/>
                </a:cubicBezTo>
                <a:cubicBezTo>
                  <a:pt x="1731" y="485"/>
                  <a:pt x="1734" y="486"/>
                  <a:pt x="1735" y="485"/>
                </a:cubicBezTo>
                <a:cubicBezTo>
                  <a:pt x="1736" y="484"/>
                  <a:pt x="1734" y="482"/>
                  <a:pt x="1734" y="482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3" y="480"/>
                  <a:pt x="1733" y="480"/>
                  <a:pt x="1733" y="480"/>
                </a:cubicBezTo>
                <a:cubicBezTo>
                  <a:pt x="1733" y="480"/>
                  <a:pt x="1728" y="479"/>
                  <a:pt x="1726" y="480"/>
                </a:cubicBezTo>
                <a:cubicBezTo>
                  <a:pt x="1724" y="480"/>
                  <a:pt x="1725" y="482"/>
                  <a:pt x="1725" y="482"/>
                </a:cubicBezTo>
                <a:cubicBezTo>
                  <a:pt x="1725" y="482"/>
                  <a:pt x="1718" y="481"/>
                  <a:pt x="1718" y="483"/>
                </a:cubicBezTo>
                <a:close/>
                <a:moveTo>
                  <a:pt x="1649" y="430"/>
                </a:moveTo>
                <a:cubicBezTo>
                  <a:pt x="1652" y="430"/>
                  <a:pt x="1652" y="430"/>
                  <a:pt x="1652" y="430"/>
                </a:cubicBezTo>
                <a:cubicBezTo>
                  <a:pt x="1653" y="428"/>
                  <a:pt x="1653" y="428"/>
                  <a:pt x="1653" y="428"/>
                </a:cubicBezTo>
                <a:cubicBezTo>
                  <a:pt x="1648" y="428"/>
                  <a:pt x="1648" y="428"/>
                  <a:pt x="1648" y="428"/>
                </a:cubicBezTo>
                <a:cubicBezTo>
                  <a:pt x="1649" y="430"/>
                  <a:pt x="1649" y="430"/>
                  <a:pt x="1649" y="430"/>
                </a:cubicBezTo>
                <a:cubicBezTo>
                  <a:pt x="1649" y="430"/>
                  <a:pt x="1649" y="430"/>
                  <a:pt x="1649" y="430"/>
                </a:cubicBezTo>
                <a:close/>
                <a:moveTo>
                  <a:pt x="1654" y="426"/>
                </a:moveTo>
                <a:cubicBezTo>
                  <a:pt x="1655" y="428"/>
                  <a:pt x="1657" y="429"/>
                  <a:pt x="1657" y="426"/>
                </a:cubicBezTo>
                <a:cubicBezTo>
                  <a:pt x="1656" y="422"/>
                  <a:pt x="1654" y="426"/>
                  <a:pt x="1654" y="426"/>
                </a:cubicBezTo>
                <a:close/>
                <a:moveTo>
                  <a:pt x="1924" y="84"/>
                </a:moveTo>
                <a:cubicBezTo>
                  <a:pt x="1931" y="82"/>
                  <a:pt x="1929" y="80"/>
                  <a:pt x="1927" y="79"/>
                </a:cubicBezTo>
                <a:cubicBezTo>
                  <a:pt x="1926" y="78"/>
                  <a:pt x="1919" y="79"/>
                  <a:pt x="1919" y="79"/>
                </a:cubicBezTo>
                <a:cubicBezTo>
                  <a:pt x="1919" y="79"/>
                  <a:pt x="1921" y="85"/>
                  <a:pt x="1924" y="84"/>
                </a:cubicBezTo>
                <a:close/>
                <a:moveTo>
                  <a:pt x="1982" y="89"/>
                </a:moveTo>
                <a:cubicBezTo>
                  <a:pt x="1978" y="88"/>
                  <a:pt x="1978" y="88"/>
                  <a:pt x="1978" y="88"/>
                </a:cubicBezTo>
                <a:cubicBezTo>
                  <a:pt x="1974" y="90"/>
                  <a:pt x="1974" y="90"/>
                  <a:pt x="1974" y="90"/>
                </a:cubicBezTo>
                <a:cubicBezTo>
                  <a:pt x="1980" y="92"/>
                  <a:pt x="1980" y="92"/>
                  <a:pt x="1980" y="92"/>
                </a:cubicBezTo>
                <a:cubicBezTo>
                  <a:pt x="1982" y="89"/>
                  <a:pt x="1982" y="89"/>
                  <a:pt x="1982" y="89"/>
                </a:cubicBezTo>
                <a:cubicBezTo>
                  <a:pt x="1982" y="89"/>
                  <a:pt x="1982" y="89"/>
                  <a:pt x="1982" y="89"/>
                </a:cubicBezTo>
                <a:close/>
                <a:moveTo>
                  <a:pt x="1662" y="423"/>
                </a:moveTo>
                <a:cubicBezTo>
                  <a:pt x="1658" y="423"/>
                  <a:pt x="1658" y="423"/>
                  <a:pt x="1658" y="423"/>
                </a:cubicBezTo>
                <a:cubicBezTo>
                  <a:pt x="1658" y="427"/>
                  <a:pt x="1658" y="427"/>
                  <a:pt x="1658" y="427"/>
                </a:cubicBezTo>
                <a:cubicBezTo>
                  <a:pt x="1659" y="425"/>
                  <a:pt x="1659" y="425"/>
                  <a:pt x="1659" y="425"/>
                </a:cubicBezTo>
                <a:cubicBezTo>
                  <a:pt x="1662" y="423"/>
                  <a:pt x="1662" y="423"/>
                  <a:pt x="1662" y="423"/>
                </a:cubicBezTo>
                <a:cubicBezTo>
                  <a:pt x="1662" y="423"/>
                  <a:pt x="1662" y="423"/>
                  <a:pt x="1662" y="423"/>
                </a:cubicBezTo>
                <a:close/>
                <a:moveTo>
                  <a:pt x="2399" y="65"/>
                </a:moveTo>
                <a:cubicBezTo>
                  <a:pt x="2407" y="66"/>
                  <a:pt x="2407" y="66"/>
                  <a:pt x="2407" y="66"/>
                </a:cubicBezTo>
                <a:cubicBezTo>
                  <a:pt x="2409" y="64"/>
                  <a:pt x="2408" y="62"/>
                  <a:pt x="2405" y="62"/>
                </a:cubicBezTo>
                <a:cubicBezTo>
                  <a:pt x="2401" y="62"/>
                  <a:pt x="2388" y="59"/>
                  <a:pt x="2390" y="61"/>
                </a:cubicBezTo>
                <a:cubicBezTo>
                  <a:pt x="2392" y="64"/>
                  <a:pt x="2399" y="65"/>
                  <a:pt x="2399" y="65"/>
                </a:cubicBezTo>
                <a:close/>
                <a:moveTo>
                  <a:pt x="2652" y="116"/>
                </a:moveTo>
                <a:cubicBezTo>
                  <a:pt x="2654" y="114"/>
                  <a:pt x="2639" y="112"/>
                  <a:pt x="2639" y="112"/>
                </a:cubicBezTo>
                <a:cubicBezTo>
                  <a:pt x="2639" y="113"/>
                  <a:pt x="2651" y="118"/>
                  <a:pt x="2652" y="116"/>
                </a:cubicBezTo>
                <a:close/>
                <a:moveTo>
                  <a:pt x="2390" y="73"/>
                </a:moveTo>
                <a:cubicBezTo>
                  <a:pt x="2385" y="78"/>
                  <a:pt x="2397" y="78"/>
                  <a:pt x="2398" y="76"/>
                </a:cubicBezTo>
                <a:cubicBezTo>
                  <a:pt x="2400" y="74"/>
                  <a:pt x="2392" y="71"/>
                  <a:pt x="2390" y="73"/>
                </a:cubicBezTo>
                <a:close/>
                <a:moveTo>
                  <a:pt x="2760" y="352"/>
                </a:moveTo>
                <a:cubicBezTo>
                  <a:pt x="2761" y="348"/>
                  <a:pt x="2761" y="348"/>
                  <a:pt x="2761" y="348"/>
                </a:cubicBezTo>
                <a:cubicBezTo>
                  <a:pt x="2759" y="352"/>
                  <a:pt x="2759" y="352"/>
                  <a:pt x="2759" y="352"/>
                </a:cubicBezTo>
                <a:cubicBezTo>
                  <a:pt x="2760" y="352"/>
                  <a:pt x="2760" y="352"/>
                  <a:pt x="2760" y="352"/>
                </a:cubicBezTo>
                <a:cubicBezTo>
                  <a:pt x="2760" y="352"/>
                  <a:pt x="2760" y="352"/>
                  <a:pt x="2760" y="352"/>
                </a:cubicBezTo>
                <a:close/>
                <a:moveTo>
                  <a:pt x="2760" y="339"/>
                </a:moveTo>
                <a:cubicBezTo>
                  <a:pt x="2763" y="339"/>
                  <a:pt x="2763" y="339"/>
                  <a:pt x="2763" y="339"/>
                </a:cubicBezTo>
                <a:cubicBezTo>
                  <a:pt x="2760" y="336"/>
                  <a:pt x="2760" y="336"/>
                  <a:pt x="2760" y="336"/>
                </a:cubicBezTo>
                <a:cubicBezTo>
                  <a:pt x="2760" y="339"/>
                  <a:pt x="2760" y="339"/>
                  <a:pt x="2760" y="339"/>
                </a:cubicBezTo>
                <a:cubicBezTo>
                  <a:pt x="2760" y="339"/>
                  <a:pt x="2760" y="339"/>
                  <a:pt x="2760" y="339"/>
                </a:cubicBezTo>
                <a:close/>
                <a:moveTo>
                  <a:pt x="2495" y="653"/>
                </a:moveTo>
                <a:cubicBezTo>
                  <a:pt x="2492" y="651"/>
                  <a:pt x="2482" y="652"/>
                  <a:pt x="2482" y="652"/>
                </a:cubicBezTo>
                <a:cubicBezTo>
                  <a:pt x="2481" y="655"/>
                  <a:pt x="2481" y="655"/>
                  <a:pt x="2481" y="655"/>
                </a:cubicBezTo>
                <a:cubicBezTo>
                  <a:pt x="2479" y="653"/>
                  <a:pt x="2479" y="653"/>
                  <a:pt x="2479" y="653"/>
                </a:cubicBezTo>
                <a:cubicBezTo>
                  <a:pt x="2478" y="657"/>
                  <a:pt x="2478" y="657"/>
                  <a:pt x="2478" y="657"/>
                </a:cubicBezTo>
                <a:cubicBezTo>
                  <a:pt x="2478" y="657"/>
                  <a:pt x="2471" y="662"/>
                  <a:pt x="2475" y="667"/>
                </a:cubicBezTo>
                <a:cubicBezTo>
                  <a:pt x="2479" y="672"/>
                  <a:pt x="2482" y="672"/>
                  <a:pt x="2482" y="672"/>
                </a:cubicBezTo>
                <a:cubicBezTo>
                  <a:pt x="2494" y="671"/>
                  <a:pt x="2493" y="668"/>
                  <a:pt x="2493" y="666"/>
                </a:cubicBezTo>
                <a:cubicBezTo>
                  <a:pt x="2494" y="665"/>
                  <a:pt x="2493" y="662"/>
                  <a:pt x="2493" y="662"/>
                </a:cubicBezTo>
                <a:cubicBezTo>
                  <a:pt x="2493" y="662"/>
                  <a:pt x="2498" y="655"/>
                  <a:pt x="2495" y="653"/>
                </a:cubicBezTo>
                <a:close/>
                <a:moveTo>
                  <a:pt x="2505" y="689"/>
                </a:moveTo>
                <a:cubicBezTo>
                  <a:pt x="2502" y="689"/>
                  <a:pt x="2504" y="692"/>
                  <a:pt x="2504" y="692"/>
                </a:cubicBezTo>
                <a:cubicBezTo>
                  <a:pt x="2507" y="692"/>
                  <a:pt x="2509" y="689"/>
                  <a:pt x="2505" y="689"/>
                </a:cubicBezTo>
                <a:close/>
                <a:moveTo>
                  <a:pt x="2726" y="469"/>
                </a:moveTo>
                <a:cubicBezTo>
                  <a:pt x="2726" y="466"/>
                  <a:pt x="2726" y="460"/>
                  <a:pt x="2725" y="458"/>
                </a:cubicBezTo>
                <a:cubicBezTo>
                  <a:pt x="2724" y="455"/>
                  <a:pt x="2719" y="452"/>
                  <a:pt x="2719" y="448"/>
                </a:cubicBezTo>
                <a:cubicBezTo>
                  <a:pt x="2720" y="445"/>
                  <a:pt x="2723" y="446"/>
                  <a:pt x="2723" y="446"/>
                </a:cubicBezTo>
                <a:cubicBezTo>
                  <a:pt x="2723" y="440"/>
                  <a:pt x="2723" y="440"/>
                  <a:pt x="2723" y="440"/>
                </a:cubicBezTo>
                <a:cubicBezTo>
                  <a:pt x="2721" y="439"/>
                  <a:pt x="2721" y="439"/>
                  <a:pt x="2721" y="439"/>
                </a:cubicBezTo>
                <a:cubicBezTo>
                  <a:pt x="2723" y="437"/>
                  <a:pt x="2723" y="437"/>
                  <a:pt x="2723" y="437"/>
                </a:cubicBezTo>
                <a:cubicBezTo>
                  <a:pt x="2723" y="437"/>
                  <a:pt x="2722" y="434"/>
                  <a:pt x="2721" y="432"/>
                </a:cubicBezTo>
                <a:cubicBezTo>
                  <a:pt x="2720" y="429"/>
                  <a:pt x="2717" y="428"/>
                  <a:pt x="2717" y="428"/>
                </a:cubicBezTo>
                <a:cubicBezTo>
                  <a:pt x="2717" y="425"/>
                  <a:pt x="2717" y="425"/>
                  <a:pt x="2717" y="425"/>
                </a:cubicBezTo>
                <a:cubicBezTo>
                  <a:pt x="2717" y="425"/>
                  <a:pt x="2714" y="424"/>
                  <a:pt x="2712" y="422"/>
                </a:cubicBezTo>
                <a:cubicBezTo>
                  <a:pt x="2710" y="421"/>
                  <a:pt x="2707" y="417"/>
                  <a:pt x="2707" y="415"/>
                </a:cubicBezTo>
                <a:cubicBezTo>
                  <a:pt x="2707" y="414"/>
                  <a:pt x="2706" y="413"/>
                  <a:pt x="2706" y="413"/>
                </a:cubicBezTo>
                <a:cubicBezTo>
                  <a:pt x="2706" y="413"/>
                  <a:pt x="2701" y="409"/>
                  <a:pt x="2701" y="412"/>
                </a:cubicBezTo>
                <a:cubicBezTo>
                  <a:pt x="2700" y="414"/>
                  <a:pt x="2702" y="415"/>
                  <a:pt x="2702" y="415"/>
                </a:cubicBezTo>
                <a:cubicBezTo>
                  <a:pt x="2704" y="414"/>
                  <a:pt x="2704" y="414"/>
                  <a:pt x="2704" y="414"/>
                </a:cubicBezTo>
                <a:cubicBezTo>
                  <a:pt x="2704" y="414"/>
                  <a:pt x="2706" y="418"/>
                  <a:pt x="2705" y="418"/>
                </a:cubicBezTo>
                <a:cubicBezTo>
                  <a:pt x="2704" y="418"/>
                  <a:pt x="2703" y="416"/>
                  <a:pt x="2703" y="416"/>
                </a:cubicBezTo>
                <a:cubicBezTo>
                  <a:pt x="2701" y="418"/>
                  <a:pt x="2701" y="418"/>
                  <a:pt x="2701" y="418"/>
                </a:cubicBezTo>
                <a:cubicBezTo>
                  <a:pt x="2698" y="414"/>
                  <a:pt x="2698" y="414"/>
                  <a:pt x="2698" y="414"/>
                </a:cubicBezTo>
                <a:cubicBezTo>
                  <a:pt x="2696" y="414"/>
                  <a:pt x="2696" y="414"/>
                  <a:pt x="2696" y="414"/>
                </a:cubicBezTo>
                <a:cubicBezTo>
                  <a:pt x="2699" y="419"/>
                  <a:pt x="2699" y="419"/>
                  <a:pt x="2699" y="419"/>
                </a:cubicBezTo>
                <a:cubicBezTo>
                  <a:pt x="2696" y="420"/>
                  <a:pt x="2696" y="420"/>
                  <a:pt x="2696" y="420"/>
                </a:cubicBezTo>
                <a:cubicBezTo>
                  <a:pt x="2700" y="426"/>
                  <a:pt x="2700" y="426"/>
                  <a:pt x="2700" y="426"/>
                </a:cubicBezTo>
                <a:cubicBezTo>
                  <a:pt x="2699" y="428"/>
                  <a:pt x="2699" y="428"/>
                  <a:pt x="2699" y="428"/>
                </a:cubicBezTo>
                <a:cubicBezTo>
                  <a:pt x="2699" y="428"/>
                  <a:pt x="2706" y="432"/>
                  <a:pt x="2706" y="435"/>
                </a:cubicBezTo>
                <a:cubicBezTo>
                  <a:pt x="2705" y="438"/>
                  <a:pt x="2704" y="442"/>
                  <a:pt x="2704" y="442"/>
                </a:cubicBezTo>
                <a:cubicBezTo>
                  <a:pt x="2704" y="446"/>
                  <a:pt x="2704" y="446"/>
                  <a:pt x="2704" y="446"/>
                </a:cubicBezTo>
                <a:cubicBezTo>
                  <a:pt x="2704" y="446"/>
                  <a:pt x="2708" y="449"/>
                  <a:pt x="2706" y="450"/>
                </a:cubicBezTo>
                <a:cubicBezTo>
                  <a:pt x="2704" y="452"/>
                  <a:pt x="2702" y="451"/>
                  <a:pt x="2702" y="451"/>
                </a:cubicBezTo>
                <a:cubicBezTo>
                  <a:pt x="2702" y="451"/>
                  <a:pt x="2704" y="457"/>
                  <a:pt x="2701" y="459"/>
                </a:cubicBezTo>
                <a:cubicBezTo>
                  <a:pt x="2699" y="460"/>
                  <a:pt x="2694" y="461"/>
                  <a:pt x="2694" y="461"/>
                </a:cubicBezTo>
                <a:cubicBezTo>
                  <a:pt x="2694" y="463"/>
                  <a:pt x="2694" y="463"/>
                  <a:pt x="2694" y="463"/>
                </a:cubicBezTo>
                <a:cubicBezTo>
                  <a:pt x="2694" y="463"/>
                  <a:pt x="2692" y="464"/>
                  <a:pt x="2690" y="462"/>
                </a:cubicBezTo>
                <a:cubicBezTo>
                  <a:pt x="2688" y="460"/>
                  <a:pt x="2689" y="458"/>
                  <a:pt x="2689" y="458"/>
                </a:cubicBezTo>
                <a:cubicBezTo>
                  <a:pt x="2689" y="455"/>
                  <a:pt x="2689" y="455"/>
                  <a:pt x="2689" y="455"/>
                </a:cubicBezTo>
                <a:cubicBezTo>
                  <a:pt x="2689" y="455"/>
                  <a:pt x="2684" y="456"/>
                  <a:pt x="2685" y="459"/>
                </a:cubicBezTo>
                <a:cubicBezTo>
                  <a:pt x="2686" y="461"/>
                  <a:pt x="2688" y="464"/>
                  <a:pt x="2688" y="465"/>
                </a:cubicBezTo>
                <a:cubicBezTo>
                  <a:pt x="2688" y="466"/>
                  <a:pt x="2685" y="470"/>
                  <a:pt x="2685" y="472"/>
                </a:cubicBezTo>
                <a:cubicBezTo>
                  <a:pt x="2686" y="474"/>
                  <a:pt x="2689" y="477"/>
                  <a:pt x="2687" y="477"/>
                </a:cubicBezTo>
                <a:cubicBezTo>
                  <a:pt x="2685" y="478"/>
                  <a:pt x="2679" y="475"/>
                  <a:pt x="2678" y="475"/>
                </a:cubicBezTo>
                <a:cubicBezTo>
                  <a:pt x="2676" y="475"/>
                  <a:pt x="2667" y="479"/>
                  <a:pt x="2667" y="479"/>
                </a:cubicBezTo>
                <a:cubicBezTo>
                  <a:pt x="2666" y="479"/>
                  <a:pt x="2663" y="479"/>
                  <a:pt x="2663" y="479"/>
                </a:cubicBezTo>
                <a:cubicBezTo>
                  <a:pt x="2661" y="477"/>
                  <a:pt x="2661" y="477"/>
                  <a:pt x="2661" y="477"/>
                </a:cubicBezTo>
                <a:cubicBezTo>
                  <a:pt x="2657" y="481"/>
                  <a:pt x="2657" y="481"/>
                  <a:pt x="2657" y="481"/>
                </a:cubicBezTo>
                <a:cubicBezTo>
                  <a:pt x="2657" y="481"/>
                  <a:pt x="2651" y="490"/>
                  <a:pt x="2650" y="490"/>
                </a:cubicBezTo>
                <a:cubicBezTo>
                  <a:pt x="2649" y="490"/>
                  <a:pt x="2646" y="490"/>
                  <a:pt x="2646" y="490"/>
                </a:cubicBezTo>
                <a:cubicBezTo>
                  <a:pt x="2646" y="490"/>
                  <a:pt x="2647" y="495"/>
                  <a:pt x="2649" y="495"/>
                </a:cubicBezTo>
                <a:cubicBezTo>
                  <a:pt x="2650" y="495"/>
                  <a:pt x="2653" y="494"/>
                  <a:pt x="2653" y="494"/>
                </a:cubicBezTo>
                <a:cubicBezTo>
                  <a:pt x="2653" y="494"/>
                  <a:pt x="2657" y="497"/>
                  <a:pt x="2658" y="496"/>
                </a:cubicBezTo>
                <a:cubicBezTo>
                  <a:pt x="2659" y="496"/>
                  <a:pt x="2659" y="491"/>
                  <a:pt x="2659" y="491"/>
                </a:cubicBezTo>
                <a:cubicBezTo>
                  <a:pt x="2662" y="493"/>
                  <a:pt x="2662" y="493"/>
                  <a:pt x="2662" y="493"/>
                </a:cubicBezTo>
                <a:cubicBezTo>
                  <a:pt x="2662" y="493"/>
                  <a:pt x="2669" y="490"/>
                  <a:pt x="2670" y="489"/>
                </a:cubicBezTo>
                <a:cubicBezTo>
                  <a:pt x="2671" y="488"/>
                  <a:pt x="2674" y="490"/>
                  <a:pt x="2676" y="490"/>
                </a:cubicBezTo>
                <a:cubicBezTo>
                  <a:pt x="2678" y="490"/>
                  <a:pt x="2674" y="487"/>
                  <a:pt x="2678" y="487"/>
                </a:cubicBezTo>
                <a:cubicBezTo>
                  <a:pt x="2681" y="487"/>
                  <a:pt x="2682" y="488"/>
                  <a:pt x="2682" y="488"/>
                </a:cubicBezTo>
                <a:cubicBezTo>
                  <a:pt x="2682" y="488"/>
                  <a:pt x="2687" y="486"/>
                  <a:pt x="2687" y="487"/>
                </a:cubicBezTo>
                <a:cubicBezTo>
                  <a:pt x="2688" y="489"/>
                  <a:pt x="2685" y="493"/>
                  <a:pt x="2685" y="493"/>
                </a:cubicBezTo>
                <a:cubicBezTo>
                  <a:pt x="2685" y="493"/>
                  <a:pt x="2690" y="501"/>
                  <a:pt x="2694" y="501"/>
                </a:cubicBezTo>
                <a:cubicBezTo>
                  <a:pt x="2698" y="501"/>
                  <a:pt x="2698" y="493"/>
                  <a:pt x="2698" y="493"/>
                </a:cubicBezTo>
                <a:cubicBezTo>
                  <a:pt x="2702" y="492"/>
                  <a:pt x="2702" y="492"/>
                  <a:pt x="2702" y="492"/>
                </a:cubicBezTo>
                <a:cubicBezTo>
                  <a:pt x="2702" y="492"/>
                  <a:pt x="2699" y="488"/>
                  <a:pt x="2698" y="488"/>
                </a:cubicBezTo>
                <a:cubicBezTo>
                  <a:pt x="2697" y="488"/>
                  <a:pt x="2696" y="486"/>
                  <a:pt x="2696" y="486"/>
                </a:cubicBezTo>
                <a:cubicBezTo>
                  <a:pt x="2698" y="483"/>
                  <a:pt x="2698" y="483"/>
                  <a:pt x="2698" y="483"/>
                </a:cubicBezTo>
                <a:cubicBezTo>
                  <a:pt x="2700" y="483"/>
                  <a:pt x="2698" y="486"/>
                  <a:pt x="2701" y="486"/>
                </a:cubicBezTo>
                <a:cubicBezTo>
                  <a:pt x="2703" y="486"/>
                  <a:pt x="2703" y="489"/>
                  <a:pt x="2703" y="489"/>
                </a:cubicBezTo>
                <a:cubicBezTo>
                  <a:pt x="2706" y="487"/>
                  <a:pt x="2706" y="487"/>
                  <a:pt x="2706" y="487"/>
                </a:cubicBezTo>
                <a:cubicBezTo>
                  <a:pt x="2706" y="487"/>
                  <a:pt x="2709" y="488"/>
                  <a:pt x="2712" y="488"/>
                </a:cubicBezTo>
                <a:cubicBezTo>
                  <a:pt x="2715" y="487"/>
                  <a:pt x="2711" y="482"/>
                  <a:pt x="2715" y="483"/>
                </a:cubicBezTo>
                <a:cubicBezTo>
                  <a:pt x="2719" y="483"/>
                  <a:pt x="2717" y="489"/>
                  <a:pt x="2719" y="488"/>
                </a:cubicBezTo>
                <a:cubicBezTo>
                  <a:pt x="2721" y="487"/>
                  <a:pt x="2717" y="482"/>
                  <a:pt x="2719" y="481"/>
                </a:cubicBezTo>
                <a:cubicBezTo>
                  <a:pt x="2721" y="480"/>
                  <a:pt x="2722" y="480"/>
                  <a:pt x="2722" y="480"/>
                </a:cubicBezTo>
                <a:cubicBezTo>
                  <a:pt x="2722" y="480"/>
                  <a:pt x="2722" y="474"/>
                  <a:pt x="2725" y="476"/>
                </a:cubicBezTo>
                <a:cubicBezTo>
                  <a:pt x="2727" y="479"/>
                  <a:pt x="2723" y="484"/>
                  <a:pt x="2728" y="484"/>
                </a:cubicBezTo>
                <a:cubicBezTo>
                  <a:pt x="2732" y="483"/>
                  <a:pt x="2730" y="477"/>
                  <a:pt x="2730" y="477"/>
                </a:cubicBezTo>
                <a:cubicBezTo>
                  <a:pt x="2732" y="475"/>
                  <a:pt x="2732" y="475"/>
                  <a:pt x="2732" y="475"/>
                </a:cubicBezTo>
                <a:cubicBezTo>
                  <a:pt x="2732" y="475"/>
                  <a:pt x="2726" y="472"/>
                  <a:pt x="2726" y="469"/>
                </a:cubicBezTo>
                <a:close/>
                <a:moveTo>
                  <a:pt x="2763" y="327"/>
                </a:moveTo>
                <a:cubicBezTo>
                  <a:pt x="2766" y="324"/>
                  <a:pt x="2766" y="324"/>
                  <a:pt x="2766" y="324"/>
                </a:cubicBezTo>
                <a:cubicBezTo>
                  <a:pt x="2762" y="321"/>
                  <a:pt x="2762" y="321"/>
                  <a:pt x="2762" y="321"/>
                </a:cubicBezTo>
                <a:cubicBezTo>
                  <a:pt x="2763" y="327"/>
                  <a:pt x="2763" y="327"/>
                  <a:pt x="2763" y="327"/>
                </a:cubicBezTo>
                <a:cubicBezTo>
                  <a:pt x="2763" y="327"/>
                  <a:pt x="2763" y="327"/>
                  <a:pt x="2763" y="327"/>
                </a:cubicBezTo>
                <a:close/>
                <a:moveTo>
                  <a:pt x="2749" y="365"/>
                </a:moveTo>
                <a:cubicBezTo>
                  <a:pt x="2752" y="366"/>
                  <a:pt x="2754" y="361"/>
                  <a:pt x="2752" y="360"/>
                </a:cubicBezTo>
                <a:cubicBezTo>
                  <a:pt x="2750" y="360"/>
                  <a:pt x="2748" y="365"/>
                  <a:pt x="2749" y="365"/>
                </a:cubicBezTo>
                <a:close/>
                <a:moveTo>
                  <a:pt x="2448" y="70"/>
                </a:moveTo>
                <a:cubicBezTo>
                  <a:pt x="2454" y="67"/>
                  <a:pt x="2434" y="67"/>
                  <a:pt x="2434" y="67"/>
                </a:cubicBezTo>
                <a:cubicBezTo>
                  <a:pt x="2434" y="67"/>
                  <a:pt x="2430" y="63"/>
                  <a:pt x="2428" y="63"/>
                </a:cubicBezTo>
                <a:cubicBezTo>
                  <a:pt x="2426" y="63"/>
                  <a:pt x="2421" y="64"/>
                  <a:pt x="2421" y="64"/>
                </a:cubicBezTo>
                <a:cubicBezTo>
                  <a:pt x="2416" y="63"/>
                  <a:pt x="2416" y="63"/>
                  <a:pt x="2416" y="63"/>
                </a:cubicBezTo>
                <a:cubicBezTo>
                  <a:pt x="2421" y="67"/>
                  <a:pt x="2421" y="67"/>
                  <a:pt x="2421" y="67"/>
                </a:cubicBezTo>
                <a:cubicBezTo>
                  <a:pt x="2421" y="67"/>
                  <a:pt x="2442" y="72"/>
                  <a:pt x="2448" y="70"/>
                </a:cubicBezTo>
                <a:close/>
                <a:moveTo>
                  <a:pt x="1662" y="443"/>
                </a:moveTo>
                <a:cubicBezTo>
                  <a:pt x="1662" y="442"/>
                  <a:pt x="1661" y="447"/>
                  <a:pt x="1662" y="449"/>
                </a:cubicBezTo>
                <a:cubicBezTo>
                  <a:pt x="1663" y="451"/>
                  <a:pt x="1665" y="447"/>
                  <a:pt x="1665" y="446"/>
                </a:cubicBezTo>
                <a:cubicBezTo>
                  <a:pt x="1666" y="445"/>
                  <a:pt x="1663" y="444"/>
                  <a:pt x="1662" y="443"/>
                </a:cubicBezTo>
                <a:close/>
                <a:moveTo>
                  <a:pt x="2509" y="683"/>
                </a:moveTo>
                <a:cubicBezTo>
                  <a:pt x="2508" y="685"/>
                  <a:pt x="2512" y="687"/>
                  <a:pt x="2512" y="687"/>
                </a:cubicBezTo>
                <a:cubicBezTo>
                  <a:pt x="2514" y="686"/>
                  <a:pt x="2514" y="686"/>
                  <a:pt x="2514" y="686"/>
                </a:cubicBezTo>
                <a:cubicBezTo>
                  <a:pt x="2514" y="686"/>
                  <a:pt x="2511" y="682"/>
                  <a:pt x="2509" y="683"/>
                </a:cubicBezTo>
                <a:close/>
                <a:moveTo>
                  <a:pt x="2398" y="82"/>
                </a:moveTo>
                <a:cubicBezTo>
                  <a:pt x="2408" y="80"/>
                  <a:pt x="2408" y="80"/>
                  <a:pt x="2408" y="80"/>
                </a:cubicBezTo>
                <a:cubicBezTo>
                  <a:pt x="2424" y="83"/>
                  <a:pt x="2424" y="83"/>
                  <a:pt x="2424" y="83"/>
                </a:cubicBezTo>
                <a:cubicBezTo>
                  <a:pt x="2424" y="83"/>
                  <a:pt x="2419" y="77"/>
                  <a:pt x="2416" y="77"/>
                </a:cubicBezTo>
                <a:cubicBezTo>
                  <a:pt x="2412" y="76"/>
                  <a:pt x="2401" y="77"/>
                  <a:pt x="2401" y="77"/>
                </a:cubicBezTo>
                <a:cubicBezTo>
                  <a:pt x="2398" y="82"/>
                  <a:pt x="2398" y="82"/>
                  <a:pt x="2398" y="82"/>
                </a:cubicBezTo>
                <a:cubicBezTo>
                  <a:pt x="2398" y="82"/>
                  <a:pt x="2398" y="82"/>
                  <a:pt x="2398" y="82"/>
                </a:cubicBezTo>
                <a:close/>
                <a:moveTo>
                  <a:pt x="2744" y="227"/>
                </a:moveTo>
                <a:cubicBezTo>
                  <a:pt x="2749" y="222"/>
                  <a:pt x="2749" y="222"/>
                  <a:pt x="2749" y="222"/>
                </a:cubicBezTo>
                <a:cubicBezTo>
                  <a:pt x="2747" y="219"/>
                  <a:pt x="2747" y="219"/>
                  <a:pt x="2747" y="219"/>
                </a:cubicBezTo>
                <a:cubicBezTo>
                  <a:pt x="2742" y="222"/>
                  <a:pt x="2742" y="222"/>
                  <a:pt x="2742" y="222"/>
                </a:cubicBezTo>
                <a:cubicBezTo>
                  <a:pt x="2744" y="227"/>
                  <a:pt x="2744" y="227"/>
                  <a:pt x="2744" y="227"/>
                </a:cubicBezTo>
                <a:cubicBezTo>
                  <a:pt x="2744" y="227"/>
                  <a:pt x="2744" y="227"/>
                  <a:pt x="2744" y="227"/>
                </a:cubicBezTo>
                <a:close/>
                <a:moveTo>
                  <a:pt x="2706" y="105"/>
                </a:moveTo>
                <a:cubicBezTo>
                  <a:pt x="2709" y="104"/>
                  <a:pt x="2713" y="104"/>
                  <a:pt x="2718" y="104"/>
                </a:cubicBezTo>
                <a:cubicBezTo>
                  <a:pt x="2724" y="104"/>
                  <a:pt x="2724" y="101"/>
                  <a:pt x="2721" y="100"/>
                </a:cubicBezTo>
                <a:cubicBezTo>
                  <a:pt x="2717" y="100"/>
                  <a:pt x="2710" y="97"/>
                  <a:pt x="2708" y="97"/>
                </a:cubicBezTo>
                <a:cubicBezTo>
                  <a:pt x="2705" y="97"/>
                  <a:pt x="2699" y="97"/>
                  <a:pt x="2699" y="102"/>
                </a:cubicBezTo>
                <a:cubicBezTo>
                  <a:pt x="2699" y="107"/>
                  <a:pt x="2704" y="106"/>
                  <a:pt x="2706" y="105"/>
                </a:cubicBezTo>
                <a:close/>
                <a:moveTo>
                  <a:pt x="2761" y="318"/>
                </a:moveTo>
                <a:cubicBezTo>
                  <a:pt x="2764" y="317"/>
                  <a:pt x="2764" y="317"/>
                  <a:pt x="2764" y="317"/>
                </a:cubicBezTo>
                <a:cubicBezTo>
                  <a:pt x="2766" y="315"/>
                  <a:pt x="2766" y="315"/>
                  <a:pt x="2766" y="315"/>
                </a:cubicBezTo>
                <a:cubicBezTo>
                  <a:pt x="2764" y="311"/>
                  <a:pt x="2764" y="311"/>
                  <a:pt x="2764" y="311"/>
                </a:cubicBezTo>
                <a:cubicBezTo>
                  <a:pt x="2766" y="310"/>
                  <a:pt x="2766" y="310"/>
                  <a:pt x="2766" y="310"/>
                </a:cubicBezTo>
                <a:cubicBezTo>
                  <a:pt x="2764" y="308"/>
                  <a:pt x="2764" y="308"/>
                  <a:pt x="2764" y="308"/>
                </a:cubicBezTo>
                <a:cubicBezTo>
                  <a:pt x="2762" y="310"/>
                  <a:pt x="2762" y="310"/>
                  <a:pt x="2762" y="310"/>
                </a:cubicBezTo>
                <a:cubicBezTo>
                  <a:pt x="2764" y="313"/>
                  <a:pt x="2764" y="313"/>
                  <a:pt x="2764" y="313"/>
                </a:cubicBezTo>
                <a:cubicBezTo>
                  <a:pt x="2761" y="313"/>
                  <a:pt x="2761" y="313"/>
                  <a:pt x="2761" y="313"/>
                </a:cubicBezTo>
                <a:cubicBezTo>
                  <a:pt x="2761" y="318"/>
                  <a:pt x="2761" y="318"/>
                  <a:pt x="2761" y="318"/>
                </a:cubicBezTo>
                <a:cubicBezTo>
                  <a:pt x="2761" y="318"/>
                  <a:pt x="2761" y="318"/>
                  <a:pt x="2761" y="318"/>
                </a:cubicBezTo>
                <a:close/>
                <a:moveTo>
                  <a:pt x="2587" y="592"/>
                </a:moveTo>
                <a:cubicBezTo>
                  <a:pt x="2583" y="597"/>
                  <a:pt x="2583" y="597"/>
                  <a:pt x="2583" y="597"/>
                </a:cubicBezTo>
                <a:cubicBezTo>
                  <a:pt x="2583" y="597"/>
                  <a:pt x="2575" y="614"/>
                  <a:pt x="2577" y="616"/>
                </a:cubicBezTo>
                <a:cubicBezTo>
                  <a:pt x="2579" y="619"/>
                  <a:pt x="2582" y="623"/>
                  <a:pt x="2582" y="623"/>
                </a:cubicBezTo>
                <a:cubicBezTo>
                  <a:pt x="2582" y="623"/>
                  <a:pt x="2585" y="630"/>
                  <a:pt x="2588" y="630"/>
                </a:cubicBezTo>
                <a:cubicBezTo>
                  <a:pt x="2588" y="623"/>
                  <a:pt x="2588" y="623"/>
                  <a:pt x="2588" y="623"/>
                </a:cubicBezTo>
                <a:cubicBezTo>
                  <a:pt x="2588" y="623"/>
                  <a:pt x="2591" y="622"/>
                  <a:pt x="2591" y="617"/>
                </a:cubicBezTo>
                <a:cubicBezTo>
                  <a:pt x="2591" y="613"/>
                  <a:pt x="2591" y="607"/>
                  <a:pt x="2591" y="607"/>
                </a:cubicBezTo>
                <a:cubicBezTo>
                  <a:pt x="2591" y="607"/>
                  <a:pt x="2593" y="604"/>
                  <a:pt x="2593" y="601"/>
                </a:cubicBezTo>
                <a:cubicBezTo>
                  <a:pt x="2593" y="599"/>
                  <a:pt x="2593" y="596"/>
                  <a:pt x="2593" y="596"/>
                </a:cubicBezTo>
                <a:cubicBezTo>
                  <a:pt x="2587" y="592"/>
                  <a:pt x="2587" y="592"/>
                  <a:pt x="2587" y="592"/>
                </a:cubicBezTo>
                <a:cubicBezTo>
                  <a:pt x="2587" y="592"/>
                  <a:pt x="2587" y="592"/>
                  <a:pt x="2587" y="592"/>
                </a:cubicBezTo>
                <a:close/>
                <a:moveTo>
                  <a:pt x="2647" y="509"/>
                </a:moveTo>
                <a:cubicBezTo>
                  <a:pt x="2645" y="515"/>
                  <a:pt x="2645" y="515"/>
                  <a:pt x="2645" y="515"/>
                </a:cubicBezTo>
                <a:cubicBezTo>
                  <a:pt x="2647" y="514"/>
                  <a:pt x="2647" y="514"/>
                  <a:pt x="2647" y="514"/>
                </a:cubicBezTo>
                <a:cubicBezTo>
                  <a:pt x="2647" y="509"/>
                  <a:pt x="2647" y="509"/>
                  <a:pt x="2647" y="509"/>
                </a:cubicBezTo>
                <a:cubicBezTo>
                  <a:pt x="2647" y="509"/>
                  <a:pt x="2647" y="509"/>
                  <a:pt x="2647" y="509"/>
                </a:cubicBezTo>
                <a:close/>
                <a:moveTo>
                  <a:pt x="2674" y="501"/>
                </a:moveTo>
                <a:cubicBezTo>
                  <a:pt x="2678" y="499"/>
                  <a:pt x="2682" y="505"/>
                  <a:pt x="2682" y="505"/>
                </a:cubicBezTo>
                <a:cubicBezTo>
                  <a:pt x="2682" y="505"/>
                  <a:pt x="2683" y="500"/>
                  <a:pt x="2684" y="498"/>
                </a:cubicBezTo>
                <a:cubicBezTo>
                  <a:pt x="2684" y="495"/>
                  <a:pt x="2682" y="493"/>
                  <a:pt x="2682" y="493"/>
                </a:cubicBezTo>
                <a:cubicBezTo>
                  <a:pt x="2679" y="494"/>
                  <a:pt x="2679" y="494"/>
                  <a:pt x="2679" y="494"/>
                </a:cubicBezTo>
                <a:cubicBezTo>
                  <a:pt x="2679" y="494"/>
                  <a:pt x="2676" y="491"/>
                  <a:pt x="2674" y="491"/>
                </a:cubicBezTo>
                <a:cubicBezTo>
                  <a:pt x="2670" y="492"/>
                  <a:pt x="2671" y="496"/>
                  <a:pt x="2671" y="496"/>
                </a:cubicBezTo>
                <a:cubicBezTo>
                  <a:pt x="2671" y="496"/>
                  <a:pt x="2668" y="495"/>
                  <a:pt x="2666" y="495"/>
                </a:cubicBezTo>
                <a:cubicBezTo>
                  <a:pt x="2663" y="495"/>
                  <a:pt x="2665" y="500"/>
                  <a:pt x="2665" y="500"/>
                </a:cubicBezTo>
                <a:cubicBezTo>
                  <a:pt x="2662" y="502"/>
                  <a:pt x="2662" y="502"/>
                  <a:pt x="2662" y="502"/>
                </a:cubicBezTo>
                <a:cubicBezTo>
                  <a:pt x="2662" y="502"/>
                  <a:pt x="2665" y="504"/>
                  <a:pt x="2666" y="505"/>
                </a:cubicBezTo>
                <a:cubicBezTo>
                  <a:pt x="2668" y="507"/>
                  <a:pt x="2672" y="510"/>
                  <a:pt x="2672" y="510"/>
                </a:cubicBezTo>
                <a:cubicBezTo>
                  <a:pt x="2672" y="510"/>
                  <a:pt x="2671" y="503"/>
                  <a:pt x="2674" y="501"/>
                </a:cubicBezTo>
                <a:close/>
                <a:moveTo>
                  <a:pt x="2653" y="564"/>
                </a:moveTo>
                <a:cubicBezTo>
                  <a:pt x="2651" y="564"/>
                  <a:pt x="2652" y="565"/>
                  <a:pt x="2652" y="565"/>
                </a:cubicBezTo>
                <a:cubicBezTo>
                  <a:pt x="2655" y="567"/>
                  <a:pt x="2656" y="565"/>
                  <a:pt x="2653" y="564"/>
                </a:cubicBezTo>
                <a:close/>
                <a:moveTo>
                  <a:pt x="2656" y="560"/>
                </a:moveTo>
                <a:cubicBezTo>
                  <a:pt x="2656" y="560"/>
                  <a:pt x="2659" y="560"/>
                  <a:pt x="2657" y="557"/>
                </a:cubicBezTo>
                <a:cubicBezTo>
                  <a:pt x="2656" y="555"/>
                  <a:pt x="2652" y="558"/>
                  <a:pt x="2652" y="560"/>
                </a:cubicBezTo>
                <a:cubicBezTo>
                  <a:pt x="2653" y="561"/>
                  <a:pt x="2653" y="561"/>
                  <a:pt x="2653" y="561"/>
                </a:cubicBezTo>
                <a:cubicBezTo>
                  <a:pt x="2656" y="562"/>
                  <a:pt x="2656" y="560"/>
                  <a:pt x="2656" y="560"/>
                </a:cubicBezTo>
                <a:close/>
                <a:moveTo>
                  <a:pt x="1844" y="312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1"/>
                  <a:pt x="1844" y="311"/>
                  <a:pt x="1844" y="311"/>
                </a:cubicBezTo>
                <a:cubicBezTo>
                  <a:pt x="1844" y="312"/>
                  <a:pt x="1844" y="312"/>
                  <a:pt x="1844" y="312"/>
                </a:cubicBezTo>
                <a:close/>
                <a:moveTo>
                  <a:pt x="2657" y="534"/>
                </a:moveTo>
                <a:cubicBezTo>
                  <a:pt x="2657" y="535"/>
                  <a:pt x="2654" y="536"/>
                  <a:pt x="2654" y="536"/>
                </a:cubicBezTo>
                <a:cubicBezTo>
                  <a:pt x="2658" y="538"/>
                  <a:pt x="2658" y="538"/>
                  <a:pt x="2658" y="538"/>
                </a:cubicBezTo>
                <a:cubicBezTo>
                  <a:pt x="2658" y="538"/>
                  <a:pt x="2657" y="533"/>
                  <a:pt x="2657" y="534"/>
                </a:cubicBezTo>
                <a:close/>
                <a:moveTo>
                  <a:pt x="2661" y="530"/>
                </a:moveTo>
                <a:cubicBezTo>
                  <a:pt x="2661" y="531"/>
                  <a:pt x="2661" y="533"/>
                  <a:pt x="2661" y="533"/>
                </a:cubicBezTo>
                <a:cubicBezTo>
                  <a:pt x="2662" y="537"/>
                  <a:pt x="2662" y="537"/>
                  <a:pt x="2662" y="537"/>
                </a:cubicBezTo>
                <a:cubicBezTo>
                  <a:pt x="2663" y="535"/>
                  <a:pt x="2663" y="535"/>
                  <a:pt x="2663" y="535"/>
                </a:cubicBezTo>
                <a:cubicBezTo>
                  <a:pt x="2663" y="535"/>
                  <a:pt x="2661" y="529"/>
                  <a:pt x="2661" y="530"/>
                </a:cubicBezTo>
                <a:close/>
                <a:moveTo>
                  <a:pt x="2221" y="785"/>
                </a:moveTo>
                <a:cubicBezTo>
                  <a:pt x="2218" y="786"/>
                  <a:pt x="2218" y="786"/>
                  <a:pt x="2218" y="786"/>
                </a:cubicBezTo>
                <a:cubicBezTo>
                  <a:pt x="2219" y="781"/>
                  <a:pt x="2219" y="781"/>
                  <a:pt x="2219" y="781"/>
                </a:cubicBezTo>
                <a:cubicBezTo>
                  <a:pt x="2219" y="781"/>
                  <a:pt x="2216" y="778"/>
                  <a:pt x="2212" y="774"/>
                </a:cubicBezTo>
                <a:cubicBezTo>
                  <a:pt x="2209" y="769"/>
                  <a:pt x="2207" y="768"/>
                  <a:pt x="2203" y="770"/>
                </a:cubicBezTo>
                <a:cubicBezTo>
                  <a:pt x="2203" y="774"/>
                  <a:pt x="2203" y="774"/>
                  <a:pt x="2203" y="774"/>
                </a:cubicBezTo>
                <a:cubicBezTo>
                  <a:pt x="2201" y="774"/>
                  <a:pt x="2201" y="774"/>
                  <a:pt x="2201" y="774"/>
                </a:cubicBezTo>
                <a:cubicBezTo>
                  <a:pt x="2205" y="780"/>
                  <a:pt x="2205" y="780"/>
                  <a:pt x="2205" y="780"/>
                </a:cubicBezTo>
                <a:cubicBezTo>
                  <a:pt x="2205" y="780"/>
                  <a:pt x="2204" y="787"/>
                  <a:pt x="2202" y="788"/>
                </a:cubicBezTo>
                <a:cubicBezTo>
                  <a:pt x="2199" y="790"/>
                  <a:pt x="2200" y="801"/>
                  <a:pt x="2203" y="808"/>
                </a:cubicBezTo>
                <a:cubicBezTo>
                  <a:pt x="2207" y="815"/>
                  <a:pt x="2215" y="810"/>
                  <a:pt x="2221" y="807"/>
                </a:cubicBezTo>
                <a:cubicBezTo>
                  <a:pt x="2228" y="804"/>
                  <a:pt x="2221" y="793"/>
                  <a:pt x="2221" y="793"/>
                </a:cubicBezTo>
                <a:cubicBezTo>
                  <a:pt x="2221" y="785"/>
                  <a:pt x="2221" y="785"/>
                  <a:pt x="2221" y="785"/>
                </a:cubicBezTo>
                <a:cubicBezTo>
                  <a:pt x="2221" y="785"/>
                  <a:pt x="2221" y="785"/>
                  <a:pt x="2221" y="785"/>
                </a:cubicBezTo>
                <a:close/>
                <a:moveTo>
                  <a:pt x="2326" y="756"/>
                </a:moveTo>
                <a:cubicBezTo>
                  <a:pt x="2323" y="756"/>
                  <a:pt x="2326" y="763"/>
                  <a:pt x="2326" y="763"/>
                </a:cubicBezTo>
                <a:cubicBezTo>
                  <a:pt x="2326" y="763"/>
                  <a:pt x="2329" y="756"/>
                  <a:pt x="2326" y="756"/>
                </a:cubicBezTo>
                <a:close/>
                <a:moveTo>
                  <a:pt x="2514" y="690"/>
                </a:moveTo>
                <a:cubicBezTo>
                  <a:pt x="2516" y="692"/>
                  <a:pt x="2518" y="689"/>
                  <a:pt x="2517" y="688"/>
                </a:cubicBezTo>
                <a:cubicBezTo>
                  <a:pt x="2516" y="687"/>
                  <a:pt x="2513" y="690"/>
                  <a:pt x="2514" y="690"/>
                </a:cubicBezTo>
                <a:close/>
                <a:moveTo>
                  <a:pt x="2340" y="795"/>
                </a:moveTo>
                <a:cubicBezTo>
                  <a:pt x="2338" y="795"/>
                  <a:pt x="2339" y="802"/>
                  <a:pt x="2342" y="802"/>
                </a:cubicBezTo>
                <a:cubicBezTo>
                  <a:pt x="2342" y="802"/>
                  <a:pt x="2341" y="795"/>
                  <a:pt x="2340" y="795"/>
                </a:cubicBezTo>
                <a:close/>
                <a:moveTo>
                  <a:pt x="2566" y="260"/>
                </a:moveTo>
                <a:cubicBezTo>
                  <a:pt x="2565" y="262"/>
                  <a:pt x="2567" y="268"/>
                  <a:pt x="2572" y="268"/>
                </a:cubicBezTo>
                <a:cubicBezTo>
                  <a:pt x="2575" y="269"/>
                  <a:pt x="2567" y="259"/>
                  <a:pt x="2566" y="260"/>
                </a:cubicBezTo>
                <a:close/>
                <a:moveTo>
                  <a:pt x="2328" y="722"/>
                </a:moveTo>
                <a:cubicBezTo>
                  <a:pt x="2324" y="723"/>
                  <a:pt x="2325" y="735"/>
                  <a:pt x="2325" y="735"/>
                </a:cubicBezTo>
                <a:cubicBezTo>
                  <a:pt x="2325" y="749"/>
                  <a:pt x="2325" y="749"/>
                  <a:pt x="2325" y="749"/>
                </a:cubicBezTo>
                <a:cubicBezTo>
                  <a:pt x="2328" y="745"/>
                  <a:pt x="2328" y="745"/>
                  <a:pt x="2328" y="745"/>
                </a:cubicBezTo>
                <a:cubicBezTo>
                  <a:pt x="2328" y="731"/>
                  <a:pt x="2328" y="731"/>
                  <a:pt x="2328" y="731"/>
                </a:cubicBezTo>
                <a:cubicBezTo>
                  <a:pt x="2328" y="731"/>
                  <a:pt x="2331" y="722"/>
                  <a:pt x="2328" y="722"/>
                </a:cubicBezTo>
                <a:close/>
                <a:moveTo>
                  <a:pt x="2736" y="373"/>
                </a:moveTo>
                <a:cubicBezTo>
                  <a:pt x="2743" y="369"/>
                  <a:pt x="2743" y="369"/>
                  <a:pt x="2743" y="369"/>
                </a:cubicBezTo>
                <a:cubicBezTo>
                  <a:pt x="2741" y="366"/>
                  <a:pt x="2741" y="366"/>
                  <a:pt x="2741" y="366"/>
                </a:cubicBezTo>
                <a:cubicBezTo>
                  <a:pt x="2741" y="368"/>
                  <a:pt x="2741" y="368"/>
                  <a:pt x="2741" y="368"/>
                </a:cubicBezTo>
                <a:cubicBezTo>
                  <a:pt x="2735" y="368"/>
                  <a:pt x="2735" y="368"/>
                  <a:pt x="2735" y="368"/>
                </a:cubicBezTo>
                <a:cubicBezTo>
                  <a:pt x="2732" y="377"/>
                  <a:pt x="2732" y="377"/>
                  <a:pt x="2732" y="377"/>
                </a:cubicBezTo>
                <a:cubicBezTo>
                  <a:pt x="2734" y="378"/>
                  <a:pt x="2734" y="378"/>
                  <a:pt x="2734" y="378"/>
                </a:cubicBezTo>
                <a:cubicBezTo>
                  <a:pt x="2736" y="373"/>
                  <a:pt x="2736" y="373"/>
                  <a:pt x="2736" y="373"/>
                </a:cubicBezTo>
                <a:cubicBezTo>
                  <a:pt x="2736" y="373"/>
                  <a:pt x="2736" y="373"/>
                  <a:pt x="2736" y="373"/>
                </a:cubicBezTo>
                <a:close/>
                <a:moveTo>
                  <a:pt x="2624" y="279"/>
                </a:moveTo>
                <a:cubicBezTo>
                  <a:pt x="2623" y="280"/>
                  <a:pt x="2620" y="276"/>
                  <a:pt x="2620" y="280"/>
                </a:cubicBezTo>
                <a:cubicBezTo>
                  <a:pt x="2619" y="283"/>
                  <a:pt x="2625" y="289"/>
                  <a:pt x="2625" y="289"/>
                </a:cubicBezTo>
                <a:cubicBezTo>
                  <a:pt x="2625" y="289"/>
                  <a:pt x="2626" y="293"/>
                  <a:pt x="2628" y="294"/>
                </a:cubicBezTo>
                <a:cubicBezTo>
                  <a:pt x="2629" y="296"/>
                  <a:pt x="2639" y="302"/>
                  <a:pt x="2642" y="305"/>
                </a:cubicBezTo>
                <a:cubicBezTo>
                  <a:pt x="2644" y="308"/>
                  <a:pt x="2644" y="312"/>
                  <a:pt x="2646" y="315"/>
                </a:cubicBezTo>
                <a:cubicBezTo>
                  <a:pt x="2649" y="317"/>
                  <a:pt x="2656" y="329"/>
                  <a:pt x="2656" y="329"/>
                </a:cubicBezTo>
                <a:cubicBezTo>
                  <a:pt x="2656" y="329"/>
                  <a:pt x="2657" y="334"/>
                  <a:pt x="2659" y="334"/>
                </a:cubicBezTo>
                <a:cubicBezTo>
                  <a:pt x="2660" y="334"/>
                  <a:pt x="2663" y="336"/>
                  <a:pt x="2664" y="338"/>
                </a:cubicBezTo>
                <a:cubicBezTo>
                  <a:pt x="2666" y="340"/>
                  <a:pt x="2666" y="344"/>
                  <a:pt x="2666" y="344"/>
                </a:cubicBezTo>
                <a:cubicBezTo>
                  <a:pt x="2672" y="349"/>
                  <a:pt x="2672" y="349"/>
                  <a:pt x="2672" y="349"/>
                </a:cubicBezTo>
                <a:cubicBezTo>
                  <a:pt x="2674" y="356"/>
                  <a:pt x="2674" y="356"/>
                  <a:pt x="2674" y="356"/>
                </a:cubicBezTo>
                <a:cubicBezTo>
                  <a:pt x="2679" y="362"/>
                  <a:pt x="2679" y="362"/>
                  <a:pt x="2679" y="362"/>
                </a:cubicBezTo>
                <a:cubicBezTo>
                  <a:pt x="2679" y="362"/>
                  <a:pt x="2676" y="354"/>
                  <a:pt x="2678" y="353"/>
                </a:cubicBezTo>
                <a:cubicBezTo>
                  <a:pt x="2680" y="353"/>
                  <a:pt x="2681" y="355"/>
                  <a:pt x="2681" y="355"/>
                </a:cubicBezTo>
                <a:cubicBezTo>
                  <a:pt x="2685" y="355"/>
                  <a:pt x="2685" y="355"/>
                  <a:pt x="2685" y="355"/>
                </a:cubicBezTo>
                <a:cubicBezTo>
                  <a:pt x="2690" y="360"/>
                  <a:pt x="2690" y="360"/>
                  <a:pt x="2690" y="360"/>
                </a:cubicBezTo>
                <a:cubicBezTo>
                  <a:pt x="2690" y="357"/>
                  <a:pt x="2690" y="357"/>
                  <a:pt x="2690" y="357"/>
                </a:cubicBezTo>
                <a:cubicBezTo>
                  <a:pt x="2686" y="352"/>
                  <a:pt x="2686" y="352"/>
                  <a:pt x="2686" y="352"/>
                </a:cubicBezTo>
                <a:cubicBezTo>
                  <a:pt x="2682" y="352"/>
                  <a:pt x="2682" y="352"/>
                  <a:pt x="2682" y="352"/>
                </a:cubicBezTo>
                <a:cubicBezTo>
                  <a:pt x="2678" y="347"/>
                  <a:pt x="2678" y="347"/>
                  <a:pt x="2678" y="347"/>
                </a:cubicBezTo>
                <a:cubicBezTo>
                  <a:pt x="2678" y="347"/>
                  <a:pt x="2673" y="346"/>
                  <a:pt x="2670" y="342"/>
                </a:cubicBezTo>
                <a:cubicBezTo>
                  <a:pt x="2668" y="338"/>
                  <a:pt x="2666" y="330"/>
                  <a:pt x="2666" y="330"/>
                </a:cubicBezTo>
                <a:cubicBezTo>
                  <a:pt x="2666" y="330"/>
                  <a:pt x="2661" y="327"/>
                  <a:pt x="2664" y="325"/>
                </a:cubicBezTo>
                <a:cubicBezTo>
                  <a:pt x="2666" y="324"/>
                  <a:pt x="2682" y="332"/>
                  <a:pt x="2682" y="332"/>
                </a:cubicBezTo>
                <a:cubicBezTo>
                  <a:pt x="2672" y="324"/>
                  <a:pt x="2672" y="324"/>
                  <a:pt x="2672" y="324"/>
                </a:cubicBezTo>
                <a:cubicBezTo>
                  <a:pt x="2672" y="324"/>
                  <a:pt x="2668" y="318"/>
                  <a:pt x="2666" y="316"/>
                </a:cubicBezTo>
                <a:cubicBezTo>
                  <a:pt x="2664" y="315"/>
                  <a:pt x="2661" y="313"/>
                  <a:pt x="2661" y="313"/>
                </a:cubicBezTo>
                <a:cubicBezTo>
                  <a:pt x="2650" y="301"/>
                  <a:pt x="2650" y="301"/>
                  <a:pt x="2650" y="301"/>
                </a:cubicBezTo>
                <a:cubicBezTo>
                  <a:pt x="2646" y="301"/>
                  <a:pt x="2646" y="301"/>
                  <a:pt x="2646" y="301"/>
                </a:cubicBezTo>
                <a:cubicBezTo>
                  <a:pt x="2645" y="297"/>
                  <a:pt x="2645" y="297"/>
                  <a:pt x="2645" y="297"/>
                </a:cubicBezTo>
                <a:cubicBezTo>
                  <a:pt x="2645" y="297"/>
                  <a:pt x="2643" y="298"/>
                  <a:pt x="2640" y="295"/>
                </a:cubicBezTo>
                <a:cubicBezTo>
                  <a:pt x="2638" y="292"/>
                  <a:pt x="2638" y="289"/>
                  <a:pt x="2638" y="289"/>
                </a:cubicBezTo>
                <a:cubicBezTo>
                  <a:pt x="2634" y="284"/>
                  <a:pt x="2634" y="284"/>
                  <a:pt x="2634" y="284"/>
                </a:cubicBezTo>
                <a:cubicBezTo>
                  <a:pt x="2631" y="284"/>
                  <a:pt x="2631" y="284"/>
                  <a:pt x="2631" y="284"/>
                </a:cubicBezTo>
                <a:cubicBezTo>
                  <a:pt x="2629" y="280"/>
                  <a:pt x="2629" y="280"/>
                  <a:pt x="2629" y="280"/>
                </a:cubicBezTo>
                <a:cubicBezTo>
                  <a:pt x="2624" y="276"/>
                  <a:pt x="2624" y="276"/>
                  <a:pt x="2624" y="276"/>
                </a:cubicBezTo>
                <a:cubicBezTo>
                  <a:pt x="2622" y="273"/>
                  <a:pt x="2622" y="273"/>
                  <a:pt x="2622" y="273"/>
                </a:cubicBezTo>
                <a:cubicBezTo>
                  <a:pt x="2622" y="273"/>
                  <a:pt x="2618" y="270"/>
                  <a:pt x="2617" y="271"/>
                </a:cubicBezTo>
                <a:cubicBezTo>
                  <a:pt x="2615" y="272"/>
                  <a:pt x="2625" y="279"/>
                  <a:pt x="2624" y="279"/>
                </a:cubicBezTo>
                <a:close/>
                <a:moveTo>
                  <a:pt x="2611" y="605"/>
                </a:moveTo>
                <a:cubicBezTo>
                  <a:pt x="2613" y="606"/>
                  <a:pt x="2615" y="602"/>
                  <a:pt x="2612" y="602"/>
                </a:cubicBezTo>
                <a:cubicBezTo>
                  <a:pt x="2609" y="601"/>
                  <a:pt x="2611" y="605"/>
                  <a:pt x="2611" y="605"/>
                </a:cubicBezTo>
                <a:close/>
                <a:moveTo>
                  <a:pt x="2633" y="581"/>
                </a:moveTo>
                <a:cubicBezTo>
                  <a:pt x="2633" y="582"/>
                  <a:pt x="2636" y="582"/>
                  <a:pt x="2636" y="582"/>
                </a:cubicBezTo>
                <a:cubicBezTo>
                  <a:pt x="2637" y="580"/>
                  <a:pt x="2633" y="579"/>
                  <a:pt x="2633" y="581"/>
                </a:cubicBezTo>
                <a:close/>
                <a:moveTo>
                  <a:pt x="2628" y="600"/>
                </a:moveTo>
                <a:cubicBezTo>
                  <a:pt x="2629" y="598"/>
                  <a:pt x="2626" y="598"/>
                  <a:pt x="2626" y="598"/>
                </a:cubicBezTo>
                <a:cubicBezTo>
                  <a:pt x="2624" y="595"/>
                  <a:pt x="2624" y="595"/>
                  <a:pt x="2624" y="595"/>
                </a:cubicBezTo>
                <a:cubicBezTo>
                  <a:pt x="2624" y="597"/>
                  <a:pt x="2624" y="597"/>
                  <a:pt x="2624" y="597"/>
                </a:cubicBezTo>
                <a:cubicBezTo>
                  <a:pt x="2623" y="600"/>
                  <a:pt x="2626" y="601"/>
                  <a:pt x="2628" y="600"/>
                </a:cubicBezTo>
                <a:close/>
                <a:moveTo>
                  <a:pt x="2620" y="603"/>
                </a:moveTo>
                <a:cubicBezTo>
                  <a:pt x="2616" y="601"/>
                  <a:pt x="2616" y="601"/>
                  <a:pt x="2616" y="601"/>
                </a:cubicBezTo>
                <a:cubicBezTo>
                  <a:pt x="2616" y="601"/>
                  <a:pt x="2615" y="604"/>
                  <a:pt x="2615" y="604"/>
                </a:cubicBezTo>
                <a:cubicBezTo>
                  <a:pt x="2616" y="604"/>
                  <a:pt x="2620" y="603"/>
                  <a:pt x="2620" y="603"/>
                </a:cubicBezTo>
                <a:close/>
                <a:moveTo>
                  <a:pt x="2609" y="500"/>
                </a:moveTo>
                <a:cubicBezTo>
                  <a:pt x="2604" y="502"/>
                  <a:pt x="2606" y="504"/>
                  <a:pt x="2609" y="504"/>
                </a:cubicBezTo>
                <a:cubicBezTo>
                  <a:pt x="2613" y="504"/>
                  <a:pt x="2614" y="499"/>
                  <a:pt x="2609" y="500"/>
                </a:cubicBezTo>
                <a:close/>
                <a:moveTo>
                  <a:pt x="2361" y="681"/>
                </a:moveTo>
                <a:cubicBezTo>
                  <a:pt x="2363" y="680"/>
                  <a:pt x="2366" y="686"/>
                  <a:pt x="2366" y="686"/>
                </a:cubicBezTo>
                <a:cubicBezTo>
                  <a:pt x="2366" y="690"/>
                  <a:pt x="2366" y="690"/>
                  <a:pt x="2366" y="690"/>
                </a:cubicBezTo>
                <a:cubicBezTo>
                  <a:pt x="2366" y="690"/>
                  <a:pt x="2370" y="690"/>
                  <a:pt x="2370" y="694"/>
                </a:cubicBezTo>
                <a:cubicBezTo>
                  <a:pt x="2370" y="697"/>
                  <a:pt x="2372" y="700"/>
                  <a:pt x="2372" y="703"/>
                </a:cubicBezTo>
                <a:cubicBezTo>
                  <a:pt x="2373" y="705"/>
                  <a:pt x="2373" y="712"/>
                  <a:pt x="2373" y="712"/>
                </a:cubicBezTo>
                <a:cubicBezTo>
                  <a:pt x="2373" y="712"/>
                  <a:pt x="2374" y="715"/>
                  <a:pt x="2375" y="717"/>
                </a:cubicBezTo>
                <a:cubicBezTo>
                  <a:pt x="2377" y="719"/>
                  <a:pt x="2377" y="721"/>
                  <a:pt x="2377" y="721"/>
                </a:cubicBezTo>
                <a:cubicBezTo>
                  <a:pt x="2383" y="734"/>
                  <a:pt x="2383" y="734"/>
                  <a:pt x="2383" y="734"/>
                </a:cubicBezTo>
                <a:cubicBezTo>
                  <a:pt x="2385" y="740"/>
                  <a:pt x="2385" y="740"/>
                  <a:pt x="2385" y="740"/>
                </a:cubicBezTo>
                <a:cubicBezTo>
                  <a:pt x="2385" y="740"/>
                  <a:pt x="2382" y="740"/>
                  <a:pt x="2382" y="741"/>
                </a:cubicBezTo>
                <a:cubicBezTo>
                  <a:pt x="2382" y="743"/>
                  <a:pt x="2380" y="749"/>
                  <a:pt x="2380" y="749"/>
                </a:cubicBezTo>
                <a:cubicBezTo>
                  <a:pt x="2387" y="746"/>
                  <a:pt x="2387" y="746"/>
                  <a:pt x="2387" y="746"/>
                </a:cubicBezTo>
                <a:cubicBezTo>
                  <a:pt x="2385" y="754"/>
                  <a:pt x="2385" y="754"/>
                  <a:pt x="2385" y="754"/>
                </a:cubicBezTo>
                <a:cubicBezTo>
                  <a:pt x="2385" y="754"/>
                  <a:pt x="2384" y="757"/>
                  <a:pt x="2384" y="759"/>
                </a:cubicBezTo>
                <a:cubicBezTo>
                  <a:pt x="2384" y="762"/>
                  <a:pt x="2386" y="766"/>
                  <a:pt x="2386" y="766"/>
                </a:cubicBezTo>
                <a:cubicBezTo>
                  <a:pt x="2386" y="766"/>
                  <a:pt x="2383" y="773"/>
                  <a:pt x="2383" y="776"/>
                </a:cubicBezTo>
                <a:cubicBezTo>
                  <a:pt x="2383" y="779"/>
                  <a:pt x="2383" y="789"/>
                  <a:pt x="2383" y="789"/>
                </a:cubicBezTo>
                <a:cubicBezTo>
                  <a:pt x="2383" y="789"/>
                  <a:pt x="2385" y="791"/>
                  <a:pt x="2385" y="789"/>
                </a:cubicBezTo>
                <a:cubicBezTo>
                  <a:pt x="2386" y="787"/>
                  <a:pt x="2386" y="782"/>
                  <a:pt x="2387" y="784"/>
                </a:cubicBezTo>
                <a:cubicBezTo>
                  <a:pt x="2387" y="786"/>
                  <a:pt x="2385" y="786"/>
                  <a:pt x="2388" y="787"/>
                </a:cubicBezTo>
                <a:cubicBezTo>
                  <a:pt x="2391" y="787"/>
                  <a:pt x="2393" y="793"/>
                  <a:pt x="2393" y="793"/>
                </a:cubicBezTo>
                <a:cubicBezTo>
                  <a:pt x="2398" y="798"/>
                  <a:pt x="2398" y="798"/>
                  <a:pt x="2398" y="798"/>
                </a:cubicBezTo>
                <a:cubicBezTo>
                  <a:pt x="2398" y="798"/>
                  <a:pt x="2397" y="800"/>
                  <a:pt x="2399" y="803"/>
                </a:cubicBezTo>
                <a:cubicBezTo>
                  <a:pt x="2400" y="805"/>
                  <a:pt x="2402" y="807"/>
                  <a:pt x="2402" y="808"/>
                </a:cubicBezTo>
                <a:cubicBezTo>
                  <a:pt x="2403" y="808"/>
                  <a:pt x="2403" y="808"/>
                  <a:pt x="2403" y="808"/>
                </a:cubicBezTo>
                <a:cubicBezTo>
                  <a:pt x="2404" y="821"/>
                  <a:pt x="2404" y="821"/>
                  <a:pt x="2404" y="821"/>
                </a:cubicBezTo>
                <a:cubicBezTo>
                  <a:pt x="2404" y="821"/>
                  <a:pt x="2410" y="818"/>
                  <a:pt x="2410" y="822"/>
                </a:cubicBezTo>
                <a:cubicBezTo>
                  <a:pt x="2410" y="826"/>
                  <a:pt x="2408" y="831"/>
                  <a:pt x="2411" y="834"/>
                </a:cubicBezTo>
                <a:cubicBezTo>
                  <a:pt x="2413" y="836"/>
                  <a:pt x="2415" y="834"/>
                  <a:pt x="2415" y="834"/>
                </a:cubicBezTo>
                <a:cubicBezTo>
                  <a:pt x="2415" y="834"/>
                  <a:pt x="2414" y="842"/>
                  <a:pt x="2416" y="844"/>
                </a:cubicBezTo>
                <a:cubicBezTo>
                  <a:pt x="2418" y="846"/>
                  <a:pt x="2426" y="851"/>
                  <a:pt x="2426" y="851"/>
                </a:cubicBezTo>
                <a:cubicBezTo>
                  <a:pt x="2426" y="851"/>
                  <a:pt x="2427" y="855"/>
                  <a:pt x="2428" y="856"/>
                </a:cubicBezTo>
                <a:cubicBezTo>
                  <a:pt x="2429" y="856"/>
                  <a:pt x="2434" y="858"/>
                  <a:pt x="2434" y="858"/>
                </a:cubicBezTo>
                <a:cubicBezTo>
                  <a:pt x="2438" y="863"/>
                  <a:pt x="2438" y="863"/>
                  <a:pt x="2438" y="863"/>
                </a:cubicBezTo>
                <a:cubicBezTo>
                  <a:pt x="2445" y="862"/>
                  <a:pt x="2445" y="862"/>
                  <a:pt x="2445" y="862"/>
                </a:cubicBezTo>
                <a:cubicBezTo>
                  <a:pt x="2445" y="862"/>
                  <a:pt x="2446" y="858"/>
                  <a:pt x="2445" y="854"/>
                </a:cubicBezTo>
                <a:cubicBezTo>
                  <a:pt x="2445" y="851"/>
                  <a:pt x="2439" y="847"/>
                  <a:pt x="2438" y="845"/>
                </a:cubicBezTo>
                <a:cubicBezTo>
                  <a:pt x="2438" y="844"/>
                  <a:pt x="2439" y="842"/>
                  <a:pt x="2438" y="840"/>
                </a:cubicBezTo>
                <a:cubicBezTo>
                  <a:pt x="2436" y="838"/>
                  <a:pt x="2438" y="838"/>
                  <a:pt x="2438" y="835"/>
                </a:cubicBezTo>
                <a:cubicBezTo>
                  <a:pt x="2438" y="832"/>
                  <a:pt x="2438" y="824"/>
                  <a:pt x="2437" y="820"/>
                </a:cubicBezTo>
                <a:cubicBezTo>
                  <a:pt x="2437" y="815"/>
                  <a:pt x="2428" y="812"/>
                  <a:pt x="2426" y="810"/>
                </a:cubicBezTo>
                <a:cubicBezTo>
                  <a:pt x="2426" y="809"/>
                  <a:pt x="2425" y="809"/>
                  <a:pt x="2424" y="808"/>
                </a:cubicBezTo>
                <a:cubicBezTo>
                  <a:pt x="2424" y="808"/>
                  <a:pt x="2424" y="808"/>
                  <a:pt x="2424" y="808"/>
                </a:cubicBezTo>
                <a:cubicBezTo>
                  <a:pt x="2422" y="807"/>
                  <a:pt x="2420" y="805"/>
                  <a:pt x="2420" y="805"/>
                </a:cubicBezTo>
                <a:cubicBezTo>
                  <a:pt x="2420" y="805"/>
                  <a:pt x="2419" y="800"/>
                  <a:pt x="2418" y="798"/>
                </a:cubicBezTo>
                <a:cubicBezTo>
                  <a:pt x="2418" y="796"/>
                  <a:pt x="2412" y="800"/>
                  <a:pt x="2410" y="799"/>
                </a:cubicBezTo>
                <a:cubicBezTo>
                  <a:pt x="2409" y="799"/>
                  <a:pt x="2407" y="791"/>
                  <a:pt x="2406" y="791"/>
                </a:cubicBezTo>
                <a:cubicBezTo>
                  <a:pt x="2405" y="792"/>
                  <a:pt x="2406" y="795"/>
                  <a:pt x="2405" y="795"/>
                </a:cubicBezTo>
                <a:cubicBezTo>
                  <a:pt x="2404" y="795"/>
                  <a:pt x="2401" y="790"/>
                  <a:pt x="2402" y="789"/>
                </a:cubicBezTo>
                <a:cubicBezTo>
                  <a:pt x="2404" y="787"/>
                  <a:pt x="2403" y="790"/>
                  <a:pt x="2405" y="789"/>
                </a:cubicBezTo>
                <a:cubicBezTo>
                  <a:pt x="2407" y="789"/>
                  <a:pt x="2403" y="782"/>
                  <a:pt x="2403" y="781"/>
                </a:cubicBezTo>
                <a:cubicBezTo>
                  <a:pt x="2402" y="780"/>
                  <a:pt x="2400" y="780"/>
                  <a:pt x="2400" y="780"/>
                </a:cubicBezTo>
                <a:cubicBezTo>
                  <a:pt x="2400" y="772"/>
                  <a:pt x="2400" y="772"/>
                  <a:pt x="2400" y="772"/>
                </a:cubicBezTo>
                <a:cubicBezTo>
                  <a:pt x="2393" y="775"/>
                  <a:pt x="2393" y="775"/>
                  <a:pt x="2393" y="775"/>
                </a:cubicBezTo>
                <a:cubicBezTo>
                  <a:pt x="2393" y="775"/>
                  <a:pt x="2392" y="762"/>
                  <a:pt x="2392" y="761"/>
                </a:cubicBezTo>
                <a:cubicBezTo>
                  <a:pt x="2392" y="759"/>
                  <a:pt x="2390" y="757"/>
                  <a:pt x="2390" y="757"/>
                </a:cubicBezTo>
                <a:cubicBezTo>
                  <a:pt x="2390" y="757"/>
                  <a:pt x="2394" y="755"/>
                  <a:pt x="2394" y="752"/>
                </a:cubicBezTo>
                <a:cubicBezTo>
                  <a:pt x="2394" y="748"/>
                  <a:pt x="2394" y="743"/>
                  <a:pt x="2394" y="743"/>
                </a:cubicBezTo>
                <a:cubicBezTo>
                  <a:pt x="2394" y="743"/>
                  <a:pt x="2397" y="741"/>
                  <a:pt x="2397" y="736"/>
                </a:cubicBezTo>
                <a:cubicBezTo>
                  <a:pt x="2398" y="731"/>
                  <a:pt x="2396" y="730"/>
                  <a:pt x="2396" y="730"/>
                </a:cubicBezTo>
                <a:cubicBezTo>
                  <a:pt x="2397" y="726"/>
                  <a:pt x="2397" y="726"/>
                  <a:pt x="2397" y="726"/>
                </a:cubicBezTo>
                <a:cubicBezTo>
                  <a:pt x="2398" y="726"/>
                  <a:pt x="2398" y="726"/>
                  <a:pt x="2398" y="726"/>
                </a:cubicBezTo>
                <a:cubicBezTo>
                  <a:pt x="2398" y="726"/>
                  <a:pt x="2399" y="724"/>
                  <a:pt x="2401" y="724"/>
                </a:cubicBezTo>
                <a:cubicBezTo>
                  <a:pt x="2403" y="724"/>
                  <a:pt x="2407" y="727"/>
                  <a:pt x="2407" y="727"/>
                </a:cubicBezTo>
                <a:cubicBezTo>
                  <a:pt x="2406" y="728"/>
                  <a:pt x="2406" y="728"/>
                  <a:pt x="2406" y="728"/>
                </a:cubicBezTo>
                <a:cubicBezTo>
                  <a:pt x="2406" y="728"/>
                  <a:pt x="2405" y="735"/>
                  <a:pt x="2407" y="735"/>
                </a:cubicBezTo>
                <a:cubicBezTo>
                  <a:pt x="2410" y="735"/>
                  <a:pt x="2417" y="732"/>
                  <a:pt x="2417" y="732"/>
                </a:cubicBezTo>
                <a:cubicBezTo>
                  <a:pt x="2421" y="743"/>
                  <a:pt x="2421" y="743"/>
                  <a:pt x="2421" y="743"/>
                </a:cubicBezTo>
                <a:cubicBezTo>
                  <a:pt x="2421" y="743"/>
                  <a:pt x="2422" y="740"/>
                  <a:pt x="2425" y="741"/>
                </a:cubicBezTo>
                <a:cubicBezTo>
                  <a:pt x="2425" y="742"/>
                  <a:pt x="2426" y="742"/>
                  <a:pt x="2427" y="743"/>
                </a:cubicBezTo>
                <a:cubicBezTo>
                  <a:pt x="2430" y="746"/>
                  <a:pt x="2427" y="749"/>
                  <a:pt x="2427" y="749"/>
                </a:cubicBezTo>
                <a:cubicBezTo>
                  <a:pt x="2427" y="749"/>
                  <a:pt x="2429" y="753"/>
                  <a:pt x="2431" y="754"/>
                </a:cubicBezTo>
                <a:cubicBezTo>
                  <a:pt x="2433" y="754"/>
                  <a:pt x="2434" y="751"/>
                  <a:pt x="2434" y="751"/>
                </a:cubicBezTo>
                <a:cubicBezTo>
                  <a:pt x="2434" y="751"/>
                  <a:pt x="2433" y="756"/>
                  <a:pt x="2435" y="756"/>
                </a:cubicBezTo>
                <a:cubicBezTo>
                  <a:pt x="2438" y="757"/>
                  <a:pt x="2440" y="755"/>
                  <a:pt x="2440" y="757"/>
                </a:cubicBezTo>
                <a:cubicBezTo>
                  <a:pt x="2440" y="758"/>
                  <a:pt x="2441" y="759"/>
                  <a:pt x="2442" y="760"/>
                </a:cubicBezTo>
                <a:cubicBezTo>
                  <a:pt x="2444" y="761"/>
                  <a:pt x="2444" y="761"/>
                  <a:pt x="2444" y="761"/>
                </a:cubicBezTo>
                <a:cubicBezTo>
                  <a:pt x="2444" y="761"/>
                  <a:pt x="2444" y="761"/>
                  <a:pt x="2444" y="762"/>
                </a:cubicBezTo>
                <a:cubicBezTo>
                  <a:pt x="2446" y="763"/>
                  <a:pt x="2451" y="766"/>
                  <a:pt x="2451" y="766"/>
                </a:cubicBezTo>
                <a:cubicBezTo>
                  <a:pt x="2448" y="768"/>
                  <a:pt x="2448" y="768"/>
                  <a:pt x="2448" y="768"/>
                </a:cubicBezTo>
                <a:cubicBezTo>
                  <a:pt x="2448" y="768"/>
                  <a:pt x="2451" y="776"/>
                  <a:pt x="2449" y="777"/>
                </a:cubicBezTo>
                <a:cubicBezTo>
                  <a:pt x="2448" y="777"/>
                  <a:pt x="2448" y="779"/>
                  <a:pt x="2447" y="780"/>
                </a:cubicBezTo>
                <a:cubicBezTo>
                  <a:pt x="2448" y="780"/>
                  <a:pt x="2448" y="780"/>
                  <a:pt x="2448" y="780"/>
                </a:cubicBezTo>
                <a:cubicBezTo>
                  <a:pt x="2449" y="781"/>
                  <a:pt x="2452" y="781"/>
                  <a:pt x="2454" y="778"/>
                </a:cubicBezTo>
                <a:cubicBezTo>
                  <a:pt x="2457" y="776"/>
                  <a:pt x="2460" y="775"/>
                  <a:pt x="2460" y="775"/>
                </a:cubicBezTo>
                <a:cubicBezTo>
                  <a:pt x="2460" y="772"/>
                  <a:pt x="2460" y="772"/>
                  <a:pt x="2460" y="772"/>
                </a:cubicBezTo>
                <a:cubicBezTo>
                  <a:pt x="2460" y="769"/>
                  <a:pt x="2460" y="769"/>
                  <a:pt x="2460" y="769"/>
                </a:cubicBezTo>
                <a:cubicBezTo>
                  <a:pt x="2460" y="769"/>
                  <a:pt x="2465" y="771"/>
                  <a:pt x="2466" y="768"/>
                </a:cubicBezTo>
                <a:cubicBezTo>
                  <a:pt x="2467" y="766"/>
                  <a:pt x="2463" y="763"/>
                  <a:pt x="2464" y="763"/>
                </a:cubicBezTo>
                <a:cubicBezTo>
                  <a:pt x="2465" y="762"/>
                  <a:pt x="2470" y="760"/>
                  <a:pt x="2470" y="760"/>
                </a:cubicBezTo>
                <a:cubicBezTo>
                  <a:pt x="2470" y="760"/>
                  <a:pt x="2472" y="762"/>
                  <a:pt x="2477" y="759"/>
                </a:cubicBezTo>
                <a:cubicBezTo>
                  <a:pt x="2481" y="757"/>
                  <a:pt x="2488" y="752"/>
                  <a:pt x="2489" y="748"/>
                </a:cubicBezTo>
                <a:cubicBezTo>
                  <a:pt x="2489" y="745"/>
                  <a:pt x="2492" y="735"/>
                  <a:pt x="2492" y="733"/>
                </a:cubicBezTo>
                <a:cubicBezTo>
                  <a:pt x="2491" y="731"/>
                  <a:pt x="2487" y="727"/>
                  <a:pt x="2487" y="727"/>
                </a:cubicBezTo>
                <a:cubicBezTo>
                  <a:pt x="2489" y="727"/>
                  <a:pt x="2489" y="727"/>
                  <a:pt x="2489" y="727"/>
                </a:cubicBezTo>
                <a:cubicBezTo>
                  <a:pt x="2489" y="727"/>
                  <a:pt x="2489" y="719"/>
                  <a:pt x="2488" y="716"/>
                </a:cubicBezTo>
                <a:cubicBezTo>
                  <a:pt x="2487" y="713"/>
                  <a:pt x="2484" y="708"/>
                  <a:pt x="2484" y="708"/>
                </a:cubicBezTo>
                <a:cubicBezTo>
                  <a:pt x="2484" y="708"/>
                  <a:pt x="2486" y="705"/>
                  <a:pt x="2483" y="702"/>
                </a:cubicBezTo>
                <a:cubicBezTo>
                  <a:pt x="2479" y="699"/>
                  <a:pt x="2470" y="690"/>
                  <a:pt x="2467" y="689"/>
                </a:cubicBezTo>
                <a:cubicBezTo>
                  <a:pt x="2464" y="687"/>
                  <a:pt x="2461" y="686"/>
                  <a:pt x="2460" y="684"/>
                </a:cubicBezTo>
                <a:cubicBezTo>
                  <a:pt x="2460" y="683"/>
                  <a:pt x="2461" y="681"/>
                  <a:pt x="2460" y="679"/>
                </a:cubicBezTo>
                <a:cubicBezTo>
                  <a:pt x="2459" y="677"/>
                  <a:pt x="2449" y="669"/>
                  <a:pt x="2447" y="664"/>
                </a:cubicBezTo>
                <a:cubicBezTo>
                  <a:pt x="2446" y="659"/>
                  <a:pt x="2445" y="653"/>
                  <a:pt x="2446" y="652"/>
                </a:cubicBezTo>
                <a:cubicBezTo>
                  <a:pt x="2448" y="651"/>
                  <a:pt x="2448" y="648"/>
                  <a:pt x="2448" y="648"/>
                </a:cubicBezTo>
                <a:cubicBezTo>
                  <a:pt x="2448" y="648"/>
                  <a:pt x="2452" y="645"/>
                  <a:pt x="2453" y="645"/>
                </a:cubicBezTo>
                <a:cubicBezTo>
                  <a:pt x="2454" y="644"/>
                  <a:pt x="2455" y="642"/>
                  <a:pt x="2455" y="642"/>
                </a:cubicBezTo>
                <a:cubicBezTo>
                  <a:pt x="2455" y="642"/>
                  <a:pt x="2459" y="642"/>
                  <a:pt x="2460" y="641"/>
                </a:cubicBezTo>
                <a:cubicBezTo>
                  <a:pt x="2461" y="640"/>
                  <a:pt x="2461" y="636"/>
                  <a:pt x="2461" y="636"/>
                </a:cubicBezTo>
                <a:cubicBezTo>
                  <a:pt x="2462" y="635"/>
                  <a:pt x="2462" y="635"/>
                  <a:pt x="2462" y="635"/>
                </a:cubicBezTo>
                <a:cubicBezTo>
                  <a:pt x="2469" y="631"/>
                  <a:pt x="2469" y="631"/>
                  <a:pt x="2469" y="631"/>
                </a:cubicBezTo>
                <a:cubicBezTo>
                  <a:pt x="2471" y="632"/>
                  <a:pt x="2471" y="632"/>
                  <a:pt x="2471" y="632"/>
                </a:cubicBezTo>
                <a:cubicBezTo>
                  <a:pt x="2471" y="632"/>
                  <a:pt x="2480" y="632"/>
                  <a:pt x="2482" y="635"/>
                </a:cubicBezTo>
                <a:cubicBezTo>
                  <a:pt x="2483" y="637"/>
                  <a:pt x="2480" y="642"/>
                  <a:pt x="2481" y="644"/>
                </a:cubicBezTo>
                <a:cubicBezTo>
                  <a:pt x="2483" y="646"/>
                  <a:pt x="2487" y="649"/>
                  <a:pt x="2487" y="649"/>
                </a:cubicBezTo>
                <a:cubicBezTo>
                  <a:pt x="2490" y="649"/>
                  <a:pt x="2490" y="649"/>
                  <a:pt x="2490" y="649"/>
                </a:cubicBezTo>
                <a:cubicBezTo>
                  <a:pt x="2490" y="646"/>
                  <a:pt x="2490" y="646"/>
                  <a:pt x="2490" y="646"/>
                </a:cubicBezTo>
                <a:cubicBezTo>
                  <a:pt x="2490" y="646"/>
                  <a:pt x="2488" y="640"/>
                  <a:pt x="2491" y="636"/>
                </a:cubicBezTo>
                <a:cubicBezTo>
                  <a:pt x="2493" y="633"/>
                  <a:pt x="2499" y="633"/>
                  <a:pt x="2502" y="633"/>
                </a:cubicBezTo>
                <a:cubicBezTo>
                  <a:pt x="2504" y="632"/>
                  <a:pt x="2513" y="630"/>
                  <a:pt x="2513" y="628"/>
                </a:cubicBezTo>
                <a:cubicBezTo>
                  <a:pt x="2514" y="626"/>
                  <a:pt x="2514" y="620"/>
                  <a:pt x="2516" y="619"/>
                </a:cubicBezTo>
                <a:cubicBezTo>
                  <a:pt x="2517" y="619"/>
                  <a:pt x="2519" y="626"/>
                  <a:pt x="2521" y="625"/>
                </a:cubicBezTo>
                <a:cubicBezTo>
                  <a:pt x="2523" y="624"/>
                  <a:pt x="2527" y="618"/>
                  <a:pt x="2527" y="618"/>
                </a:cubicBezTo>
                <a:cubicBezTo>
                  <a:pt x="2529" y="620"/>
                  <a:pt x="2529" y="620"/>
                  <a:pt x="2529" y="620"/>
                </a:cubicBezTo>
                <a:cubicBezTo>
                  <a:pt x="2534" y="619"/>
                  <a:pt x="2534" y="619"/>
                  <a:pt x="2534" y="619"/>
                </a:cubicBezTo>
                <a:cubicBezTo>
                  <a:pt x="2534" y="619"/>
                  <a:pt x="2539" y="620"/>
                  <a:pt x="2542" y="619"/>
                </a:cubicBezTo>
                <a:cubicBezTo>
                  <a:pt x="2544" y="617"/>
                  <a:pt x="2546" y="617"/>
                  <a:pt x="2547" y="615"/>
                </a:cubicBezTo>
                <a:cubicBezTo>
                  <a:pt x="2548" y="614"/>
                  <a:pt x="2554" y="609"/>
                  <a:pt x="2555" y="607"/>
                </a:cubicBezTo>
                <a:cubicBezTo>
                  <a:pt x="2556" y="605"/>
                  <a:pt x="2553" y="601"/>
                  <a:pt x="2553" y="601"/>
                </a:cubicBezTo>
                <a:cubicBezTo>
                  <a:pt x="2556" y="601"/>
                  <a:pt x="2556" y="601"/>
                  <a:pt x="2556" y="601"/>
                </a:cubicBezTo>
                <a:cubicBezTo>
                  <a:pt x="2557" y="597"/>
                  <a:pt x="2557" y="597"/>
                  <a:pt x="2557" y="597"/>
                </a:cubicBezTo>
                <a:cubicBezTo>
                  <a:pt x="2561" y="597"/>
                  <a:pt x="2561" y="597"/>
                  <a:pt x="2561" y="597"/>
                </a:cubicBezTo>
                <a:cubicBezTo>
                  <a:pt x="2562" y="592"/>
                  <a:pt x="2562" y="592"/>
                  <a:pt x="2562" y="592"/>
                </a:cubicBezTo>
                <a:cubicBezTo>
                  <a:pt x="2564" y="592"/>
                  <a:pt x="2564" y="592"/>
                  <a:pt x="2564" y="592"/>
                </a:cubicBezTo>
                <a:cubicBezTo>
                  <a:pt x="2565" y="586"/>
                  <a:pt x="2565" y="586"/>
                  <a:pt x="2565" y="586"/>
                </a:cubicBezTo>
                <a:cubicBezTo>
                  <a:pt x="2565" y="586"/>
                  <a:pt x="2567" y="587"/>
                  <a:pt x="2567" y="582"/>
                </a:cubicBezTo>
                <a:cubicBezTo>
                  <a:pt x="2567" y="578"/>
                  <a:pt x="2565" y="578"/>
                  <a:pt x="2566" y="577"/>
                </a:cubicBezTo>
                <a:cubicBezTo>
                  <a:pt x="2567" y="575"/>
                  <a:pt x="2571" y="576"/>
                  <a:pt x="2571" y="572"/>
                </a:cubicBezTo>
                <a:cubicBezTo>
                  <a:pt x="2571" y="568"/>
                  <a:pt x="2568" y="568"/>
                  <a:pt x="2569" y="567"/>
                </a:cubicBezTo>
                <a:cubicBezTo>
                  <a:pt x="2569" y="565"/>
                  <a:pt x="2571" y="564"/>
                  <a:pt x="2571" y="564"/>
                </a:cubicBezTo>
                <a:cubicBezTo>
                  <a:pt x="2571" y="559"/>
                  <a:pt x="2571" y="559"/>
                  <a:pt x="2571" y="559"/>
                </a:cubicBezTo>
                <a:cubicBezTo>
                  <a:pt x="2571" y="559"/>
                  <a:pt x="2577" y="557"/>
                  <a:pt x="2578" y="554"/>
                </a:cubicBezTo>
                <a:cubicBezTo>
                  <a:pt x="2580" y="551"/>
                  <a:pt x="2576" y="550"/>
                  <a:pt x="2576" y="550"/>
                </a:cubicBezTo>
                <a:cubicBezTo>
                  <a:pt x="2576" y="550"/>
                  <a:pt x="2583" y="549"/>
                  <a:pt x="2583" y="547"/>
                </a:cubicBezTo>
                <a:cubicBezTo>
                  <a:pt x="2583" y="546"/>
                  <a:pt x="2579" y="545"/>
                  <a:pt x="2579" y="545"/>
                </a:cubicBezTo>
                <a:cubicBezTo>
                  <a:pt x="2579" y="545"/>
                  <a:pt x="2587" y="537"/>
                  <a:pt x="2583" y="535"/>
                </a:cubicBezTo>
                <a:cubicBezTo>
                  <a:pt x="2580" y="533"/>
                  <a:pt x="2563" y="538"/>
                  <a:pt x="2563" y="538"/>
                </a:cubicBezTo>
                <a:cubicBezTo>
                  <a:pt x="2561" y="536"/>
                  <a:pt x="2561" y="536"/>
                  <a:pt x="2561" y="536"/>
                </a:cubicBezTo>
                <a:cubicBezTo>
                  <a:pt x="2566" y="536"/>
                  <a:pt x="2566" y="536"/>
                  <a:pt x="2566" y="536"/>
                </a:cubicBezTo>
                <a:cubicBezTo>
                  <a:pt x="2566" y="536"/>
                  <a:pt x="2566" y="532"/>
                  <a:pt x="2568" y="532"/>
                </a:cubicBezTo>
                <a:cubicBezTo>
                  <a:pt x="2570" y="531"/>
                  <a:pt x="2574" y="530"/>
                  <a:pt x="2574" y="530"/>
                </a:cubicBezTo>
                <a:cubicBezTo>
                  <a:pt x="2574" y="530"/>
                  <a:pt x="2572" y="525"/>
                  <a:pt x="2571" y="525"/>
                </a:cubicBezTo>
                <a:cubicBezTo>
                  <a:pt x="2570" y="525"/>
                  <a:pt x="2565" y="524"/>
                  <a:pt x="2565" y="524"/>
                </a:cubicBezTo>
                <a:cubicBezTo>
                  <a:pt x="2563" y="521"/>
                  <a:pt x="2563" y="521"/>
                  <a:pt x="2563" y="521"/>
                </a:cubicBezTo>
                <a:cubicBezTo>
                  <a:pt x="2562" y="522"/>
                  <a:pt x="2562" y="522"/>
                  <a:pt x="2562" y="522"/>
                </a:cubicBezTo>
                <a:cubicBezTo>
                  <a:pt x="2562" y="522"/>
                  <a:pt x="2560" y="519"/>
                  <a:pt x="2558" y="519"/>
                </a:cubicBezTo>
                <a:cubicBezTo>
                  <a:pt x="2557" y="519"/>
                  <a:pt x="2553" y="520"/>
                  <a:pt x="2553" y="520"/>
                </a:cubicBezTo>
                <a:cubicBezTo>
                  <a:pt x="2548" y="513"/>
                  <a:pt x="2548" y="513"/>
                  <a:pt x="2548" y="513"/>
                </a:cubicBezTo>
                <a:cubicBezTo>
                  <a:pt x="2548" y="513"/>
                  <a:pt x="2553" y="518"/>
                  <a:pt x="2554" y="517"/>
                </a:cubicBezTo>
                <a:cubicBezTo>
                  <a:pt x="2555" y="517"/>
                  <a:pt x="2557" y="516"/>
                  <a:pt x="2557" y="516"/>
                </a:cubicBezTo>
                <a:cubicBezTo>
                  <a:pt x="2561" y="517"/>
                  <a:pt x="2561" y="517"/>
                  <a:pt x="2561" y="517"/>
                </a:cubicBezTo>
                <a:cubicBezTo>
                  <a:pt x="2563" y="519"/>
                  <a:pt x="2563" y="519"/>
                  <a:pt x="2563" y="519"/>
                </a:cubicBezTo>
                <a:cubicBezTo>
                  <a:pt x="2565" y="519"/>
                  <a:pt x="2565" y="519"/>
                  <a:pt x="2565" y="519"/>
                </a:cubicBezTo>
                <a:cubicBezTo>
                  <a:pt x="2571" y="521"/>
                  <a:pt x="2571" y="521"/>
                  <a:pt x="2571" y="521"/>
                </a:cubicBezTo>
                <a:cubicBezTo>
                  <a:pt x="2568" y="517"/>
                  <a:pt x="2568" y="517"/>
                  <a:pt x="2568" y="517"/>
                </a:cubicBezTo>
                <a:cubicBezTo>
                  <a:pt x="2566" y="517"/>
                  <a:pt x="2566" y="517"/>
                  <a:pt x="2566" y="517"/>
                </a:cubicBezTo>
                <a:cubicBezTo>
                  <a:pt x="2566" y="517"/>
                  <a:pt x="2566" y="512"/>
                  <a:pt x="2564" y="512"/>
                </a:cubicBezTo>
                <a:cubicBezTo>
                  <a:pt x="2562" y="512"/>
                  <a:pt x="2560" y="511"/>
                  <a:pt x="2559" y="510"/>
                </a:cubicBezTo>
                <a:cubicBezTo>
                  <a:pt x="2558" y="509"/>
                  <a:pt x="2557" y="505"/>
                  <a:pt x="2557" y="505"/>
                </a:cubicBezTo>
                <a:cubicBezTo>
                  <a:pt x="2546" y="492"/>
                  <a:pt x="2546" y="492"/>
                  <a:pt x="2546" y="492"/>
                </a:cubicBezTo>
                <a:cubicBezTo>
                  <a:pt x="2542" y="490"/>
                  <a:pt x="2542" y="490"/>
                  <a:pt x="2542" y="490"/>
                </a:cubicBezTo>
                <a:cubicBezTo>
                  <a:pt x="2537" y="487"/>
                  <a:pt x="2537" y="487"/>
                  <a:pt x="2537" y="487"/>
                </a:cubicBezTo>
                <a:cubicBezTo>
                  <a:pt x="2534" y="487"/>
                  <a:pt x="2534" y="487"/>
                  <a:pt x="2534" y="487"/>
                </a:cubicBezTo>
                <a:cubicBezTo>
                  <a:pt x="2534" y="487"/>
                  <a:pt x="2531" y="482"/>
                  <a:pt x="2532" y="481"/>
                </a:cubicBezTo>
                <a:cubicBezTo>
                  <a:pt x="2533" y="480"/>
                  <a:pt x="2537" y="478"/>
                  <a:pt x="2537" y="476"/>
                </a:cubicBezTo>
                <a:cubicBezTo>
                  <a:pt x="2537" y="474"/>
                  <a:pt x="2536" y="470"/>
                  <a:pt x="2536" y="470"/>
                </a:cubicBezTo>
                <a:cubicBezTo>
                  <a:pt x="2536" y="470"/>
                  <a:pt x="2539" y="474"/>
                  <a:pt x="2541" y="472"/>
                </a:cubicBezTo>
                <a:cubicBezTo>
                  <a:pt x="2543" y="471"/>
                  <a:pt x="2541" y="465"/>
                  <a:pt x="2541" y="465"/>
                </a:cubicBezTo>
                <a:cubicBezTo>
                  <a:pt x="2544" y="466"/>
                  <a:pt x="2544" y="466"/>
                  <a:pt x="2544" y="466"/>
                </a:cubicBezTo>
                <a:cubicBezTo>
                  <a:pt x="2549" y="462"/>
                  <a:pt x="2549" y="462"/>
                  <a:pt x="2549" y="462"/>
                </a:cubicBezTo>
                <a:cubicBezTo>
                  <a:pt x="2549" y="462"/>
                  <a:pt x="2553" y="463"/>
                  <a:pt x="2554" y="463"/>
                </a:cubicBezTo>
                <a:cubicBezTo>
                  <a:pt x="2555" y="463"/>
                  <a:pt x="2553" y="460"/>
                  <a:pt x="2553" y="460"/>
                </a:cubicBezTo>
                <a:cubicBezTo>
                  <a:pt x="2554" y="456"/>
                  <a:pt x="2554" y="456"/>
                  <a:pt x="2554" y="456"/>
                </a:cubicBezTo>
                <a:cubicBezTo>
                  <a:pt x="2550" y="456"/>
                  <a:pt x="2550" y="456"/>
                  <a:pt x="2550" y="456"/>
                </a:cubicBezTo>
                <a:cubicBezTo>
                  <a:pt x="2548" y="455"/>
                  <a:pt x="2548" y="455"/>
                  <a:pt x="2548" y="455"/>
                </a:cubicBezTo>
                <a:cubicBezTo>
                  <a:pt x="2547" y="456"/>
                  <a:pt x="2547" y="456"/>
                  <a:pt x="2547" y="456"/>
                </a:cubicBezTo>
                <a:cubicBezTo>
                  <a:pt x="2543" y="456"/>
                  <a:pt x="2543" y="456"/>
                  <a:pt x="2543" y="456"/>
                </a:cubicBezTo>
                <a:cubicBezTo>
                  <a:pt x="2543" y="456"/>
                  <a:pt x="2539" y="452"/>
                  <a:pt x="2537" y="452"/>
                </a:cubicBezTo>
                <a:cubicBezTo>
                  <a:pt x="2534" y="452"/>
                  <a:pt x="2530" y="457"/>
                  <a:pt x="2530" y="458"/>
                </a:cubicBezTo>
                <a:cubicBezTo>
                  <a:pt x="2530" y="459"/>
                  <a:pt x="2529" y="461"/>
                  <a:pt x="2527" y="460"/>
                </a:cubicBezTo>
                <a:cubicBezTo>
                  <a:pt x="2525" y="460"/>
                  <a:pt x="2520" y="459"/>
                  <a:pt x="2520" y="456"/>
                </a:cubicBezTo>
                <a:cubicBezTo>
                  <a:pt x="2519" y="453"/>
                  <a:pt x="2517" y="449"/>
                  <a:pt x="2516" y="449"/>
                </a:cubicBezTo>
                <a:cubicBezTo>
                  <a:pt x="2515" y="448"/>
                  <a:pt x="2514" y="449"/>
                  <a:pt x="2514" y="449"/>
                </a:cubicBezTo>
                <a:cubicBezTo>
                  <a:pt x="2514" y="451"/>
                  <a:pt x="2514" y="451"/>
                  <a:pt x="2514" y="451"/>
                </a:cubicBezTo>
                <a:cubicBezTo>
                  <a:pt x="2512" y="449"/>
                  <a:pt x="2512" y="449"/>
                  <a:pt x="2512" y="449"/>
                </a:cubicBezTo>
                <a:cubicBezTo>
                  <a:pt x="2512" y="449"/>
                  <a:pt x="2507" y="449"/>
                  <a:pt x="2505" y="447"/>
                </a:cubicBezTo>
                <a:cubicBezTo>
                  <a:pt x="2503" y="445"/>
                  <a:pt x="2501" y="441"/>
                  <a:pt x="2501" y="440"/>
                </a:cubicBezTo>
                <a:cubicBezTo>
                  <a:pt x="2502" y="439"/>
                  <a:pt x="2502" y="437"/>
                  <a:pt x="2502" y="437"/>
                </a:cubicBezTo>
                <a:cubicBezTo>
                  <a:pt x="2504" y="437"/>
                  <a:pt x="2504" y="437"/>
                  <a:pt x="2504" y="437"/>
                </a:cubicBezTo>
                <a:cubicBezTo>
                  <a:pt x="2504" y="437"/>
                  <a:pt x="2505" y="438"/>
                  <a:pt x="2506" y="438"/>
                </a:cubicBezTo>
                <a:cubicBezTo>
                  <a:pt x="2507" y="438"/>
                  <a:pt x="2508" y="436"/>
                  <a:pt x="2508" y="436"/>
                </a:cubicBezTo>
                <a:cubicBezTo>
                  <a:pt x="2508" y="436"/>
                  <a:pt x="2511" y="438"/>
                  <a:pt x="2513" y="436"/>
                </a:cubicBezTo>
                <a:cubicBezTo>
                  <a:pt x="2515" y="435"/>
                  <a:pt x="2513" y="433"/>
                  <a:pt x="2513" y="433"/>
                </a:cubicBezTo>
                <a:cubicBezTo>
                  <a:pt x="2513" y="433"/>
                  <a:pt x="2513" y="428"/>
                  <a:pt x="2514" y="427"/>
                </a:cubicBezTo>
                <a:cubicBezTo>
                  <a:pt x="2515" y="426"/>
                  <a:pt x="2519" y="428"/>
                  <a:pt x="2520" y="426"/>
                </a:cubicBezTo>
                <a:cubicBezTo>
                  <a:pt x="2521" y="423"/>
                  <a:pt x="2521" y="421"/>
                  <a:pt x="2521" y="421"/>
                </a:cubicBezTo>
                <a:cubicBezTo>
                  <a:pt x="2524" y="419"/>
                  <a:pt x="2524" y="419"/>
                  <a:pt x="2524" y="419"/>
                </a:cubicBezTo>
                <a:cubicBezTo>
                  <a:pt x="2522" y="418"/>
                  <a:pt x="2522" y="418"/>
                  <a:pt x="2522" y="418"/>
                </a:cubicBezTo>
                <a:cubicBezTo>
                  <a:pt x="2528" y="419"/>
                  <a:pt x="2528" y="419"/>
                  <a:pt x="2528" y="419"/>
                </a:cubicBezTo>
                <a:cubicBezTo>
                  <a:pt x="2530" y="417"/>
                  <a:pt x="2530" y="417"/>
                  <a:pt x="2530" y="417"/>
                </a:cubicBezTo>
                <a:cubicBezTo>
                  <a:pt x="2530" y="417"/>
                  <a:pt x="2536" y="422"/>
                  <a:pt x="2536" y="425"/>
                </a:cubicBezTo>
                <a:cubicBezTo>
                  <a:pt x="2535" y="428"/>
                  <a:pt x="2532" y="428"/>
                  <a:pt x="2531" y="430"/>
                </a:cubicBezTo>
                <a:cubicBezTo>
                  <a:pt x="2531" y="432"/>
                  <a:pt x="2532" y="435"/>
                  <a:pt x="2534" y="435"/>
                </a:cubicBezTo>
                <a:cubicBezTo>
                  <a:pt x="2535" y="435"/>
                  <a:pt x="2537" y="434"/>
                  <a:pt x="2537" y="434"/>
                </a:cubicBezTo>
                <a:cubicBezTo>
                  <a:pt x="2536" y="438"/>
                  <a:pt x="2536" y="438"/>
                  <a:pt x="2536" y="438"/>
                </a:cubicBezTo>
                <a:cubicBezTo>
                  <a:pt x="2536" y="438"/>
                  <a:pt x="2532" y="442"/>
                  <a:pt x="2534" y="442"/>
                </a:cubicBezTo>
                <a:cubicBezTo>
                  <a:pt x="2536" y="443"/>
                  <a:pt x="2539" y="440"/>
                  <a:pt x="2539" y="440"/>
                </a:cubicBezTo>
                <a:cubicBezTo>
                  <a:pt x="2539" y="440"/>
                  <a:pt x="2540" y="440"/>
                  <a:pt x="2541" y="439"/>
                </a:cubicBezTo>
                <a:cubicBezTo>
                  <a:pt x="2542" y="438"/>
                  <a:pt x="2542" y="435"/>
                  <a:pt x="2542" y="435"/>
                </a:cubicBezTo>
                <a:cubicBezTo>
                  <a:pt x="2542" y="435"/>
                  <a:pt x="2550" y="430"/>
                  <a:pt x="2551" y="430"/>
                </a:cubicBezTo>
                <a:cubicBezTo>
                  <a:pt x="2552" y="429"/>
                  <a:pt x="2556" y="429"/>
                  <a:pt x="2556" y="429"/>
                </a:cubicBezTo>
                <a:cubicBezTo>
                  <a:pt x="2558" y="427"/>
                  <a:pt x="2558" y="427"/>
                  <a:pt x="2558" y="427"/>
                </a:cubicBezTo>
                <a:cubicBezTo>
                  <a:pt x="2559" y="430"/>
                  <a:pt x="2559" y="430"/>
                  <a:pt x="2559" y="430"/>
                </a:cubicBezTo>
                <a:cubicBezTo>
                  <a:pt x="2562" y="433"/>
                  <a:pt x="2562" y="433"/>
                  <a:pt x="2562" y="433"/>
                </a:cubicBezTo>
                <a:cubicBezTo>
                  <a:pt x="2563" y="430"/>
                  <a:pt x="2563" y="430"/>
                  <a:pt x="2563" y="430"/>
                </a:cubicBezTo>
                <a:cubicBezTo>
                  <a:pt x="2563" y="430"/>
                  <a:pt x="2565" y="433"/>
                  <a:pt x="2566" y="433"/>
                </a:cubicBezTo>
                <a:cubicBezTo>
                  <a:pt x="2567" y="433"/>
                  <a:pt x="2569" y="432"/>
                  <a:pt x="2570" y="433"/>
                </a:cubicBezTo>
                <a:cubicBezTo>
                  <a:pt x="2570" y="434"/>
                  <a:pt x="2570" y="442"/>
                  <a:pt x="2570" y="442"/>
                </a:cubicBezTo>
                <a:cubicBezTo>
                  <a:pt x="2576" y="442"/>
                  <a:pt x="2576" y="442"/>
                  <a:pt x="2576" y="442"/>
                </a:cubicBezTo>
                <a:cubicBezTo>
                  <a:pt x="2576" y="444"/>
                  <a:pt x="2576" y="444"/>
                  <a:pt x="2576" y="444"/>
                </a:cubicBezTo>
                <a:cubicBezTo>
                  <a:pt x="2576" y="444"/>
                  <a:pt x="2571" y="441"/>
                  <a:pt x="2571" y="444"/>
                </a:cubicBezTo>
                <a:cubicBezTo>
                  <a:pt x="2570" y="447"/>
                  <a:pt x="2573" y="450"/>
                  <a:pt x="2573" y="450"/>
                </a:cubicBezTo>
                <a:cubicBezTo>
                  <a:pt x="2574" y="452"/>
                  <a:pt x="2574" y="452"/>
                  <a:pt x="2574" y="452"/>
                </a:cubicBezTo>
                <a:cubicBezTo>
                  <a:pt x="2578" y="451"/>
                  <a:pt x="2578" y="451"/>
                  <a:pt x="2578" y="451"/>
                </a:cubicBezTo>
                <a:cubicBezTo>
                  <a:pt x="2578" y="451"/>
                  <a:pt x="2583" y="454"/>
                  <a:pt x="2584" y="453"/>
                </a:cubicBezTo>
                <a:cubicBezTo>
                  <a:pt x="2586" y="453"/>
                  <a:pt x="2588" y="452"/>
                  <a:pt x="2588" y="452"/>
                </a:cubicBezTo>
                <a:cubicBezTo>
                  <a:pt x="2588" y="452"/>
                  <a:pt x="2588" y="455"/>
                  <a:pt x="2590" y="456"/>
                </a:cubicBezTo>
                <a:cubicBezTo>
                  <a:pt x="2591" y="457"/>
                  <a:pt x="2594" y="458"/>
                  <a:pt x="2594" y="458"/>
                </a:cubicBezTo>
                <a:cubicBezTo>
                  <a:pt x="2597" y="463"/>
                  <a:pt x="2597" y="463"/>
                  <a:pt x="2597" y="463"/>
                </a:cubicBezTo>
                <a:cubicBezTo>
                  <a:pt x="2597" y="463"/>
                  <a:pt x="2590" y="460"/>
                  <a:pt x="2589" y="461"/>
                </a:cubicBezTo>
                <a:cubicBezTo>
                  <a:pt x="2589" y="463"/>
                  <a:pt x="2594" y="466"/>
                  <a:pt x="2594" y="466"/>
                </a:cubicBezTo>
                <a:cubicBezTo>
                  <a:pt x="2596" y="472"/>
                  <a:pt x="2596" y="472"/>
                  <a:pt x="2596" y="472"/>
                </a:cubicBezTo>
                <a:cubicBezTo>
                  <a:pt x="2601" y="472"/>
                  <a:pt x="2601" y="472"/>
                  <a:pt x="2601" y="472"/>
                </a:cubicBezTo>
                <a:cubicBezTo>
                  <a:pt x="2601" y="476"/>
                  <a:pt x="2601" y="476"/>
                  <a:pt x="2601" y="476"/>
                </a:cubicBezTo>
                <a:cubicBezTo>
                  <a:pt x="2601" y="476"/>
                  <a:pt x="2598" y="478"/>
                  <a:pt x="2599" y="482"/>
                </a:cubicBezTo>
                <a:cubicBezTo>
                  <a:pt x="2601" y="486"/>
                  <a:pt x="2604" y="486"/>
                  <a:pt x="2604" y="486"/>
                </a:cubicBezTo>
                <a:cubicBezTo>
                  <a:pt x="2604" y="486"/>
                  <a:pt x="2601" y="491"/>
                  <a:pt x="2605" y="491"/>
                </a:cubicBezTo>
                <a:cubicBezTo>
                  <a:pt x="2609" y="490"/>
                  <a:pt x="2609" y="487"/>
                  <a:pt x="2609" y="487"/>
                </a:cubicBezTo>
                <a:cubicBezTo>
                  <a:pt x="2616" y="484"/>
                  <a:pt x="2616" y="484"/>
                  <a:pt x="2616" y="484"/>
                </a:cubicBezTo>
                <a:cubicBezTo>
                  <a:pt x="2620" y="485"/>
                  <a:pt x="2620" y="485"/>
                  <a:pt x="2620" y="485"/>
                </a:cubicBezTo>
                <a:cubicBezTo>
                  <a:pt x="2621" y="482"/>
                  <a:pt x="2621" y="482"/>
                  <a:pt x="2621" y="482"/>
                </a:cubicBezTo>
                <a:cubicBezTo>
                  <a:pt x="2621" y="482"/>
                  <a:pt x="2628" y="483"/>
                  <a:pt x="2627" y="479"/>
                </a:cubicBezTo>
                <a:cubicBezTo>
                  <a:pt x="2626" y="475"/>
                  <a:pt x="2623" y="472"/>
                  <a:pt x="2623" y="472"/>
                </a:cubicBezTo>
                <a:cubicBezTo>
                  <a:pt x="2623" y="472"/>
                  <a:pt x="2624" y="468"/>
                  <a:pt x="2622" y="465"/>
                </a:cubicBezTo>
                <a:cubicBezTo>
                  <a:pt x="2620" y="463"/>
                  <a:pt x="2611" y="455"/>
                  <a:pt x="2611" y="455"/>
                </a:cubicBezTo>
                <a:cubicBezTo>
                  <a:pt x="2609" y="454"/>
                  <a:pt x="2609" y="454"/>
                  <a:pt x="2609" y="454"/>
                </a:cubicBezTo>
                <a:cubicBezTo>
                  <a:pt x="2609" y="454"/>
                  <a:pt x="2608" y="451"/>
                  <a:pt x="2605" y="449"/>
                </a:cubicBezTo>
                <a:cubicBezTo>
                  <a:pt x="2604" y="447"/>
                  <a:pt x="2603" y="446"/>
                  <a:pt x="2602" y="444"/>
                </a:cubicBezTo>
                <a:cubicBezTo>
                  <a:pt x="2601" y="443"/>
                  <a:pt x="2600" y="442"/>
                  <a:pt x="2600" y="442"/>
                </a:cubicBezTo>
                <a:cubicBezTo>
                  <a:pt x="2593" y="438"/>
                  <a:pt x="2593" y="438"/>
                  <a:pt x="2593" y="438"/>
                </a:cubicBezTo>
                <a:cubicBezTo>
                  <a:pt x="2593" y="438"/>
                  <a:pt x="2589" y="440"/>
                  <a:pt x="2590" y="437"/>
                </a:cubicBezTo>
                <a:cubicBezTo>
                  <a:pt x="2592" y="434"/>
                  <a:pt x="2592" y="434"/>
                  <a:pt x="2592" y="434"/>
                </a:cubicBezTo>
                <a:cubicBezTo>
                  <a:pt x="2592" y="434"/>
                  <a:pt x="2586" y="432"/>
                  <a:pt x="2588" y="430"/>
                </a:cubicBezTo>
                <a:cubicBezTo>
                  <a:pt x="2590" y="428"/>
                  <a:pt x="2595" y="428"/>
                  <a:pt x="2596" y="425"/>
                </a:cubicBezTo>
                <a:cubicBezTo>
                  <a:pt x="2597" y="423"/>
                  <a:pt x="2598" y="419"/>
                  <a:pt x="2598" y="419"/>
                </a:cubicBezTo>
                <a:cubicBezTo>
                  <a:pt x="2601" y="418"/>
                  <a:pt x="2601" y="418"/>
                  <a:pt x="2601" y="418"/>
                </a:cubicBezTo>
                <a:cubicBezTo>
                  <a:pt x="2600" y="413"/>
                  <a:pt x="2600" y="413"/>
                  <a:pt x="2600" y="413"/>
                </a:cubicBezTo>
                <a:cubicBezTo>
                  <a:pt x="2600" y="413"/>
                  <a:pt x="2597" y="411"/>
                  <a:pt x="2597" y="407"/>
                </a:cubicBezTo>
                <a:cubicBezTo>
                  <a:pt x="2597" y="404"/>
                  <a:pt x="2602" y="403"/>
                  <a:pt x="2602" y="403"/>
                </a:cubicBezTo>
                <a:cubicBezTo>
                  <a:pt x="2600" y="400"/>
                  <a:pt x="2600" y="400"/>
                  <a:pt x="2600" y="400"/>
                </a:cubicBezTo>
                <a:cubicBezTo>
                  <a:pt x="2605" y="400"/>
                  <a:pt x="2605" y="400"/>
                  <a:pt x="2605" y="400"/>
                </a:cubicBezTo>
                <a:cubicBezTo>
                  <a:pt x="2605" y="400"/>
                  <a:pt x="2604" y="391"/>
                  <a:pt x="2606" y="391"/>
                </a:cubicBezTo>
                <a:cubicBezTo>
                  <a:pt x="2608" y="390"/>
                  <a:pt x="2609" y="392"/>
                  <a:pt x="2609" y="392"/>
                </a:cubicBezTo>
                <a:cubicBezTo>
                  <a:pt x="2611" y="391"/>
                  <a:pt x="2611" y="391"/>
                  <a:pt x="2611" y="391"/>
                </a:cubicBezTo>
                <a:cubicBezTo>
                  <a:pt x="2611" y="391"/>
                  <a:pt x="2614" y="397"/>
                  <a:pt x="2616" y="397"/>
                </a:cubicBezTo>
                <a:cubicBezTo>
                  <a:pt x="2618" y="397"/>
                  <a:pt x="2622" y="395"/>
                  <a:pt x="2622" y="395"/>
                </a:cubicBezTo>
                <a:cubicBezTo>
                  <a:pt x="2622" y="398"/>
                  <a:pt x="2622" y="398"/>
                  <a:pt x="2622" y="398"/>
                </a:cubicBezTo>
                <a:cubicBezTo>
                  <a:pt x="2622" y="398"/>
                  <a:pt x="2633" y="394"/>
                  <a:pt x="2634" y="389"/>
                </a:cubicBezTo>
                <a:cubicBezTo>
                  <a:pt x="2634" y="385"/>
                  <a:pt x="2635" y="379"/>
                  <a:pt x="2635" y="379"/>
                </a:cubicBezTo>
                <a:cubicBezTo>
                  <a:pt x="2638" y="378"/>
                  <a:pt x="2638" y="378"/>
                  <a:pt x="2638" y="378"/>
                </a:cubicBezTo>
                <a:cubicBezTo>
                  <a:pt x="2638" y="378"/>
                  <a:pt x="2637" y="369"/>
                  <a:pt x="2639" y="368"/>
                </a:cubicBezTo>
                <a:cubicBezTo>
                  <a:pt x="2641" y="366"/>
                  <a:pt x="2641" y="361"/>
                  <a:pt x="2642" y="358"/>
                </a:cubicBezTo>
                <a:cubicBezTo>
                  <a:pt x="2642" y="354"/>
                  <a:pt x="2640" y="349"/>
                  <a:pt x="2640" y="349"/>
                </a:cubicBezTo>
                <a:cubicBezTo>
                  <a:pt x="2640" y="349"/>
                  <a:pt x="2643" y="344"/>
                  <a:pt x="2643" y="343"/>
                </a:cubicBezTo>
                <a:cubicBezTo>
                  <a:pt x="2643" y="342"/>
                  <a:pt x="2641" y="340"/>
                  <a:pt x="2641" y="340"/>
                </a:cubicBezTo>
                <a:cubicBezTo>
                  <a:pt x="2641" y="340"/>
                  <a:pt x="2645" y="335"/>
                  <a:pt x="2644" y="333"/>
                </a:cubicBezTo>
                <a:cubicBezTo>
                  <a:pt x="2643" y="331"/>
                  <a:pt x="2640" y="325"/>
                  <a:pt x="2640" y="325"/>
                </a:cubicBezTo>
                <a:cubicBezTo>
                  <a:pt x="2640" y="325"/>
                  <a:pt x="2639" y="320"/>
                  <a:pt x="2637" y="319"/>
                </a:cubicBezTo>
                <a:cubicBezTo>
                  <a:pt x="2636" y="318"/>
                  <a:pt x="2635" y="318"/>
                  <a:pt x="2635" y="318"/>
                </a:cubicBezTo>
                <a:cubicBezTo>
                  <a:pt x="2636" y="316"/>
                  <a:pt x="2636" y="316"/>
                  <a:pt x="2636" y="316"/>
                </a:cubicBezTo>
                <a:cubicBezTo>
                  <a:pt x="2636" y="316"/>
                  <a:pt x="2632" y="314"/>
                  <a:pt x="2630" y="311"/>
                </a:cubicBezTo>
                <a:cubicBezTo>
                  <a:pt x="2629" y="308"/>
                  <a:pt x="2629" y="306"/>
                  <a:pt x="2629" y="306"/>
                </a:cubicBezTo>
                <a:cubicBezTo>
                  <a:pt x="2627" y="304"/>
                  <a:pt x="2627" y="304"/>
                  <a:pt x="2627" y="304"/>
                </a:cubicBezTo>
                <a:cubicBezTo>
                  <a:pt x="2627" y="304"/>
                  <a:pt x="2628" y="298"/>
                  <a:pt x="2627" y="296"/>
                </a:cubicBezTo>
                <a:cubicBezTo>
                  <a:pt x="2625" y="294"/>
                  <a:pt x="2624" y="293"/>
                  <a:pt x="2624" y="293"/>
                </a:cubicBezTo>
                <a:cubicBezTo>
                  <a:pt x="2622" y="292"/>
                  <a:pt x="2622" y="292"/>
                  <a:pt x="2622" y="292"/>
                </a:cubicBezTo>
                <a:cubicBezTo>
                  <a:pt x="2622" y="292"/>
                  <a:pt x="2621" y="289"/>
                  <a:pt x="2620" y="288"/>
                </a:cubicBezTo>
                <a:cubicBezTo>
                  <a:pt x="2618" y="287"/>
                  <a:pt x="2615" y="285"/>
                  <a:pt x="2615" y="285"/>
                </a:cubicBezTo>
                <a:cubicBezTo>
                  <a:pt x="2612" y="284"/>
                  <a:pt x="2612" y="284"/>
                  <a:pt x="2612" y="284"/>
                </a:cubicBezTo>
                <a:cubicBezTo>
                  <a:pt x="2611" y="283"/>
                  <a:pt x="2611" y="283"/>
                  <a:pt x="2611" y="283"/>
                </a:cubicBezTo>
                <a:cubicBezTo>
                  <a:pt x="2611" y="283"/>
                  <a:pt x="2617" y="285"/>
                  <a:pt x="2617" y="284"/>
                </a:cubicBezTo>
                <a:cubicBezTo>
                  <a:pt x="2618" y="283"/>
                  <a:pt x="2614" y="282"/>
                  <a:pt x="2614" y="282"/>
                </a:cubicBezTo>
                <a:cubicBezTo>
                  <a:pt x="2602" y="276"/>
                  <a:pt x="2602" y="276"/>
                  <a:pt x="2602" y="276"/>
                </a:cubicBezTo>
                <a:cubicBezTo>
                  <a:pt x="2602" y="276"/>
                  <a:pt x="2596" y="273"/>
                  <a:pt x="2595" y="271"/>
                </a:cubicBezTo>
                <a:cubicBezTo>
                  <a:pt x="2593" y="270"/>
                  <a:pt x="2590" y="273"/>
                  <a:pt x="2590" y="273"/>
                </a:cubicBezTo>
                <a:cubicBezTo>
                  <a:pt x="2585" y="271"/>
                  <a:pt x="2585" y="271"/>
                  <a:pt x="2585" y="271"/>
                </a:cubicBezTo>
                <a:cubicBezTo>
                  <a:pt x="2590" y="277"/>
                  <a:pt x="2590" y="277"/>
                  <a:pt x="2590" y="277"/>
                </a:cubicBezTo>
                <a:cubicBezTo>
                  <a:pt x="2589" y="280"/>
                  <a:pt x="2589" y="280"/>
                  <a:pt x="2589" y="280"/>
                </a:cubicBezTo>
                <a:cubicBezTo>
                  <a:pt x="2587" y="280"/>
                  <a:pt x="2587" y="280"/>
                  <a:pt x="2587" y="280"/>
                </a:cubicBezTo>
                <a:cubicBezTo>
                  <a:pt x="2587" y="276"/>
                  <a:pt x="2587" y="276"/>
                  <a:pt x="2587" y="276"/>
                </a:cubicBezTo>
                <a:cubicBezTo>
                  <a:pt x="2585" y="274"/>
                  <a:pt x="2585" y="274"/>
                  <a:pt x="2585" y="274"/>
                </a:cubicBezTo>
                <a:cubicBezTo>
                  <a:pt x="2585" y="278"/>
                  <a:pt x="2585" y="278"/>
                  <a:pt x="2585" y="278"/>
                </a:cubicBezTo>
                <a:cubicBezTo>
                  <a:pt x="2579" y="279"/>
                  <a:pt x="2579" y="279"/>
                  <a:pt x="2579" y="279"/>
                </a:cubicBezTo>
                <a:cubicBezTo>
                  <a:pt x="2579" y="279"/>
                  <a:pt x="2580" y="277"/>
                  <a:pt x="2579" y="275"/>
                </a:cubicBezTo>
                <a:cubicBezTo>
                  <a:pt x="2578" y="274"/>
                  <a:pt x="2575" y="275"/>
                  <a:pt x="2575" y="275"/>
                </a:cubicBezTo>
                <a:cubicBezTo>
                  <a:pt x="2574" y="276"/>
                  <a:pt x="2574" y="276"/>
                  <a:pt x="2574" y="276"/>
                </a:cubicBezTo>
                <a:cubicBezTo>
                  <a:pt x="2571" y="276"/>
                  <a:pt x="2571" y="276"/>
                  <a:pt x="2571" y="276"/>
                </a:cubicBezTo>
                <a:cubicBezTo>
                  <a:pt x="2569" y="271"/>
                  <a:pt x="2569" y="271"/>
                  <a:pt x="2569" y="271"/>
                </a:cubicBezTo>
                <a:cubicBezTo>
                  <a:pt x="2568" y="271"/>
                  <a:pt x="2568" y="271"/>
                  <a:pt x="2568" y="271"/>
                </a:cubicBezTo>
                <a:cubicBezTo>
                  <a:pt x="2567" y="268"/>
                  <a:pt x="2567" y="268"/>
                  <a:pt x="2567" y="268"/>
                </a:cubicBezTo>
                <a:cubicBezTo>
                  <a:pt x="2557" y="269"/>
                  <a:pt x="2557" y="269"/>
                  <a:pt x="2557" y="269"/>
                </a:cubicBezTo>
                <a:cubicBezTo>
                  <a:pt x="2555" y="267"/>
                  <a:pt x="2555" y="267"/>
                  <a:pt x="2555" y="267"/>
                </a:cubicBezTo>
                <a:cubicBezTo>
                  <a:pt x="2555" y="267"/>
                  <a:pt x="2550" y="268"/>
                  <a:pt x="2550" y="265"/>
                </a:cubicBezTo>
                <a:cubicBezTo>
                  <a:pt x="2550" y="261"/>
                  <a:pt x="2554" y="261"/>
                  <a:pt x="2554" y="261"/>
                </a:cubicBezTo>
                <a:cubicBezTo>
                  <a:pt x="2554" y="257"/>
                  <a:pt x="2554" y="257"/>
                  <a:pt x="2554" y="257"/>
                </a:cubicBezTo>
                <a:cubicBezTo>
                  <a:pt x="2554" y="257"/>
                  <a:pt x="2558" y="257"/>
                  <a:pt x="2559" y="255"/>
                </a:cubicBezTo>
                <a:cubicBezTo>
                  <a:pt x="2559" y="252"/>
                  <a:pt x="2561" y="249"/>
                  <a:pt x="2561" y="249"/>
                </a:cubicBezTo>
                <a:cubicBezTo>
                  <a:pt x="2559" y="247"/>
                  <a:pt x="2559" y="247"/>
                  <a:pt x="2559" y="247"/>
                </a:cubicBezTo>
                <a:cubicBezTo>
                  <a:pt x="2560" y="245"/>
                  <a:pt x="2560" y="245"/>
                  <a:pt x="2560" y="245"/>
                </a:cubicBezTo>
                <a:cubicBezTo>
                  <a:pt x="2559" y="243"/>
                  <a:pt x="2559" y="243"/>
                  <a:pt x="2559" y="243"/>
                </a:cubicBezTo>
                <a:cubicBezTo>
                  <a:pt x="2562" y="240"/>
                  <a:pt x="2562" y="240"/>
                  <a:pt x="2562" y="240"/>
                </a:cubicBezTo>
                <a:cubicBezTo>
                  <a:pt x="2565" y="240"/>
                  <a:pt x="2565" y="240"/>
                  <a:pt x="2565" y="240"/>
                </a:cubicBezTo>
                <a:cubicBezTo>
                  <a:pt x="2563" y="235"/>
                  <a:pt x="2563" y="235"/>
                  <a:pt x="2563" y="235"/>
                </a:cubicBezTo>
                <a:cubicBezTo>
                  <a:pt x="2567" y="234"/>
                  <a:pt x="2567" y="234"/>
                  <a:pt x="2567" y="234"/>
                </a:cubicBezTo>
                <a:cubicBezTo>
                  <a:pt x="2563" y="229"/>
                  <a:pt x="2563" y="229"/>
                  <a:pt x="2563" y="229"/>
                </a:cubicBezTo>
                <a:cubicBezTo>
                  <a:pt x="2567" y="227"/>
                  <a:pt x="2567" y="227"/>
                  <a:pt x="2567" y="227"/>
                </a:cubicBezTo>
                <a:cubicBezTo>
                  <a:pt x="2567" y="227"/>
                  <a:pt x="2566" y="221"/>
                  <a:pt x="2569" y="219"/>
                </a:cubicBezTo>
                <a:cubicBezTo>
                  <a:pt x="2573" y="217"/>
                  <a:pt x="2574" y="217"/>
                  <a:pt x="2574" y="217"/>
                </a:cubicBezTo>
                <a:cubicBezTo>
                  <a:pt x="2574" y="217"/>
                  <a:pt x="2579" y="217"/>
                  <a:pt x="2582" y="217"/>
                </a:cubicBezTo>
                <a:cubicBezTo>
                  <a:pt x="2584" y="217"/>
                  <a:pt x="2595" y="218"/>
                  <a:pt x="2595" y="218"/>
                </a:cubicBezTo>
                <a:cubicBezTo>
                  <a:pt x="2597" y="220"/>
                  <a:pt x="2597" y="220"/>
                  <a:pt x="2597" y="220"/>
                </a:cubicBezTo>
                <a:cubicBezTo>
                  <a:pt x="2600" y="219"/>
                  <a:pt x="2600" y="219"/>
                  <a:pt x="2600" y="219"/>
                </a:cubicBezTo>
                <a:cubicBezTo>
                  <a:pt x="2599" y="217"/>
                  <a:pt x="2599" y="217"/>
                  <a:pt x="2599" y="217"/>
                </a:cubicBezTo>
                <a:cubicBezTo>
                  <a:pt x="2610" y="219"/>
                  <a:pt x="2610" y="219"/>
                  <a:pt x="2610" y="219"/>
                </a:cubicBezTo>
                <a:cubicBezTo>
                  <a:pt x="2614" y="217"/>
                  <a:pt x="2614" y="217"/>
                  <a:pt x="2614" y="217"/>
                </a:cubicBezTo>
                <a:cubicBezTo>
                  <a:pt x="2618" y="220"/>
                  <a:pt x="2618" y="220"/>
                  <a:pt x="2618" y="220"/>
                </a:cubicBezTo>
                <a:cubicBezTo>
                  <a:pt x="2619" y="215"/>
                  <a:pt x="2619" y="215"/>
                  <a:pt x="2619" y="215"/>
                </a:cubicBezTo>
                <a:cubicBezTo>
                  <a:pt x="2619" y="215"/>
                  <a:pt x="2624" y="215"/>
                  <a:pt x="2627" y="215"/>
                </a:cubicBezTo>
                <a:cubicBezTo>
                  <a:pt x="2630" y="215"/>
                  <a:pt x="2631" y="218"/>
                  <a:pt x="2633" y="217"/>
                </a:cubicBezTo>
                <a:cubicBezTo>
                  <a:pt x="2634" y="217"/>
                  <a:pt x="2638" y="215"/>
                  <a:pt x="2638" y="215"/>
                </a:cubicBezTo>
                <a:cubicBezTo>
                  <a:pt x="2641" y="218"/>
                  <a:pt x="2641" y="218"/>
                  <a:pt x="2641" y="218"/>
                </a:cubicBezTo>
                <a:cubicBezTo>
                  <a:pt x="2647" y="219"/>
                  <a:pt x="2647" y="219"/>
                  <a:pt x="2647" y="219"/>
                </a:cubicBezTo>
                <a:cubicBezTo>
                  <a:pt x="2639" y="220"/>
                  <a:pt x="2639" y="220"/>
                  <a:pt x="2639" y="220"/>
                </a:cubicBezTo>
                <a:cubicBezTo>
                  <a:pt x="2639" y="220"/>
                  <a:pt x="2642" y="225"/>
                  <a:pt x="2644" y="224"/>
                </a:cubicBezTo>
                <a:cubicBezTo>
                  <a:pt x="2646" y="223"/>
                  <a:pt x="2651" y="221"/>
                  <a:pt x="2651" y="221"/>
                </a:cubicBezTo>
                <a:cubicBezTo>
                  <a:pt x="2654" y="223"/>
                  <a:pt x="2654" y="223"/>
                  <a:pt x="2654" y="223"/>
                </a:cubicBezTo>
                <a:cubicBezTo>
                  <a:pt x="2657" y="220"/>
                  <a:pt x="2657" y="220"/>
                  <a:pt x="2657" y="220"/>
                </a:cubicBezTo>
                <a:cubicBezTo>
                  <a:pt x="2657" y="220"/>
                  <a:pt x="2663" y="222"/>
                  <a:pt x="2665" y="221"/>
                </a:cubicBezTo>
                <a:cubicBezTo>
                  <a:pt x="2666" y="220"/>
                  <a:pt x="2665" y="219"/>
                  <a:pt x="2665" y="219"/>
                </a:cubicBezTo>
                <a:cubicBezTo>
                  <a:pt x="2670" y="219"/>
                  <a:pt x="2670" y="219"/>
                  <a:pt x="2670" y="219"/>
                </a:cubicBezTo>
                <a:cubicBezTo>
                  <a:pt x="2663" y="215"/>
                  <a:pt x="2663" y="215"/>
                  <a:pt x="2663" y="215"/>
                </a:cubicBezTo>
                <a:cubicBezTo>
                  <a:pt x="2660" y="217"/>
                  <a:pt x="2660" y="217"/>
                  <a:pt x="2660" y="217"/>
                </a:cubicBezTo>
                <a:cubicBezTo>
                  <a:pt x="2658" y="214"/>
                  <a:pt x="2658" y="214"/>
                  <a:pt x="2658" y="214"/>
                </a:cubicBezTo>
                <a:cubicBezTo>
                  <a:pt x="2658" y="214"/>
                  <a:pt x="2655" y="210"/>
                  <a:pt x="2656" y="208"/>
                </a:cubicBezTo>
                <a:cubicBezTo>
                  <a:pt x="2656" y="207"/>
                  <a:pt x="2660" y="205"/>
                  <a:pt x="2660" y="205"/>
                </a:cubicBezTo>
                <a:cubicBezTo>
                  <a:pt x="2659" y="200"/>
                  <a:pt x="2659" y="200"/>
                  <a:pt x="2659" y="200"/>
                </a:cubicBezTo>
                <a:cubicBezTo>
                  <a:pt x="2661" y="199"/>
                  <a:pt x="2661" y="199"/>
                  <a:pt x="2661" y="199"/>
                </a:cubicBezTo>
                <a:cubicBezTo>
                  <a:pt x="2661" y="199"/>
                  <a:pt x="2655" y="196"/>
                  <a:pt x="2659" y="194"/>
                </a:cubicBezTo>
                <a:cubicBezTo>
                  <a:pt x="2662" y="191"/>
                  <a:pt x="2670" y="194"/>
                  <a:pt x="2670" y="194"/>
                </a:cubicBezTo>
                <a:cubicBezTo>
                  <a:pt x="2673" y="191"/>
                  <a:pt x="2673" y="191"/>
                  <a:pt x="2673" y="191"/>
                </a:cubicBezTo>
                <a:cubicBezTo>
                  <a:pt x="2678" y="195"/>
                  <a:pt x="2678" y="195"/>
                  <a:pt x="2678" y="195"/>
                </a:cubicBezTo>
                <a:cubicBezTo>
                  <a:pt x="2681" y="192"/>
                  <a:pt x="2681" y="192"/>
                  <a:pt x="2681" y="192"/>
                </a:cubicBezTo>
                <a:cubicBezTo>
                  <a:pt x="2681" y="192"/>
                  <a:pt x="2684" y="199"/>
                  <a:pt x="2686" y="200"/>
                </a:cubicBezTo>
                <a:cubicBezTo>
                  <a:pt x="2687" y="201"/>
                  <a:pt x="2692" y="200"/>
                  <a:pt x="2692" y="200"/>
                </a:cubicBezTo>
                <a:cubicBezTo>
                  <a:pt x="2692" y="200"/>
                  <a:pt x="2692" y="206"/>
                  <a:pt x="2694" y="205"/>
                </a:cubicBezTo>
                <a:cubicBezTo>
                  <a:pt x="2696" y="205"/>
                  <a:pt x="2699" y="196"/>
                  <a:pt x="2699" y="196"/>
                </a:cubicBezTo>
                <a:cubicBezTo>
                  <a:pt x="2703" y="194"/>
                  <a:pt x="2703" y="194"/>
                  <a:pt x="2703" y="194"/>
                </a:cubicBezTo>
                <a:cubicBezTo>
                  <a:pt x="2707" y="196"/>
                  <a:pt x="2707" y="196"/>
                  <a:pt x="2707" y="196"/>
                </a:cubicBezTo>
                <a:cubicBezTo>
                  <a:pt x="2707" y="194"/>
                  <a:pt x="2707" y="194"/>
                  <a:pt x="2707" y="194"/>
                </a:cubicBezTo>
                <a:cubicBezTo>
                  <a:pt x="2703" y="192"/>
                  <a:pt x="2703" y="192"/>
                  <a:pt x="2703" y="192"/>
                </a:cubicBezTo>
                <a:cubicBezTo>
                  <a:pt x="2703" y="192"/>
                  <a:pt x="2693" y="185"/>
                  <a:pt x="2695" y="184"/>
                </a:cubicBezTo>
                <a:cubicBezTo>
                  <a:pt x="2697" y="184"/>
                  <a:pt x="2709" y="185"/>
                  <a:pt x="2709" y="185"/>
                </a:cubicBezTo>
                <a:cubicBezTo>
                  <a:pt x="2716" y="185"/>
                  <a:pt x="2716" y="185"/>
                  <a:pt x="2716" y="185"/>
                </a:cubicBezTo>
                <a:cubicBezTo>
                  <a:pt x="2716" y="185"/>
                  <a:pt x="2716" y="188"/>
                  <a:pt x="2716" y="187"/>
                </a:cubicBezTo>
                <a:cubicBezTo>
                  <a:pt x="2715" y="187"/>
                  <a:pt x="2707" y="185"/>
                  <a:pt x="2707" y="188"/>
                </a:cubicBezTo>
                <a:cubicBezTo>
                  <a:pt x="2707" y="190"/>
                  <a:pt x="2712" y="193"/>
                  <a:pt x="2712" y="193"/>
                </a:cubicBezTo>
                <a:cubicBezTo>
                  <a:pt x="2713" y="197"/>
                  <a:pt x="2713" y="197"/>
                  <a:pt x="2713" y="197"/>
                </a:cubicBezTo>
                <a:cubicBezTo>
                  <a:pt x="2717" y="197"/>
                  <a:pt x="2717" y="197"/>
                  <a:pt x="2717" y="197"/>
                </a:cubicBezTo>
                <a:cubicBezTo>
                  <a:pt x="2716" y="200"/>
                  <a:pt x="2716" y="200"/>
                  <a:pt x="2716" y="200"/>
                </a:cubicBezTo>
                <a:cubicBezTo>
                  <a:pt x="2719" y="202"/>
                  <a:pt x="2719" y="202"/>
                  <a:pt x="2719" y="202"/>
                </a:cubicBezTo>
                <a:cubicBezTo>
                  <a:pt x="2715" y="203"/>
                  <a:pt x="2715" y="203"/>
                  <a:pt x="2715" y="203"/>
                </a:cubicBezTo>
                <a:cubicBezTo>
                  <a:pt x="2714" y="205"/>
                  <a:pt x="2714" y="205"/>
                  <a:pt x="2714" y="205"/>
                </a:cubicBezTo>
                <a:cubicBezTo>
                  <a:pt x="2711" y="206"/>
                  <a:pt x="2711" y="206"/>
                  <a:pt x="2711" y="206"/>
                </a:cubicBezTo>
                <a:cubicBezTo>
                  <a:pt x="2711" y="206"/>
                  <a:pt x="2714" y="211"/>
                  <a:pt x="2713" y="213"/>
                </a:cubicBezTo>
                <a:cubicBezTo>
                  <a:pt x="2711" y="216"/>
                  <a:pt x="2709" y="220"/>
                  <a:pt x="2709" y="221"/>
                </a:cubicBezTo>
                <a:cubicBezTo>
                  <a:pt x="2709" y="223"/>
                  <a:pt x="2713" y="224"/>
                  <a:pt x="2710" y="228"/>
                </a:cubicBezTo>
                <a:cubicBezTo>
                  <a:pt x="2707" y="231"/>
                  <a:pt x="2703" y="232"/>
                  <a:pt x="2703" y="232"/>
                </a:cubicBezTo>
                <a:cubicBezTo>
                  <a:pt x="2703" y="235"/>
                  <a:pt x="2703" y="235"/>
                  <a:pt x="2703" y="235"/>
                </a:cubicBezTo>
                <a:cubicBezTo>
                  <a:pt x="2701" y="235"/>
                  <a:pt x="2701" y="235"/>
                  <a:pt x="2701" y="235"/>
                </a:cubicBezTo>
                <a:cubicBezTo>
                  <a:pt x="2701" y="235"/>
                  <a:pt x="2706" y="237"/>
                  <a:pt x="2705" y="240"/>
                </a:cubicBezTo>
                <a:cubicBezTo>
                  <a:pt x="2705" y="244"/>
                  <a:pt x="2703" y="246"/>
                  <a:pt x="2705" y="250"/>
                </a:cubicBezTo>
                <a:cubicBezTo>
                  <a:pt x="2706" y="253"/>
                  <a:pt x="2720" y="265"/>
                  <a:pt x="2720" y="265"/>
                </a:cubicBezTo>
                <a:cubicBezTo>
                  <a:pt x="2728" y="273"/>
                  <a:pt x="2728" y="273"/>
                  <a:pt x="2728" y="273"/>
                </a:cubicBezTo>
                <a:cubicBezTo>
                  <a:pt x="2730" y="273"/>
                  <a:pt x="2730" y="273"/>
                  <a:pt x="2730" y="273"/>
                </a:cubicBezTo>
                <a:cubicBezTo>
                  <a:pt x="2741" y="286"/>
                  <a:pt x="2741" y="286"/>
                  <a:pt x="2741" y="286"/>
                </a:cubicBezTo>
                <a:cubicBezTo>
                  <a:pt x="2748" y="288"/>
                  <a:pt x="2748" y="288"/>
                  <a:pt x="2748" y="288"/>
                </a:cubicBezTo>
                <a:cubicBezTo>
                  <a:pt x="2752" y="292"/>
                  <a:pt x="2752" y="292"/>
                  <a:pt x="2752" y="292"/>
                </a:cubicBezTo>
                <a:cubicBezTo>
                  <a:pt x="2752" y="292"/>
                  <a:pt x="2760" y="302"/>
                  <a:pt x="2761" y="303"/>
                </a:cubicBezTo>
                <a:cubicBezTo>
                  <a:pt x="2763" y="304"/>
                  <a:pt x="2765" y="304"/>
                  <a:pt x="2765" y="304"/>
                </a:cubicBezTo>
                <a:cubicBezTo>
                  <a:pt x="2765" y="304"/>
                  <a:pt x="2764" y="308"/>
                  <a:pt x="2767" y="306"/>
                </a:cubicBezTo>
                <a:cubicBezTo>
                  <a:pt x="2770" y="305"/>
                  <a:pt x="2770" y="302"/>
                  <a:pt x="2770" y="302"/>
                </a:cubicBezTo>
                <a:cubicBezTo>
                  <a:pt x="2768" y="301"/>
                  <a:pt x="2768" y="301"/>
                  <a:pt x="2768" y="301"/>
                </a:cubicBezTo>
                <a:cubicBezTo>
                  <a:pt x="2768" y="301"/>
                  <a:pt x="2771" y="297"/>
                  <a:pt x="2771" y="295"/>
                </a:cubicBezTo>
                <a:cubicBezTo>
                  <a:pt x="2770" y="293"/>
                  <a:pt x="2764" y="289"/>
                  <a:pt x="2765" y="287"/>
                </a:cubicBezTo>
                <a:cubicBezTo>
                  <a:pt x="2766" y="284"/>
                  <a:pt x="2768" y="282"/>
                  <a:pt x="2769" y="282"/>
                </a:cubicBezTo>
                <a:cubicBezTo>
                  <a:pt x="2770" y="282"/>
                  <a:pt x="2774" y="283"/>
                  <a:pt x="2774" y="283"/>
                </a:cubicBezTo>
                <a:cubicBezTo>
                  <a:pt x="2774" y="283"/>
                  <a:pt x="2769" y="278"/>
                  <a:pt x="2768" y="277"/>
                </a:cubicBezTo>
                <a:cubicBezTo>
                  <a:pt x="2767" y="276"/>
                  <a:pt x="2764" y="275"/>
                  <a:pt x="2764" y="272"/>
                </a:cubicBezTo>
                <a:cubicBezTo>
                  <a:pt x="2765" y="269"/>
                  <a:pt x="2769" y="268"/>
                  <a:pt x="2769" y="268"/>
                </a:cubicBezTo>
                <a:cubicBezTo>
                  <a:pt x="2769" y="268"/>
                  <a:pt x="2775" y="270"/>
                  <a:pt x="2774" y="267"/>
                </a:cubicBezTo>
                <a:cubicBezTo>
                  <a:pt x="2774" y="264"/>
                  <a:pt x="2771" y="263"/>
                  <a:pt x="2768" y="261"/>
                </a:cubicBezTo>
                <a:cubicBezTo>
                  <a:pt x="2764" y="260"/>
                  <a:pt x="2761" y="256"/>
                  <a:pt x="2761" y="253"/>
                </a:cubicBezTo>
                <a:cubicBezTo>
                  <a:pt x="2761" y="251"/>
                  <a:pt x="2760" y="249"/>
                  <a:pt x="2760" y="249"/>
                </a:cubicBezTo>
                <a:cubicBezTo>
                  <a:pt x="2761" y="248"/>
                  <a:pt x="2761" y="248"/>
                  <a:pt x="2761" y="248"/>
                </a:cubicBezTo>
                <a:cubicBezTo>
                  <a:pt x="2761" y="248"/>
                  <a:pt x="2767" y="253"/>
                  <a:pt x="2768" y="252"/>
                </a:cubicBezTo>
                <a:cubicBezTo>
                  <a:pt x="2769" y="251"/>
                  <a:pt x="2764" y="246"/>
                  <a:pt x="2764" y="246"/>
                </a:cubicBezTo>
                <a:cubicBezTo>
                  <a:pt x="2759" y="245"/>
                  <a:pt x="2759" y="245"/>
                  <a:pt x="2759" y="245"/>
                </a:cubicBezTo>
                <a:cubicBezTo>
                  <a:pt x="2752" y="239"/>
                  <a:pt x="2752" y="239"/>
                  <a:pt x="2752" y="239"/>
                </a:cubicBezTo>
                <a:cubicBezTo>
                  <a:pt x="2752" y="239"/>
                  <a:pt x="2753" y="235"/>
                  <a:pt x="2750" y="233"/>
                </a:cubicBezTo>
                <a:cubicBezTo>
                  <a:pt x="2747" y="232"/>
                  <a:pt x="2744" y="232"/>
                  <a:pt x="2744" y="232"/>
                </a:cubicBezTo>
                <a:cubicBezTo>
                  <a:pt x="2744" y="234"/>
                  <a:pt x="2744" y="234"/>
                  <a:pt x="2744" y="234"/>
                </a:cubicBezTo>
                <a:cubicBezTo>
                  <a:pt x="2744" y="234"/>
                  <a:pt x="2735" y="232"/>
                  <a:pt x="2735" y="229"/>
                </a:cubicBezTo>
                <a:cubicBezTo>
                  <a:pt x="2735" y="225"/>
                  <a:pt x="2736" y="223"/>
                  <a:pt x="2735" y="220"/>
                </a:cubicBezTo>
                <a:cubicBezTo>
                  <a:pt x="2733" y="217"/>
                  <a:pt x="2730" y="215"/>
                  <a:pt x="2730" y="215"/>
                </a:cubicBezTo>
                <a:cubicBezTo>
                  <a:pt x="2730" y="215"/>
                  <a:pt x="2730" y="212"/>
                  <a:pt x="2731" y="211"/>
                </a:cubicBezTo>
                <a:cubicBezTo>
                  <a:pt x="2732" y="211"/>
                  <a:pt x="2734" y="212"/>
                  <a:pt x="2734" y="212"/>
                </a:cubicBezTo>
                <a:cubicBezTo>
                  <a:pt x="2735" y="210"/>
                  <a:pt x="2735" y="210"/>
                  <a:pt x="2735" y="210"/>
                </a:cubicBezTo>
                <a:cubicBezTo>
                  <a:pt x="2741" y="214"/>
                  <a:pt x="2741" y="214"/>
                  <a:pt x="2741" y="214"/>
                </a:cubicBezTo>
                <a:cubicBezTo>
                  <a:pt x="2742" y="213"/>
                  <a:pt x="2742" y="213"/>
                  <a:pt x="2742" y="213"/>
                </a:cubicBezTo>
                <a:cubicBezTo>
                  <a:pt x="2740" y="211"/>
                  <a:pt x="2740" y="211"/>
                  <a:pt x="2740" y="211"/>
                </a:cubicBezTo>
                <a:cubicBezTo>
                  <a:pt x="2740" y="211"/>
                  <a:pt x="2741" y="205"/>
                  <a:pt x="2744" y="206"/>
                </a:cubicBezTo>
                <a:cubicBezTo>
                  <a:pt x="2746" y="207"/>
                  <a:pt x="2752" y="214"/>
                  <a:pt x="2752" y="214"/>
                </a:cubicBezTo>
                <a:cubicBezTo>
                  <a:pt x="2753" y="207"/>
                  <a:pt x="2753" y="207"/>
                  <a:pt x="2753" y="207"/>
                </a:cubicBezTo>
                <a:cubicBezTo>
                  <a:pt x="2753" y="207"/>
                  <a:pt x="2765" y="206"/>
                  <a:pt x="2767" y="206"/>
                </a:cubicBezTo>
                <a:cubicBezTo>
                  <a:pt x="2769" y="206"/>
                  <a:pt x="2776" y="210"/>
                  <a:pt x="2776" y="210"/>
                </a:cubicBezTo>
                <a:cubicBezTo>
                  <a:pt x="2782" y="212"/>
                  <a:pt x="2782" y="212"/>
                  <a:pt x="2782" y="212"/>
                </a:cubicBezTo>
                <a:cubicBezTo>
                  <a:pt x="2778" y="204"/>
                  <a:pt x="2778" y="204"/>
                  <a:pt x="2778" y="204"/>
                </a:cubicBezTo>
                <a:cubicBezTo>
                  <a:pt x="2778" y="204"/>
                  <a:pt x="2785" y="204"/>
                  <a:pt x="2785" y="202"/>
                </a:cubicBezTo>
                <a:cubicBezTo>
                  <a:pt x="2786" y="199"/>
                  <a:pt x="2784" y="196"/>
                  <a:pt x="2784" y="196"/>
                </a:cubicBezTo>
                <a:cubicBezTo>
                  <a:pt x="2786" y="196"/>
                  <a:pt x="2786" y="196"/>
                  <a:pt x="2786" y="196"/>
                </a:cubicBezTo>
                <a:cubicBezTo>
                  <a:pt x="2787" y="193"/>
                  <a:pt x="2787" y="193"/>
                  <a:pt x="2787" y="193"/>
                </a:cubicBezTo>
                <a:cubicBezTo>
                  <a:pt x="2787" y="193"/>
                  <a:pt x="2795" y="194"/>
                  <a:pt x="2796" y="191"/>
                </a:cubicBezTo>
                <a:cubicBezTo>
                  <a:pt x="2798" y="188"/>
                  <a:pt x="2802" y="186"/>
                  <a:pt x="2802" y="186"/>
                </a:cubicBezTo>
                <a:cubicBezTo>
                  <a:pt x="2799" y="182"/>
                  <a:pt x="2799" y="182"/>
                  <a:pt x="2799" y="182"/>
                </a:cubicBezTo>
                <a:cubicBezTo>
                  <a:pt x="2803" y="183"/>
                  <a:pt x="2803" y="183"/>
                  <a:pt x="2803" y="183"/>
                </a:cubicBezTo>
                <a:cubicBezTo>
                  <a:pt x="2804" y="185"/>
                  <a:pt x="2804" y="185"/>
                  <a:pt x="2804" y="185"/>
                </a:cubicBezTo>
                <a:cubicBezTo>
                  <a:pt x="2812" y="186"/>
                  <a:pt x="2812" y="186"/>
                  <a:pt x="2812" y="186"/>
                </a:cubicBezTo>
                <a:cubicBezTo>
                  <a:pt x="2812" y="186"/>
                  <a:pt x="2821" y="188"/>
                  <a:pt x="2821" y="187"/>
                </a:cubicBezTo>
                <a:cubicBezTo>
                  <a:pt x="2821" y="185"/>
                  <a:pt x="2820" y="183"/>
                  <a:pt x="2820" y="183"/>
                </a:cubicBezTo>
                <a:cubicBezTo>
                  <a:pt x="2815" y="182"/>
                  <a:pt x="2815" y="182"/>
                  <a:pt x="2815" y="182"/>
                </a:cubicBezTo>
                <a:cubicBezTo>
                  <a:pt x="2814" y="179"/>
                  <a:pt x="2814" y="179"/>
                  <a:pt x="2814" y="179"/>
                </a:cubicBezTo>
                <a:cubicBezTo>
                  <a:pt x="2814" y="179"/>
                  <a:pt x="2807" y="176"/>
                  <a:pt x="2804" y="176"/>
                </a:cubicBezTo>
                <a:cubicBezTo>
                  <a:pt x="2802" y="175"/>
                  <a:pt x="2800" y="176"/>
                  <a:pt x="2800" y="176"/>
                </a:cubicBezTo>
                <a:cubicBezTo>
                  <a:pt x="2801" y="174"/>
                  <a:pt x="2801" y="174"/>
                  <a:pt x="2801" y="174"/>
                </a:cubicBezTo>
                <a:cubicBezTo>
                  <a:pt x="2790" y="166"/>
                  <a:pt x="2790" y="166"/>
                  <a:pt x="2790" y="166"/>
                </a:cubicBezTo>
                <a:cubicBezTo>
                  <a:pt x="2788" y="169"/>
                  <a:pt x="2788" y="169"/>
                  <a:pt x="2788" y="169"/>
                </a:cubicBezTo>
                <a:cubicBezTo>
                  <a:pt x="2788" y="169"/>
                  <a:pt x="2784" y="168"/>
                  <a:pt x="2782" y="167"/>
                </a:cubicBezTo>
                <a:cubicBezTo>
                  <a:pt x="2781" y="166"/>
                  <a:pt x="2778" y="165"/>
                  <a:pt x="2778" y="165"/>
                </a:cubicBezTo>
                <a:cubicBezTo>
                  <a:pt x="2774" y="166"/>
                  <a:pt x="2774" y="166"/>
                  <a:pt x="2774" y="166"/>
                </a:cubicBezTo>
                <a:cubicBezTo>
                  <a:pt x="2770" y="165"/>
                  <a:pt x="2770" y="165"/>
                  <a:pt x="2770" y="165"/>
                </a:cubicBezTo>
                <a:cubicBezTo>
                  <a:pt x="2770" y="165"/>
                  <a:pt x="2763" y="161"/>
                  <a:pt x="2766" y="161"/>
                </a:cubicBezTo>
                <a:cubicBezTo>
                  <a:pt x="2768" y="160"/>
                  <a:pt x="2771" y="162"/>
                  <a:pt x="2772" y="162"/>
                </a:cubicBezTo>
                <a:cubicBezTo>
                  <a:pt x="2774" y="162"/>
                  <a:pt x="2784" y="164"/>
                  <a:pt x="2784" y="164"/>
                </a:cubicBezTo>
                <a:cubicBezTo>
                  <a:pt x="2784" y="164"/>
                  <a:pt x="2794" y="161"/>
                  <a:pt x="2794" y="159"/>
                </a:cubicBezTo>
                <a:cubicBezTo>
                  <a:pt x="2794" y="158"/>
                  <a:pt x="2788" y="154"/>
                  <a:pt x="2788" y="154"/>
                </a:cubicBezTo>
                <a:cubicBezTo>
                  <a:pt x="2787" y="154"/>
                  <a:pt x="2777" y="150"/>
                  <a:pt x="2780" y="148"/>
                </a:cubicBezTo>
                <a:cubicBezTo>
                  <a:pt x="2783" y="146"/>
                  <a:pt x="2788" y="151"/>
                  <a:pt x="2788" y="151"/>
                </a:cubicBezTo>
                <a:cubicBezTo>
                  <a:pt x="2788" y="151"/>
                  <a:pt x="2798" y="157"/>
                  <a:pt x="2801" y="156"/>
                </a:cubicBezTo>
                <a:cubicBezTo>
                  <a:pt x="2804" y="156"/>
                  <a:pt x="2805" y="153"/>
                  <a:pt x="2813" y="156"/>
                </a:cubicBezTo>
                <a:cubicBezTo>
                  <a:pt x="2821" y="158"/>
                  <a:pt x="2828" y="161"/>
                  <a:pt x="2831" y="162"/>
                </a:cubicBezTo>
                <a:cubicBezTo>
                  <a:pt x="2833" y="162"/>
                  <a:pt x="2842" y="165"/>
                  <a:pt x="2842" y="165"/>
                </a:cubicBezTo>
                <a:cubicBezTo>
                  <a:pt x="2842" y="165"/>
                  <a:pt x="2854" y="172"/>
                  <a:pt x="2853" y="168"/>
                </a:cubicBezTo>
                <a:cubicBezTo>
                  <a:pt x="2853" y="164"/>
                  <a:pt x="2848" y="162"/>
                  <a:pt x="2848" y="162"/>
                </a:cubicBezTo>
                <a:cubicBezTo>
                  <a:pt x="2851" y="160"/>
                  <a:pt x="2851" y="160"/>
                  <a:pt x="2851" y="160"/>
                </a:cubicBezTo>
                <a:cubicBezTo>
                  <a:pt x="2845" y="157"/>
                  <a:pt x="2845" y="157"/>
                  <a:pt x="2845" y="157"/>
                </a:cubicBezTo>
                <a:cubicBezTo>
                  <a:pt x="2846" y="157"/>
                  <a:pt x="2846" y="157"/>
                  <a:pt x="2846" y="157"/>
                </a:cubicBezTo>
                <a:cubicBezTo>
                  <a:pt x="2839" y="153"/>
                  <a:pt x="2839" y="153"/>
                  <a:pt x="2839" y="153"/>
                </a:cubicBezTo>
                <a:cubicBezTo>
                  <a:pt x="2847" y="154"/>
                  <a:pt x="2847" y="154"/>
                  <a:pt x="2847" y="154"/>
                </a:cubicBezTo>
                <a:cubicBezTo>
                  <a:pt x="2846" y="152"/>
                  <a:pt x="2846" y="152"/>
                  <a:pt x="2846" y="152"/>
                </a:cubicBezTo>
                <a:cubicBezTo>
                  <a:pt x="2846" y="152"/>
                  <a:pt x="2856" y="154"/>
                  <a:pt x="2854" y="151"/>
                </a:cubicBezTo>
                <a:cubicBezTo>
                  <a:pt x="2852" y="148"/>
                  <a:pt x="2846" y="147"/>
                  <a:pt x="2846" y="147"/>
                </a:cubicBezTo>
                <a:cubicBezTo>
                  <a:pt x="2839" y="144"/>
                  <a:pt x="2839" y="144"/>
                  <a:pt x="2839" y="144"/>
                </a:cubicBezTo>
                <a:cubicBezTo>
                  <a:pt x="2833" y="145"/>
                  <a:pt x="2833" y="145"/>
                  <a:pt x="2833" y="145"/>
                </a:cubicBezTo>
                <a:cubicBezTo>
                  <a:pt x="2829" y="142"/>
                  <a:pt x="2829" y="142"/>
                  <a:pt x="2829" y="142"/>
                </a:cubicBezTo>
                <a:cubicBezTo>
                  <a:pt x="2816" y="141"/>
                  <a:pt x="2816" y="141"/>
                  <a:pt x="2816" y="141"/>
                </a:cubicBezTo>
                <a:cubicBezTo>
                  <a:pt x="2811" y="139"/>
                  <a:pt x="2811" y="139"/>
                  <a:pt x="2811" y="139"/>
                </a:cubicBezTo>
                <a:cubicBezTo>
                  <a:pt x="2806" y="139"/>
                  <a:pt x="2806" y="139"/>
                  <a:pt x="2806" y="139"/>
                </a:cubicBezTo>
                <a:cubicBezTo>
                  <a:pt x="2813" y="144"/>
                  <a:pt x="2813" y="144"/>
                  <a:pt x="2813" y="144"/>
                </a:cubicBezTo>
                <a:cubicBezTo>
                  <a:pt x="2821" y="148"/>
                  <a:pt x="2821" y="148"/>
                  <a:pt x="2821" y="148"/>
                </a:cubicBezTo>
                <a:cubicBezTo>
                  <a:pt x="2821" y="148"/>
                  <a:pt x="2812" y="149"/>
                  <a:pt x="2810" y="147"/>
                </a:cubicBezTo>
                <a:cubicBezTo>
                  <a:pt x="2807" y="145"/>
                  <a:pt x="2807" y="140"/>
                  <a:pt x="2796" y="136"/>
                </a:cubicBezTo>
                <a:cubicBezTo>
                  <a:pt x="2785" y="133"/>
                  <a:pt x="2781" y="131"/>
                  <a:pt x="2770" y="129"/>
                </a:cubicBezTo>
                <a:cubicBezTo>
                  <a:pt x="2759" y="127"/>
                  <a:pt x="2735" y="122"/>
                  <a:pt x="2724" y="119"/>
                </a:cubicBezTo>
                <a:cubicBezTo>
                  <a:pt x="2713" y="116"/>
                  <a:pt x="2700" y="115"/>
                  <a:pt x="2700" y="115"/>
                </a:cubicBezTo>
                <a:cubicBezTo>
                  <a:pt x="2674" y="115"/>
                  <a:pt x="2674" y="115"/>
                  <a:pt x="2674" y="115"/>
                </a:cubicBezTo>
                <a:cubicBezTo>
                  <a:pt x="2672" y="112"/>
                  <a:pt x="2672" y="112"/>
                  <a:pt x="2672" y="112"/>
                </a:cubicBezTo>
                <a:cubicBezTo>
                  <a:pt x="2666" y="113"/>
                  <a:pt x="2666" y="113"/>
                  <a:pt x="2666" y="113"/>
                </a:cubicBezTo>
                <a:cubicBezTo>
                  <a:pt x="2664" y="111"/>
                  <a:pt x="2664" y="111"/>
                  <a:pt x="2664" y="111"/>
                </a:cubicBezTo>
                <a:cubicBezTo>
                  <a:pt x="2656" y="111"/>
                  <a:pt x="2656" y="111"/>
                  <a:pt x="2656" y="111"/>
                </a:cubicBezTo>
                <a:cubicBezTo>
                  <a:pt x="2660" y="113"/>
                  <a:pt x="2660" y="113"/>
                  <a:pt x="2660" y="113"/>
                </a:cubicBezTo>
                <a:cubicBezTo>
                  <a:pt x="2659" y="116"/>
                  <a:pt x="2659" y="116"/>
                  <a:pt x="2659" y="116"/>
                </a:cubicBezTo>
                <a:cubicBezTo>
                  <a:pt x="2659" y="116"/>
                  <a:pt x="2679" y="121"/>
                  <a:pt x="2673" y="124"/>
                </a:cubicBezTo>
                <a:cubicBezTo>
                  <a:pt x="2667" y="127"/>
                  <a:pt x="2663" y="123"/>
                  <a:pt x="2663" y="123"/>
                </a:cubicBezTo>
                <a:cubicBezTo>
                  <a:pt x="2660" y="120"/>
                  <a:pt x="2660" y="120"/>
                  <a:pt x="2660" y="120"/>
                </a:cubicBezTo>
                <a:cubicBezTo>
                  <a:pt x="2651" y="120"/>
                  <a:pt x="2651" y="120"/>
                  <a:pt x="2651" y="120"/>
                </a:cubicBezTo>
                <a:cubicBezTo>
                  <a:pt x="2643" y="115"/>
                  <a:pt x="2643" y="115"/>
                  <a:pt x="2643" y="115"/>
                </a:cubicBezTo>
                <a:cubicBezTo>
                  <a:pt x="2643" y="115"/>
                  <a:pt x="2639" y="116"/>
                  <a:pt x="2638" y="117"/>
                </a:cubicBezTo>
                <a:cubicBezTo>
                  <a:pt x="2637" y="117"/>
                  <a:pt x="2631" y="117"/>
                  <a:pt x="2631" y="117"/>
                </a:cubicBezTo>
                <a:cubicBezTo>
                  <a:pt x="2630" y="116"/>
                  <a:pt x="2630" y="116"/>
                  <a:pt x="2630" y="116"/>
                </a:cubicBezTo>
                <a:cubicBezTo>
                  <a:pt x="2617" y="116"/>
                  <a:pt x="2617" y="116"/>
                  <a:pt x="2617" y="116"/>
                </a:cubicBezTo>
                <a:cubicBezTo>
                  <a:pt x="2613" y="114"/>
                  <a:pt x="2613" y="114"/>
                  <a:pt x="2613" y="114"/>
                </a:cubicBezTo>
                <a:cubicBezTo>
                  <a:pt x="2612" y="115"/>
                  <a:pt x="2612" y="115"/>
                  <a:pt x="2612" y="115"/>
                </a:cubicBezTo>
                <a:cubicBezTo>
                  <a:pt x="2612" y="115"/>
                  <a:pt x="2596" y="113"/>
                  <a:pt x="2597" y="116"/>
                </a:cubicBezTo>
                <a:cubicBezTo>
                  <a:pt x="2598" y="118"/>
                  <a:pt x="2604" y="123"/>
                  <a:pt x="2604" y="123"/>
                </a:cubicBezTo>
                <a:cubicBezTo>
                  <a:pt x="2604" y="123"/>
                  <a:pt x="2597" y="118"/>
                  <a:pt x="2596" y="117"/>
                </a:cubicBezTo>
                <a:cubicBezTo>
                  <a:pt x="2595" y="116"/>
                  <a:pt x="2581" y="115"/>
                  <a:pt x="2581" y="115"/>
                </a:cubicBezTo>
                <a:cubicBezTo>
                  <a:pt x="2581" y="115"/>
                  <a:pt x="2579" y="111"/>
                  <a:pt x="2574" y="108"/>
                </a:cubicBezTo>
                <a:cubicBezTo>
                  <a:pt x="2568" y="105"/>
                  <a:pt x="2560" y="104"/>
                  <a:pt x="2557" y="104"/>
                </a:cubicBezTo>
                <a:cubicBezTo>
                  <a:pt x="2553" y="104"/>
                  <a:pt x="2546" y="103"/>
                  <a:pt x="2546" y="103"/>
                </a:cubicBezTo>
                <a:cubicBezTo>
                  <a:pt x="2539" y="101"/>
                  <a:pt x="2539" y="101"/>
                  <a:pt x="2539" y="101"/>
                </a:cubicBezTo>
                <a:cubicBezTo>
                  <a:pt x="2537" y="102"/>
                  <a:pt x="2537" y="102"/>
                  <a:pt x="2537" y="102"/>
                </a:cubicBezTo>
                <a:cubicBezTo>
                  <a:pt x="2529" y="102"/>
                  <a:pt x="2529" y="102"/>
                  <a:pt x="2529" y="102"/>
                </a:cubicBezTo>
                <a:cubicBezTo>
                  <a:pt x="2529" y="102"/>
                  <a:pt x="2528" y="106"/>
                  <a:pt x="2523" y="105"/>
                </a:cubicBezTo>
                <a:cubicBezTo>
                  <a:pt x="2518" y="105"/>
                  <a:pt x="2512" y="104"/>
                  <a:pt x="2512" y="104"/>
                </a:cubicBezTo>
                <a:cubicBezTo>
                  <a:pt x="2512" y="104"/>
                  <a:pt x="2506" y="100"/>
                  <a:pt x="2502" y="100"/>
                </a:cubicBezTo>
                <a:cubicBezTo>
                  <a:pt x="2499" y="100"/>
                  <a:pt x="2497" y="100"/>
                  <a:pt x="2497" y="100"/>
                </a:cubicBezTo>
                <a:cubicBezTo>
                  <a:pt x="2496" y="98"/>
                  <a:pt x="2496" y="98"/>
                  <a:pt x="2496" y="98"/>
                </a:cubicBezTo>
                <a:cubicBezTo>
                  <a:pt x="2490" y="98"/>
                  <a:pt x="2490" y="98"/>
                  <a:pt x="2490" y="98"/>
                </a:cubicBezTo>
                <a:cubicBezTo>
                  <a:pt x="2481" y="97"/>
                  <a:pt x="2481" y="97"/>
                  <a:pt x="2481" y="97"/>
                </a:cubicBezTo>
                <a:cubicBezTo>
                  <a:pt x="2487" y="95"/>
                  <a:pt x="2487" y="95"/>
                  <a:pt x="2487" y="95"/>
                </a:cubicBezTo>
                <a:cubicBezTo>
                  <a:pt x="2481" y="92"/>
                  <a:pt x="2481" y="92"/>
                  <a:pt x="2481" y="92"/>
                </a:cubicBezTo>
                <a:cubicBezTo>
                  <a:pt x="2481" y="92"/>
                  <a:pt x="2462" y="90"/>
                  <a:pt x="2461" y="91"/>
                </a:cubicBezTo>
                <a:cubicBezTo>
                  <a:pt x="2460" y="92"/>
                  <a:pt x="2463" y="96"/>
                  <a:pt x="2460" y="96"/>
                </a:cubicBezTo>
                <a:cubicBezTo>
                  <a:pt x="2457" y="97"/>
                  <a:pt x="2452" y="96"/>
                  <a:pt x="2452" y="96"/>
                </a:cubicBezTo>
                <a:cubicBezTo>
                  <a:pt x="2455" y="94"/>
                  <a:pt x="2455" y="94"/>
                  <a:pt x="2455" y="94"/>
                </a:cubicBezTo>
                <a:cubicBezTo>
                  <a:pt x="2453" y="92"/>
                  <a:pt x="2453" y="92"/>
                  <a:pt x="2453" y="92"/>
                </a:cubicBezTo>
                <a:cubicBezTo>
                  <a:pt x="2453" y="92"/>
                  <a:pt x="2452" y="92"/>
                  <a:pt x="2449" y="92"/>
                </a:cubicBezTo>
                <a:cubicBezTo>
                  <a:pt x="2446" y="93"/>
                  <a:pt x="2443" y="92"/>
                  <a:pt x="2443" y="92"/>
                </a:cubicBezTo>
                <a:cubicBezTo>
                  <a:pt x="2445" y="91"/>
                  <a:pt x="2445" y="91"/>
                  <a:pt x="2445" y="91"/>
                </a:cubicBezTo>
                <a:cubicBezTo>
                  <a:pt x="2451" y="90"/>
                  <a:pt x="2451" y="90"/>
                  <a:pt x="2451" y="90"/>
                </a:cubicBezTo>
                <a:cubicBezTo>
                  <a:pt x="2459" y="95"/>
                  <a:pt x="2459" y="95"/>
                  <a:pt x="2459" y="95"/>
                </a:cubicBezTo>
                <a:cubicBezTo>
                  <a:pt x="2460" y="91"/>
                  <a:pt x="2460" y="91"/>
                  <a:pt x="2460" y="91"/>
                </a:cubicBezTo>
                <a:cubicBezTo>
                  <a:pt x="2452" y="88"/>
                  <a:pt x="2452" y="88"/>
                  <a:pt x="2452" y="88"/>
                </a:cubicBezTo>
                <a:cubicBezTo>
                  <a:pt x="2436" y="89"/>
                  <a:pt x="2436" y="89"/>
                  <a:pt x="2436" y="89"/>
                </a:cubicBezTo>
                <a:cubicBezTo>
                  <a:pt x="2436" y="87"/>
                  <a:pt x="2436" y="87"/>
                  <a:pt x="2436" y="87"/>
                </a:cubicBezTo>
                <a:cubicBezTo>
                  <a:pt x="2419" y="88"/>
                  <a:pt x="2419" y="88"/>
                  <a:pt x="2419" y="88"/>
                </a:cubicBezTo>
                <a:cubicBezTo>
                  <a:pt x="2413" y="85"/>
                  <a:pt x="2413" y="85"/>
                  <a:pt x="2413" y="85"/>
                </a:cubicBezTo>
                <a:cubicBezTo>
                  <a:pt x="2410" y="85"/>
                  <a:pt x="2410" y="85"/>
                  <a:pt x="2410" y="85"/>
                </a:cubicBezTo>
                <a:cubicBezTo>
                  <a:pt x="2415" y="89"/>
                  <a:pt x="2415" y="89"/>
                  <a:pt x="2415" y="89"/>
                </a:cubicBezTo>
                <a:cubicBezTo>
                  <a:pt x="2415" y="89"/>
                  <a:pt x="2404" y="89"/>
                  <a:pt x="2406" y="90"/>
                </a:cubicBezTo>
                <a:cubicBezTo>
                  <a:pt x="2408" y="92"/>
                  <a:pt x="2410" y="93"/>
                  <a:pt x="2410" y="93"/>
                </a:cubicBezTo>
                <a:cubicBezTo>
                  <a:pt x="2414" y="93"/>
                  <a:pt x="2414" y="93"/>
                  <a:pt x="2414" y="93"/>
                </a:cubicBezTo>
                <a:cubicBezTo>
                  <a:pt x="2414" y="94"/>
                  <a:pt x="2414" y="94"/>
                  <a:pt x="2414" y="94"/>
                </a:cubicBezTo>
                <a:cubicBezTo>
                  <a:pt x="2422" y="99"/>
                  <a:pt x="2422" y="99"/>
                  <a:pt x="2422" y="99"/>
                </a:cubicBezTo>
                <a:cubicBezTo>
                  <a:pt x="2422" y="99"/>
                  <a:pt x="2421" y="99"/>
                  <a:pt x="2418" y="99"/>
                </a:cubicBezTo>
                <a:cubicBezTo>
                  <a:pt x="2415" y="99"/>
                  <a:pt x="2411" y="96"/>
                  <a:pt x="2410" y="97"/>
                </a:cubicBezTo>
                <a:cubicBezTo>
                  <a:pt x="2408" y="98"/>
                  <a:pt x="2408" y="98"/>
                  <a:pt x="2408" y="98"/>
                </a:cubicBezTo>
                <a:cubicBezTo>
                  <a:pt x="2411" y="101"/>
                  <a:pt x="2411" y="101"/>
                  <a:pt x="2411" y="101"/>
                </a:cubicBezTo>
                <a:cubicBezTo>
                  <a:pt x="2404" y="100"/>
                  <a:pt x="2404" y="100"/>
                  <a:pt x="2404" y="100"/>
                </a:cubicBezTo>
                <a:cubicBezTo>
                  <a:pt x="2404" y="100"/>
                  <a:pt x="2393" y="97"/>
                  <a:pt x="2392" y="97"/>
                </a:cubicBezTo>
                <a:cubicBezTo>
                  <a:pt x="2390" y="97"/>
                  <a:pt x="2384" y="100"/>
                  <a:pt x="2384" y="100"/>
                </a:cubicBezTo>
                <a:cubicBezTo>
                  <a:pt x="2375" y="99"/>
                  <a:pt x="2375" y="99"/>
                  <a:pt x="2375" y="99"/>
                </a:cubicBezTo>
                <a:cubicBezTo>
                  <a:pt x="2375" y="99"/>
                  <a:pt x="2367" y="95"/>
                  <a:pt x="2366" y="94"/>
                </a:cubicBezTo>
                <a:cubicBezTo>
                  <a:pt x="2366" y="94"/>
                  <a:pt x="2364" y="96"/>
                  <a:pt x="2365" y="97"/>
                </a:cubicBezTo>
                <a:cubicBezTo>
                  <a:pt x="2365" y="99"/>
                  <a:pt x="2371" y="105"/>
                  <a:pt x="2368" y="105"/>
                </a:cubicBezTo>
                <a:cubicBezTo>
                  <a:pt x="2364" y="105"/>
                  <a:pt x="2348" y="99"/>
                  <a:pt x="2347" y="99"/>
                </a:cubicBezTo>
                <a:cubicBezTo>
                  <a:pt x="2347" y="98"/>
                  <a:pt x="2343" y="95"/>
                  <a:pt x="2343" y="95"/>
                </a:cubicBezTo>
                <a:cubicBezTo>
                  <a:pt x="2342" y="97"/>
                  <a:pt x="2342" y="97"/>
                  <a:pt x="2342" y="97"/>
                </a:cubicBezTo>
                <a:cubicBezTo>
                  <a:pt x="2334" y="95"/>
                  <a:pt x="2334" y="95"/>
                  <a:pt x="2334" y="95"/>
                </a:cubicBezTo>
                <a:cubicBezTo>
                  <a:pt x="2331" y="92"/>
                  <a:pt x="2331" y="92"/>
                  <a:pt x="2331" y="92"/>
                </a:cubicBezTo>
                <a:cubicBezTo>
                  <a:pt x="2331" y="92"/>
                  <a:pt x="2339" y="94"/>
                  <a:pt x="2340" y="93"/>
                </a:cubicBezTo>
                <a:cubicBezTo>
                  <a:pt x="2341" y="92"/>
                  <a:pt x="2335" y="89"/>
                  <a:pt x="2335" y="89"/>
                </a:cubicBezTo>
                <a:cubicBezTo>
                  <a:pt x="2330" y="89"/>
                  <a:pt x="2330" y="89"/>
                  <a:pt x="2330" y="89"/>
                </a:cubicBezTo>
                <a:cubicBezTo>
                  <a:pt x="2330" y="89"/>
                  <a:pt x="2333" y="88"/>
                  <a:pt x="2331" y="87"/>
                </a:cubicBezTo>
                <a:cubicBezTo>
                  <a:pt x="2330" y="86"/>
                  <a:pt x="2326" y="86"/>
                  <a:pt x="2326" y="86"/>
                </a:cubicBezTo>
                <a:cubicBezTo>
                  <a:pt x="2327" y="84"/>
                  <a:pt x="2327" y="84"/>
                  <a:pt x="2327" y="84"/>
                </a:cubicBezTo>
                <a:cubicBezTo>
                  <a:pt x="2327" y="84"/>
                  <a:pt x="2321" y="82"/>
                  <a:pt x="2320" y="82"/>
                </a:cubicBezTo>
                <a:cubicBezTo>
                  <a:pt x="2319" y="82"/>
                  <a:pt x="2316" y="80"/>
                  <a:pt x="2316" y="80"/>
                </a:cubicBezTo>
                <a:cubicBezTo>
                  <a:pt x="2309" y="80"/>
                  <a:pt x="2309" y="80"/>
                  <a:pt x="2309" y="80"/>
                </a:cubicBezTo>
                <a:cubicBezTo>
                  <a:pt x="2309" y="80"/>
                  <a:pt x="2311" y="81"/>
                  <a:pt x="2306" y="81"/>
                </a:cubicBezTo>
                <a:cubicBezTo>
                  <a:pt x="2302" y="81"/>
                  <a:pt x="2298" y="79"/>
                  <a:pt x="2298" y="79"/>
                </a:cubicBezTo>
                <a:cubicBezTo>
                  <a:pt x="2295" y="81"/>
                  <a:pt x="2295" y="81"/>
                  <a:pt x="2295" y="81"/>
                </a:cubicBezTo>
                <a:cubicBezTo>
                  <a:pt x="2295" y="79"/>
                  <a:pt x="2295" y="79"/>
                  <a:pt x="2295" y="79"/>
                </a:cubicBezTo>
                <a:cubicBezTo>
                  <a:pt x="2288" y="77"/>
                  <a:pt x="2288" y="77"/>
                  <a:pt x="2288" y="77"/>
                </a:cubicBezTo>
                <a:cubicBezTo>
                  <a:pt x="2287" y="76"/>
                  <a:pt x="2287" y="76"/>
                  <a:pt x="2287" y="76"/>
                </a:cubicBezTo>
                <a:cubicBezTo>
                  <a:pt x="2286" y="79"/>
                  <a:pt x="2286" y="79"/>
                  <a:pt x="2286" y="79"/>
                </a:cubicBezTo>
                <a:cubicBezTo>
                  <a:pt x="2284" y="79"/>
                  <a:pt x="2284" y="79"/>
                  <a:pt x="2284" y="79"/>
                </a:cubicBezTo>
                <a:cubicBezTo>
                  <a:pt x="2288" y="82"/>
                  <a:pt x="2288" y="82"/>
                  <a:pt x="2288" y="82"/>
                </a:cubicBezTo>
                <a:cubicBezTo>
                  <a:pt x="2291" y="86"/>
                  <a:pt x="2291" y="86"/>
                  <a:pt x="2291" y="86"/>
                </a:cubicBezTo>
                <a:cubicBezTo>
                  <a:pt x="2284" y="86"/>
                  <a:pt x="2284" y="86"/>
                  <a:pt x="2284" y="86"/>
                </a:cubicBezTo>
                <a:cubicBezTo>
                  <a:pt x="2283" y="84"/>
                  <a:pt x="2283" y="84"/>
                  <a:pt x="2283" y="84"/>
                </a:cubicBezTo>
                <a:cubicBezTo>
                  <a:pt x="2274" y="85"/>
                  <a:pt x="2274" y="85"/>
                  <a:pt x="2274" y="85"/>
                </a:cubicBezTo>
                <a:cubicBezTo>
                  <a:pt x="2272" y="86"/>
                  <a:pt x="2272" y="86"/>
                  <a:pt x="2272" y="86"/>
                </a:cubicBezTo>
                <a:cubicBezTo>
                  <a:pt x="2272" y="84"/>
                  <a:pt x="2272" y="84"/>
                  <a:pt x="2272" y="84"/>
                </a:cubicBezTo>
                <a:cubicBezTo>
                  <a:pt x="2266" y="85"/>
                  <a:pt x="2266" y="85"/>
                  <a:pt x="2266" y="85"/>
                </a:cubicBezTo>
                <a:cubicBezTo>
                  <a:pt x="2265" y="84"/>
                  <a:pt x="2265" y="84"/>
                  <a:pt x="2265" y="84"/>
                </a:cubicBezTo>
                <a:cubicBezTo>
                  <a:pt x="2257" y="84"/>
                  <a:pt x="2257" y="84"/>
                  <a:pt x="2257" y="84"/>
                </a:cubicBezTo>
                <a:cubicBezTo>
                  <a:pt x="2252" y="83"/>
                  <a:pt x="2252" y="83"/>
                  <a:pt x="2252" y="83"/>
                </a:cubicBezTo>
                <a:cubicBezTo>
                  <a:pt x="2254" y="80"/>
                  <a:pt x="2254" y="80"/>
                  <a:pt x="2254" y="80"/>
                </a:cubicBezTo>
                <a:cubicBezTo>
                  <a:pt x="2236" y="79"/>
                  <a:pt x="2236" y="79"/>
                  <a:pt x="2236" y="79"/>
                </a:cubicBezTo>
                <a:cubicBezTo>
                  <a:pt x="2235" y="78"/>
                  <a:pt x="2235" y="78"/>
                  <a:pt x="2235" y="78"/>
                </a:cubicBezTo>
                <a:cubicBezTo>
                  <a:pt x="2234" y="79"/>
                  <a:pt x="2234" y="79"/>
                  <a:pt x="2234" y="79"/>
                </a:cubicBezTo>
                <a:cubicBezTo>
                  <a:pt x="2233" y="78"/>
                  <a:pt x="2233" y="78"/>
                  <a:pt x="2233" y="78"/>
                </a:cubicBezTo>
                <a:cubicBezTo>
                  <a:pt x="2226" y="78"/>
                  <a:pt x="2226" y="78"/>
                  <a:pt x="2226" y="78"/>
                </a:cubicBezTo>
                <a:cubicBezTo>
                  <a:pt x="2226" y="80"/>
                  <a:pt x="2226" y="80"/>
                  <a:pt x="2226" y="80"/>
                </a:cubicBezTo>
                <a:cubicBezTo>
                  <a:pt x="2219" y="79"/>
                  <a:pt x="2219" y="79"/>
                  <a:pt x="2219" y="79"/>
                </a:cubicBezTo>
                <a:cubicBezTo>
                  <a:pt x="2217" y="80"/>
                  <a:pt x="2217" y="80"/>
                  <a:pt x="2217" y="80"/>
                </a:cubicBezTo>
                <a:cubicBezTo>
                  <a:pt x="2221" y="82"/>
                  <a:pt x="2221" y="82"/>
                  <a:pt x="2221" y="82"/>
                </a:cubicBezTo>
                <a:cubicBezTo>
                  <a:pt x="2215" y="81"/>
                  <a:pt x="2215" y="81"/>
                  <a:pt x="2215" y="81"/>
                </a:cubicBezTo>
                <a:cubicBezTo>
                  <a:pt x="2215" y="79"/>
                  <a:pt x="2215" y="79"/>
                  <a:pt x="2215" y="79"/>
                </a:cubicBezTo>
                <a:cubicBezTo>
                  <a:pt x="2211" y="76"/>
                  <a:pt x="2211" y="76"/>
                  <a:pt x="2211" y="76"/>
                </a:cubicBezTo>
                <a:cubicBezTo>
                  <a:pt x="2208" y="76"/>
                  <a:pt x="2208" y="76"/>
                  <a:pt x="2208" y="76"/>
                </a:cubicBezTo>
                <a:cubicBezTo>
                  <a:pt x="2210" y="79"/>
                  <a:pt x="2210" y="79"/>
                  <a:pt x="2210" y="79"/>
                </a:cubicBezTo>
                <a:cubicBezTo>
                  <a:pt x="2202" y="79"/>
                  <a:pt x="2202" y="79"/>
                  <a:pt x="2202" y="79"/>
                </a:cubicBezTo>
                <a:cubicBezTo>
                  <a:pt x="2202" y="78"/>
                  <a:pt x="2202" y="78"/>
                  <a:pt x="2202" y="78"/>
                </a:cubicBezTo>
                <a:cubicBezTo>
                  <a:pt x="2200" y="78"/>
                  <a:pt x="2200" y="78"/>
                  <a:pt x="2200" y="78"/>
                </a:cubicBezTo>
                <a:cubicBezTo>
                  <a:pt x="2199" y="76"/>
                  <a:pt x="2199" y="76"/>
                  <a:pt x="2199" y="76"/>
                </a:cubicBezTo>
                <a:cubicBezTo>
                  <a:pt x="2197" y="76"/>
                  <a:pt x="2197" y="76"/>
                  <a:pt x="2197" y="76"/>
                </a:cubicBezTo>
                <a:cubicBezTo>
                  <a:pt x="2195" y="76"/>
                  <a:pt x="2195" y="76"/>
                  <a:pt x="2195" y="76"/>
                </a:cubicBezTo>
                <a:cubicBezTo>
                  <a:pt x="2191" y="75"/>
                  <a:pt x="2191" y="75"/>
                  <a:pt x="2191" y="75"/>
                </a:cubicBezTo>
                <a:cubicBezTo>
                  <a:pt x="2187" y="78"/>
                  <a:pt x="2187" y="78"/>
                  <a:pt x="2187" y="78"/>
                </a:cubicBezTo>
                <a:cubicBezTo>
                  <a:pt x="2195" y="79"/>
                  <a:pt x="2195" y="79"/>
                  <a:pt x="2195" y="79"/>
                </a:cubicBezTo>
                <a:cubicBezTo>
                  <a:pt x="2196" y="79"/>
                  <a:pt x="2196" y="79"/>
                  <a:pt x="2196" y="79"/>
                </a:cubicBezTo>
                <a:cubicBezTo>
                  <a:pt x="2196" y="79"/>
                  <a:pt x="2194" y="81"/>
                  <a:pt x="2192" y="81"/>
                </a:cubicBezTo>
                <a:cubicBezTo>
                  <a:pt x="2191" y="81"/>
                  <a:pt x="2190" y="81"/>
                  <a:pt x="2188" y="81"/>
                </a:cubicBezTo>
                <a:cubicBezTo>
                  <a:pt x="2187" y="82"/>
                  <a:pt x="2187" y="83"/>
                  <a:pt x="2186" y="83"/>
                </a:cubicBezTo>
                <a:cubicBezTo>
                  <a:pt x="2185" y="83"/>
                  <a:pt x="2175" y="83"/>
                  <a:pt x="2175" y="83"/>
                </a:cubicBezTo>
                <a:cubicBezTo>
                  <a:pt x="2171" y="84"/>
                  <a:pt x="2171" y="84"/>
                  <a:pt x="2171" y="84"/>
                </a:cubicBezTo>
                <a:cubicBezTo>
                  <a:pt x="2169" y="87"/>
                  <a:pt x="2169" y="87"/>
                  <a:pt x="2169" y="87"/>
                </a:cubicBezTo>
                <a:cubicBezTo>
                  <a:pt x="2165" y="86"/>
                  <a:pt x="2165" y="86"/>
                  <a:pt x="2165" y="86"/>
                </a:cubicBezTo>
                <a:cubicBezTo>
                  <a:pt x="2165" y="86"/>
                  <a:pt x="2166" y="83"/>
                  <a:pt x="2168" y="82"/>
                </a:cubicBezTo>
                <a:cubicBezTo>
                  <a:pt x="2169" y="81"/>
                  <a:pt x="2172" y="81"/>
                  <a:pt x="2172" y="81"/>
                </a:cubicBezTo>
                <a:cubicBezTo>
                  <a:pt x="2173" y="79"/>
                  <a:pt x="2173" y="79"/>
                  <a:pt x="2173" y="79"/>
                </a:cubicBezTo>
                <a:cubicBezTo>
                  <a:pt x="2179" y="79"/>
                  <a:pt x="2179" y="79"/>
                  <a:pt x="2179" y="79"/>
                </a:cubicBezTo>
                <a:cubicBezTo>
                  <a:pt x="2185" y="74"/>
                  <a:pt x="2185" y="74"/>
                  <a:pt x="2185" y="74"/>
                </a:cubicBezTo>
                <a:cubicBezTo>
                  <a:pt x="2185" y="74"/>
                  <a:pt x="2185" y="71"/>
                  <a:pt x="2187" y="70"/>
                </a:cubicBezTo>
                <a:cubicBezTo>
                  <a:pt x="2190" y="69"/>
                  <a:pt x="2200" y="69"/>
                  <a:pt x="2200" y="66"/>
                </a:cubicBezTo>
                <a:cubicBezTo>
                  <a:pt x="2199" y="62"/>
                  <a:pt x="2196" y="61"/>
                  <a:pt x="2196" y="61"/>
                </a:cubicBezTo>
                <a:cubicBezTo>
                  <a:pt x="2190" y="61"/>
                  <a:pt x="2190" y="61"/>
                  <a:pt x="2190" y="61"/>
                </a:cubicBezTo>
                <a:cubicBezTo>
                  <a:pt x="2195" y="59"/>
                  <a:pt x="2195" y="59"/>
                  <a:pt x="2195" y="59"/>
                </a:cubicBezTo>
                <a:cubicBezTo>
                  <a:pt x="2195" y="59"/>
                  <a:pt x="2191" y="56"/>
                  <a:pt x="2190" y="56"/>
                </a:cubicBezTo>
                <a:cubicBezTo>
                  <a:pt x="2189" y="57"/>
                  <a:pt x="2185" y="57"/>
                  <a:pt x="2185" y="57"/>
                </a:cubicBezTo>
                <a:cubicBezTo>
                  <a:pt x="2185" y="57"/>
                  <a:pt x="2184" y="53"/>
                  <a:pt x="2181" y="53"/>
                </a:cubicBezTo>
                <a:cubicBezTo>
                  <a:pt x="2179" y="53"/>
                  <a:pt x="2176" y="54"/>
                  <a:pt x="2176" y="54"/>
                </a:cubicBezTo>
                <a:cubicBezTo>
                  <a:pt x="2168" y="53"/>
                  <a:pt x="2168" y="53"/>
                  <a:pt x="2168" y="53"/>
                </a:cubicBezTo>
                <a:cubicBezTo>
                  <a:pt x="2149" y="52"/>
                  <a:pt x="2149" y="52"/>
                  <a:pt x="2149" y="52"/>
                </a:cubicBezTo>
                <a:cubicBezTo>
                  <a:pt x="2149" y="54"/>
                  <a:pt x="2149" y="54"/>
                  <a:pt x="2149" y="54"/>
                </a:cubicBezTo>
                <a:cubicBezTo>
                  <a:pt x="2140" y="54"/>
                  <a:pt x="2140" y="54"/>
                  <a:pt x="2140" y="54"/>
                </a:cubicBezTo>
                <a:cubicBezTo>
                  <a:pt x="2140" y="54"/>
                  <a:pt x="2144" y="51"/>
                  <a:pt x="2141" y="50"/>
                </a:cubicBezTo>
                <a:cubicBezTo>
                  <a:pt x="2139" y="49"/>
                  <a:pt x="2128" y="50"/>
                  <a:pt x="2128" y="50"/>
                </a:cubicBezTo>
                <a:cubicBezTo>
                  <a:pt x="2120" y="49"/>
                  <a:pt x="2120" y="49"/>
                  <a:pt x="2120" y="49"/>
                </a:cubicBezTo>
                <a:cubicBezTo>
                  <a:pt x="2120" y="49"/>
                  <a:pt x="2129" y="49"/>
                  <a:pt x="2128" y="47"/>
                </a:cubicBezTo>
                <a:cubicBezTo>
                  <a:pt x="2127" y="45"/>
                  <a:pt x="2117" y="45"/>
                  <a:pt x="2117" y="45"/>
                </a:cubicBezTo>
                <a:cubicBezTo>
                  <a:pt x="2111" y="44"/>
                  <a:pt x="2111" y="44"/>
                  <a:pt x="2111" y="44"/>
                </a:cubicBezTo>
                <a:cubicBezTo>
                  <a:pt x="2111" y="46"/>
                  <a:pt x="2111" y="46"/>
                  <a:pt x="2111" y="46"/>
                </a:cubicBezTo>
                <a:cubicBezTo>
                  <a:pt x="2111" y="46"/>
                  <a:pt x="2100" y="46"/>
                  <a:pt x="2101" y="49"/>
                </a:cubicBezTo>
                <a:cubicBezTo>
                  <a:pt x="2102" y="52"/>
                  <a:pt x="2112" y="55"/>
                  <a:pt x="2112" y="55"/>
                </a:cubicBezTo>
                <a:cubicBezTo>
                  <a:pt x="2092" y="53"/>
                  <a:pt x="2092" y="53"/>
                  <a:pt x="2092" y="53"/>
                </a:cubicBezTo>
                <a:cubicBezTo>
                  <a:pt x="2099" y="56"/>
                  <a:pt x="2099" y="56"/>
                  <a:pt x="2099" y="56"/>
                </a:cubicBezTo>
                <a:cubicBezTo>
                  <a:pt x="2091" y="57"/>
                  <a:pt x="2091" y="57"/>
                  <a:pt x="2091" y="57"/>
                </a:cubicBezTo>
                <a:cubicBezTo>
                  <a:pt x="2091" y="57"/>
                  <a:pt x="2079" y="61"/>
                  <a:pt x="2077" y="60"/>
                </a:cubicBezTo>
                <a:cubicBezTo>
                  <a:pt x="2075" y="59"/>
                  <a:pt x="2078" y="56"/>
                  <a:pt x="2078" y="56"/>
                </a:cubicBezTo>
                <a:cubicBezTo>
                  <a:pt x="2078" y="56"/>
                  <a:pt x="2068" y="56"/>
                  <a:pt x="2066" y="57"/>
                </a:cubicBezTo>
                <a:cubicBezTo>
                  <a:pt x="2065" y="57"/>
                  <a:pt x="2062" y="59"/>
                  <a:pt x="2062" y="59"/>
                </a:cubicBezTo>
                <a:cubicBezTo>
                  <a:pt x="2062" y="59"/>
                  <a:pt x="2048" y="61"/>
                  <a:pt x="2045" y="61"/>
                </a:cubicBezTo>
                <a:cubicBezTo>
                  <a:pt x="2042" y="62"/>
                  <a:pt x="2035" y="63"/>
                  <a:pt x="2035" y="63"/>
                </a:cubicBezTo>
                <a:cubicBezTo>
                  <a:pt x="2029" y="68"/>
                  <a:pt x="2029" y="68"/>
                  <a:pt x="2029" y="68"/>
                </a:cubicBezTo>
                <a:cubicBezTo>
                  <a:pt x="2029" y="68"/>
                  <a:pt x="2022" y="68"/>
                  <a:pt x="2025" y="71"/>
                </a:cubicBezTo>
                <a:cubicBezTo>
                  <a:pt x="2028" y="74"/>
                  <a:pt x="2034" y="76"/>
                  <a:pt x="2034" y="76"/>
                </a:cubicBezTo>
                <a:cubicBezTo>
                  <a:pt x="2027" y="77"/>
                  <a:pt x="2027" y="77"/>
                  <a:pt x="2027" y="77"/>
                </a:cubicBezTo>
                <a:cubicBezTo>
                  <a:pt x="2024" y="79"/>
                  <a:pt x="2024" y="79"/>
                  <a:pt x="2024" y="79"/>
                </a:cubicBezTo>
                <a:cubicBezTo>
                  <a:pt x="2010" y="78"/>
                  <a:pt x="2010" y="78"/>
                  <a:pt x="2010" y="78"/>
                </a:cubicBezTo>
                <a:cubicBezTo>
                  <a:pt x="2009" y="79"/>
                  <a:pt x="2009" y="79"/>
                  <a:pt x="2009" y="79"/>
                </a:cubicBezTo>
                <a:cubicBezTo>
                  <a:pt x="2004" y="77"/>
                  <a:pt x="2004" y="77"/>
                  <a:pt x="2004" y="77"/>
                </a:cubicBezTo>
                <a:cubicBezTo>
                  <a:pt x="2002" y="79"/>
                  <a:pt x="2002" y="79"/>
                  <a:pt x="2002" y="79"/>
                </a:cubicBezTo>
                <a:cubicBezTo>
                  <a:pt x="2002" y="79"/>
                  <a:pt x="1994" y="78"/>
                  <a:pt x="1993" y="80"/>
                </a:cubicBezTo>
                <a:cubicBezTo>
                  <a:pt x="1993" y="81"/>
                  <a:pt x="1993" y="85"/>
                  <a:pt x="1995" y="85"/>
                </a:cubicBezTo>
                <a:cubicBezTo>
                  <a:pt x="1998" y="85"/>
                  <a:pt x="1999" y="89"/>
                  <a:pt x="1999" y="89"/>
                </a:cubicBezTo>
                <a:cubicBezTo>
                  <a:pt x="1999" y="89"/>
                  <a:pt x="2006" y="91"/>
                  <a:pt x="2008" y="91"/>
                </a:cubicBezTo>
                <a:cubicBezTo>
                  <a:pt x="2010" y="91"/>
                  <a:pt x="2014" y="92"/>
                  <a:pt x="2016" y="93"/>
                </a:cubicBezTo>
                <a:cubicBezTo>
                  <a:pt x="2017" y="93"/>
                  <a:pt x="2020" y="97"/>
                  <a:pt x="2018" y="97"/>
                </a:cubicBezTo>
                <a:cubicBezTo>
                  <a:pt x="2016" y="97"/>
                  <a:pt x="2011" y="97"/>
                  <a:pt x="2011" y="97"/>
                </a:cubicBezTo>
                <a:cubicBezTo>
                  <a:pt x="2011" y="97"/>
                  <a:pt x="2001" y="93"/>
                  <a:pt x="1998" y="92"/>
                </a:cubicBezTo>
                <a:cubicBezTo>
                  <a:pt x="1994" y="91"/>
                  <a:pt x="1989" y="90"/>
                  <a:pt x="1988" y="90"/>
                </a:cubicBezTo>
                <a:cubicBezTo>
                  <a:pt x="1986" y="90"/>
                  <a:pt x="1982" y="90"/>
                  <a:pt x="1982" y="92"/>
                </a:cubicBezTo>
                <a:cubicBezTo>
                  <a:pt x="1983" y="93"/>
                  <a:pt x="1988" y="95"/>
                  <a:pt x="1984" y="96"/>
                </a:cubicBezTo>
                <a:cubicBezTo>
                  <a:pt x="1981" y="96"/>
                  <a:pt x="1980" y="93"/>
                  <a:pt x="1977" y="93"/>
                </a:cubicBezTo>
                <a:cubicBezTo>
                  <a:pt x="1975" y="93"/>
                  <a:pt x="1972" y="91"/>
                  <a:pt x="1972" y="94"/>
                </a:cubicBezTo>
                <a:cubicBezTo>
                  <a:pt x="1972" y="97"/>
                  <a:pt x="1975" y="99"/>
                  <a:pt x="1978" y="99"/>
                </a:cubicBezTo>
                <a:cubicBezTo>
                  <a:pt x="1981" y="99"/>
                  <a:pt x="1986" y="101"/>
                  <a:pt x="1988" y="101"/>
                </a:cubicBezTo>
                <a:cubicBezTo>
                  <a:pt x="1990" y="101"/>
                  <a:pt x="1994" y="104"/>
                  <a:pt x="1994" y="104"/>
                </a:cubicBezTo>
                <a:cubicBezTo>
                  <a:pt x="1989" y="104"/>
                  <a:pt x="1989" y="104"/>
                  <a:pt x="1989" y="104"/>
                </a:cubicBezTo>
                <a:cubicBezTo>
                  <a:pt x="1989" y="104"/>
                  <a:pt x="1988" y="102"/>
                  <a:pt x="1985" y="102"/>
                </a:cubicBezTo>
                <a:cubicBezTo>
                  <a:pt x="1982" y="102"/>
                  <a:pt x="1973" y="101"/>
                  <a:pt x="1973" y="101"/>
                </a:cubicBezTo>
                <a:cubicBezTo>
                  <a:pt x="1972" y="100"/>
                  <a:pt x="1972" y="100"/>
                  <a:pt x="1972" y="100"/>
                </a:cubicBezTo>
                <a:cubicBezTo>
                  <a:pt x="1969" y="100"/>
                  <a:pt x="1969" y="100"/>
                  <a:pt x="1969" y="100"/>
                </a:cubicBezTo>
                <a:cubicBezTo>
                  <a:pt x="1968" y="97"/>
                  <a:pt x="1968" y="97"/>
                  <a:pt x="1968" y="97"/>
                </a:cubicBezTo>
                <a:cubicBezTo>
                  <a:pt x="1964" y="95"/>
                  <a:pt x="1964" y="95"/>
                  <a:pt x="1964" y="95"/>
                </a:cubicBezTo>
                <a:cubicBezTo>
                  <a:pt x="1964" y="95"/>
                  <a:pt x="1969" y="93"/>
                  <a:pt x="1967" y="91"/>
                </a:cubicBezTo>
                <a:cubicBezTo>
                  <a:pt x="1965" y="89"/>
                  <a:pt x="1962" y="86"/>
                  <a:pt x="1962" y="86"/>
                </a:cubicBezTo>
                <a:cubicBezTo>
                  <a:pt x="1957" y="86"/>
                  <a:pt x="1957" y="86"/>
                  <a:pt x="1957" y="86"/>
                </a:cubicBezTo>
                <a:cubicBezTo>
                  <a:pt x="1957" y="86"/>
                  <a:pt x="1964" y="90"/>
                  <a:pt x="1962" y="92"/>
                </a:cubicBezTo>
                <a:cubicBezTo>
                  <a:pt x="1960" y="93"/>
                  <a:pt x="1956" y="94"/>
                  <a:pt x="1956" y="94"/>
                </a:cubicBezTo>
                <a:cubicBezTo>
                  <a:pt x="1953" y="99"/>
                  <a:pt x="1953" y="99"/>
                  <a:pt x="1953" y="99"/>
                </a:cubicBezTo>
                <a:cubicBezTo>
                  <a:pt x="1963" y="105"/>
                  <a:pt x="1963" y="105"/>
                  <a:pt x="1963" y="105"/>
                </a:cubicBezTo>
                <a:cubicBezTo>
                  <a:pt x="1963" y="105"/>
                  <a:pt x="1966" y="104"/>
                  <a:pt x="1966" y="105"/>
                </a:cubicBezTo>
                <a:cubicBezTo>
                  <a:pt x="1966" y="106"/>
                  <a:pt x="1965" y="113"/>
                  <a:pt x="1965" y="113"/>
                </a:cubicBezTo>
                <a:cubicBezTo>
                  <a:pt x="1966" y="115"/>
                  <a:pt x="1966" y="115"/>
                  <a:pt x="1966" y="115"/>
                </a:cubicBezTo>
                <a:cubicBezTo>
                  <a:pt x="1971" y="116"/>
                  <a:pt x="1971" y="116"/>
                  <a:pt x="1971" y="116"/>
                </a:cubicBezTo>
                <a:cubicBezTo>
                  <a:pt x="1971" y="120"/>
                  <a:pt x="1971" y="120"/>
                  <a:pt x="1971" y="120"/>
                </a:cubicBezTo>
                <a:cubicBezTo>
                  <a:pt x="1979" y="122"/>
                  <a:pt x="1979" y="122"/>
                  <a:pt x="1979" y="122"/>
                </a:cubicBezTo>
                <a:cubicBezTo>
                  <a:pt x="1979" y="122"/>
                  <a:pt x="1985" y="119"/>
                  <a:pt x="1988" y="119"/>
                </a:cubicBezTo>
                <a:cubicBezTo>
                  <a:pt x="1991" y="120"/>
                  <a:pt x="1995" y="122"/>
                  <a:pt x="1995" y="122"/>
                </a:cubicBezTo>
                <a:cubicBezTo>
                  <a:pt x="1995" y="122"/>
                  <a:pt x="2001" y="123"/>
                  <a:pt x="2004" y="125"/>
                </a:cubicBezTo>
                <a:cubicBezTo>
                  <a:pt x="2007" y="127"/>
                  <a:pt x="2007" y="129"/>
                  <a:pt x="2007" y="129"/>
                </a:cubicBezTo>
                <a:cubicBezTo>
                  <a:pt x="2007" y="129"/>
                  <a:pt x="2000" y="130"/>
                  <a:pt x="2003" y="131"/>
                </a:cubicBezTo>
                <a:cubicBezTo>
                  <a:pt x="2006" y="133"/>
                  <a:pt x="2009" y="135"/>
                  <a:pt x="2009" y="135"/>
                </a:cubicBezTo>
                <a:cubicBezTo>
                  <a:pt x="2015" y="134"/>
                  <a:pt x="2015" y="134"/>
                  <a:pt x="2015" y="134"/>
                </a:cubicBezTo>
                <a:cubicBezTo>
                  <a:pt x="2015" y="134"/>
                  <a:pt x="2011" y="136"/>
                  <a:pt x="2008" y="136"/>
                </a:cubicBezTo>
                <a:cubicBezTo>
                  <a:pt x="2006" y="136"/>
                  <a:pt x="2002" y="134"/>
                  <a:pt x="2002" y="134"/>
                </a:cubicBezTo>
                <a:cubicBezTo>
                  <a:pt x="2002" y="134"/>
                  <a:pt x="2003" y="129"/>
                  <a:pt x="1999" y="128"/>
                </a:cubicBezTo>
                <a:cubicBezTo>
                  <a:pt x="1996" y="126"/>
                  <a:pt x="1994" y="125"/>
                  <a:pt x="1994" y="125"/>
                </a:cubicBezTo>
                <a:cubicBezTo>
                  <a:pt x="1994" y="125"/>
                  <a:pt x="1993" y="121"/>
                  <a:pt x="1990" y="122"/>
                </a:cubicBezTo>
                <a:cubicBezTo>
                  <a:pt x="1988" y="122"/>
                  <a:pt x="1981" y="123"/>
                  <a:pt x="1981" y="123"/>
                </a:cubicBezTo>
                <a:cubicBezTo>
                  <a:pt x="1981" y="123"/>
                  <a:pt x="1977" y="124"/>
                  <a:pt x="1978" y="126"/>
                </a:cubicBezTo>
                <a:cubicBezTo>
                  <a:pt x="1978" y="128"/>
                  <a:pt x="1985" y="132"/>
                  <a:pt x="1985" y="133"/>
                </a:cubicBezTo>
                <a:cubicBezTo>
                  <a:pt x="1985" y="134"/>
                  <a:pt x="1981" y="136"/>
                  <a:pt x="1981" y="136"/>
                </a:cubicBezTo>
                <a:cubicBezTo>
                  <a:pt x="1980" y="142"/>
                  <a:pt x="1980" y="142"/>
                  <a:pt x="1980" y="142"/>
                </a:cubicBezTo>
                <a:cubicBezTo>
                  <a:pt x="1974" y="145"/>
                  <a:pt x="1974" y="145"/>
                  <a:pt x="1974" y="145"/>
                </a:cubicBezTo>
                <a:cubicBezTo>
                  <a:pt x="1974" y="145"/>
                  <a:pt x="1973" y="149"/>
                  <a:pt x="1970" y="148"/>
                </a:cubicBezTo>
                <a:cubicBezTo>
                  <a:pt x="1968" y="147"/>
                  <a:pt x="1962" y="147"/>
                  <a:pt x="1962" y="147"/>
                </a:cubicBezTo>
                <a:cubicBezTo>
                  <a:pt x="1954" y="147"/>
                  <a:pt x="1954" y="147"/>
                  <a:pt x="1954" y="147"/>
                </a:cubicBezTo>
                <a:cubicBezTo>
                  <a:pt x="1954" y="147"/>
                  <a:pt x="1945" y="143"/>
                  <a:pt x="1948" y="143"/>
                </a:cubicBezTo>
                <a:cubicBezTo>
                  <a:pt x="1950" y="143"/>
                  <a:pt x="1955" y="143"/>
                  <a:pt x="1955" y="143"/>
                </a:cubicBezTo>
                <a:cubicBezTo>
                  <a:pt x="1957" y="144"/>
                  <a:pt x="1957" y="144"/>
                  <a:pt x="1957" y="144"/>
                </a:cubicBezTo>
                <a:cubicBezTo>
                  <a:pt x="1961" y="141"/>
                  <a:pt x="1961" y="141"/>
                  <a:pt x="1961" y="141"/>
                </a:cubicBezTo>
                <a:cubicBezTo>
                  <a:pt x="1961" y="141"/>
                  <a:pt x="1968" y="143"/>
                  <a:pt x="1968" y="141"/>
                </a:cubicBezTo>
                <a:cubicBezTo>
                  <a:pt x="1968" y="139"/>
                  <a:pt x="1969" y="135"/>
                  <a:pt x="1969" y="135"/>
                </a:cubicBezTo>
                <a:cubicBezTo>
                  <a:pt x="1972" y="134"/>
                  <a:pt x="1972" y="134"/>
                  <a:pt x="1972" y="134"/>
                </a:cubicBezTo>
                <a:cubicBezTo>
                  <a:pt x="1973" y="131"/>
                  <a:pt x="1973" y="131"/>
                  <a:pt x="1973" y="131"/>
                </a:cubicBezTo>
                <a:cubicBezTo>
                  <a:pt x="1970" y="131"/>
                  <a:pt x="1970" y="131"/>
                  <a:pt x="1970" y="131"/>
                </a:cubicBezTo>
                <a:cubicBezTo>
                  <a:pt x="1970" y="131"/>
                  <a:pt x="1974" y="127"/>
                  <a:pt x="1972" y="126"/>
                </a:cubicBezTo>
                <a:cubicBezTo>
                  <a:pt x="1970" y="125"/>
                  <a:pt x="1961" y="126"/>
                  <a:pt x="1960" y="122"/>
                </a:cubicBezTo>
                <a:cubicBezTo>
                  <a:pt x="1960" y="119"/>
                  <a:pt x="1960" y="115"/>
                  <a:pt x="1958" y="114"/>
                </a:cubicBezTo>
                <a:cubicBezTo>
                  <a:pt x="1956" y="113"/>
                  <a:pt x="1954" y="110"/>
                  <a:pt x="1954" y="110"/>
                </a:cubicBezTo>
                <a:cubicBezTo>
                  <a:pt x="1953" y="104"/>
                  <a:pt x="1953" y="104"/>
                  <a:pt x="1953" y="104"/>
                </a:cubicBezTo>
                <a:cubicBezTo>
                  <a:pt x="1944" y="100"/>
                  <a:pt x="1944" y="100"/>
                  <a:pt x="1944" y="100"/>
                </a:cubicBezTo>
                <a:cubicBezTo>
                  <a:pt x="1944" y="100"/>
                  <a:pt x="1950" y="95"/>
                  <a:pt x="1947" y="91"/>
                </a:cubicBezTo>
                <a:cubicBezTo>
                  <a:pt x="1944" y="87"/>
                  <a:pt x="1937" y="87"/>
                  <a:pt x="1937" y="87"/>
                </a:cubicBezTo>
                <a:cubicBezTo>
                  <a:pt x="1918" y="85"/>
                  <a:pt x="1918" y="85"/>
                  <a:pt x="1918" y="85"/>
                </a:cubicBezTo>
                <a:cubicBezTo>
                  <a:pt x="1917" y="89"/>
                  <a:pt x="1917" y="89"/>
                  <a:pt x="1917" y="89"/>
                </a:cubicBezTo>
                <a:cubicBezTo>
                  <a:pt x="1919" y="92"/>
                  <a:pt x="1919" y="92"/>
                  <a:pt x="1919" y="92"/>
                </a:cubicBezTo>
                <a:cubicBezTo>
                  <a:pt x="1918" y="97"/>
                  <a:pt x="1918" y="97"/>
                  <a:pt x="1918" y="97"/>
                </a:cubicBezTo>
                <a:cubicBezTo>
                  <a:pt x="1910" y="100"/>
                  <a:pt x="1910" y="100"/>
                  <a:pt x="1910" y="100"/>
                </a:cubicBezTo>
                <a:cubicBezTo>
                  <a:pt x="1909" y="104"/>
                  <a:pt x="1909" y="104"/>
                  <a:pt x="1909" y="104"/>
                </a:cubicBezTo>
                <a:cubicBezTo>
                  <a:pt x="1913" y="104"/>
                  <a:pt x="1913" y="104"/>
                  <a:pt x="1913" y="104"/>
                </a:cubicBezTo>
                <a:cubicBezTo>
                  <a:pt x="1918" y="112"/>
                  <a:pt x="1918" y="112"/>
                  <a:pt x="1918" y="112"/>
                </a:cubicBezTo>
                <a:cubicBezTo>
                  <a:pt x="1916" y="114"/>
                  <a:pt x="1916" y="114"/>
                  <a:pt x="1916" y="114"/>
                </a:cubicBezTo>
                <a:cubicBezTo>
                  <a:pt x="1920" y="117"/>
                  <a:pt x="1920" y="117"/>
                  <a:pt x="1920" y="117"/>
                </a:cubicBezTo>
                <a:cubicBezTo>
                  <a:pt x="1925" y="116"/>
                  <a:pt x="1925" y="116"/>
                  <a:pt x="1925" y="116"/>
                </a:cubicBezTo>
                <a:cubicBezTo>
                  <a:pt x="1925" y="116"/>
                  <a:pt x="1929" y="120"/>
                  <a:pt x="1932" y="121"/>
                </a:cubicBezTo>
                <a:cubicBezTo>
                  <a:pt x="1934" y="122"/>
                  <a:pt x="1937" y="122"/>
                  <a:pt x="1937" y="122"/>
                </a:cubicBezTo>
                <a:cubicBezTo>
                  <a:pt x="1936" y="129"/>
                  <a:pt x="1936" y="129"/>
                  <a:pt x="1936" y="129"/>
                </a:cubicBezTo>
                <a:cubicBezTo>
                  <a:pt x="1934" y="126"/>
                  <a:pt x="1934" y="126"/>
                  <a:pt x="1934" y="126"/>
                </a:cubicBezTo>
                <a:cubicBezTo>
                  <a:pt x="1932" y="128"/>
                  <a:pt x="1932" y="128"/>
                  <a:pt x="1932" y="128"/>
                </a:cubicBezTo>
                <a:cubicBezTo>
                  <a:pt x="1932" y="128"/>
                  <a:pt x="1928" y="126"/>
                  <a:pt x="1924" y="124"/>
                </a:cubicBezTo>
                <a:cubicBezTo>
                  <a:pt x="1922" y="123"/>
                  <a:pt x="1919" y="122"/>
                  <a:pt x="1917" y="121"/>
                </a:cubicBezTo>
                <a:cubicBezTo>
                  <a:pt x="1914" y="121"/>
                  <a:pt x="1909" y="121"/>
                  <a:pt x="1909" y="121"/>
                </a:cubicBezTo>
                <a:cubicBezTo>
                  <a:pt x="1907" y="119"/>
                  <a:pt x="1907" y="119"/>
                  <a:pt x="1907" y="119"/>
                </a:cubicBezTo>
                <a:cubicBezTo>
                  <a:pt x="1905" y="122"/>
                  <a:pt x="1905" y="122"/>
                  <a:pt x="1905" y="122"/>
                </a:cubicBezTo>
                <a:cubicBezTo>
                  <a:pt x="1902" y="118"/>
                  <a:pt x="1902" y="118"/>
                  <a:pt x="1902" y="118"/>
                </a:cubicBezTo>
                <a:cubicBezTo>
                  <a:pt x="1902" y="118"/>
                  <a:pt x="1893" y="115"/>
                  <a:pt x="1892" y="115"/>
                </a:cubicBezTo>
                <a:cubicBezTo>
                  <a:pt x="1890" y="115"/>
                  <a:pt x="1886" y="115"/>
                  <a:pt x="1886" y="115"/>
                </a:cubicBezTo>
                <a:cubicBezTo>
                  <a:pt x="1886" y="115"/>
                  <a:pt x="1876" y="114"/>
                  <a:pt x="1875" y="115"/>
                </a:cubicBezTo>
                <a:cubicBezTo>
                  <a:pt x="1874" y="115"/>
                  <a:pt x="1872" y="115"/>
                  <a:pt x="1872" y="117"/>
                </a:cubicBezTo>
                <a:cubicBezTo>
                  <a:pt x="1872" y="119"/>
                  <a:pt x="1877" y="121"/>
                  <a:pt x="1877" y="121"/>
                </a:cubicBezTo>
                <a:cubicBezTo>
                  <a:pt x="1875" y="126"/>
                  <a:pt x="1875" y="126"/>
                  <a:pt x="1875" y="126"/>
                </a:cubicBezTo>
                <a:cubicBezTo>
                  <a:pt x="1873" y="124"/>
                  <a:pt x="1873" y="124"/>
                  <a:pt x="1873" y="124"/>
                </a:cubicBezTo>
                <a:cubicBezTo>
                  <a:pt x="1873" y="128"/>
                  <a:pt x="1873" y="128"/>
                  <a:pt x="1873" y="128"/>
                </a:cubicBezTo>
                <a:cubicBezTo>
                  <a:pt x="1873" y="128"/>
                  <a:pt x="1868" y="128"/>
                  <a:pt x="1868" y="126"/>
                </a:cubicBezTo>
                <a:cubicBezTo>
                  <a:pt x="1868" y="125"/>
                  <a:pt x="1869" y="121"/>
                  <a:pt x="1866" y="121"/>
                </a:cubicBezTo>
                <a:cubicBezTo>
                  <a:pt x="1863" y="121"/>
                  <a:pt x="1856" y="126"/>
                  <a:pt x="1854" y="127"/>
                </a:cubicBezTo>
                <a:cubicBezTo>
                  <a:pt x="1853" y="127"/>
                  <a:pt x="1851" y="124"/>
                  <a:pt x="1847" y="125"/>
                </a:cubicBezTo>
                <a:cubicBezTo>
                  <a:pt x="1842" y="125"/>
                  <a:pt x="1837" y="128"/>
                  <a:pt x="1837" y="129"/>
                </a:cubicBezTo>
                <a:cubicBezTo>
                  <a:pt x="1836" y="131"/>
                  <a:pt x="1827" y="130"/>
                  <a:pt x="1827" y="130"/>
                </a:cubicBezTo>
                <a:cubicBezTo>
                  <a:pt x="1828" y="126"/>
                  <a:pt x="1828" y="126"/>
                  <a:pt x="1828" y="126"/>
                </a:cubicBezTo>
                <a:cubicBezTo>
                  <a:pt x="1828" y="121"/>
                  <a:pt x="1828" y="121"/>
                  <a:pt x="1828" y="121"/>
                </a:cubicBezTo>
                <a:cubicBezTo>
                  <a:pt x="1828" y="121"/>
                  <a:pt x="1819" y="123"/>
                  <a:pt x="1819" y="125"/>
                </a:cubicBezTo>
                <a:cubicBezTo>
                  <a:pt x="1819" y="127"/>
                  <a:pt x="1820" y="128"/>
                  <a:pt x="1820" y="128"/>
                </a:cubicBezTo>
                <a:cubicBezTo>
                  <a:pt x="1816" y="129"/>
                  <a:pt x="1816" y="129"/>
                  <a:pt x="1816" y="129"/>
                </a:cubicBezTo>
                <a:cubicBezTo>
                  <a:pt x="1816" y="125"/>
                  <a:pt x="1816" y="125"/>
                  <a:pt x="1816" y="125"/>
                </a:cubicBezTo>
                <a:cubicBezTo>
                  <a:pt x="1813" y="126"/>
                  <a:pt x="1813" y="126"/>
                  <a:pt x="1813" y="126"/>
                </a:cubicBezTo>
                <a:cubicBezTo>
                  <a:pt x="1806" y="127"/>
                  <a:pt x="1806" y="127"/>
                  <a:pt x="1806" y="127"/>
                </a:cubicBezTo>
                <a:cubicBezTo>
                  <a:pt x="1800" y="131"/>
                  <a:pt x="1800" y="131"/>
                  <a:pt x="1800" y="131"/>
                </a:cubicBezTo>
                <a:cubicBezTo>
                  <a:pt x="1793" y="132"/>
                  <a:pt x="1793" y="132"/>
                  <a:pt x="1793" y="132"/>
                </a:cubicBezTo>
                <a:cubicBezTo>
                  <a:pt x="1795" y="135"/>
                  <a:pt x="1795" y="135"/>
                  <a:pt x="1795" y="135"/>
                </a:cubicBezTo>
                <a:cubicBezTo>
                  <a:pt x="1795" y="135"/>
                  <a:pt x="1789" y="133"/>
                  <a:pt x="1789" y="136"/>
                </a:cubicBezTo>
                <a:cubicBezTo>
                  <a:pt x="1788" y="138"/>
                  <a:pt x="1789" y="141"/>
                  <a:pt x="1789" y="141"/>
                </a:cubicBezTo>
                <a:cubicBezTo>
                  <a:pt x="1778" y="142"/>
                  <a:pt x="1778" y="142"/>
                  <a:pt x="1778" y="142"/>
                </a:cubicBezTo>
                <a:cubicBezTo>
                  <a:pt x="1778" y="142"/>
                  <a:pt x="1775" y="140"/>
                  <a:pt x="1774" y="140"/>
                </a:cubicBezTo>
                <a:cubicBezTo>
                  <a:pt x="1773" y="140"/>
                  <a:pt x="1768" y="141"/>
                  <a:pt x="1768" y="138"/>
                </a:cubicBezTo>
                <a:cubicBezTo>
                  <a:pt x="1768" y="135"/>
                  <a:pt x="1768" y="131"/>
                  <a:pt x="1772" y="133"/>
                </a:cubicBezTo>
                <a:cubicBezTo>
                  <a:pt x="1775" y="134"/>
                  <a:pt x="1780" y="133"/>
                  <a:pt x="1780" y="133"/>
                </a:cubicBezTo>
                <a:cubicBezTo>
                  <a:pt x="1780" y="133"/>
                  <a:pt x="1772" y="126"/>
                  <a:pt x="1770" y="126"/>
                </a:cubicBezTo>
                <a:cubicBezTo>
                  <a:pt x="1769" y="125"/>
                  <a:pt x="1753" y="125"/>
                  <a:pt x="1753" y="125"/>
                </a:cubicBezTo>
                <a:cubicBezTo>
                  <a:pt x="1755" y="127"/>
                  <a:pt x="1755" y="127"/>
                  <a:pt x="1755" y="127"/>
                </a:cubicBezTo>
                <a:cubicBezTo>
                  <a:pt x="1755" y="127"/>
                  <a:pt x="1761" y="126"/>
                  <a:pt x="1760" y="130"/>
                </a:cubicBezTo>
                <a:cubicBezTo>
                  <a:pt x="1759" y="134"/>
                  <a:pt x="1757" y="140"/>
                  <a:pt x="1758" y="140"/>
                </a:cubicBezTo>
                <a:cubicBezTo>
                  <a:pt x="1760" y="140"/>
                  <a:pt x="1765" y="142"/>
                  <a:pt x="1765" y="142"/>
                </a:cubicBezTo>
                <a:cubicBezTo>
                  <a:pt x="1765" y="147"/>
                  <a:pt x="1765" y="147"/>
                  <a:pt x="1765" y="147"/>
                </a:cubicBezTo>
                <a:cubicBezTo>
                  <a:pt x="1766" y="151"/>
                  <a:pt x="1766" y="151"/>
                  <a:pt x="1766" y="151"/>
                </a:cubicBezTo>
                <a:cubicBezTo>
                  <a:pt x="1762" y="148"/>
                  <a:pt x="1762" y="148"/>
                  <a:pt x="1762" y="148"/>
                </a:cubicBezTo>
                <a:cubicBezTo>
                  <a:pt x="1759" y="152"/>
                  <a:pt x="1759" y="152"/>
                  <a:pt x="1759" y="152"/>
                </a:cubicBezTo>
                <a:cubicBezTo>
                  <a:pt x="1758" y="147"/>
                  <a:pt x="1758" y="147"/>
                  <a:pt x="1758" y="147"/>
                </a:cubicBezTo>
                <a:cubicBezTo>
                  <a:pt x="1748" y="145"/>
                  <a:pt x="1748" y="145"/>
                  <a:pt x="1748" y="145"/>
                </a:cubicBezTo>
                <a:cubicBezTo>
                  <a:pt x="1744" y="150"/>
                  <a:pt x="1744" y="150"/>
                  <a:pt x="1744" y="150"/>
                </a:cubicBezTo>
                <a:cubicBezTo>
                  <a:pt x="1740" y="150"/>
                  <a:pt x="1740" y="150"/>
                  <a:pt x="1740" y="150"/>
                </a:cubicBezTo>
                <a:cubicBezTo>
                  <a:pt x="1740" y="150"/>
                  <a:pt x="1739" y="152"/>
                  <a:pt x="1737" y="153"/>
                </a:cubicBezTo>
                <a:cubicBezTo>
                  <a:pt x="1735" y="154"/>
                  <a:pt x="1731" y="155"/>
                  <a:pt x="1733" y="156"/>
                </a:cubicBezTo>
                <a:cubicBezTo>
                  <a:pt x="1734" y="158"/>
                  <a:pt x="1741" y="163"/>
                  <a:pt x="1741" y="163"/>
                </a:cubicBezTo>
                <a:cubicBezTo>
                  <a:pt x="1743" y="166"/>
                  <a:pt x="1743" y="166"/>
                  <a:pt x="1743" y="166"/>
                </a:cubicBezTo>
                <a:cubicBezTo>
                  <a:pt x="1739" y="164"/>
                  <a:pt x="1739" y="164"/>
                  <a:pt x="1739" y="164"/>
                </a:cubicBezTo>
                <a:cubicBezTo>
                  <a:pt x="1739" y="164"/>
                  <a:pt x="1735" y="166"/>
                  <a:pt x="1733" y="165"/>
                </a:cubicBezTo>
                <a:cubicBezTo>
                  <a:pt x="1730" y="164"/>
                  <a:pt x="1721" y="162"/>
                  <a:pt x="1721" y="162"/>
                </a:cubicBezTo>
                <a:cubicBezTo>
                  <a:pt x="1721" y="162"/>
                  <a:pt x="1720" y="157"/>
                  <a:pt x="1717" y="159"/>
                </a:cubicBezTo>
                <a:cubicBezTo>
                  <a:pt x="1713" y="160"/>
                  <a:pt x="1712" y="161"/>
                  <a:pt x="1712" y="161"/>
                </a:cubicBezTo>
                <a:cubicBezTo>
                  <a:pt x="1709" y="161"/>
                  <a:pt x="1709" y="161"/>
                  <a:pt x="1709" y="161"/>
                </a:cubicBezTo>
                <a:cubicBezTo>
                  <a:pt x="1716" y="167"/>
                  <a:pt x="1716" y="167"/>
                  <a:pt x="1716" y="167"/>
                </a:cubicBezTo>
                <a:cubicBezTo>
                  <a:pt x="1716" y="167"/>
                  <a:pt x="1724" y="167"/>
                  <a:pt x="1724" y="169"/>
                </a:cubicBezTo>
                <a:cubicBezTo>
                  <a:pt x="1724" y="170"/>
                  <a:pt x="1720" y="172"/>
                  <a:pt x="1720" y="172"/>
                </a:cubicBezTo>
                <a:cubicBezTo>
                  <a:pt x="1711" y="170"/>
                  <a:pt x="1711" y="170"/>
                  <a:pt x="1711" y="170"/>
                </a:cubicBezTo>
                <a:cubicBezTo>
                  <a:pt x="1711" y="170"/>
                  <a:pt x="1708" y="167"/>
                  <a:pt x="1706" y="167"/>
                </a:cubicBezTo>
                <a:cubicBezTo>
                  <a:pt x="1704" y="167"/>
                  <a:pt x="1699" y="169"/>
                  <a:pt x="1698" y="166"/>
                </a:cubicBezTo>
                <a:cubicBezTo>
                  <a:pt x="1698" y="163"/>
                  <a:pt x="1698" y="160"/>
                  <a:pt x="1698" y="160"/>
                </a:cubicBezTo>
                <a:cubicBezTo>
                  <a:pt x="1695" y="158"/>
                  <a:pt x="1695" y="158"/>
                  <a:pt x="1695" y="158"/>
                </a:cubicBezTo>
                <a:cubicBezTo>
                  <a:pt x="1695" y="158"/>
                  <a:pt x="1700" y="154"/>
                  <a:pt x="1698" y="153"/>
                </a:cubicBezTo>
                <a:cubicBezTo>
                  <a:pt x="1696" y="151"/>
                  <a:pt x="1685" y="148"/>
                  <a:pt x="1685" y="148"/>
                </a:cubicBezTo>
                <a:cubicBezTo>
                  <a:pt x="1680" y="144"/>
                  <a:pt x="1680" y="144"/>
                  <a:pt x="1680" y="144"/>
                </a:cubicBezTo>
                <a:cubicBezTo>
                  <a:pt x="1677" y="142"/>
                  <a:pt x="1677" y="142"/>
                  <a:pt x="1677" y="142"/>
                </a:cubicBezTo>
                <a:cubicBezTo>
                  <a:pt x="1675" y="140"/>
                  <a:pt x="1675" y="140"/>
                  <a:pt x="1675" y="140"/>
                </a:cubicBezTo>
                <a:cubicBezTo>
                  <a:pt x="1680" y="140"/>
                  <a:pt x="1680" y="140"/>
                  <a:pt x="1680" y="140"/>
                </a:cubicBezTo>
                <a:cubicBezTo>
                  <a:pt x="1680" y="140"/>
                  <a:pt x="1679" y="142"/>
                  <a:pt x="1683" y="143"/>
                </a:cubicBezTo>
                <a:cubicBezTo>
                  <a:pt x="1687" y="143"/>
                  <a:pt x="1693" y="143"/>
                  <a:pt x="1693" y="143"/>
                </a:cubicBezTo>
                <a:cubicBezTo>
                  <a:pt x="1693" y="143"/>
                  <a:pt x="1696" y="147"/>
                  <a:pt x="1698" y="147"/>
                </a:cubicBezTo>
                <a:cubicBezTo>
                  <a:pt x="1701" y="147"/>
                  <a:pt x="1712" y="148"/>
                  <a:pt x="1712" y="148"/>
                </a:cubicBezTo>
                <a:cubicBezTo>
                  <a:pt x="1712" y="148"/>
                  <a:pt x="1720" y="152"/>
                  <a:pt x="1729" y="149"/>
                </a:cubicBezTo>
                <a:cubicBezTo>
                  <a:pt x="1738" y="147"/>
                  <a:pt x="1747" y="144"/>
                  <a:pt x="1742" y="140"/>
                </a:cubicBezTo>
                <a:cubicBezTo>
                  <a:pt x="1738" y="136"/>
                  <a:pt x="1737" y="133"/>
                  <a:pt x="1731" y="132"/>
                </a:cubicBezTo>
                <a:cubicBezTo>
                  <a:pt x="1725" y="130"/>
                  <a:pt x="1717" y="127"/>
                  <a:pt x="1713" y="126"/>
                </a:cubicBezTo>
                <a:cubicBezTo>
                  <a:pt x="1709" y="124"/>
                  <a:pt x="1702" y="121"/>
                  <a:pt x="1698" y="121"/>
                </a:cubicBezTo>
                <a:cubicBezTo>
                  <a:pt x="1693" y="120"/>
                  <a:pt x="1689" y="120"/>
                  <a:pt x="1687" y="120"/>
                </a:cubicBezTo>
                <a:cubicBezTo>
                  <a:pt x="1684" y="120"/>
                  <a:pt x="1680" y="120"/>
                  <a:pt x="1680" y="120"/>
                </a:cubicBezTo>
                <a:cubicBezTo>
                  <a:pt x="1678" y="118"/>
                  <a:pt x="1678" y="118"/>
                  <a:pt x="1678" y="118"/>
                </a:cubicBezTo>
                <a:cubicBezTo>
                  <a:pt x="1674" y="119"/>
                  <a:pt x="1674" y="119"/>
                  <a:pt x="1674" y="119"/>
                </a:cubicBezTo>
                <a:cubicBezTo>
                  <a:pt x="1670" y="117"/>
                  <a:pt x="1670" y="117"/>
                  <a:pt x="1670" y="117"/>
                </a:cubicBezTo>
                <a:cubicBezTo>
                  <a:pt x="1674" y="116"/>
                  <a:pt x="1674" y="116"/>
                  <a:pt x="1674" y="116"/>
                </a:cubicBezTo>
                <a:cubicBezTo>
                  <a:pt x="1677" y="114"/>
                  <a:pt x="1677" y="114"/>
                  <a:pt x="1677" y="114"/>
                </a:cubicBezTo>
                <a:cubicBezTo>
                  <a:pt x="1677" y="114"/>
                  <a:pt x="1668" y="111"/>
                  <a:pt x="1666" y="112"/>
                </a:cubicBezTo>
                <a:cubicBezTo>
                  <a:pt x="1665" y="113"/>
                  <a:pt x="1665" y="115"/>
                  <a:pt x="1665" y="115"/>
                </a:cubicBezTo>
                <a:cubicBezTo>
                  <a:pt x="1661" y="115"/>
                  <a:pt x="1661" y="115"/>
                  <a:pt x="1661" y="115"/>
                </a:cubicBezTo>
                <a:cubicBezTo>
                  <a:pt x="1657" y="116"/>
                  <a:pt x="1657" y="116"/>
                  <a:pt x="1657" y="116"/>
                </a:cubicBezTo>
                <a:cubicBezTo>
                  <a:pt x="1652" y="114"/>
                  <a:pt x="1652" y="114"/>
                  <a:pt x="1652" y="114"/>
                </a:cubicBezTo>
                <a:cubicBezTo>
                  <a:pt x="1647" y="112"/>
                  <a:pt x="1647" y="112"/>
                  <a:pt x="1647" y="112"/>
                </a:cubicBezTo>
                <a:cubicBezTo>
                  <a:pt x="1647" y="112"/>
                  <a:pt x="1653" y="113"/>
                  <a:pt x="1655" y="112"/>
                </a:cubicBezTo>
                <a:cubicBezTo>
                  <a:pt x="1657" y="111"/>
                  <a:pt x="1661" y="109"/>
                  <a:pt x="1661" y="109"/>
                </a:cubicBezTo>
                <a:cubicBezTo>
                  <a:pt x="1661" y="109"/>
                  <a:pt x="1656" y="106"/>
                  <a:pt x="1653" y="106"/>
                </a:cubicBezTo>
                <a:cubicBezTo>
                  <a:pt x="1650" y="106"/>
                  <a:pt x="1645" y="104"/>
                  <a:pt x="1645" y="104"/>
                </a:cubicBezTo>
                <a:cubicBezTo>
                  <a:pt x="1645" y="104"/>
                  <a:pt x="1644" y="109"/>
                  <a:pt x="1640" y="109"/>
                </a:cubicBezTo>
                <a:cubicBezTo>
                  <a:pt x="1637" y="108"/>
                  <a:pt x="1643" y="104"/>
                  <a:pt x="1643" y="104"/>
                </a:cubicBezTo>
                <a:cubicBezTo>
                  <a:pt x="1634" y="101"/>
                  <a:pt x="1634" y="101"/>
                  <a:pt x="1634" y="101"/>
                </a:cubicBezTo>
                <a:cubicBezTo>
                  <a:pt x="1634" y="101"/>
                  <a:pt x="1632" y="111"/>
                  <a:pt x="1629" y="110"/>
                </a:cubicBezTo>
                <a:cubicBezTo>
                  <a:pt x="1626" y="109"/>
                  <a:pt x="1629" y="103"/>
                  <a:pt x="1629" y="103"/>
                </a:cubicBezTo>
                <a:cubicBezTo>
                  <a:pt x="1629" y="103"/>
                  <a:pt x="1621" y="113"/>
                  <a:pt x="1618" y="111"/>
                </a:cubicBezTo>
                <a:cubicBezTo>
                  <a:pt x="1616" y="110"/>
                  <a:pt x="1626" y="102"/>
                  <a:pt x="1626" y="102"/>
                </a:cubicBezTo>
                <a:cubicBezTo>
                  <a:pt x="1621" y="102"/>
                  <a:pt x="1621" y="102"/>
                  <a:pt x="1621" y="102"/>
                </a:cubicBezTo>
                <a:cubicBezTo>
                  <a:pt x="1619" y="104"/>
                  <a:pt x="1619" y="104"/>
                  <a:pt x="1619" y="104"/>
                </a:cubicBezTo>
                <a:cubicBezTo>
                  <a:pt x="1615" y="103"/>
                  <a:pt x="1615" y="103"/>
                  <a:pt x="1615" y="103"/>
                </a:cubicBezTo>
                <a:cubicBezTo>
                  <a:pt x="1609" y="107"/>
                  <a:pt x="1609" y="107"/>
                  <a:pt x="1609" y="107"/>
                </a:cubicBezTo>
                <a:cubicBezTo>
                  <a:pt x="1606" y="107"/>
                  <a:pt x="1606" y="107"/>
                  <a:pt x="1606" y="107"/>
                </a:cubicBezTo>
                <a:cubicBezTo>
                  <a:pt x="1605" y="112"/>
                  <a:pt x="1605" y="112"/>
                  <a:pt x="1605" y="112"/>
                </a:cubicBezTo>
                <a:cubicBezTo>
                  <a:pt x="1600" y="110"/>
                  <a:pt x="1600" y="110"/>
                  <a:pt x="1600" y="110"/>
                </a:cubicBezTo>
                <a:cubicBezTo>
                  <a:pt x="1595" y="111"/>
                  <a:pt x="1595" y="111"/>
                  <a:pt x="1595" y="111"/>
                </a:cubicBezTo>
                <a:cubicBezTo>
                  <a:pt x="1597" y="115"/>
                  <a:pt x="1597" y="115"/>
                  <a:pt x="1597" y="115"/>
                </a:cubicBezTo>
                <a:cubicBezTo>
                  <a:pt x="1590" y="113"/>
                  <a:pt x="1590" y="113"/>
                  <a:pt x="1590" y="113"/>
                </a:cubicBezTo>
                <a:cubicBezTo>
                  <a:pt x="1588" y="114"/>
                  <a:pt x="1588" y="114"/>
                  <a:pt x="1588" y="114"/>
                </a:cubicBezTo>
                <a:cubicBezTo>
                  <a:pt x="1588" y="117"/>
                  <a:pt x="1588" y="117"/>
                  <a:pt x="1588" y="117"/>
                </a:cubicBezTo>
                <a:cubicBezTo>
                  <a:pt x="1582" y="119"/>
                  <a:pt x="1582" y="119"/>
                  <a:pt x="1582" y="119"/>
                </a:cubicBezTo>
                <a:cubicBezTo>
                  <a:pt x="1583" y="114"/>
                  <a:pt x="1583" y="114"/>
                  <a:pt x="1583" y="114"/>
                </a:cubicBezTo>
                <a:cubicBezTo>
                  <a:pt x="1579" y="114"/>
                  <a:pt x="1579" y="114"/>
                  <a:pt x="1579" y="114"/>
                </a:cubicBezTo>
                <a:cubicBezTo>
                  <a:pt x="1580" y="117"/>
                  <a:pt x="1580" y="117"/>
                  <a:pt x="1580" y="117"/>
                </a:cubicBezTo>
                <a:cubicBezTo>
                  <a:pt x="1576" y="115"/>
                  <a:pt x="1576" y="115"/>
                  <a:pt x="1576" y="115"/>
                </a:cubicBezTo>
                <a:cubicBezTo>
                  <a:pt x="1577" y="119"/>
                  <a:pt x="1577" y="119"/>
                  <a:pt x="1577" y="119"/>
                </a:cubicBezTo>
                <a:cubicBezTo>
                  <a:pt x="1573" y="119"/>
                  <a:pt x="1573" y="119"/>
                  <a:pt x="1573" y="119"/>
                </a:cubicBezTo>
                <a:cubicBezTo>
                  <a:pt x="1573" y="119"/>
                  <a:pt x="1573" y="116"/>
                  <a:pt x="1573" y="115"/>
                </a:cubicBezTo>
                <a:cubicBezTo>
                  <a:pt x="1574" y="115"/>
                  <a:pt x="1576" y="113"/>
                  <a:pt x="1576" y="113"/>
                </a:cubicBezTo>
                <a:cubicBezTo>
                  <a:pt x="1571" y="112"/>
                  <a:pt x="1571" y="112"/>
                  <a:pt x="1571" y="112"/>
                </a:cubicBezTo>
                <a:cubicBezTo>
                  <a:pt x="1570" y="118"/>
                  <a:pt x="1570" y="118"/>
                  <a:pt x="1570" y="118"/>
                </a:cubicBezTo>
                <a:cubicBezTo>
                  <a:pt x="1567" y="120"/>
                  <a:pt x="1567" y="120"/>
                  <a:pt x="1567" y="120"/>
                </a:cubicBezTo>
                <a:cubicBezTo>
                  <a:pt x="1569" y="122"/>
                  <a:pt x="1569" y="122"/>
                  <a:pt x="1569" y="122"/>
                </a:cubicBezTo>
                <a:cubicBezTo>
                  <a:pt x="1564" y="122"/>
                  <a:pt x="1564" y="122"/>
                  <a:pt x="1564" y="122"/>
                </a:cubicBezTo>
                <a:cubicBezTo>
                  <a:pt x="1566" y="124"/>
                  <a:pt x="1566" y="124"/>
                  <a:pt x="1566" y="124"/>
                </a:cubicBezTo>
                <a:cubicBezTo>
                  <a:pt x="1560" y="124"/>
                  <a:pt x="1560" y="124"/>
                  <a:pt x="1560" y="124"/>
                </a:cubicBezTo>
                <a:cubicBezTo>
                  <a:pt x="1560" y="126"/>
                  <a:pt x="1560" y="126"/>
                  <a:pt x="1560" y="126"/>
                </a:cubicBezTo>
                <a:cubicBezTo>
                  <a:pt x="1564" y="127"/>
                  <a:pt x="1564" y="127"/>
                  <a:pt x="1564" y="127"/>
                </a:cubicBezTo>
                <a:cubicBezTo>
                  <a:pt x="1563" y="129"/>
                  <a:pt x="1563" y="129"/>
                  <a:pt x="1563" y="129"/>
                </a:cubicBezTo>
                <a:cubicBezTo>
                  <a:pt x="1558" y="127"/>
                  <a:pt x="1558" y="127"/>
                  <a:pt x="1558" y="127"/>
                </a:cubicBezTo>
                <a:cubicBezTo>
                  <a:pt x="1556" y="127"/>
                  <a:pt x="1556" y="127"/>
                  <a:pt x="1556" y="127"/>
                </a:cubicBezTo>
                <a:cubicBezTo>
                  <a:pt x="1559" y="129"/>
                  <a:pt x="1559" y="129"/>
                  <a:pt x="1559" y="129"/>
                </a:cubicBezTo>
                <a:cubicBezTo>
                  <a:pt x="1556" y="131"/>
                  <a:pt x="1556" y="131"/>
                  <a:pt x="1556" y="131"/>
                </a:cubicBezTo>
                <a:cubicBezTo>
                  <a:pt x="1554" y="129"/>
                  <a:pt x="1554" y="129"/>
                  <a:pt x="1554" y="129"/>
                </a:cubicBezTo>
                <a:cubicBezTo>
                  <a:pt x="1552" y="130"/>
                  <a:pt x="1552" y="130"/>
                  <a:pt x="1552" y="130"/>
                </a:cubicBezTo>
                <a:cubicBezTo>
                  <a:pt x="1553" y="131"/>
                  <a:pt x="1553" y="131"/>
                  <a:pt x="1553" y="131"/>
                </a:cubicBezTo>
                <a:cubicBezTo>
                  <a:pt x="1548" y="131"/>
                  <a:pt x="1548" y="131"/>
                  <a:pt x="1548" y="131"/>
                </a:cubicBezTo>
                <a:cubicBezTo>
                  <a:pt x="1547" y="133"/>
                  <a:pt x="1547" y="133"/>
                  <a:pt x="1547" y="133"/>
                </a:cubicBezTo>
                <a:cubicBezTo>
                  <a:pt x="1551" y="135"/>
                  <a:pt x="1551" y="135"/>
                  <a:pt x="1551" y="135"/>
                </a:cubicBezTo>
                <a:cubicBezTo>
                  <a:pt x="1550" y="137"/>
                  <a:pt x="1550" y="137"/>
                  <a:pt x="1550" y="137"/>
                </a:cubicBezTo>
                <a:cubicBezTo>
                  <a:pt x="1546" y="135"/>
                  <a:pt x="1546" y="135"/>
                  <a:pt x="1546" y="135"/>
                </a:cubicBezTo>
                <a:cubicBezTo>
                  <a:pt x="1545" y="138"/>
                  <a:pt x="1545" y="138"/>
                  <a:pt x="1545" y="138"/>
                </a:cubicBezTo>
                <a:cubicBezTo>
                  <a:pt x="1549" y="139"/>
                  <a:pt x="1549" y="139"/>
                  <a:pt x="1549" y="139"/>
                </a:cubicBezTo>
                <a:cubicBezTo>
                  <a:pt x="1549" y="139"/>
                  <a:pt x="1544" y="139"/>
                  <a:pt x="1543" y="139"/>
                </a:cubicBezTo>
                <a:cubicBezTo>
                  <a:pt x="1541" y="139"/>
                  <a:pt x="1542" y="141"/>
                  <a:pt x="1542" y="141"/>
                </a:cubicBezTo>
                <a:cubicBezTo>
                  <a:pt x="1542" y="141"/>
                  <a:pt x="1540" y="140"/>
                  <a:pt x="1538" y="141"/>
                </a:cubicBezTo>
                <a:cubicBezTo>
                  <a:pt x="1536" y="142"/>
                  <a:pt x="1535" y="143"/>
                  <a:pt x="1536" y="144"/>
                </a:cubicBezTo>
                <a:cubicBezTo>
                  <a:pt x="1537" y="145"/>
                  <a:pt x="1535" y="146"/>
                  <a:pt x="1535" y="146"/>
                </a:cubicBezTo>
                <a:cubicBezTo>
                  <a:pt x="1535" y="146"/>
                  <a:pt x="1533" y="148"/>
                  <a:pt x="1534" y="148"/>
                </a:cubicBezTo>
                <a:cubicBezTo>
                  <a:pt x="1534" y="148"/>
                  <a:pt x="1539" y="148"/>
                  <a:pt x="1539" y="148"/>
                </a:cubicBezTo>
                <a:cubicBezTo>
                  <a:pt x="1537" y="150"/>
                  <a:pt x="1537" y="150"/>
                  <a:pt x="1537" y="150"/>
                </a:cubicBezTo>
                <a:cubicBezTo>
                  <a:pt x="1532" y="149"/>
                  <a:pt x="1532" y="149"/>
                  <a:pt x="1532" y="149"/>
                </a:cubicBezTo>
                <a:cubicBezTo>
                  <a:pt x="1532" y="149"/>
                  <a:pt x="1530" y="150"/>
                  <a:pt x="1530" y="151"/>
                </a:cubicBezTo>
                <a:cubicBezTo>
                  <a:pt x="1530" y="153"/>
                  <a:pt x="1532" y="154"/>
                  <a:pt x="1531" y="155"/>
                </a:cubicBezTo>
                <a:cubicBezTo>
                  <a:pt x="1530" y="156"/>
                  <a:pt x="1529" y="156"/>
                  <a:pt x="1528" y="156"/>
                </a:cubicBezTo>
                <a:cubicBezTo>
                  <a:pt x="1527" y="156"/>
                  <a:pt x="1526" y="156"/>
                  <a:pt x="1526" y="157"/>
                </a:cubicBezTo>
                <a:cubicBezTo>
                  <a:pt x="1527" y="159"/>
                  <a:pt x="1528" y="160"/>
                  <a:pt x="1528" y="160"/>
                </a:cubicBezTo>
                <a:cubicBezTo>
                  <a:pt x="1528" y="160"/>
                  <a:pt x="1530" y="162"/>
                  <a:pt x="1528" y="162"/>
                </a:cubicBezTo>
                <a:cubicBezTo>
                  <a:pt x="1527" y="162"/>
                  <a:pt x="1525" y="162"/>
                  <a:pt x="1525" y="162"/>
                </a:cubicBezTo>
                <a:cubicBezTo>
                  <a:pt x="1524" y="162"/>
                  <a:pt x="1523" y="162"/>
                  <a:pt x="1523" y="163"/>
                </a:cubicBezTo>
                <a:cubicBezTo>
                  <a:pt x="1522" y="164"/>
                  <a:pt x="1522" y="165"/>
                  <a:pt x="1522" y="165"/>
                </a:cubicBezTo>
                <a:cubicBezTo>
                  <a:pt x="1522" y="165"/>
                  <a:pt x="1522" y="167"/>
                  <a:pt x="1521" y="167"/>
                </a:cubicBezTo>
                <a:cubicBezTo>
                  <a:pt x="1520" y="167"/>
                  <a:pt x="1519" y="165"/>
                  <a:pt x="1518" y="166"/>
                </a:cubicBezTo>
                <a:cubicBezTo>
                  <a:pt x="1516" y="166"/>
                  <a:pt x="1517" y="166"/>
                  <a:pt x="1516" y="167"/>
                </a:cubicBezTo>
                <a:cubicBezTo>
                  <a:pt x="1515" y="167"/>
                  <a:pt x="1515" y="168"/>
                  <a:pt x="1514" y="169"/>
                </a:cubicBezTo>
                <a:cubicBezTo>
                  <a:pt x="1513" y="169"/>
                  <a:pt x="1512" y="169"/>
                  <a:pt x="1512" y="169"/>
                </a:cubicBezTo>
                <a:cubicBezTo>
                  <a:pt x="1512" y="169"/>
                  <a:pt x="1511" y="170"/>
                  <a:pt x="1510" y="171"/>
                </a:cubicBezTo>
                <a:cubicBezTo>
                  <a:pt x="1509" y="172"/>
                  <a:pt x="1511" y="173"/>
                  <a:pt x="1510" y="174"/>
                </a:cubicBezTo>
                <a:cubicBezTo>
                  <a:pt x="1509" y="174"/>
                  <a:pt x="1509" y="175"/>
                  <a:pt x="1508" y="175"/>
                </a:cubicBezTo>
                <a:cubicBezTo>
                  <a:pt x="1507" y="175"/>
                  <a:pt x="1505" y="174"/>
                  <a:pt x="1504" y="174"/>
                </a:cubicBezTo>
                <a:cubicBezTo>
                  <a:pt x="1504" y="174"/>
                  <a:pt x="1505" y="172"/>
                  <a:pt x="1503" y="173"/>
                </a:cubicBezTo>
                <a:cubicBezTo>
                  <a:pt x="1500" y="175"/>
                  <a:pt x="1500" y="175"/>
                  <a:pt x="1499" y="175"/>
                </a:cubicBezTo>
                <a:cubicBezTo>
                  <a:pt x="1498" y="175"/>
                  <a:pt x="1497" y="174"/>
                  <a:pt x="1497" y="176"/>
                </a:cubicBezTo>
                <a:cubicBezTo>
                  <a:pt x="1497" y="178"/>
                  <a:pt x="1499" y="178"/>
                  <a:pt x="1499" y="179"/>
                </a:cubicBezTo>
                <a:cubicBezTo>
                  <a:pt x="1499" y="179"/>
                  <a:pt x="1500" y="181"/>
                  <a:pt x="1498" y="180"/>
                </a:cubicBezTo>
                <a:cubicBezTo>
                  <a:pt x="1496" y="179"/>
                  <a:pt x="1496" y="178"/>
                  <a:pt x="1495" y="178"/>
                </a:cubicBezTo>
                <a:cubicBezTo>
                  <a:pt x="1494" y="179"/>
                  <a:pt x="1493" y="180"/>
                  <a:pt x="1494" y="181"/>
                </a:cubicBezTo>
                <a:cubicBezTo>
                  <a:pt x="1495" y="181"/>
                  <a:pt x="1498" y="181"/>
                  <a:pt x="1497" y="182"/>
                </a:cubicBezTo>
                <a:cubicBezTo>
                  <a:pt x="1497" y="183"/>
                  <a:pt x="1499" y="184"/>
                  <a:pt x="1496" y="183"/>
                </a:cubicBezTo>
                <a:cubicBezTo>
                  <a:pt x="1493" y="183"/>
                  <a:pt x="1492" y="183"/>
                  <a:pt x="1492" y="183"/>
                </a:cubicBezTo>
                <a:cubicBezTo>
                  <a:pt x="1492" y="183"/>
                  <a:pt x="1492" y="182"/>
                  <a:pt x="1491" y="183"/>
                </a:cubicBezTo>
                <a:cubicBezTo>
                  <a:pt x="1490" y="184"/>
                  <a:pt x="1490" y="186"/>
                  <a:pt x="1490" y="186"/>
                </a:cubicBezTo>
                <a:cubicBezTo>
                  <a:pt x="1490" y="186"/>
                  <a:pt x="1484" y="183"/>
                  <a:pt x="1485" y="185"/>
                </a:cubicBezTo>
                <a:cubicBezTo>
                  <a:pt x="1486" y="186"/>
                  <a:pt x="1490" y="187"/>
                  <a:pt x="1490" y="187"/>
                </a:cubicBezTo>
                <a:cubicBezTo>
                  <a:pt x="1488" y="190"/>
                  <a:pt x="1488" y="190"/>
                  <a:pt x="1488" y="190"/>
                </a:cubicBezTo>
                <a:cubicBezTo>
                  <a:pt x="1488" y="190"/>
                  <a:pt x="1488" y="188"/>
                  <a:pt x="1486" y="188"/>
                </a:cubicBezTo>
                <a:cubicBezTo>
                  <a:pt x="1485" y="188"/>
                  <a:pt x="1484" y="189"/>
                  <a:pt x="1484" y="189"/>
                </a:cubicBezTo>
                <a:cubicBezTo>
                  <a:pt x="1481" y="187"/>
                  <a:pt x="1481" y="187"/>
                  <a:pt x="1481" y="187"/>
                </a:cubicBezTo>
                <a:cubicBezTo>
                  <a:pt x="1480" y="189"/>
                  <a:pt x="1480" y="189"/>
                  <a:pt x="1480" y="189"/>
                </a:cubicBezTo>
                <a:cubicBezTo>
                  <a:pt x="1481" y="190"/>
                  <a:pt x="1481" y="190"/>
                  <a:pt x="1481" y="190"/>
                </a:cubicBezTo>
                <a:cubicBezTo>
                  <a:pt x="1477" y="189"/>
                  <a:pt x="1477" y="189"/>
                  <a:pt x="1477" y="189"/>
                </a:cubicBezTo>
                <a:cubicBezTo>
                  <a:pt x="1476" y="191"/>
                  <a:pt x="1476" y="191"/>
                  <a:pt x="1476" y="191"/>
                </a:cubicBezTo>
                <a:cubicBezTo>
                  <a:pt x="1483" y="192"/>
                  <a:pt x="1483" y="192"/>
                  <a:pt x="1483" y="192"/>
                </a:cubicBezTo>
                <a:cubicBezTo>
                  <a:pt x="1480" y="193"/>
                  <a:pt x="1480" y="193"/>
                  <a:pt x="1480" y="193"/>
                </a:cubicBezTo>
                <a:cubicBezTo>
                  <a:pt x="1475" y="192"/>
                  <a:pt x="1475" y="192"/>
                  <a:pt x="1475" y="192"/>
                </a:cubicBezTo>
                <a:cubicBezTo>
                  <a:pt x="1475" y="192"/>
                  <a:pt x="1473" y="193"/>
                  <a:pt x="1473" y="194"/>
                </a:cubicBezTo>
                <a:cubicBezTo>
                  <a:pt x="1473" y="196"/>
                  <a:pt x="1477" y="196"/>
                  <a:pt x="1477" y="196"/>
                </a:cubicBezTo>
                <a:cubicBezTo>
                  <a:pt x="1475" y="197"/>
                  <a:pt x="1475" y="197"/>
                  <a:pt x="1475" y="197"/>
                </a:cubicBezTo>
                <a:cubicBezTo>
                  <a:pt x="1475" y="197"/>
                  <a:pt x="1473" y="198"/>
                  <a:pt x="1475" y="198"/>
                </a:cubicBezTo>
                <a:cubicBezTo>
                  <a:pt x="1476" y="199"/>
                  <a:pt x="1481" y="199"/>
                  <a:pt x="1481" y="199"/>
                </a:cubicBezTo>
                <a:cubicBezTo>
                  <a:pt x="1483" y="200"/>
                  <a:pt x="1483" y="200"/>
                  <a:pt x="1483" y="200"/>
                </a:cubicBezTo>
                <a:cubicBezTo>
                  <a:pt x="1486" y="198"/>
                  <a:pt x="1486" y="198"/>
                  <a:pt x="1486" y="198"/>
                </a:cubicBezTo>
                <a:cubicBezTo>
                  <a:pt x="1487" y="200"/>
                  <a:pt x="1487" y="200"/>
                  <a:pt x="1487" y="200"/>
                </a:cubicBezTo>
                <a:cubicBezTo>
                  <a:pt x="1491" y="198"/>
                  <a:pt x="1491" y="198"/>
                  <a:pt x="1491" y="198"/>
                </a:cubicBezTo>
                <a:cubicBezTo>
                  <a:pt x="1491" y="198"/>
                  <a:pt x="1490" y="201"/>
                  <a:pt x="1489" y="201"/>
                </a:cubicBezTo>
                <a:cubicBezTo>
                  <a:pt x="1488" y="201"/>
                  <a:pt x="1485" y="201"/>
                  <a:pt x="1485" y="201"/>
                </a:cubicBezTo>
                <a:cubicBezTo>
                  <a:pt x="1482" y="201"/>
                  <a:pt x="1482" y="201"/>
                  <a:pt x="1482" y="201"/>
                </a:cubicBezTo>
                <a:cubicBezTo>
                  <a:pt x="1482" y="201"/>
                  <a:pt x="1478" y="200"/>
                  <a:pt x="1478" y="200"/>
                </a:cubicBezTo>
                <a:cubicBezTo>
                  <a:pt x="1477" y="200"/>
                  <a:pt x="1472" y="201"/>
                  <a:pt x="1472" y="201"/>
                </a:cubicBezTo>
                <a:cubicBezTo>
                  <a:pt x="1472" y="201"/>
                  <a:pt x="1473" y="203"/>
                  <a:pt x="1474" y="204"/>
                </a:cubicBezTo>
                <a:cubicBezTo>
                  <a:pt x="1475" y="204"/>
                  <a:pt x="1477" y="204"/>
                  <a:pt x="1477" y="204"/>
                </a:cubicBezTo>
                <a:cubicBezTo>
                  <a:pt x="1477" y="204"/>
                  <a:pt x="1474" y="206"/>
                  <a:pt x="1475" y="208"/>
                </a:cubicBezTo>
                <a:cubicBezTo>
                  <a:pt x="1476" y="209"/>
                  <a:pt x="1479" y="209"/>
                  <a:pt x="1479" y="209"/>
                </a:cubicBezTo>
                <a:cubicBezTo>
                  <a:pt x="1482" y="207"/>
                  <a:pt x="1482" y="207"/>
                  <a:pt x="1482" y="207"/>
                </a:cubicBezTo>
                <a:cubicBezTo>
                  <a:pt x="1486" y="206"/>
                  <a:pt x="1486" y="206"/>
                  <a:pt x="1486" y="206"/>
                </a:cubicBezTo>
                <a:cubicBezTo>
                  <a:pt x="1485" y="209"/>
                  <a:pt x="1485" y="209"/>
                  <a:pt x="1485" y="209"/>
                </a:cubicBezTo>
                <a:cubicBezTo>
                  <a:pt x="1483" y="208"/>
                  <a:pt x="1483" y="208"/>
                  <a:pt x="1483" y="208"/>
                </a:cubicBezTo>
                <a:cubicBezTo>
                  <a:pt x="1481" y="211"/>
                  <a:pt x="1481" y="211"/>
                  <a:pt x="1481" y="211"/>
                </a:cubicBezTo>
                <a:cubicBezTo>
                  <a:pt x="1481" y="211"/>
                  <a:pt x="1475" y="210"/>
                  <a:pt x="1476" y="211"/>
                </a:cubicBezTo>
                <a:cubicBezTo>
                  <a:pt x="1477" y="213"/>
                  <a:pt x="1479" y="213"/>
                  <a:pt x="1479" y="213"/>
                </a:cubicBezTo>
                <a:cubicBezTo>
                  <a:pt x="1475" y="215"/>
                  <a:pt x="1475" y="215"/>
                  <a:pt x="1475" y="215"/>
                </a:cubicBezTo>
                <a:cubicBezTo>
                  <a:pt x="1473" y="215"/>
                  <a:pt x="1473" y="215"/>
                  <a:pt x="1473" y="215"/>
                </a:cubicBezTo>
                <a:cubicBezTo>
                  <a:pt x="1473" y="215"/>
                  <a:pt x="1473" y="217"/>
                  <a:pt x="1474" y="217"/>
                </a:cubicBezTo>
                <a:cubicBezTo>
                  <a:pt x="1475" y="217"/>
                  <a:pt x="1481" y="218"/>
                  <a:pt x="1481" y="218"/>
                </a:cubicBezTo>
                <a:cubicBezTo>
                  <a:pt x="1479" y="221"/>
                  <a:pt x="1479" y="221"/>
                  <a:pt x="1479" y="221"/>
                </a:cubicBezTo>
                <a:cubicBezTo>
                  <a:pt x="1481" y="221"/>
                  <a:pt x="1481" y="221"/>
                  <a:pt x="1481" y="221"/>
                </a:cubicBezTo>
                <a:cubicBezTo>
                  <a:pt x="1480" y="224"/>
                  <a:pt x="1480" y="224"/>
                  <a:pt x="1480" y="224"/>
                </a:cubicBezTo>
                <a:cubicBezTo>
                  <a:pt x="1480" y="224"/>
                  <a:pt x="1475" y="221"/>
                  <a:pt x="1475" y="223"/>
                </a:cubicBezTo>
                <a:cubicBezTo>
                  <a:pt x="1475" y="224"/>
                  <a:pt x="1477" y="226"/>
                  <a:pt x="1477" y="226"/>
                </a:cubicBezTo>
                <a:cubicBezTo>
                  <a:pt x="1484" y="229"/>
                  <a:pt x="1484" y="229"/>
                  <a:pt x="1484" y="229"/>
                </a:cubicBezTo>
                <a:cubicBezTo>
                  <a:pt x="1484" y="229"/>
                  <a:pt x="1482" y="230"/>
                  <a:pt x="1484" y="231"/>
                </a:cubicBezTo>
                <a:cubicBezTo>
                  <a:pt x="1485" y="232"/>
                  <a:pt x="1490" y="231"/>
                  <a:pt x="1490" y="231"/>
                </a:cubicBezTo>
                <a:cubicBezTo>
                  <a:pt x="1490" y="231"/>
                  <a:pt x="1490" y="233"/>
                  <a:pt x="1494" y="231"/>
                </a:cubicBezTo>
                <a:cubicBezTo>
                  <a:pt x="1498" y="230"/>
                  <a:pt x="1503" y="225"/>
                  <a:pt x="1503" y="225"/>
                </a:cubicBezTo>
                <a:cubicBezTo>
                  <a:pt x="1508" y="221"/>
                  <a:pt x="1508" y="221"/>
                  <a:pt x="1508" y="221"/>
                </a:cubicBezTo>
                <a:cubicBezTo>
                  <a:pt x="1508" y="221"/>
                  <a:pt x="1511" y="222"/>
                  <a:pt x="1513" y="220"/>
                </a:cubicBezTo>
                <a:cubicBezTo>
                  <a:pt x="1515" y="218"/>
                  <a:pt x="1513" y="214"/>
                  <a:pt x="1513" y="214"/>
                </a:cubicBezTo>
                <a:cubicBezTo>
                  <a:pt x="1515" y="214"/>
                  <a:pt x="1515" y="214"/>
                  <a:pt x="1515" y="214"/>
                </a:cubicBezTo>
                <a:cubicBezTo>
                  <a:pt x="1515" y="214"/>
                  <a:pt x="1513" y="217"/>
                  <a:pt x="1516" y="218"/>
                </a:cubicBezTo>
                <a:cubicBezTo>
                  <a:pt x="1519" y="219"/>
                  <a:pt x="1521" y="220"/>
                  <a:pt x="1521" y="220"/>
                </a:cubicBezTo>
                <a:cubicBezTo>
                  <a:pt x="1522" y="228"/>
                  <a:pt x="1522" y="228"/>
                  <a:pt x="1522" y="228"/>
                </a:cubicBezTo>
                <a:cubicBezTo>
                  <a:pt x="1522" y="228"/>
                  <a:pt x="1525" y="226"/>
                  <a:pt x="1526" y="229"/>
                </a:cubicBezTo>
                <a:cubicBezTo>
                  <a:pt x="1527" y="231"/>
                  <a:pt x="1525" y="229"/>
                  <a:pt x="1525" y="229"/>
                </a:cubicBezTo>
                <a:cubicBezTo>
                  <a:pt x="1525" y="229"/>
                  <a:pt x="1524" y="237"/>
                  <a:pt x="1525" y="237"/>
                </a:cubicBezTo>
                <a:cubicBezTo>
                  <a:pt x="1526" y="238"/>
                  <a:pt x="1528" y="239"/>
                  <a:pt x="1528" y="239"/>
                </a:cubicBezTo>
                <a:cubicBezTo>
                  <a:pt x="1528" y="239"/>
                  <a:pt x="1530" y="243"/>
                  <a:pt x="1531" y="244"/>
                </a:cubicBezTo>
                <a:cubicBezTo>
                  <a:pt x="1533" y="246"/>
                  <a:pt x="1535" y="247"/>
                  <a:pt x="1535" y="247"/>
                </a:cubicBezTo>
                <a:cubicBezTo>
                  <a:pt x="1535" y="248"/>
                  <a:pt x="1535" y="248"/>
                  <a:pt x="1535" y="248"/>
                </a:cubicBezTo>
                <a:cubicBezTo>
                  <a:pt x="1532" y="249"/>
                  <a:pt x="1532" y="249"/>
                  <a:pt x="1532" y="249"/>
                </a:cubicBezTo>
                <a:cubicBezTo>
                  <a:pt x="1532" y="249"/>
                  <a:pt x="1532" y="250"/>
                  <a:pt x="1532" y="252"/>
                </a:cubicBezTo>
                <a:cubicBezTo>
                  <a:pt x="1532" y="253"/>
                  <a:pt x="1535" y="256"/>
                  <a:pt x="1535" y="256"/>
                </a:cubicBezTo>
                <a:cubicBezTo>
                  <a:pt x="1535" y="256"/>
                  <a:pt x="1535" y="258"/>
                  <a:pt x="1536" y="259"/>
                </a:cubicBezTo>
                <a:cubicBezTo>
                  <a:pt x="1537" y="260"/>
                  <a:pt x="1541" y="259"/>
                  <a:pt x="1541" y="259"/>
                </a:cubicBezTo>
                <a:cubicBezTo>
                  <a:pt x="1541" y="259"/>
                  <a:pt x="1547" y="261"/>
                  <a:pt x="1547" y="259"/>
                </a:cubicBezTo>
                <a:cubicBezTo>
                  <a:pt x="1546" y="257"/>
                  <a:pt x="1546" y="254"/>
                  <a:pt x="1546" y="254"/>
                </a:cubicBezTo>
                <a:cubicBezTo>
                  <a:pt x="1549" y="252"/>
                  <a:pt x="1549" y="252"/>
                  <a:pt x="1549" y="252"/>
                </a:cubicBezTo>
                <a:cubicBezTo>
                  <a:pt x="1549" y="250"/>
                  <a:pt x="1549" y="250"/>
                  <a:pt x="1549" y="250"/>
                </a:cubicBezTo>
                <a:cubicBezTo>
                  <a:pt x="1558" y="251"/>
                  <a:pt x="1558" y="251"/>
                  <a:pt x="1558" y="251"/>
                </a:cubicBezTo>
                <a:cubicBezTo>
                  <a:pt x="1560" y="252"/>
                  <a:pt x="1560" y="252"/>
                  <a:pt x="1560" y="252"/>
                </a:cubicBezTo>
                <a:cubicBezTo>
                  <a:pt x="1563" y="243"/>
                  <a:pt x="1563" y="243"/>
                  <a:pt x="1563" y="243"/>
                </a:cubicBezTo>
                <a:cubicBezTo>
                  <a:pt x="1563" y="243"/>
                  <a:pt x="1565" y="238"/>
                  <a:pt x="1564" y="237"/>
                </a:cubicBezTo>
                <a:cubicBezTo>
                  <a:pt x="1564" y="235"/>
                  <a:pt x="1563" y="233"/>
                  <a:pt x="1563" y="233"/>
                </a:cubicBezTo>
                <a:cubicBezTo>
                  <a:pt x="1563" y="233"/>
                  <a:pt x="1567" y="232"/>
                  <a:pt x="1567" y="230"/>
                </a:cubicBezTo>
                <a:cubicBezTo>
                  <a:pt x="1566" y="228"/>
                  <a:pt x="1562" y="228"/>
                  <a:pt x="1562" y="228"/>
                </a:cubicBezTo>
                <a:cubicBezTo>
                  <a:pt x="1565" y="227"/>
                  <a:pt x="1565" y="227"/>
                  <a:pt x="1565" y="227"/>
                </a:cubicBezTo>
                <a:cubicBezTo>
                  <a:pt x="1563" y="226"/>
                  <a:pt x="1563" y="226"/>
                  <a:pt x="1563" y="226"/>
                </a:cubicBezTo>
                <a:cubicBezTo>
                  <a:pt x="1563" y="226"/>
                  <a:pt x="1570" y="226"/>
                  <a:pt x="1571" y="224"/>
                </a:cubicBezTo>
                <a:cubicBezTo>
                  <a:pt x="1571" y="222"/>
                  <a:pt x="1572" y="220"/>
                  <a:pt x="1572" y="220"/>
                </a:cubicBezTo>
                <a:cubicBezTo>
                  <a:pt x="1572" y="220"/>
                  <a:pt x="1575" y="224"/>
                  <a:pt x="1577" y="222"/>
                </a:cubicBezTo>
                <a:cubicBezTo>
                  <a:pt x="1579" y="219"/>
                  <a:pt x="1578" y="217"/>
                  <a:pt x="1578" y="217"/>
                </a:cubicBezTo>
                <a:cubicBezTo>
                  <a:pt x="1578" y="217"/>
                  <a:pt x="1583" y="216"/>
                  <a:pt x="1582" y="213"/>
                </a:cubicBezTo>
                <a:cubicBezTo>
                  <a:pt x="1580" y="210"/>
                  <a:pt x="1578" y="210"/>
                  <a:pt x="1578" y="210"/>
                </a:cubicBezTo>
                <a:cubicBezTo>
                  <a:pt x="1578" y="207"/>
                  <a:pt x="1578" y="207"/>
                  <a:pt x="1578" y="207"/>
                </a:cubicBezTo>
                <a:cubicBezTo>
                  <a:pt x="1573" y="205"/>
                  <a:pt x="1573" y="205"/>
                  <a:pt x="1573" y="205"/>
                </a:cubicBezTo>
                <a:cubicBezTo>
                  <a:pt x="1573" y="205"/>
                  <a:pt x="1571" y="207"/>
                  <a:pt x="1569" y="205"/>
                </a:cubicBezTo>
                <a:cubicBezTo>
                  <a:pt x="1567" y="204"/>
                  <a:pt x="1567" y="195"/>
                  <a:pt x="1567" y="195"/>
                </a:cubicBezTo>
                <a:cubicBezTo>
                  <a:pt x="1567" y="195"/>
                  <a:pt x="1569" y="193"/>
                  <a:pt x="1569" y="190"/>
                </a:cubicBezTo>
                <a:cubicBezTo>
                  <a:pt x="1569" y="188"/>
                  <a:pt x="1567" y="186"/>
                  <a:pt x="1567" y="186"/>
                </a:cubicBezTo>
                <a:cubicBezTo>
                  <a:pt x="1567" y="186"/>
                  <a:pt x="1570" y="187"/>
                  <a:pt x="1571" y="185"/>
                </a:cubicBezTo>
                <a:cubicBezTo>
                  <a:pt x="1572" y="183"/>
                  <a:pt x="1570" y="181"/>
                  <a:pt x="1570" y="181"/>
                </a:cubicBezTo>
                <a:cubicBezTo>
                  <a:pt x="1570" y="181"/>
                  <a:pt x="1573" y="183"/>
                  <a:pt x="1574" y="182"/>
                </a:cubicBezTo>
                <a:cubicBezTo>
                  <a:pt x="1575" y="181"/>
                  <a:pt x="1578" y="178"/>
                  <a:pt x="1578" y="178"/>
                </a:cubicBezTo>
                <a:cubicBezTo>
                  <a:pt x="1582" y="179"/>
                  <a:pt x="1582" y="179"/>
                  <a:pt x="1582" y="179"/>
                </a:cubicBezTo>
                <a:cubicBezTo>
                  <a:pt x="1584" y="176"/>
                  <a:pt x="1584" y="176"/>
                  <a:pt x="1584" y="176"/>
                </a:cubicBezTo>
                <a:cubicBezTo>
                  <a:pt x="1584" y="176"/>
                  <a:pt x="1590" y="176"/>
                  <a:pt x="1592" y="174"/>
                </a:cubicBezTo>
                <a:cubicBezTo>
                  <a:pt x="1594" y="172"/>
                  <a:pt x="1597" y="166"/>
                  <a:pt x="1597" y="166"/>
                </a:cubicBezTo>
                <a:cubicBezTo>
                  <a:pt x="1595" y="163"/>
                  <a:pt x="1595" y="163"/>
                  <a:pt x="1595" y="163"/>
                </a:cubicBezTo>
                <a:cubicBezTo>
                  <a:pt x="1599" y="158"/>
                  <a:pt x="1599" y="158"/>
                  <a:pt x="1599" y="158"/>
                </a:cubicBezTo>
                <a:cubicBezTo>
                  <a:pt x="1597" y="156"/>
                  <a:pt x="1597" y="156"/>
                  <a:pt x="1597" y="156"/>
                </a:cubicBezTo>
                <a:cubicBezTo>
                  <a:pt x="1602" y="154"/>
                  <a:pt x="1602" y="154"/>
                  <a:pt x="1602" y="154"/>
                </a:cubicBezTo>
                <a:cubicBezTo>
                  <a:pt x="1604" y="152"/>
                  <a:pt x="1604" y="152"/>
                  <a:pt x="1604" y="152"/>
                </a:cubicBezTo>
                <a:cubicBezTo>
                  <a:pt x="1615" y="152"/>
                  <a:pt x="1615" y="152"/>
                  <a:pt x="1615" y="152"/>
                </a:cubicBezTo>
                <a:cubicBezTo>
                  <a:pt x="1617" y="155"/>
                  <a:pt x="1617" y="155"/>
                  <a:pt x="1617" y="155"/>
                </a:cubicBezTo>
                <a:cubicBezTo>
                  <a:pt x="1617" y="154"/>
                  <a:pt x="1617" y="154"/>
                  <a:pt x="1617" y="154"/>
                </a:cubicBezTo>
                <a:cubicBezTo>
                  <a:pt x="1619" y="153"/>
                  <a:pt x="1619" y="153"/>
                  <a:pt x="1619" y="153"/>
                </a:cubicBezTo>
                <a:cubicBezTo>
                  <a:pt x="1619" y="153"/>
                  <a:pt x="1625" y="155"/>
                  <a:pt x="1626" y="157"/>
                </a:cubicBezTo>
                <a:cubicBezTo>
                  <a:pt x="1626" y="160"/>
                  <a:pt x="1626" y="162"/>
                  <a:pt x="1626" y="162"/>
                </a:cubicBezTo>
                <a:cubicBezTo>
                  <a:pt x="1626" y="162"/>
                  <a:pt x="1624" y="161"/>
                  <a:pt x="1623" y="161"/>
                </a:cubicBezTo>
                <a:cubicBezTo>
                  <a:pt x="1623" y="161"/>
                  <a:pt x="1618" y="166"/>
                  <a:pt x="1618" y="166"/>
                </a:cubicBezTo>
                <a:cubicBezTo>
                  <a:pt x="1613" y="171"/>
                  <a:pt x="1613" y="171"/>
                  <a:pt x="1613" y="171"/>
                </a:cubicBezTo>
                <a:cubicBezTo>
                  <a:pt x="1608" y="172"/>
                  <a:pt x="1608" y="172"/>
                  <a:pt x="1608" y="172"/>
                </a:cubicBezTo>
                <a:cubicBezTo>
                  <a:pt x="1608" y="172"/>
                  <a:pt x="1605" y="175"/>
                  <a:pt x="1605" y="176"/>
                </a:cubicBezTo>
                <a:cubicBezTo>
                  <a:pt x="1605" y="178"/>
                  <a:pt x="1601" y="178"/>
                  <a:pt x="1601" y="178"/>
                </a:cubicBezTo>
                <a:cubicBezTo>
                  <a:pt x="1598" y="182"/>
                  <a:pt x="1598" y="182"/>
                  <a:pt x="1598" y="182"/>
                </a:cubicBezTo>
                <a:cubicBezTo>
                  <a:pt x="1598" y="182"/>
                  <a:pt x="1597" y="185"/>
                  <a:pt x="1597" y="185"/>
                </a:cubicBezTo>
                <a:cubicBezTo>
                  <a:pt x="1598" y="186"/>
                  <a:pt x="1599" y="188"/>
                  <a:pt x="1599" y="188"/>
                </a:cubicBezTo>
                <a:cubicBezTo>
                  <a:pt x="1598" y="191"/>
                  <a:pt x="1598" y="191"/>
                  <a:pt x="1598" y="191"/>
                </a:cubicBezTo>
                <a:cubicBezTo>
                  <a:pt x="1601" y="194"/>
                  <a:pt x="1601" y="194"/>
                  <a:pt x="1601" y="194"/>
                </a:cubicBezTo>
                <a:cubicBezTo>
                  <a:pt x="1601" y="194"/>
                  <a:pt x="1599" y="201"/>
                  <a:pt x="1600" y="203"/>
                </a:cubicBezTo>
                <a:cubicBezTo>
                  <a:pt x="1601" y="205"/>
                  <a:pt x="1603" y="206"/>
                  <a:pt x="1603" y="206"/>
                </a:cubicBezTo>
                <a:cubicBezTo>
                  <a:pt x="1606" y="209"/>
                  <a:pt x="1606" y="209"/>
                  <a:pt x="1606" y="209"/>
                </a:cubicBezTo>
                <a:cubicBezTo>
                  <a:pt x="1612" y="208"/>
                  <a:pt x="1612" y="208"/>
                  <a:pt x="1612" y="208"/>
                </a:cubicBezTo>
                <a:cubicBezTo>
                  <a:pt x="1612" y="208"/>
                  <a:pt x="1610" y="211"/>
                  <a:pt x="1615" y="212"/>
                </a:cubicBezTo>
                <a:cubicBezTo>
                  <a:pt x="1619" y="212"/>
                  <a:pt x="1626" y="211"/>
                  <a:pt x="1626" y="211"/>
                </a:cubicBezTo>
                <a:cubicBezTo>
                  <a:pt x="1630" y="209"/>
                  <a:pt x="1630" y="209"/>
                  <a:pt x="1630" y="209"/>
                </a:cubicBezTo>
                <a:cubicBezTo>
                  <a:pt x="1635" y="209"/>
                  <a:pt x="1635" y="209"/>
                  <a:pt x="1635" y="209"/>
                </a:cubicBezTo>
                <a:cubicBezTo>
                  <a:pt x="1642" y="206"/>
                  <a:pt x="1642" y="206"/>
                  <a:pt x="1642" y="206"/>
                </a:cubicBezTo>
                <a:cubicBezTo>
                  <a:pt x="1652" y="206"/>
                  <a:pt x="1652" y="206"/>
                  <a:pt x="1652" y="206"/>
                </a:cubicBezTo>
                <a:cubicBezTo>
                  <a:pt x="1653" y="206"/>
                  <a:pt x="1653" y="206"/>
                  <a:pt x="1653" y="206"/>
                </a:cubicBezTo>
                <a:cubicBezTo>
                  <a:pt x="1657" y="203"/>
                  <a:pt x="1657" y="203"/>
                  <a:pt x="1657" y="203"/>
                </a:cubicBezTo>
                <a:cubicBezTo>
                  <a:pt x="1658" y="206"/>
                  <a:pt x="1658" y="206"/>
                  <a:pt x="1658" y="206"/>
                </a:cubicBezTo>
                <a:cubicBezTo>
                  <a:pt x="1658" y="206"/>
                  <a:pt x="1660" y="208"/>
                  <a:pt x="1662" y="209"/>
                </a:cubicBezTo>
                <a:cubicBezTo>
                  <a:pt x="1663" y="210"/>
                  <a:pt x="1668" y="210"/>
                  <a:pt x="1668" y="210"/>
                </a:cubicBezTo>
                <a:cubicBezTo>
                  <a:pt x="1670" y="212"/>
                  <a:pt x="1670" y="212"/>
                  <a:pt x="1670" y="212"/>
                </a:cubicBezTo>
                <a:cubicBezTo>
                  <a:pt x="1670" y="212"/>
                  <a:pt x="1662" y="210"/>
                  <a:pt x="1662" y="211"/>
                </a:cubicBezTo>
                <a:cubicBezTo>
                  <a:pt x="1661" y="213"/>
                  <a:pt x="1661" y="214"/>
                  <a:pt x="1661" y="214"/>
                </a:cubicBezTo>
                <a:cubicBezTo>
                  <a:pt x="1656" y="214"/>
                  <a:pt x="1656" y="214"/>
                  <a:pt x="1656" y="214"/>
                </a:cubicBezTo>
                <a:cubicBezTo>
                  <a:pt x="1655" y="217"/>
                  <a:pt x="1655" y="217"/>
                  <a:pt x="1655" y="217"/>
                </a:cubicBezTo>
                <a:cubicBezTo>
                  <a:pt x="1655" y="217"/>
                  <a:pt x="1654" y="217"/>
                  <a:pt x="1653" y="217"/>
                </a:cubicBezTo>
                <a:cubicBezTo>
                  <a:pt x="1650" y="216"/>
                  <a:pt x="1643" y="215"/>
                  <a:pt x="1641" y="215"/>
                </a:cubicBezTo>
                <a:cubicBezTo>
                  <a:pt x="1638" y="215"/>
                  <a:pt x="1628" y="216"/>
                  <a:pt x="1628" y="216"/>
                </a:cubicBezTo>
                <a:cubicBezTo>
                  <a:pt x="1628" y="216"/>
                  <a:pt x="1618" y="220"/>
                  <a:pt x="1618" y="221"/>
                </a:cubicBezTo>
                <a:cubicBezTo>
                  <a:pt x="1618" y="223"/>
                  <a:pt x="1619" y="226"/>
                  <a:pt x="1619" y="226"/>
                </a:cubicBezTo>
                <a:cubicBezTo>
                  <a:pt x="1627" y="228"/>
                  <a:pt x="1627" y="228"/>
                  <a:pt x="1627" y="228"/>
                </a:cubicBezTo>
                <a:cubicBezTo>
                  <a:pt x="1625" y="233"/>
                  <a:pt x="1625" y="233"/>
                  <a:pt x="1625" y="233"/>
                </a:cubicBezTo>
                <a:cubicBezTo>
                  <a:pt x="1625" y="233"/>
                  <a:pt x="1629" y="242"/>
                  <a:pt x="1626" y="242"/>
                </a:cubicBezTo>
                <a:cubicBezTo>
                  <a:pt x="1624" y="242"/>
                  <a:pt x="1618" y="241"/>
                  <a:pt x="1618" y="241"/>
                </a:cubicBezTo>
                <a:cubicBezTo>
                  <a:pt x="1617" y="238"/>
                  <a:pt x="1617" y="238"/>
                  <a:pt x="1617" y="238"/>
                </a:cubicBezTo>
                <a:cubicBezTo>
                  <a:pt x="1612" y="234"/>
                  <a:pt x="1612" y="234"/>
                  <a:pt x="1612" y="234"/>
                </a:cubicBezTo>
                <a:cubicBezTo>
                  <a:pt x="1612" y="234"/>
                  <a:pt x="1606" y="235"/>
                  <a:pt x="1605" y="237"/>
                </a:cubicBezTo>
                <a:cubicBezTo>
                  <a:pt x="1604" y="238"/>
                  <a:pt x="1604" y="240"/>
                  <a:pt x="1604" y="240"/>
                </a:cubicBezTo>
                <a:cubicBezTo>
                  <a:pt x="1604" y="240"/>
                  <a:pt x="1600" y="244"/>
                  <a:pt x="1600" y="245"/>
                </a:cubicBezTo>
                <a:cubicBezTo>
                  <a:pt x="1600" y="246"/>
                  <a:pt x="1602" y="252"/>
                  <a:pt x="1602" y="252"/>
                </a:cubicBezTo>
                <a:cubicBezTo>
                  <a:pt x="1602" y="252"/>
                  <a:pt x="1602" y="260"/>
                  <a:pt x="1604" y="260"/>
                </a:cubicBezTo>
                <a:cubicBezTo>
                  <a:pt x="1604" y="260"/>
                  <a:pt x="1604" y="260"/>
                  <a:pt x="1604" y="261"/>
                </a:cubicBezTo>
                <a:cubicBezTo>
                  <a:pt x="1604" y="262"/>
                  <a:pt x="1603" y="264"/>
                  <a:pt x="1603" y="264"/>
                </a:cubicBezTo>
                <a:cubicBezTo>
                  <a:pt x="1603" y="264"/>
                  <a:pt x="1594" y="263"/>
                  <a:pt x="1593" y="264"/>
                </a:cubicBezTo>
                <a:cubicBezTo>
                  <a:pt x="1592" y="266"/>
                  <a:pt x="1594" y="267"/>
                  <a:pt x="1594" y="267"/>
                </a:cubicBezTo>
                <a:cubicBezTo>
                  <a:pt x="1593" y="269"/>
                  <a:pt x="1593" y="269"/>
                  <a:pt x="1593" y="269"/>
                </a:cubicBezTo>
                <a:cubicBezTo>
                  <a:pt x="1593" y="269"/>
                  <a:pt x="1586" y="270"/>
                  <a:pt x="1585" y="270"/>
                </a:cubicBezTo>
                <a:cubicBezTo>
                  <a:pt x="1583" y="270"/>
                  <a:pt x="1582" y="266"/>
                  <a:pt x="1582" y="266"/>
                </a:cubicBezTo>
                <a:cubicBezTo>
                  <a:pt x="1582" y="266"/>
                  <a:pt x="1579" y="265"/>
                  <a:pt x="1576" y="265"/>
                </a:cubicBezTo>
                <a:cubicBezTo>
                  <a:pt x="1573" y="265"/>
                  <a:pt x="1565" y="269"/>
                  <a:pt x="1565" y="269"/>
                </a:cubicBezTo>
                <a:cubicBezTo>
                  <a:pt x="1562" y="271"/>
                  <a:pt x="1562" y="271"/>
                  <a:pt x="1562" y="271"/>
                </a:cubicBezTo>
                <a:cubicBezTo>
                  <a:pt x="1554" y="272"/>
                  <a:pt x="1554" y="272"/>
                  <a:pt x="1554" y="272"/>
                </a:cubicBezTo>
                <a:cubicBezTo>
                  <a:pt x="1554" y="272"/>
                  <a:pt x="1547" y="275"/>
                  <a:pt x="1548" y="275"/>
                </a:cubicBezTo>
                <a:cubicBezTo>
                  <a:pt x="1548" y="276"/>
                  <a:pt x="1548" y="278"/>
                  <a:pt x="1548" y="278"/>
                </a:cubicBezTo>
                <a:cubicBezTo>
                  <a:pt x="1547" y="278"/>
                  <a:pt x="1547" y="278"/>
                  <a:pt x="1547" y="278"/>
                </a:cubicBezTo>
                <a:cubicBezTo>
                  <a:pt x="1546" y="277"/>
                  <a:pt x="1546" y="277"/>
                  <a:pt x="1546" y="277"/>
                </a:cubicBezTo>
                <a:cubicBezTo>
                  <a:pt x="1543" y="276"/>
                  <a:pt x="1543" y="276"/>
                  <a:pt x="1543" y="276"/>
                </a:cubicBezTo>
                <a:cubicBezTo>
                  <a:pt x="1543" y="276"/>
                  <a:pt x="1543" y="275"/>
                  <a:pt x="1542" y="274"/>
                </a:cubicBezTo>
                <a:cubicBezTo>
                  <a:pt x="1541" y="273"/>
                  <a:pt x="1539" y="273"/>
                  <a:pt x="1539" y="273"/>
                </a:cubicBezTo>
                <a:cubicBezTo>
                  <a:pt x="1538" y="272"/>
                  <a:pt x="1538" y="272"/>
                  <a:pt x="1538" y="272"/>
                </a:cubicBezTo>
                <a:cubicBezTo>
                  <a:pt x="1538" y="272"/>
                  <a:pt x="1532" y="269"/>
                  <a:pt x="1531" y="270"/>
                </a:cubicBezTo>
                <a:cubicBezTo>
                  <a:pt x="1530" y="271"/>
                  <a:pt x="1529" y="272"/>
                  <a:pt x="1529" y="272"/>
                </a:cubicBezTo>
                <a:cubicBezTo>
                  <a:pt x="1523" y="272"/>
                  <a:pt x="1523" y="272"/>
                  <a:pt x="1523" y="272"/>
                </a:cubicBezTo>
                <a:cubicBezTo>
                  <a:pt x="1523" y="274"/>
                  <a:pt x="1523" y="274"/>
                  <a:pt x="1523" y="274"/>
                </a:cubicBezTo>
                <a:cubicBezTo>
                  <a:pt x="1518" y="274"/>
                  <a:pt x="1518" y="274"/>
                  <a:pt x="1518" y="274"/>
                </a:cubicBezTo>
                <a:cubicBezTo>
                  <a:pt x="1518" y="274"/>
                  <a:pt x="1517" y="273"/>
                  <a:pt x="1518" y="272"/>
                </a:cubicBezTo>
                <a:cubicBezTo>
                  <a:pt x="1519" y="271"/>
                  <a:pt x="1520" y="269"/>
                  <a:pt x="1520" y="269"/>
                </a:cubicBezTo>
                <a:cubicBezTo>
                  <a:pt x="1517" y="270"/>
                  <a:pt x="1517" y="270"/>
                  <a:pt x="1517" y="270"/>
                </a:cubicBezTo>
                <a:cubicBezTo>
                  <a:pt x="1511" y="269"/>
                  <a:pt x="1511" y="269"/>
                  <a:pt x="1511" y="269"/>
                </a:cubicBezTo>
                <a:cubicBezTo>
                  <a:pt x="1511" y="269"/>
                  <a:pt x="1509" y="267"/>
                  <a:pt x="1508" y="265"/>
                </a:cubicBezTo>
                <a:cubicBezTo>
                  <a:pt x="1508" y="265"/>
                  <a:pt x="1508" y="265"/>
                  <a:pt x="1508" y="265"/>
                </a:cubicBezTo>
                <a:cubicBezTo>
                  <a:pt x="1508" y="263"/>
                  <a:pt x="1507" y="262"/>
                  <a:pt x="1507" y="262"/>
                </a:cubicBezTo>
                <a:cubicBezTo>
                  <a:pt x="1509" y="259"/>
                  <a:pt x="1509" y="259"/>
                  <a:pt x="1509" y="259"/>
                </a:cubicBezTo>
                <a:cubicBezTo>
                  <a:pt x="1509" y="259"/>
                  <a:pt x="1506" y="256"/>
                  <a:pt x="1508" y="256"/>
                </a:cubicBezTo>
                <a:cubicBezTo>
                  <a:pt x="1510" y="255"/>
                  <a:pt x="1511" y="254"/>
                  <a:pt x="1511" y="254"/>
                </a:cubicBezTo>
                <a:cubicBezTo>
                  <a:pt x="1512" y="250"/>
                  <a:pt x="1512" y="250"/>
                  <a:pt x="1512" y="250"/>
                </a:cubicBezTo>
                <a:cubicBezTo>
                  <a:pt x="1515" y="250"/>
                  <a:pt x="1515" y="250"/>
                  <a:pt x="1515" y="250"/>
                </a:cubicBezTo>
                <a:cubicBezTo>
                  <a:pt x="1516" y="247"/>
                  <a:pt x="1516" y="247"/>
                  <a:pt x="1516" y="247"/>
                </a:cubicBezTo>
                <a:cubicBezTo>
                  <a:pt x="1511" y="247"/>
                  <a:pt x="1511" y="247"/>
                  <a:pt x="1511" y="247"/>
                </a:cubicBezTo>
                <a:cubicBezTo>
                  <a:pt x="1511" y="247"/>
                  <a:pt x="1511" y="243"/>
                  <a:pt x="1511" y="243"/>
                </a:cubicBezTo>
                <a:cubicBezTo>
                  <a:pt x="1512" y="242"/>
                  <a:pt x="1515" y="239"/>
                  <a:pt x="1514" y="238"/>
                </a:cubicBezTo>
                <a:cubicBezTo>
                  <a:pt x="1514" y="237"/>
                  <a:pt x="1513" y="236"/>
                  <a:pt x="1513" y="236"/>
                </a:cubicBezTo>
                <a:cubicBezTo>
                  <a:pt x="1513" y="236"/>
                  <a:pt x="1509" y="235"/>
                  <a:pt x="1509" y="236"/>
                </a:cubicBezTo>
                <a:cubicBezTo>
                  <a:pt x="1509" y="237"/>
                  <a:pt x="1504" y="242"/>
                  <a:pt x="1504" y="243"/>
                </a:cubicBezTo>
                <a:cubicBezTo>
                  <a:pt x="1504" y="244"/>
                  <a:pt x="1505" y="246"/>
                  <a:pt x="1505" y="246"/>
                </a:cubicBezTo>
                <a:cubicBezTo>
                  <a:pt x="1502" y="244"/>
                  <a:pt x="1502" y="244"/>
                  <a:pt x="1502" y="244"/>
                </a:cubicBezTo>
                <a:cubicBezTo>
                  <a:pt x="1501" y="240"/>
                  <a:pt x="1501" y="240"/>
                  <a:pt x="1501" y="240"/>
                </a:cubicBezTo>
                <a:cubicBezTo>
                  <a:pt x="1501" y="240"/>
                  <a:pt x="1496" y="243"/>
                  <a:pt x="1496" y="244"/>
                </a:cubicBezTo>
                <a:cubicBezTo>
                  <a:pt x="1496" y="244"/>
                  <a:pt x="1499" y="244"/>
                  <a:pt x="1499" y="244"/>
                </a:cubicBezTo>
                <a:cubicBezTo>
                  <a:pt x="1499" y="245"/>
                  <a:pt x="1501" y="248"/>
                  <a:pt x="1501" y="248"/>
                </a:cubicBezTo>
                <a:cubicBezTo>
                  <a:pt x="1497" y="247"/>
                  <a:pt x="1497" y="247"/>
                  <a:pt x="1497" y="247"/>
                </a:cubicBezTo>
                <a:cubicBezTo>
                  <a:pt x="1497" y="247"/>
                  <a:pt x="1494" y="250"/>
                  <a:pt x="1494" y="252"/>
                </a:cubicBezTo>
                <a:cubicBezTo>
                  <a:pt x="1494" y="254"/>
                  <a:pt x="1498" y="254"/>
                  <a:pt x="1498" y="254"/>
                </a:cubicBezTo>
                <a:cubicBezTo>
                  <a:pt x="1498" y="254"/>
                  <a:pt x="1495" y="257"/>
                  <a:pt x="1495" y="258"/>
                </a:cubicBezTo>
                <a:cubicBezTo>
                  <a:pt x="1496" y="258"/>
                  <a:pt x="1499" y="258"/>
                  <a:pt x="1499" y="258"/>
                </a:cubicBezTo>
                <a:cubicBezTo>
                  <a:pt x="1499" y="261"/>
                  <a:pt x="1499" y="261"/>
                  <a:pt x="1499" y="261"/>
                </a:cubicBezTo>
                <a:cubicBezTo>
                  <a:pt x="1497" y="264"/>
                  <a:pt x="1497" y="264"/>
                  <a:pt x="1497" y="264"/>
                </a:cubicBezTo>
                <a:cubicBezTo>
                  <a:pt x="1499" y="265"/>
                  <a:pt x="1499" y="265"/>
                  <a:pt x="1499" y="265"/>
                </a:cubicBezTo>
                <a:cubicBezTo>
                  <a:pt x="1502" y="269"/>
                  <a:pt x="1502" y="269"/>
                  <a:pt x="1502" y="269"/>
                </a:cubicBezTo>
                <a:cubicBezTo>
                  <a:pt x="1500" y="271"/>
                  <a:pt x="1500" y="271"/>
                  <a:pt x="1500" y="271"/>
                </a:cubicBezTo>
                <a:cubicBezTo>
                  <a:pt x="1503" y="275"/>
                  <a:pt x="1503" y="275"/>
                  <a:pt x="1503" y="275"/>
                </a:cubicBezTo>
                <a:cubicBezTo>
                  <a:pt x="1506" y="277"/>
                  <a:pt x="1506" y="277"/>
                  <a:pt x="1506" y="277"/>
                </a:cubicBezTo>
                <a:cubicBezTo>
                  <a:pt x="1502" y="275"/>
                  <a:pt x="1502" y="275"/>
                  <a:pt x="1502" y="275"/>
                </a:cubicBezTo>
                <a:cubicBezTo>
                  <a:pt x="1498" y="276"/>
                  <a:pt x="1498" y="276"/>
                  <a:pt x="1498" y="276"/>
                </a:cubicBezTo>
                <a:cubicBezTo>
                  <a:pt x="1498" y="276"/>
                  <a:pt x="1499" y="279"/>
                  <a:pt x="1498" y="280"/>
                </a:cubicBezTo>
                <a:cubicBezTo>
                  <a:pt x="1496" y="280"/>
                  <a:pt x="1494" y="280"/>
                  <a:pt x="1494" y="280"/>
                </a:cubicBezTo>
                <a:cubicBezTo>
                  <a:pt x="1493" y="278"/>
                  <a:pt x="1493" y="278"/>
                  <a:pt x="1493" y="278"/>
                </a:cubicBezTo>
                <a:cubicBezTo>
                  <a:pt x="1493" y="278"/>
                  <a:pt x="1487" y="277"/>
                  <a:pt x="1487" y="278"/>
                </a:cubicBezTo>
                <a:cubicBezTo>
                  <a:pt x="1487" y="279"/>
                  <a:pt x="1487" y="282"/>
                  <a:pt x="1487" y="282"/>
                </a:cubicBezTo>
                <a:cubicBezTo>
                  <a:pt x="1487" y="282"/>
                  <a:pt x="1484" y="280"/>
                  <a:pt x="1482" y="280"/>
                </a:cubicBezTo>
                <a:cubicBezTo>
                  <a:pt x="1481" y="280"/>
                  <a:pt x="1476" y="280"/>
                  <a:pt x="1476" y="280"/>
                </a:cubicBezTo>
                <a:cubicBezTo>
                  <a:pt x="1476" y="280"/>
                  <a:pt x="1473" y="281"/>
                  <a:pt x="1472" y="282"/>
                </a:cubicBezTo>
                <a:cubicBezTo>
                  <a:pt x="1472" y="283"/>
                  <a:pt x="1472" y="284"/>
                  <a:pt x="1472" y="285"/>
                </a:cubicBezTo>
                <a:cubicBezTo>
                  <a:pt x="1473" y="285"/>
                  <a:pt x="1473" y="287"/>
                  <a:pt x="1473" y="287"/>
                </a:cubicBezTo>
                <a:cubicBezTo>
                  <a:pt x="1473" y="287"/>
                  <a:pt x="1474" y="289"/>
                  <a:pt x="1474" y="289"/>
                </a:cubicBezTo>
                <a:cubicBezTo>
                  <a:pt x="1475" y="289"/>
                  <a:pt x="1476" y="289"/>
                  <a:pt x="1476" y="290"/>
                </a:cubicBezTo>
                <a:cubicBezTo>
                  <a:pt x="1476" y="291"/>
                  <a:pt x="1473" y="293"/>
                  <a:pt x="1472" y="293"/>
                </a:cubicBezTo>
                <a:cubicBezTo>
                  <a:pt x="1471" y="293"/>
                  <a:pt x="1470" y="292"/>
                  <a:pt x="1469" y="291"/>
                </a:cubicBezTo>
                <a:cubicBezTo>
                  <a:pt x="1468" y="290"/>
                  <a:pt x="1470" y="290"/>
                  <a:pt x="1471" y="288"/>
                </a:cubicBezTo>
                <a:cubicBezTo>
                  <a:pt x="1472" y="286"/>
                  <a:pt x="1471" y="285"/>
                  <a:pt x="1471" y="285"/>
                </a:cubicBezTo>
                <a:cubicBezTo>
                  <a:pt x="1471" y="285"/>
                  <a:pt x="1471" y="285"/>
                  <a:pt x="1470" y="284"/>
                </a:cubicBezTo>
                <a:cubicBezTo>
                  <a:pt x="1469" y="285"/>
                  <a:pt x="1467" y="287"/>
                  <a:pt x="1467" y="287"/>
                </a:cubicBezTo>
                <a:cubicBezTo>
                  <a:pt x="1467" y="287"/>
                  <a:pt x="1463" y="289"/>
                  <a:pt x="1463" y="291"/>
                </a:cubicBezTo>
                <a:cubicBezTo>
                  <a:pt x="1463" y="292"/>
                  <a:pt x="1463" y="295"/>
                  <a:pt x="1463" y="295"/>
                </a:cubicBezTo>
                <a:cubicBezTo>
                  <a:pt x="1459" y="299"/>
                  <a:pt x="1459" y="299"/>
                  <a:pt x="1459" y="299"/>
                </a:cubicBezTo>
                <a:cubicBezTo>
                  <a:pt x="1460" y="301"/>
                  <a:pt x="1460" y="301"/>
                  <a:pt x="1460" y="301"/>
                </a:cubicBezTo>
                <a:cubicBezTo>
                  <a:pt x="1457" y="301"/>
                  <a:pt x="1457" y="301"/>
                  <a:pt x="1457" y="301"/>
                </a:cubicBezTo>
                <a:cubicBezTo>
                  <a:pt x="1453" y="302"/>
                  <a:pt x="1453" y="302"/>
                  <a:pt x="1453" y="302"/>
                </a:cubicBezTo>
                <a:cubicBezTo>
                  <a:pt x="1451" y="304"/>
                  <a:pt x="1451" y="304"/>
                  <a:pt x="1451" y="304"/>
                </a:cubicBezTo>
                <a:cubicBezTo>
                  <a:pt x="1449" y="306"/>
                  <a:pt x="1449" y="306"/>
                  <a:pt x="1449" y="306"/>
                </a:cubicBezTo>
                <a:cubicBezTo>
                  <a:pt x="1449" y="306"/>
                  <a:pt x="1445" y="305"/>
                  <a:pt x="1443" y="306"/>
                </a:cubicBezTo>
                <a:cubicBezTo>
                  <a:pt x="1441" y="307"/>
                  <a:pt x="1436" y="306"/>
                  <a:pt x="1437" y="308"/>
                </a:cubicBezTo>
                <a:cubicBezTo>
                  <a:pt x="1438" y="309"/>
                  <a:pt x="1438" y="311"/>
                  <a:pt x="1438" y="311"/>
                </a:cubicBezTo>
                <a:cubicBezTo>
                  <a:pt x="1438" y="311"/>
                  <a:pt x="1440" y="314"/>
                  <a:pt x="1438" y="316"/>
                </a:cubicBezTo>
                <a:cubicBezTo>
                  <a:pt x="1435" y="318"/>
                  <a:pt x="1431" y="318"/>
                  <a:pt x="1431" y="318"/>
                </a:cubicBezTo>
                <a:cubicBezTo>
                  <a:pt x="1425" y="322"/>
                  <a:pt x="1425" y="322"/>
                  <a:pt x="1425" y="322"/>
                </a:cubicBezTo>
                <a:cubicBezTo>
                  <a:pt x="1427" y="323"/>
                  <a:pt x="1427" y="323"/>
                  <a:pt x="1427" y="323"/>
                </a:cubicBezTo>
                <a:cubicBezTo>
                  <a:pt x="1427" y="323"/>
                  <a:pt x="1423" y="326"/>
                  <a:pt x="1420" y="325"/>
                </a:cubicBezTo>
                <a:cubicBezTo>
                  <a:pt x="1417" y="325"/>
                  <a:pt x="1415" y="324"/>
                  <a:pt x="1415" y="324"/>
                </a:cubicBezTo>
                <a:cubicBezTo>
                  <a:pt x="1413" y="321"/>
                  <a:pt x="1413" y="321"/>
                  <a:pt x="1413" y="321"/>
                </a:cubicBezTo>
                <a:cubicBezTo>
                  <a:pt x="1413" y="321"/>
                  <a:pt x="1408" y="319"/>
                  <a:pt x="1408" y="321"/>
                </a:cubicBezTo>
                <a:cubicBezTo>
                  <a:pt x="1409" y="322"/>
                  <a:pt x="1411" y="325"/>
                  <a:pt x="1411" y="325"/>
                </a:cubicBezTo>
                <a:cubicBezTo>
                  <a:pt x="1411" y="325"/>
                  <a:pt x="1414" y="330"/>
                  <a:pt x="1410" y="331"/>
                </a:cubicBezTo>
                <a:cubicBezTo>
                  <a:pt x="1406" y="332"/>
                  <a:pt x="1402" y="331"/>
                  <a:pt x="1402" y="331"/>
                </a:cubicBezTo>
                <a:cubicBezTo>
                  <a:pt x="1401" y="334"/>
                  <a:pt x="1401" y="334"/>
                  <a:pt x="1401" y="334"/>
                </a:cubicBezTo>
                <a:cubicBezTo>
                  <a:pt x="1401" y="334"/>
                  <a:pt x="1397" y="329"/>
                  <a:pt x="1396" y="330"/>
                </a:cubicBezTo>
                <a:cubicBezTo>
                  <a:pt x="1395" y="330"/>
                  <a:pt x="1391" y="331"/>
                  <a:pt x="1391" y="331"/>
                </a:cubicBezTo>
                <a:cubicBezTo>
                  <a:pt x="1391" y="331"/>
                  <a:pt x="1383" y="332"/>
                  <a:pt x="1382" y="334"/>
                </a:cubicBezTo>
                <a:cubicBezTo>
                  <a:pt x="1382" y="335"/>
                  <a:pt x="1386" y="336"/>
                  <a:pt x="1386" y="337"/>
                </a:cubicBezTo>
                <a:cubicBezTo>
                  <a:pt x="1386" y="338"/>
                  <a:pt x="1380" y="337"/>
                  <a:pt x="1381" y="339"/>
                </a:cubicBezTo>
                <a:cubicBezTo>
                  <a:pt x="1382" y="341"/>
                  <a:pt x="1386" y="341"/>
                  <a:pt x="1386" y="341"/>
                </a:cubicBezTo>
                <a:cubicBezTo>
                  <a:pt x="1388" y="340"/>
                  <a:pt x="1388" y="340"/>
                  <a:pt x="1388" y="340"/>
                </a:cubicBezTo>
                <a:cubicBezTo>
                  <a:pt x="1395" y="344"/>
                  <a:pt x="1395" y="344"/>
                  <a:pt x="1395" y="344"/>
                </a:cubicBezTo>
                <a:cubicBezTo>
                  <a:pt x="1399" y="344"/>
                  <a:pt x="1399" y="344"/>
                  <a:pt x="1399" y="344"/>
                </a:cubicBezTo>
                <a:cubicBezTo>
                  <a:pt x="1401" y="346"/>
                  <a:pt x="1401" y="346"/>
                  <a:pt x="1401" y="346"/>
                </a:cubicBezTo>
                <a:cubicBezTo>
                  <a:pt x="1407" y="347"/>
                  <a:pt x="1407" y="347"/>
                  <a:pt x="1407" y="347"/>
                </a:cubicBezTo>
                <a:cubicBezTo>
                  <a:pt x="1403" y="349"/>
                  <a:pt x="1403" y="349"/>
                  <a:pt x="1403" y="349"/>
                </a:cubicBezTo>
                <a:cubicBezTo>
                  <a:pt x="1403" y="349"/>
                  <a:pt x="1407" y="355"/>
                  <a:pt x="1408" y="356"/>
                </a:cubicBezTo>
                <a:cubicBezTo>
                  <a:pt x="1408" y="357"/>
                  <a:pt x="1412" y="357"/>
                  <a:pt x="1412" y="357"/>
                </a:cubicBezTo>
                <a:cubicBezTo>
                  <a:pt x="1412" y="363"/>
                  <a:pt x="1412" y="363"/>
                  <a:pt x="1412" y="363"/>
                </a:cubicBezTo>
                <a:cubicBezTo>
                  <a:pt x="1414" y="367"/>
                  <a:pt x="1414" y="367"/>
                  <a:pt x="1414" y="367"/>
                </a:cubicBezTo>
                <a:cubicBezTo>
                  <a:pt x="1416" y="372"/>
                  <a:pt x="1416" y="372"/>
                  <a:pt x="1416" y="372"/>
                </a:cubicBezTo>
                <a:cubicBezTo>
                  <a:pt x="1412" y="367"/>
                  <a:pt x="1412" y="367"/>
                  <a:pt x="1412" y="367"/>
                </a:cubicBezTo>
                <a:cubicBezTo>
                  <a:pt x="1412" y="367"/>
                  <a:pt x="1411" y="373"/>
                  <a:pt x="1411" y="375"/>
                </a:cubicBezTo>
                <a:cubicBezTo>
                  <a:pt x="1411" y="377"/>
                  <a:pt x="1409" y="385"/>
                  <a:pt x="1408" y="387"/>
                </a:cubicBezTo>
                <a:cubicBezTo>
                  <a:pt x="1407" y="388"/>
                  <a:pt x="1407" y="390"/>
                  <a:pt x="1405" y="391"/>
                </a:cubicBezTo>
                <a:cubicBezTo>
                  <a:pt x="1404" y="391"/>
                  <a:pt x="1404" y="391"/>
                  <a:pt x="1403" y="391"/>
                </a:cubicBezTo>
                <a:cubicBezTo>
                  <a:pt x="1399" y="391"/>
                  <a:pt x="1390" y="389"/>
                  <a:pt x="1390" y="389"/>
                </a:cubicBezTo>
                <a:cubicBezTo>
                  <a:pt x="1385" y="391"/>
                  <a:pt x="1385" y="391"/>
                  <a:pt x="1385" y="391"/>
                </a:cubicBezTo>
                <a:cubicBezTo>
                  <a:pt x="1377" y="390"/>
                  <a:pt x="1377" y="390"/>
                  <a:pt x="1377" y="390"/>
                </a:cubicBezTo>
                <a:cubicBezTo>
                  <a:pt x="1377" y="390"/>
                  <a:pt x="1372" y="387"/>
                  <a:pt x="1369" y="387"/>
                </a:cubicBezTo>
                <a:cubicBezTo>
                  <a:pt x="1366" y="388"/>
                  <a:pt x="1362" y="388"/>
                  <a:pt x="1361" y="388"/>
                </a:cubicBezTo>
                <a:cubicBezTo>
                  <a:pt x="1359" y="388"/>
                  <a:pt x="1356" y="388"/>
                  <a:pt x="1356" y="388"/>
                </a:cubicBezTo>
                <a:cubicBezTo>
                  <a:pt x="1356" y="388"/>
                  <a:pt x="1353" y="386"/>
                  <a:pt x="1352" y="386"/>
                </a:cubicBezTo>
                <a:cubicBezTo>
                  <a:pt x="1351" y="386"/>
                  <a:pt x="1347" y="390"/>
                  <a:pt x="1347" y="390"/>
                </a:cubicBezTo>
                <a:cubicBezTo>
                  <a:pt x="1347" y="390"/>
                  <a:pt x="1337" y="391"/>
                  <a:pt x="1337" y="394"/>
                </a:cubicBezTo>
                <a:cubicBezTo>
                  <a:pt x="1336" y="397"/>
                  <a:pt x="1341" y="400"/>
                  <a:pt x="1341" y="400"/>
                </a:cubicBezTo>
                <a:cubicBezTo>
                  <a:pt x="1339" y="405"/>
                  <a:pt x="1339" y="405"/>
                  <a:pt x="1339" y="405"/>
                </a:cubicBezTo>
                <a:cubicBezTo>
                  <a:pt x="1339" y="405"/>
                  <a:pt x="1339" y="406"/>
                  <a:pt x="1340" y="407"/>
                </a:cubicBezTo>
                <a:cubicBezTo>
                  <a:pt x="1340" y="409"/>
                  <a:pt x="1341" y="413"/>
                  <a:pt x="1341" y="415"/>
                </a:cubicBezTo>
                <a:cubicBezTo>
                  <a:pt x="1340" y="420"/>
                  <a:pt x="1336" y="428"/>
                  <a:pt x="1336" y="428"/>
                </a:cubicBezTo>
                <a:cubicBezTo>
                  <a:pt x="1333" y="435"/>
                  <a:pt x="1333" y="435"/>
                  <a:pt x="1333" y="435"/>
                </a:cubicBezTo>
                <a:cubicBezTo>
                  <a:pt x="1333" y="435"/>
                  <a:pt x="1331" y="441"/>
                  <a:pt x="1332" y="442"/>
                </a:cubicBezTo>
                <a:cubicBezTo>
                  <a:pt x="1334" y="443"/>
                  <a:pt x="1336" y="444"/>
                  <a:pt x="1336" y="444"/>
                </a:cubicBezTo>
                <a:cubicBezTo>
                  <a:pt x="1337" y="452"/>
                  <a:pt x="1337" y="452"/>
                  <a:pt x="1337" y="452"/>
                </a:cubicBezTo>
                <a:cubicBezTo>
                  <a:pt x="1337" y="452"/>
                  <a:pt x="1334" y="461"/>
                  <a:pt x="1335" y="461"/>
                </a:cubicBezTo>
                <a:cubicBezTo>
                  <a:pt x="1336" y="461"/>
                  <a:pt x="1342" y="460"/>
                  <a:pt x="1342" y="460"/>
                </a:cubicBezTo>
                <a:cubicBezTo>
                  <a:pt x="1342" y="460"/>
                  <a:pt x="1343" y="462"/>
                  <a:pt x="1344" y="462"/>
                </a:cubicBezTo>
                <a:cubicBezTo>
                  <a:pt x="1345" y="462"/>
                  <a:pt x="1349" y="460"/>
                  <a:pt x="1349" y="459"/>
                </a:cubicBezTo>
                <a:cubicBezTo>
                  <a:pt x="1349" y="459"/>
                  <a:pt x="1349" y="459"/>
                  <a:pt x="1349" y="459"/>
                </a:cubicBezTo>
                <a:cubicBezTo>
                  <a:pt x="1353" y="459"/>
                  <a:pt x="1353" y="459"/>
                  <a:pt x="1353" y="459"/>
                </a:cubicBezTo>
                <a:cubicBezTo>
                  <a:pt x="1357" y="462"/>
                  <a:pt x="1357" y="462"/>
                  <a:pt x="1357" y="462"/>
                </a:cubicBezTo>
                <a:cubicBezTo>
                  <a:pt x="1359" y="462"/>
                  <a:pt x="1359" y="462"/>
                  <a:pt x="1359" y="462"/>
                </a:cubicBezTo>
                <a:cubicBezTo>
                  <a:pt x="1358" y="466"/>
                  <a:pt x="1358" y="466"/>
                  <a:pt x="1358" y="466"/>
                </a:cubicBezTo>
                <a:cubicBezTo>
                  <a:pt x="1359" y="466"/>
                  <a:pt x="1359" y="466"/>
                  <a:pt x="1359" y="466"/>
                </a:cubicBezTo>
                <a:cubicBezTo>
                  <a:pt x="1359" y="466"/>
                  <a:pt x="1359" y="470"/>
                  <a:pt x="1361" y="471"/>
                </a:cubicBezTo>
                <a:cubicBezTo>
                  <a:pt x="1362" y="472"/>
                  <a:pt x="1365" y="472"/>
                  <a:pt x="1365" y="472"/>
                </a:cubicBezTo>
                <a:cubicBezTo>
                  <a:pt x="1365" y="472"/>
                  <a:pt x="1368" y="470"/>
                  <a:pt x="1369" y="469"/>
                </a:cubicBezTo>
                <a:cubicBezTo>
                  <a:pt x="1370" y="467"/>
                  <a:pt x="1373" y="467"/>
                  <a:pt x="1373" y="467"/>
                </a:cubicBezTo>
                <a:cubicBezTo>
                  <a:pt x="1377" y="465"/>
                  <a:pt x="1377" y="465"/>
                  <a:pt x="1377" y="465"/>
                </a:cubicBezTo>
                <a:cubicBezTo>
                  <a:pt x="1377" y="465"/>
                  <a:pt x="1384" y="465"/>
                  <a:pt x="1386" y="465"/>
                </a:cubicBezTo>
                <a:cubicBezTo>
                  <a:pt x="1387" y="464"/>
                  <a:pt x="1389" y="464"/>
                  <a:pt x="1389" y="464"/>
                </a:cubicBezTo>
                <a:cubicBezTo>
                  <a:pt x="1389" y="464"/>
                  <a:pt x="1391" y="465"/>
                  <a:pt x="1392" y="465"/>
                </a:cubicBezTo>
                <a:cubicBezTo>
                  <a:pt x="1393" y="465"/>
                  <a:pt x="1397" y="463"/>
                  <a:pt x="1397" y="463"/>
                </a:cubicBezTo>
                <a:cubicBezTo>
                  <a:pt x="1397" y="463"/>
                  <a:pt x="1396" y="466"/>
                  <a:pt x="1399" y="464"/>
                </a:cubicBezTo>
                <a:cubicBezTo>
                  <a:pt x="1401" y="463"/>
                  <a:pt x="1401" y="459"/>
                  <a:pt x="1401" y="459"/>
                </a:cubicBezTo>
                <a:cubicBezTo>
                  <a:pt x="1406" y="455"/>
                  <a:pt x="1406" y="455"/>
                  <a:pt x="1406" y="455"/>
                </a:cubicBezTo>
                <a:cubicBezTo>
                  <a:pt x="1411" y="455"/>
                  <a:pt x="1411" y="455"/>
                  <a:pt x="1411" y="455"/>
                </a:cubicBezTo>
                <a:cubicBezTo>
                  <a:pt x="1411" y="452"/>
                  <a:pt x="1411" y="452"/>
                  <a:pt x="1411" y="452"/>
                </a:cubicBezTo>
                <a:cubicBezTo>
                  <a:pt x="1411" y="452"/>
                  <a:pt x="1413" y="446"/>
                  <a:pt x="1414" y="445"/>
                </a:cubicBezTo>
                <a:cubicBezTo>
                  <a:pt x="1414" y="445"/>
                  <a:pt x="1420" y="444"/>
                  <a:pt x="1420" y="442"/>
                </a:cubicBezTo>
                <a:cubicBezTo>
                  <a:pt x="1421" y="441"/>
                  <a:pt x="1416" y="438"/>
                  <a:pt x="1416" y="438"/>
                </a:cubicBezTo>
                <a:cubicBezTo>
                  <a:pt x="1416" y="438"/>
                  <a:pt x="1415" y="433"/>
                  <a:pt x="1417" y="431"/>
                </a:cubicBezTo>
                <a:cubicBezTo>
                  <a:pt x="1419" y="429"/>
                  <a:pt x="1421" y="426"/>
                  <a:pt x="1421" y="426"/>
                </a:cubicBezTo>
                <a:cubicBezTo>
                  <a:pt x="1421" y="426"/>
                  <a:pt x="1425" y="422"/>
                  <a:pt x="1425" y="422"/>
                </a:cubicBezTo>
                <a:cubicBezTo>
                  <a:pt x="1426" y="422"/>
                  <a:pt x="1428" y="420"/>
                  <a:pt x="1428" y="420"/>
                </a:cubicBezTo>
                <a:cubicBezTo>
                  <a:pt x="1427" y="419"/>
                  <a:pt x="1426" y="418"/>
                  <a:pt x="1428" y="416"/>
                </a:cubicBezTo>
                <a:cubicBezTo>
                  <a:pt x="1430" y="415"/>
                  <a:pt x="1435" y="414"/>
                  <a:pt x="1438" y="413"/>
                </a:cubicBezTo>
                <a:cubicBezTo>
                  <a:pt x="1441" y="412"/>
                  <a:pt x="1444" y="410"/>
                  <a:pt x="1444" y="410"/>
                </a:cubicBezTo>
                <a:cubicBezTo>
                  <a:pt x="1444" y="410"/>
                  <a:pt x="1448" y="408"/>
                  <a:pt x="1448" y="407"/>
                </a:cubicBezTo>
                <a:cubicBezTo>
                  <a:pt x="1449" y="406"/>
                  <a:pt x="1448" y="404"/>
                  <a:pt x="1448" y="404"/>
                </a:cubicBezTo>
                <a:cubicBezTo>
                  <a:pt x="1450" y="403"/>
                  <a:pt x="1450" y="403"/>
                  <a:pt x="1450" y="403"/>
                </a:cubicBezTo>
                <a:cubicBezTo>
                  <a:pt x="1450" y="403"/>
                  <a:pt x="1447" y="402"/>
                  <a:pt x="1447" y="400"/>
                </a:cubicBezTo>
                <a:cubicBezTo>
                  <a:pt x="1447" y="400"/>
                  <a:pt x="1447" y="400"/>
                  <a:pt x="1447" y="399"/>
                </a:cubicBezTo>
                <a:cubicBezTo>
                  <a:pt x="1447" y="397"/>
                  <a:pt x="1450" y="392"/>
                  <a:pt x="1451" y="392"/>
                </a:cubicBezTo>
                <a:cubicBezTo>
                  <a:pt x="1453" y="391"/>
                  <a:pt x="1457" y="387"/>
                  <a:pt x="1459" y="388"/>
                </a:cubicBezTo>
                <a:cubicBezTo>
                  <a:pt x="1461" y="389"/>
                  <a:pt x="1463" y="390"/>
                  <a:pt x="1463" y="390"/>
                </a:cubicBezTo>
                <a:cubicBezTo>
                  <a:pt x="1463" y="390"/>
                  <a:pt x="1467" y="389"/>
                  <a:pt x="1468" y="390"/>
                </a:cubicBezTo>
                <a:cubicBezTo>
                  <a:pt x="1470" y="391"/>
                  <a:pt x="1471" y="393"/>
                  <a:pt x="1472" y="393"/>
                </a:cubicBezTo>
                <a:cubicBezTo>
                  <a:pt x="1472" y="393"/>
                  <a:pt x="1477" y="395"/>
                  <a:pt x="1480" y="393"/>
                </a:cubicBezTo>
                <a:cubicBezTo>
                  <a:pt x="1482" y="391"/>
                  <a:pt x="1483" y="387"/>
                  <a:pt x="1484" y="387"/>
                </a:cubicBezTo>
                <a:cubicBezTo>
                  <a:pt x="1485" y="387"/>
                  <a:pt x="1486" y="387"/>
                  <a:pt x="1487" y="386"/>
                </a:cubicBezTo>
                <a:cubicBezTo>
                  <a:pt x="1489" y="386"/>
                  <a:pt x="1491" y="386"/>
                  <a:pt x="1492" y="385"/>
                </a:cubicBezTo>
                <a:cubicBezTo>
                  <a:pt x="1494" y="384"/>
                  <a:pt x="1497" y="379"/>
                  <a:pt x="1499" y="379"/>
                </a:cubicBezTo>
                <a:cubicBezTo>
                  <a:pt x="1502" y="379"/>
                  <a:pt x="1508" y="381"/>
                  <a:pt x="1510" y="383"/>
                </a:cubicBezTo>
                <a:cubicBezTo>
                  <a:pt x="1513" y="385"/>
                  <a:pt x="1513" y="389"/>
                  <a:pt x="1513" y="389"/>
                </a:cubicBezTo>
                <a:cubicBezTo>
                  <a:pt x="1515" y="391"/>
                  <a:pt x="1515" y="391"/>
                  <a:pt x="1515" y="391"/>
                </a:cubicBezTo>
                <a:cubicBezTo>
                  <a:pt x="1515" y="391"/>
                  <a:pt x="1513" y="395"/>
                  <a:pt x="1515" y="396"/>
                </a:cubicBezTo>
                <a:cubicBezTo>
                  <a:pt x="1517" y="397"/>
                  <a:pt x="1520" y="398"/>
                  <a:pt x="1520" y="398"/>
                </a:cubicBezTo>
                <a:cubicBezTo>
                  <a:pt x="1521" y="401"/>
                  <a:pt x="1521" y="401"/>
                  <a:pt x="1521" y="401"/>
                </a:cubicBezTo>
                <a:cubicBezTo>
                  <a:pt x="1525" y="401"/>
                  <a:pt x="1525" y="401"/>
                  <a:pt x="1525" y="401"/>
                </a:cubicBezTo>
                <a:cubicBezTo>
                  <a:pt x="1525" y="401"/>
                  <a:pt x="1532" y="408"/>
                  <a:pt x="1534" y="410"/>
                </a:cubicBezTo>
                <a:cubicBezTo>
                  <a:pt x="1536" y="413"/>
                  <a:pt x="1538" y="414"/>
                  <a:pt x="1538" y="414"/>
                </a:cubicBezTo>
                <a:cubicBezTo>
                  <a:pt x="1543" y="415"/>
                  <a:pt x="1543" y="415"/>
                  <a:pt x="1543" y="415"/>
                </a:cubicBezTo>
                <a:cubicBezTo>
                  <a:pt x="1543" y="415"/>
                  <a:pt x="1545" y="418"/>
                  <a:pt x="1548" y="419"/>
                </a:cubicBezTo>
                <a:cubicBezTo>
                  <a:pt x="1551" y="420"/>
                  <a:pt x="1555" y="419"/>
                  <a:pt x="1556" y="420"/>
                </a:cubicBezTo>
                <a:cubicBezTo>
                  <a:pt x="1556" y="422"/>
                  <a:pt x="1557" y="427"/>
                  <a:pt x="1559" y="427"/>
                </a:cubicBezTo>
                <a:cubicBezTo>
                  <a:pt x="1562" y="428"/>
                  <a:pt x="1563" y="427"/>
                  <a:pt x="1563" y="427"/>
                </a:cubicBezTo>
                <a:cubicBezTo>
                  <a:pt x="1563" y="427"/>
                  <a:pt x="1564" y="431"/>
                  <a:pt x="1564" y="434"/>
                </a:cubicBezTo>
                <a:cubicBezTo>
                  <a:pt x="1565" y="437"/>
                  <a:pt x="1567" y="437"/>
                  <a:pt x="1567" y="439"/>
                </a:cubicBezTo>
                <a:cubicBezTo>
                  <a:pt x="1567" y="441"/>
                  <a:pt x="1567" y="442"/>
                  <a:pt x="1567" y="442"/>
                </a:cubicBezTo>
                <a:cubicBezTo>
                  <a:pt x="1565" y="442"/>
                  <a:pt x="1565" y="442"/>
                  <a:pt x="1565" y="442"/>
                </a:cubicBezTo>
                <a:cubicBezTo>
                  <a:pt x="1565" y="445"/>
                  <a:pt x="1565" y="445"/>
                  <a:pt x="1565" y="445"/>
                </a:cubicBezTo>
                <a:cubicBezTo>
                  <a:pt x="1565" y="445"/>
                  <a:pt x="1560" y="451"/>
                  <a:pt x="1563" y="451"/>
                </a:cubicBezTo>
                <a:cubicBezTo>
                  <a:pt x="1565" y="451"/>
                  <a:pt x="1567" y="450"/>
                  <a:pt x="1567" y="450"/>
                </a:cubicBezTo>
                <a:cubicBezTo>
                  <a:pt x="1568" y="447"/>
                  <a:pt x="1568" y="447"/>
                  <a:pt x="1568" y="447"/>
                </a:cubicBezTo>
                <a:cubicBezTo>
                  <a:pt x="1571" y="446"/>
                  <a:pt x="1571" y="446"/>
                  <a:pt x="1571" y="446"/>
                </a:cubicBezTo>
                <a:cubicBezTo>
                  <a:pt x="1571" y="446"/>
                  <a:pt x="1570" y="442"/>
                  <a:pt x="1571" y="441"/>
                </a:cubicBezTo>
                <a:cubicBezTo>
                  <a:pt x="1572" y="441"/>
                  <a:pt x="1576" y="439"/>
                  <a:pt x="1576" y="439"/>
                </a:cubicBezTo>
                <a:cubicBezTo>
                  <a:pt x="1576" y="439"/>
                  <a:pt x="1575" y="435"/>
                  <a:pt x="1575" y="434"/>
                </a:cubicBezTo>
                <a:cubicBezTo>
                  <a:pt x="1574" y="433"/>
                  <a:pt x="1570" y="432"/>
                  <a:pt x="1570" y="431"/>
                </a:cubicBezTo>
                <a:cubicBezTo>
                  <a:pt x="1570" y="429"/>
                  <a:pt x="1573" y="422"/>
                  <a:pt x="1575" y="423"/>
                </a:cubicBezTo>
                <a:cubicBezTo>
                  <a:pt x="1576" y="424"/>
                  <a:pt x="1578" y="424"/>
                  <a:pt x="1578" y="424"/>
                </a:cubicBezTo>
                <a:cubicBezTo>
                  <a:pt x="1582" y="424"/>
                  <a:pt x="1582" y="424"/>
                  <a:pt x="1582" y="424"/>
                </a:cubicBezTo>
                <a:cubicBezTo>
                  <a:pt x="1582" y="424"/>
                  <a:pt x="1583" y="429"/>
                  <a:pt x="1586" y="429"/>
                </a:cubicBezTo>
                <a:cubicBezTo>
                  <a:pt x="1589" y="430"/>
                  <a:pt x="1589" y="427"/>
                  <a:pt x="1588" y="425"/>
                </a:cubicBezTo>
                <a:cubicBezTo>
                  <a:pt x="1586" y="423"/>
                  <a:pt x="1581" y="419"/>
                  <a:pt x="1581" y="419"/>
                </a:cubicBezTo>
                <a:cubicBezTo>
                  <a:pt x="1574" y="416"/>
                  <a:pt x="1574" y="416"/>
                  <a:pt x="1574" y="416"/>
                </a:cubicBezTo>
                <a:cubicBezTo>
                  <a:pt x="1574" y="416"/>
                  <a:pt x="1563" y="413"/>
                  <a:pt x="1564" y="411"/>
                </a:cubicBezTo>
                <a:cubicBezTo>
                  <a:pt x="1565" y="410"/>
                  <a:pt x="1567" y="409"/>
                  <a:pt x="1567" y="408"/>
                </a:cubicBezTo>
                <a:cubicBezTo>
                  <a:pt x="1566" y="406"/>
                  <a:pt x="1556" y="406"/>
                  <a:pt x="1556" y="406"/>
                </a:cubicBezTo>
                <a:cubicBezTo>
                  <a:pt x="1556" y="406"/>
                  <a:pt x="1553" y="405"/>
                  <a:pt x="1550" y="401"/>
                </a:cubicBezTo>
                <a:cubicBezTo>
                  <a:pt x="1546" y="397"/>
                  <a:pt x="1545" y="394"/>
                  <a:pt x="1545" y="394"/>
                </a:cubicBezTo>
                <a:cubicBezTo>
                  <a:pt x="1545" y="394"/>
                  <a:pt x="1544" y="389"/>
                  <a:pt x="1542" y="388"/>
                </a:cubicBezTo>
                <a:cubicBezTo>
                  <a:pt x="1540" y="387"/>
                  <a:pt x="1538" y="384"/>
                  <a:pt x="1538" y="384"/>
                </a:cubicBezTo>
                <a:cubicBezTo>
                  <a:pt x="1532" y="380"/>
                  <a:pt x="1532" y="380"/>
                  <a:pt x="1532" y="380"/>
                </a:cubicBezTo>
                <a:cubicBezTo>
                  <a:pt x="1532" y="380"/>
                  <a:pt x="1529" y="375"/>
                  <a:pt x="1530" y="375"/>
                </a:cubicBezTo>
                <a:cubicBezTo>
                  <a:pt x="1531" y="374"/>
                  <a:pt x="1533" y="374"/>
                  <a:pt x="1533" y="373"/>
                </a:cubicBezTo>
                <a:cubicBezTo>
                  <a:pt x="1533" y="372"/>
                  <a:pt x="1529" y="370"/>
                  <a:pt x="1531" y="368"/>
                </a:cubicBezTo>
                <a:cubicBezTo>
                  <a:pt x="1533" y="366"/>
                  <a:pt x="1538" y="365"/>
                  <a:pt x="1538" y="365"/>
                </a:cubicBezTo>
                <a:cubicBezTo>
                  <a:pt x="1540" y="364"/>
                  <a:pt x="1540" y="364"/>
                  <a:pt x="1540" y="364"/>
                </a:cubicBezTo>
                <a:cubicBezTo>
                  <a:pt x="1540" y="364"/>
                  <a:pt x="1545" y="365"/>
                  <a:pt x="1545" y="365"/>
                </a:cubicBezTo>
                <a:cubicBezTo>
                  <a:pt x="1544" y="366"/>
                  <a:pt x="1544" y="367"/>
                  <a:pt x="1544" y="368"/>
                </a:cubicBezTo>
                <a:cubicBezTo>
                  <a:pt x="1543" y="368"/>
                  <a:pt x="1543" y="369"/>
                  <a:pt x="1543" y="369"/>
                </a:cubicBezTo>
                <a:cubicBezTo>
                  <a:pt x="1543" y="369"/>
                  <a:pt x="1543" y="376"/>
                  <a:pt x="1544" y="374"/>
                </a:cubicBezTo>
                <a:cubicBezTo>
                  <a:pt x="1546" y="372"/>
                  <a:pt x="1548" y="369"/>
                  <a:pt x="1549" y="370"/>
                </a:cubicBezTo>
                <a:cubicBezTo>
                  <a:pt x="1550" y="371"/>
                  <a:pt x="1550" y="374"/>
                  <a:pt x="1550" y="374"/>
                </a:cubicBezTo>
                <a:cubicBezTo>
                  <a:pt x="1554" y="374"/>
                  <a:pt x="1554" y="374"/>
                  <a:pt x="1554" y="374"/>
                </a:cubicBezTo>
                <a:cubicBezTo>
                  <a:pt x="1554" y="374"/>
                  <a:pt x="1553" y="378"/>
                  <a:pt x="1555" y="379"/>
                </a:cubicBezTo>
                <a:cubicBezTo>
                  <a:pt x="1558" y="379"/>
                  <a:pt x="1557" y="381"/>
                  <a:pt x="1557" y="381"/>
                </a:cubicBezTo>
                <a:cubicBezTo>
                  <a:pt x="1563" y="386"/>
                  <a:pt x="1563" y="386"/>
                  <a:pt x="1563" y="386"/>
                </a:cubicBezTo>
                <a:cubicBezTo>
                  <a:pt x="1563" y="389"/>
                  <a:pt x="1563" y="389"/>
                  <a:pt x="1563" y="389"/>
                </a:cubicBezTo>
                <a:cubicBezTo>
                  <a:pt x="1569" y="389"/>
                  <a:pt x="1569" y="389"/>
                  <a:pt x="1569" y="389"/>
                </a:cubicBezTo>
                <a:cubicBezTo>
                  <a:pt x="1569" y="389"/>
                  <a:pt x="1572" y="389"/>
                  <a:pt x="1573" y="391"/>
                </a:cubicBezTo>
                <a:cubicBezTo>
                  <a:pt x="1573" y="391"/>
                  <a:pt x="1572" y="393"/>
                  <a:pt x="1574" y="394"/>
                </a:cubicBezTo>
                <a:cubicBezTo>
                  <a:pt x="1577" y="394"/>
                  <a:pt x="1577" y="394"/>
                  <a:pt x="1577" y="394"/>
                </a:cubicBezTo>
                <a:cubicBezTo>
                  <a:pt x="1579" y="395"/>
                  <a:pt x="1579" y="395"/>
                  <a:pt x="1579" y="395"/>
                </a:cubicBezTo>
                <a:cubicBezTo>
                  <a:pt x="1579" y="395"/>
                  <a:pt x="1584" y="400"/>
                  <a:pt x="1586" y="401"/>
                </a:cubicBezTo>
                <a:cubicBezTo>
                  <a:pt x="1586" y="401"/>
                  <a:pt x="1587" y="401"/>
                  <a:pt x="1587" y="401"/>
                </a:cubicBezTo>
                <a:cubicBezTo>
                  <a:pt x="1588" y="402"/>
                  <a:pt x="1590" y="401"/>
                  <a:pt x="1590" y="401"/>
                </a:cubicBezTo>
                <a:cubicBezTo>
                  <a:pt x="1590" y="403"/>
                  <a:pt x="1590" y="403"/>
                  <a:pt x="1590" y="403"/>
                </a:cubicBezTo>
                <a:cubicBezTo>
                  <a:pt x="1594" y="407"/>
                  <a:pt x="1594" y="407"/>
                  <a:pt x="1594" y="407"/>
                </a:cubicBezTo>
                <a:cubicBezTo>
                  <a:pt x="1595" y="407"/>
                  <a:pt x="1595" y="407"/>
                  <a:pt x="1595" y="407"/>
                </a:cubicBezTo>
                <a:cubicBezTo>
                  <a:pt x="1598" y="407"/>
                  <a:pt x="1598" y="407"/>
                  <a:pt x="1598" y="407"/>
                </a:cubicBezTo>
                <a:cubicBezTo>
                  <a:pt x="1598" y="407"/>
                  <a:pt x="1597" y="416"/>
                  <a:pt x="1597" y="418"/>
                </a:cubicBezTo>
                <a:cubicBezTo>
                  <a:pt x="1597" y="421"/>
                  <a:pt x="1594" y="424"/>
                  <a:pt x="1595" y="425"/>
                </a:cubicBezTo>
                <a:cubicBezTo>
                  <a:pt x="1597" y="426"/>
                  <a:pt x="1600" y="428"/>
                  <a:pt x="1600" y="428"/>
                </a:cubicBezTo>
                <a:cubicBezTo>
                  <a:pt x="1600" y="428"/>
                  <a:pt x="1600" y="432"/>
                  <a:pt x="1600" y="432"/>
                </a:cubicBezTo>
                <a:cubicBezTo>
                  <a:pt x="1601" y="432"/>
                  <a:pt x="1605" y="433"/>
                  <a:pt x="1605" y="433"/>
                </a:cubicBezTo>
                <a:cubicBezTo>
                  <a:pt x="1605" y="433"/>
                  <a:pt x="1604" y="436"/>
                  <a:pt x="1606" y="437"/>
                </a:cubicBezTo>
                <a:cubicBezTo>
                  <a:pt x="1608" y="437"/>
                  <a:pt x="1610" y="441"/>
                  <a:pt x="1610" y="441"/>
                </a:cubicBezTo>
                <a:cubicBezTo>
                  <a:pt x="1610" y="441"/>
                  <a:pt x="1612" y="446"/>
                  <a:pt x="1614" y="446"/>
                </a:cubicBezTo>
                <a:cubicBezTo>
                  <a:pt x="1616" y="446"/>
                  <a:pt x="1620" y="446"/>
                  <a:pt x="1620" y="446"/>
                </a:cubicBezTo>
                <a:cubicBezTo>
                  <a:pt x="1620" y="446"/>
                  <a:pt x="1623" y="445"/>
                  <a:pt x="1625" y="445"/>
                </a:cubicBezTo>
                <a:cubicBezTo>
                  <a:pt x="1626" y="446"/>
                  <a:pt x="1634" y="449"/>
                  <a:pt x="1634" y="449"/>
                </a:cubicBezTo>
                <a:cubicBezTo>
                  <a:pt x="1634" y="449"/>
                  <a:pt x="1638" y="454"/>
                  <a:pt x="1639" y="452"/>
                </a:cubicBezTo>
                <a:cubicBezTo>
                  <a:pt x="1640" y="451"/>
                  <a:pt x="1641" y="449"/>
                  <a:pt x="1639" y="448"/>
                </a:cubicBezTo>
                <a:cubicBezTo>
                  <a:pt x="1637" y="446"/>
                  <a:pt x="1634" y="443"/>
                  <a:pt x="1633" y="443"/>
                </a:cubicBezTo>
                <a:cubicBezTo>
                  <a:pt x="1633" y="443"/>
                  <a:pt x="1629" y="441"/>
                  <a:pt x="1629" y="441"/>
                </a:cubicBezTo>
                <a:cubicBezTo>
                  <a:pt x="1629" y="441"/>
                  <a:pt x="1630" y="440"/>
                  <a:pt x="1631" y="440"/>
                </a:cubicBezTo>
                <a:cubicBezTo>
                  <a:pt x="1632" y="440"/>
                  <a:pt x="1637" y="445"/>
                  <a:pt x="1640" y="446"/>
                </a:cubicBezTo>
                <a:cubicBezTo>
                  <a:pt x="1643" y="446"/>
                  <a:pt x="1644" y="443"/>
                  <a:pt x="1641" y="442"/>
                </a:cubicBezTo>
                <a:cubicBezTo>
                  <a:pt x="1638" y="442"/>
                  <a:pt x="1636" y="441"/>
                  <a:pt x="1636" y="441"/>
                </a:cubicBezTo>
                <a:cubicBezTo>
                  <a:pt x="1636" y="441"/>
                  <a:pt x="1633" y="439"/>
                  <a:pt x="1633" y="438"/>
                </a:cubicBezTo>
                <a:cubicBezTo>
                  <a:pt x="1632" y="436"/>
                  <a:pt x="1630" y="433"/>
                  <a:pt x="1630" y="433"/>
                </a:cubicBezTo>
                <a:cubicBezTo>
                  <a:pt x="1630" y="433"/>
                  <a:pt x="1628" y="429"/>
                  <a:pt x="1627" y="428"/>
                </a:cubicBezTo>
                <a:cubicBezTo>
                  <a:pt x="1626" y="427"/>
                  <a:pt x="1625" y="422"/>
                  <a:pt x="1626" y="422"/>
                </a:cubicBezTo>
                <a:cubicBezTo>
                  <a:pt x="1627" y="421"/>
                  <a:pt x="1628" y="425"/>
                  <a:pt x="1630" y="425"/>
                </a:cubicBezTo>
                <a:cubicBezTo>
                  <a:pt x="1630" y="425"/>
                  <a:pt x="1631" y="425"/>
                  <a:pt x="1631" y="425"/>
                </a:cubicBezTo>
                <a:cubicBezTo>
                  <a:pt x="1632" y="426"/>
                  <a:pt x="1633" y="428"/>
                  <a:pt x="1633" y="428"/>
                </a:cubicBezTo>
                <a:cubicBezTo>
                  <a:pt x="1634" y="429"/>
                  <a:pt x="1635" y="428"/>
                  <a:pt x="1635" y="428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8" y="427"/>
                  <a:pt x="1638" y="427"/>
                  <a:pt x="1638" y="427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7" y="424"/>
                  <a:pt x="1637" y="422"/>
                  <a:pt x="1637" y="420"/>
                </a:cubicBezTo>
                <a:cubicBezTo>
                  <a:pt x="1637" y="419"/>
                  <a:pt x="1640" y="418"/>
                  <a:pt x="1642" y="419"/>
                </a:cubicBezTo>
                <a:cubicBezTo>
                  <a:pt x="1644" y="419"/>
                  <a:pt x="1643" y="422"/>
                  <a:pt x="1645" y="421"/>
                </a:cubicBezTo>
                <a:cubicBezTo>
                  <a:pt x="1647" y="421"/>
                  <a:pt x="1647" y="418"/>
                  <a:pt x="1648" y="417"/>
                </a:cubicBezTo>
                <a:cubicBezTo>
                  <a:pt x="1649" y="417"/>
                  <a:pt x="1658" y="419"/>
                  <a:pt x="1658" y="419"/>
                </a:cubicBezTo>
                <a:cubicBezTo>
                  <a:pt x="1658" y="419"/>
                  <a:pt x="1656" y="422"/>
                  <a:pt x="1659" y="422"/>
                </a:cubicBezTo>
                <a:cubicBezTo>
                  <a:pt x="1662" y="421"/>
                  <a:pt x="1664" y="420"/>
                  <a:pt x="1664" y="420"/>
                </a:cubicBezTo>
                <a:cubicBezTo>
                  <a:pt x="1664" y="420"/>
                  <a:pt x="1663" y="422"/>
                  <a:pt x="1665" y="422"/>
                </a:cubicBezTo>
                <a:cubicBezTo>
                  <a:pt x="1667" y="421"/>
                  <a:pt x="1671" y="417"/>
                  <a:pt x="1671" y="417"/>
                </a:cubicBezTo>
                <a:cubicBezTo>
                  <a:pt x="1671" y="417"/>
                  <a:pt x="1678" y="415"/>
                  <a:pt x="1680" y="416"/>
                </a:cubicBezTo>
                <a:cubicBezTo>
                  <a:pt x="1683" y="418"/>
                  <a:pt x="1690" y="419"/>
                  <a:pt x="1690" y="419"/>
                </a:cubicBezTo>
                <a:cubicBezTo>
                  <a:pt x="1690" y="419"/>
                  <a:pt x="1683" y="420"/>
                  <a:pt x="1683" y="420"/>
                </a:cubicBezTo>
                <a:cubicBezTo>
                  <a:pt x="1683" y="421"/>
                  <a:pt x="1682" y="423"/>
                  <a:pt x="1682" y="423"/>
                </a:cubicBezTo>
                <a:cubicBezTo>
                  <a:pt x="1675" y="423"/>
                  <a:pt x="1675" y="423"/>
                  <a:pt x="1675" y="423"/>
                </a:cubicBezTo>
                <a:cubicBezTo>
                  <a:pt x="1668" y="423"/>
                  <a:pt x="1668" y="423"/>
                  <a:pt x="1668" y="423"/>
                </a:cubicBezTo>
                <a:cubicBezTo>
                  <a:pt x="1668" y="423"/>
                  <a:pt x="1662" y="424"/>
                  <a:pt x="1661" y="425"/>
                </a:cubicBezTo>
                <a:cubicBezTo>
                  <a:pt x="1661" y="427"/>
                  <a:pt x="1659" y="433"/>
                  <a:pt x="1659" y="433"/>
                </a:cubicBezTo>
                <a:cubicBezTo>
                  <a:pt x="1664" y="433"/>
                  <a:pt x="1664" y="433"/>
                  <a:pt x="1664" y="433"/>
                </a:cubicBezTo>
                <a:cubicBezTo>
                  <a:pt x="1664" y="433"/>
                  <a:pt x="1663" y="435"/>
                  <a:pt x="1665" y="437"/>
                </a:cubicBezTo>
                <a:cubicBezTo>
                  <a:pt x="1666" y="438"/>
                  <a:pt x="1667" y="440"/>
                  <a:pt x="1667" y="440"/>
                </a:cubicBezTo>
                <a:cubicBezTo>
                  <a:pt x="1666" y="442"/>
                  <a:pt x="1666" y="442"/>
                  <a:pt x="1666" y="442"/>
                </a:cubicBezTo>
                <a:cubicBezTo>
                  <a:pt x="1668" y="446"/>
                  <a:pt x="1668" y="446"/>
                  <a:pt x="1668" y="446"/>
                </a:cubicBezTo>
                <a:cubicBezTo>
                  <a:pt x="1666" y="448"/>
                  <a:pt x="1666" y="448"/>
                  <a:pt x="1666" y="448"/>
                </a:cubicBezTo>
                <a:cubicBezTo>
                  <a:pt x="1671" y="452"/>
                  <a:pt x="1671" y="452"/>
                  <a:pt x="1671" y="452"/>
                </a:cubicBezTo>
                <a:cubicBezTo>
                  <a:pt x="1671" y="457"/>
                  <a:pt x="1671" y="457"/>
                  <a:pt x="1671" y="457"/>
                </a:cubicBezTo>
                <a:cubicBezTo>
                  <a:pt x="1678" y="461"/>
                  <a:pt x="1678" y="461"/>
                  <a:pt x="1678" y="461"/>
                </a:cubicBezTo>
                <a:cubicBezTo>
                  <a:pt x="1679" y="466"/>
                  <a:pt x="1679" y="466"/>
                  <a:pt x="1679" y="466"/>
                </a:cubicBezTo>
                <a:cubicBezTo>
                  <a:pt x="1679" y="466"/>
                  <a:pt x="1678" y="463"/>
                  <a:pt x="1682" y="464"/>
                </a:cubicBezTo>
                <a:cubicBezTo>
                  <a:pt x="1686" y="465"/>
                  <a:pt x="1686" y="469"/>
                  <a:pt x="1692" y="469"/>
                </a:cubicBezTo>
                <a:cubicBezTo>
                  <a:pt x="1698" y="470"/>
                  <a:pt x="1701" y="470"/>
                  <a:pt x="1701" y="468"/>
                </a:cubicBezTo>
                <a:cubicBezTo>
                  <a:pt x="1701" y="467"/>
                  <a:pt x="1701" y="463"/>
                  <a:pt x="1703" y="463"/>
                </a:cubicBezTo>
                <a:cubicBezTo>
                  <a:pt x="1705" y="463"/>
                  <a:pt x="1711" y="464"/>
                  <a:pt x="1714" y="465"/>
                </a:cubicBezTo>
                <a:cubicBezTo>
                  <a:pt x="1717" y="466"/>
                  <a:pt x="1714" y="472"/>
                  <a:pt x="1724" y="472"/>
                </a:cubicBezTo>
                <a:cubicBezTo>
                  <a:pt x="1733" y="471"/>
                  <a:pt x="1733" y="466"/>
                  <a:pt x="1737" y="465"/>
                </a:cubicBezTo>
                <a:cubicBezTo>
                  <a:pt x="1740" y="464"/>
                  <a:pt x="1743" y="463"/>
                  <a:pt x="1744" y="464"/>
                </a:cubicBezTo>
                <a:cubicBezTo>
                  <a:pt x="1745" y="466"/>
                  <a:pt x="1746" y="467"/>
                  <a:pt x="1748" y="466"/>
                </a:cubicBezTo>
                <a:cubicBezTo>
                  <a:pt x="1750" y="465"/>
                  <a:pt x="1752" y="461"/>
                  <a:pt x="1753" y="463"/>
                </a:cubicBezTo>
                <a:cubicBezTo>
                  <a:pt x="1755" y="464"/>
                  <a:pt x="1753" y="466"/>
                  <a:pt x="1753" y="468"/>
                </a:cubicBezTo>
                <a:cubicBezTo>
                  <a:pt x="1752" y="469"/>
                  <a:pt x="1750" y="471"/>
                  <a:pt x="1752" y="472"/>
                </a:cubicBezTo>
                <a:cubicBezTo>
                  <a:pt x="1752" y="473"/>
                  <a:pt x="1752" y="473"/>
                  <a:pt x="1752" y="473"/>
                </a:cubicBezTo>
                <a:cubicBezTo>
                  <a:pt x="1752" y="474"/>
                  <a:pt x="1750" y="476"/>
                  <a:pt x="1750" y="477"/>
                </a:cubicBezTo>
                <a:cubicBezTo>
                  <a:pt x="1749" y="478"/>
                  <a:pt x="1749" y="478"/>
                  <a:pt x="1749" y="478"/>
                </a:cubicBezTo>
                <a:cubicBezTo>
                  <a:pt x="1749" y="484"/>
                  <a:pt x="1749" y="484"/>
                  <a:pt x="1749" y="484"/>
                </a:cubicBezTo>
                <a:cubicBezTo>
                  <a:pt x="1749" y="484"/>
                  <a:pt x="1752" y="486"/>
                  <a:pt x="1753" y="488"/>
                </a:cubicBezTo>
                <a:cubicBezTo>
                  <a:pt x="1753" y="488"/>
                  <a:pt x="1753" y="488"/>
                  <a:pt x="1753" y="489"/>
                </a:cubicBezTo>
                <a:cubicBezTo>
                  <a:pt x="1751" y="491"/>
                  <a:pt x="1749" y="492"/>
                  <a:pt x="1749" y="492"/>
                </a:cubicBezTo>
                <a:cubicBezTo>
                  <a:pt x="1747" y="497"/>
                  <a:pt x="1747" y="497"/>
                  <a:pt x="1747" y="497"/>
                </a:cubicBezTo>
                <a:cubicBezTo>
                  <a:pt x="1747" y="497"/>
                  <a:pt x="1745" y="502"/>
                  <a:pt x="1745" y="506"/>
                </a:cubicBezTo>
                <a:cubicBezTo>
                  <a:pt x="1745" y="507"/>
                  <a:pt x="1745" y="509"/>
                  <a:pt x="1745" y="510"/>
                </a:cubicBezTo>
                <a:cubicBezTo>
                  <a:pt x="1745" y="512"/>
                  <a:pt x="1746" y="515"/>
                  <a:pt x="1746" y="515"/>
                </a:cubicBezTo>
                <a:cubicBezTo>
                  <a:pt x="1743" y="520"/>
                  <a:pt x="1743" y="520"/>
                  <a:pt x="1743" y="520"/>
                </a:cubicBezTo>
                <a:cubicBezTo>
                  <a:pt x="1743" y="523"/>
                  <a:pt x="1743" y="523"/>
                  <a:pt x="1743" y="523"/>
                </a:cubicBezTo>
                <a:cubicBezTo>
                  <a:pt x="1741" y="525"/>
                  <a:pt x="1741" y="525"/>
                  <a:pt x="1741" y="525"/>
                </a:cubicBezTo>
                <a:cubicBezTo>
                  <a:pt x="1741" y="525"/>
                  <a:pt x="1733" y="528"/>
                  <a:pt x="1731" y="527"/>
                </a:cubicBezTo>
                <a:cubicBezTo>
                  <a:pt x="1729" y="527"/>
                  <a:pt x="1728" y="526"/>
                  <a:pt x="1728" y="526"/>
                </a:cubicBezTo>
                <a:cubicBezTo>
                  <a:pt x="1728" y="526"/>
                  <a:pt x="1726" y="528"/>
                  <a:pt x="1723" y="527"/>
                </a:cubicBezTo>
                <a:cubicBezTo>
                  <a:pt x="1720" y="525"/>
                  <a:pt x="1721" y="523"/>
                  <a:pt x="1718" y="523"/>
                </a:cubicBezTo>
                <a:cubicBezTo>
                  <a:pt x="1714" y="522"/>
                  <a:pt x="1710" y="524"/>
                  <a:pt x="1710" y="524"/>
                </a:cubicBezTo>
                <a:cubicBezTo>
                  <a:pt x="1710" y="524"/>
                  <a:pt x="1707" y="523"/>
                  <a:pt x="1704" y="523"/>
                </a:cubicBezTo>
                <a:cubicBezTo>
                  <a:pt x="1702" y="524"/>
                  <a:pt x="1700" y="527"/>
                  <a:pt x="1700" y="527"/>
                </a:cubicBezTo>
                <a:cubicBezTo>
                  <a:pt x="1700" y="527"/>
                  <a:pt x="1698" y="527"/>
                  <a:pt x="1697" y="527"/>
                </a:cubicBezTo>
                <a:cubicBezTo>
                  <a:pt x="1696" y="528"/>
                  <a:pt x="1694" y="530"/>
                  <a:pt x="1694" y="530"/>
                </a:cubicBezTo>
                <a:cubicBezTo>
                  <a:pt x="1694" y="530"/>
                  <a:pt x="1686" y="527"/>
                  <a:pt x="1685" y="527"/>
                </a:cubicBezTo>
                <a:cubicBezTo>
                  <a:pt x="1684" y="527"/>
                  <a:pt x="1682" y="528"/>
                  <a:pt x="1679" y="527"/>
                </a:cubicBezTo>
                <a:cubicBezTo>
                  <a:pt x="1676" y="527"/>
                  <a:pt x="1676" y="524"/>
                  <a:pt x="1673" y="524"/>
                </a:cubicBezTo>
                <a:cubicBezTo>
                  <a:pt x="1670" y="524"/>
                  <a:pt x="1668" y="524"/>
                  <a:pt x="1668" y="524"/>
                </a:cubicBezTo>
                <a:cubicBezTo>
                  <a:pt x="1668" y="524"/>
                  <a:pt x="1664" y="521"/>
                  <a:pt x="1662" y="521"/>
                </a:cubicBezTo>
                <a:cubicBezTo>
                  <a:pt x="1660" y="521"/>
                  <a:pt x="1659" y="524"/>
                  <a:pt x="1656" y="522"/>
                </a:cubicBezTo>
                <a:cubicBezTo>
                  <a:pt x="1656" y="522"/>
                  <a:pt x="1655" y="522"/>
                  <a:pt x="1655" y="521"/>
                </a:cubicBezTo>
                <a:cubicBezTo>
                  <a:pt x="1653" y="519"/>
                  <a:pt x="1654" y="517"/>
                  <a:pt x="1654" y="517"/>
                </a:cubicBezTo>
                <a:cubicBezTo>
                  <a:pt x="1651" y="518"/>
                  <a:pt x="1651" y="518"/>
                  <a:pt x="1651" y="518"/>
                </a:cubicBezTo>
                <a:cubicBezTo>
                  <a:pt x="1649" y="517"/>
                  <a:pt x="1649" y="517"/>
                  <a:pt x="1649" y="517"/>
                </a:cubicBezTo>
                <a:cubicBezTo>
                  <a:pt x="1649" y="517"/>
                  <a:pt x="1648" y="518"/>
                  <a:pt x="1647" y="518"/>
                </a:cubicBezTo>
                <a:cubicBezTo>
                  <a:pt x="1645" y="518"/>
                  <a:pt x="1644" y="515"/>
                  <a:pt x="1642" y="515"/>
                </a:cubicBezTo>
                <a:cubicBezTo>
                  <a:pt x="1640" y="515"/>
                  <a:pt x="1638" y="516"/>
                  <a:pt x="1635" y="514"/>
                </a:cubicBezTo>
                <a:cubicBezTo>
                  <a:pt x="1633" y="513"/>
                  <a:pt x="1635" y="511"/>
                  <a:pt x="1633" y="510"/>
                </a:cubicBezTo>
                <a:cubicBezTo>
                  <a:pt x="1631" y="509"/>
                  <a:pt x="1627" y="509"/>
                  <a:pt x="1627" y="509"/>
                </a:cubicBezTo>
                <a:cubicBezTo>
                  <a:pt x="1627" y="509"/>
                  <a:pt x="1623" y="507"/>
                  <a:pt x="1621" y="507"/>
                </a:cubicBezTo>
                <a:cubicBezTo>
                  <a:pt x="1620" y="507"/>
                  <a:pt x="1620" y="509"/>
                  <a:pt x="1620" y="509"/>
                </a:cubicBezTo>
                <a:cubicBezTo>
                  <a:pt x="1620" y="509"/>
                  <a:pt x="1613" y="509"/>
                  <a:pt x="1611" y="511"/>
                </a:cubicBezTo>
                <a:cubicBezTo>
                  <a:pt x="1608" y="513"/>
                  <a:pt x="1604" y="515"/>
                  <a:pt x="1604" y="519"/>
                </a:cubicBezTo>
                <a:cubicBezTo>
                  <a:pt x="1604" y="522"/>
                  <a:pt x="1608" y="526"/>
                  <a:pt x="1608" y="528"/>
                </a:cubicBezTo>
                <a:cubicBezTo>
                  <a:pt x="1608" y="530"/>
                  <a:pt x="1603" y="536"/>
                  <a:pt x="1601" y="536"/>
                </a:cubicBezTo>
                <a:cubicBezTo>
                  <a:pt x="1598" y="537"/>
                  <a:pt x="1595" y="537"/>
                  <a:pt x="1592" y="534"/>
                </a:cubicBezTo>
                <a:cubicBezTo>
                  <a:pt x="1589" y="531"/>
                  <a:pt x="1581" y="526"/>
                  <a:pt x="1577" y="526"/>
                </a:cubicBezTo>
                <a:cubicBezTo>
                  <a:pt x="1574" y="526"/>
                  <a:pt x="1567" y="528"/>
                  <a:pt x="1565" y="524"/>
                </a:cubicBezTo>
                <a:cubicBezTo>
                  <a:pt x="1562" y="521"/>
                  <a:pt x="1563" y="519"/>
                  <a:pt x="1561" y="515"/>
                </a:cubicBezTo>
                <a:cubicBezTo>
                  <a:pt x="1559" y="512"/>
                  <a:pt x="1555" y="513"/>
                  <a:pt x="1555" y="513"/>
                </a:cubicBezTo>
                <a:cubicBezTo>
                  <a:pt x="1555" y="513"/>
                  <a:pt x="1550" y="509"/>
                  <a:pt x="1548" y="509"/>
                </a:cubicBezTo>
                <a:cubicBezTo>
                  <a:pt x="1547" y="508"/>
                  <a:pt x="1542" y="508"/>
                  <a:pt x="1540" y="508"/>
                </a:cubicBezTo>
                <a:cubicBezTo>
                  <a:pt x="1539" y="509"/>
                  <a:pt x="1536" y="510"/>
                  <a:pt x="1534" y="509"/>
                </a:cubicBezTo>
                <a:cubicBezTo>
                  <a:pt x="1532" y="508"/>
                  <a:pt x="1527" y="505"/>
                  <a:pt x="1526" y="505"/>
                </a:cubicBezTo>
                <a:cubicBezTo>
                  <a:pt x="1526" y="505"/>
                  <a:pt x="1525" y="504"/>
                  <a:pt x="1524" y="504"/>
                </a:cubicBezTo>
                <a:cubicBezTo>
                  <a:pt x="1523" y="504"/>
                  <a:pt x="1522" y="504"/>
                  <a:pt x="1522" y="504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19" y="499"/>
                  <a:pt x="1519" y="499"/>
                  <a:pt x="1519" y="499"/>
                </a:cubicBezTo>
                <a:cubicBezTo>
                  <a:pt x="1518" y="501"/>
                  <a:pt x="1518" y="501"/>
                  <a:pt x="1518" y="501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1" y="499"/>
                  <a:pt x="1511" y="495"/>
                </a:cubicBezTo>
                <a:cubicBezTo>
                  <a:pt x="1511" y="491"/>
                  <a:pt x="1510" y="493"/>
                  <a:pt x="1515" y="489"/>
                </a:cubicBezTo>
                <a:cubicBezTo>
                  <a:pt x="1520" y="484"/>
                  <a:pt x="1523" y="481"/>
                  <a:pt x="1520" y="478"/>
                </a:cubicBezTo>
                <a:cubicBezTo>
                  <a:pt x="1517" y="474"/>
                  <a:pt x="1514" y="475"/>
                  <a:pt x="1515" y="472"/>
                </a:cubicBezTo>
                <a:cubicBezTo>
                  <a:pt x="1516" y="468"/>
                  <a:pt x="1516" y="469"/>
                  <a:pt x="1518" y="467"/>
                </a:cubicBezTo>
                <a:cubicBezTo>
                  <a:pt x="1520" y="465"/>
                  <a:pt x="1522" y="460"/>
                  <a:pt x="1520" y="460"/>
                </a:cubicBezTo>
                <a:cubicBezTo>
                  <a:pt x="1519" y="460"/>
                  <a:pt x="1515" y="465"/>
                  <a:pt x="1514" y="466"/>
                </a:cubicBezTo>
                <a:cubicBezTo>
                  <a:pt x="1513" y="466"/>
                  <a:pt x="1510" y="463"/>
                  <a:pt x="1510" y="463"/>
                </a:cubicBezTo>
                <a:cubicBezTo>
                  <a:pt x="1510" y="463"/>
                  <a:pt x="1514" y="460"/>
                  <a:pt x="1511" y="458"/>
                </a:cubicBezTo>
                <a:cubicBezTo>
                  <a:pt x="1507" y="456"/>
                  <a:pt x="1501" y="460"/>
                  <a:pt x="1500" y="461"/>
                </a:cubicBezTo>
                <a:cubicBezTo>
                  <a:pt x="1500" y="461"/>
                  <a:pt x="1499" y="462"/>
                  <a:pt x="1499" y="462"/>
                </a:cubicBezTo>
                <a:cubicBezTo>
                  <a:pt x="1499" y="464"/>
                  <a:pt x="1499" y="464"/>
                  <a:pt x="1499" y="464"/>
                </a:cubicBezTo>
                <a:cubicBezTo>
                  <a:pt x="1499" y="462"/>
                  <a:pt x="1499" y="462"/>
                  <a:pt x="1499" y="462"/>
                </a:cubicBezTo>
                <a:cubicBezTo>
                  <a:pt x="1497" y="462"/>
                  <a:pt x="1494" y="461"/>
                  <a:pt x="1494" y="461"/>
                </a:cubicBezTo>
                <a:cubicBezTo>
                  <a:pt x="1493" y="463"/>
                  <a:pt x="1493" y="463"/>
                  <a:pt x="1493" y="463"/>
                </a:cubicBezTo>
                <a:cubicBezTo>
                  <a:pt x="1487" y="460"/>
                  <a:pt x="1487" y="460"/>
                  <a:pt x="1487" y="460"/>
                </a:cubicBezTo>
                <a:cubicBezTo>
                  <a:pt x="1485" y="460"/>
                  <a:pt x="1485" y="460"/>
                  <a:pt x="1485" y="460"/>
                </a:cubicBezTo>
                <a:cubicBezTo>
                  <a:pt x="1485" y="462"/>
                  <a:pt x="1485" y="462"/>
                  <a:pt x="1485" y="462"/>
                </a:cubicBezTo>
                <a:cubicBezTo>
                  <a:pt x="1480" y="462"/>
                  <a:pt x="1480" y="462"/>
                  <a:pt x="1480" y="462"/>
                </a:cubicBezTo>
                <a:cubicBezTo>
                  <a:pt x="1476" y="459"/>
                  <a:pt x="1476" y="459"/>
                  <a:pt x="1476" y="459"/>
                </a:cubicBezTo>
                <a:cubicBezTo>
                  <a:pt x="1475" y="463"/>
                  <a:pt x="1475" y="463"/>
                  <a:pt x="1475" y="463"/>
                </a:cubicBezTo>
                <a:cubicBezTo>
                  <a:pt x="1471" y="462"/>
                  <a:pt x="1471" y="462"/>
                  <a:pt x="1471" y="462"/>
                </a:cubicBezTo>
                <a:cubicBezTo>
                  <a:pt x="1467" y="465"/>
                  <a:pt x="1467" y="465"/>
                  <a:pt x="1467" y="465"/>
                </a:cubicBezTo>
                <a:cubicBezTo>
                  <a:pt x="1467" y="465"/>
                  <a:pt x="1462" y="463"/>
                  <a:pt x="1456" y="463"/>
                </a:cubicBezTo>
                <a:cubicBezTo>
                  <a:pt x="1449" y="463"/>
                  <a:pt x="1449" y="465"/>
                  <a:pt x="1446" y="465"/>
                </a:cubicBezTo>
                <a:cubicBezTo>
                  <a:pt x="1443" y="465"/>
                  <a:pt x="1438" y="465"/>
                  <a:pt x="1438" y="465"/>
                </a:cubicBezTo>
                <a:cubicBezTo>
                  <a:pt x="1437" y="466"/>
                  <a:pt x="1437" y="466"/>
                  <a:pt x="1437" y="466"/>
                </a:cubicBezTo>
                <a:cubicBezTo>
                  <a:pt x="1429" y="466"/>
                  <a:pt x="1429" y="466"/>
                  <a:pt x="1429" y="466"/>
                </a:cubicBezTo>
                <a:cubicBezTo>
                  <a:pt x="1429" y="466"/>
                  <a:pt x="1419" y="468"/>
                  <a:pt x="1419" y="470"/>
                </a:cubicBezTo>
                <a:cubicBezTo>
                  <a:pt x="1419" y="472"/>
                  <a:pt x="1417" y="474"/>
                  <a:pt x="1417" y="474"/>
                </a:cubicBezTo>
                <a:cubicBezTo>
                  <a:pt x="1417" y="474"/>
                  <a:pt x="1407" y="475"/>
                  <a:pt x="1406" y="477"/>
                </a:cubicBezTo>
                <a:cubicBezTo>
                  <a:pt x="1406" y="479"/>
                  <a:pt x="1401" y="483"/>
                  <a:pt x="1398" y="483"/>
                </a:cubicBezTo>
                <a:cubicBezTo>
                  <a:pt x="1398" y="483"/>
                  <a:pt x="1397" y="483"/>
                  <a:pt x="1397" y="483"/>
                </a:cubicBezTo>
                <a:cubicBezTo>
                  <a:pt x="1397" y="483"/>
                  <a:pt x="1397" y="483"/>
                  <a:pt x="1397" y="483"/>
                </a:cubicBezTo>
                <a:cubicBezTo>
                  <a:pt x="1394" y="482"/>
                  <a:pt x="1392" y="480"/>
                  <a:pt x="1390" y="480"/>
                </a:cubicBezTo>
                <a:cubicBezTo>
                  <a:pt x="1388" y="480"/>
                  <a:pt x="1386" y="482"/>
                  <a:pt x="1386" y="482"/>
                </a:cubicBezTo>
                <a:cubicBezTo>
                  <a:pt x="1386" y="482"/>
                  <a:pt x="1381" y="481"/>
                  <a:pt x="1380" y="481"/>
                </a:cubicBezTo>
                <a:cubicBezTo>
                  <a:pt x="1378" y="481"/>
                  <a:pt x="1376" y="483"/>
                  <a:pt x="1373" y="482"/>
                </a:cubicBezTo>
                <a:cubicBezTo>
                  <a:pt x="1370" y="481"/>
                  <a:pt x="1367" y="475"/>
                  <a:pt x="1366" y="475"/>
                </a:cubicBezTo>
                <a:cubicBezTo>
                  <a:pt x="1365" y="475"/>
                  <a:pt x="1362" y="475"/>
                  <a:pt x="1362" y="475"/>
                </a:cubicBezTo>
                <a:cubicBezTo>
                  <a:pt x="1362" y="475"/>
                  <a:pt x="1360" y="482"/>
                  <a:pt x="1358" y="485"/>
                </a:cubicBezTo>
                <a:cubicBezTo>
                  <a:pt x="1357" y="487"/>
                  <a:pt x="1353" y="495"/>
                  <a:pt x="1351" y="497"/>
                </a:cubicBezTo>
                <a:cubicBezTo>
                  <a:pt x="1348" y="499"/>
                  <a:pt x="1345" y="498"/>
                  <a:pt x="1344" y="499"/>
                </a:cubicBezTo>
                <a:cubicBezTo>
                  <a:pt x="1343" y="500"/>
                  <a:pt x="1340" y="502"/>
                  <a:pt x="1340" y="502"/>
                </a:cubicBezTo>
                <a:cubicBezTo>
                  <a:pt x="1338" y="501"/>
                  <a:pt x="1338" y="501"/>
                  <a:pt x="1338" y="501"/>
                </a:cubicBezTo>
                <a:cubicBezTo>
                  <a:pt x="1334" y="503"/>
                  <a:pt x="1334" y="503"/>
                  <a:pt x="1334" y="503"/>
                </a:cubicBezTo>
                <a:cubicBezTo>
                  <a:pt x="1334" y="503"/>
                  <a:pt x="1333" y="506"/>
                  <a:pt x="1332" y="508"/>
                </a:cubicBezTo>
                <a:cubicBezTo>
                  <a:pt x="1332" y="508"/>
                  <a:pt x="1328" y="510"/>
                  <a:pt x="1328" y="511"/>
                </a:cubicBezTo>
                <a:cubicBezTo>
                  <a:pt x="1328" y="512"/>
                  <a:pt x="1329" y="515"/>
                  <a:pt x="1327" y="516"/>
                </a:cubicBezTo>
                <a:cubicBezTo>
                  <a:pt x="1326" y="518"/>
                  <a:pt x="1322" y="523"/>
                  <a:pt x="1322" y="526"/>
                </a:cubicBezTo>
                <a:cubicBezTo>
                  <a:pt x="1323" y="529"/>
                  <a:pt x="1323" y="531"/>
                  <a:pt x="1323" y="531"/>
                </a:cubicBezTo>
                <a:cubicBezTo>
                  <a:pt x="1323" y="531"/>
                  <a:pt x="1321" y="532"/>
                  <a:pt x="1321" y="532"/>
                </a:cubicBezTo>
                <a:cubicBezTo>
                  <a:pt x="1321" y="533"/>
                  <a:pt x="1324" y="533"/>
                  <a:pt x="1323" y="536"/>
                </a:cubicBezTo>
                <a:cubicBezTo>
                  <a:pt x="1323" y="539"/>
                  <a:pt x="1323" y="541"/>
                  <a:pt x="1323" y="541"/>
                </a:cubicBezTo>
                <a:cubicBezTo>
                  <a:pt x="1323" y="541"/>
                  <a:pt x="1322" y="540"/>
                  <a:pt x="1320" y="542"/>
                </a:cubicBezTo>
                <a:cubicBezTo>
                  <a:pt x="1318" y="544"/>
                  <a:pt x="1317" y="547"/>
                  <a:pt x="1315" y="550"/>
                </a:cubicBezTo>
                <a:cubicBezTo>
                  <a:pt x="1313" y="552"/>
                  <a:pt x="1311" y="551"/>
                  <a:pt x="1309" y="553"/>
                </a:cubicBezTo>
                <a:cubicBezTo>
                  <a:pt x="1308" y="555"/>
                  <a:pt x="1306" y="558"/>
                  <a:pt x="1305" y="559"/>
                </a:cubicBezTo>
                <a:cubicBezTo>
                  <a:pt x="1303" y="560"/>
                  <a:pt x="1295" y="563"/>
                  <a:pt x="1295" y="563"/>
                </a:cubicBezTo>
                <a:cubicBezTo>
                  <a:pt x="1294" y="563"/>
                  <a:pt x="1290" y="563"/>
                  <a:pt x="1290" y="563"/>
                </a:cubicBezTo>
                <a:cubicBezTo>
                  <a:pt x="1290" y="563"/>
                  <a:pt x="1289" y="564"/>
                  <a:pt x="1288" y="566"/>
                </a:cubicBezTo>
                <a:cubicBezTo>
                  <a:pt x="1288" y="567"/>
                  <a:pt x="1287" y="568"/>
                  <a:pt x="1287" y="569"/>
                </a:cubicBezTo>
                <a:cubicBezTo>
                  <a:pt x="1286" y="572"/>
                  <a:pt x="1285" y="576"/>
                  <a:pt x="1285" y="576"/>
                </a:cubicBezTo>
                <a:cubicBezTo>
                  <a:pt x="1285" y="576"/>
                  <a:pt x="1282" y="578"/>
                  <a:pt x="1281" y="579"/>
                </a:cubicBezTo>
                <a:cubicBezTo>
                  <a:pt x="1280" y="580"/>
                  <a:pt x="1277" y="580"/>
                  <a:pt x="1277" y="580"/>
                </a:cubicBezTo>
                <a:cubicBezTo>
                  <a:pt x="1277" y="580"/>
                  <a:pt x="1275" y="579"/>
                  <a:pt x="1274" y="581"/>
                </a:cubicBezTo>
                <a:cubicBezTo>
                  <a:pt x="1273" y="583"/>
                  <a:pt x="1273" y="587"/>
                  <a:pt x="1273" y="587"/>
                </a:cubicBezTo>
                <a:cubicBezTo>
                  <a:pt x="1273" y="587"/>
                  <a:pt x="1270" y="591"/>
                  <a:pt x="1270" y="592"/>
                </a:cubicBezTo>
                <a:cubicBezTo>
                  <a:pt x="1270" y="593"/>
                  <a:pt x="1272" y="597"/>
                  <a:pt x="1270" y="599"/>
                </a:cubicBezTo>
                <a:cubicBezTo>
                  <a:pt x="1269" y="602"/>
                  <a:pt x="1267" y="602"/>
                  <a:pt x="1267" y="602"/>
                </a:cubicBezTo>
                <a:cubicBezTo>
                  <a:pt x="1267" y="602"/>
                  <a:pt x="1265" y="605"/>
                  <a:pt x="1264" y="606"/>
                </a:cubicBezTo>
                <a:cubicBezTo>
                  <a:pt x="1263" y="607"/>
                  <a:pt x="1261" y="608"/>
                  <a:pt x="1260" y="608"/>
                </a:cubicBezTo>
                <a:cubicBezTo>
                  <a:pt x="1259" y="609"/>
                  <a:pt x="1259" y="611"/>
                  <a:pt x="1259" y="611"/>
                </a:cubicBezTo>
                <a:cubicBezTo>
                  <a:pt x="1260" y="612"/>
                  <a:pt x="1260" y="612"/>
                  <a:pt x="1260" y="612"/>
                </a:cubicBezTo>
                <a:cubicBezTo>
                  <a:pt x="1260" y="612"/>
                  <a:pt x="1258" y="614"/>
                  <a:pt x="1257" y="616"/>
                </a:cubicBezTo>
                <a:cubicBezTo>
                  <a:pt x="1256" y="618"/>
                  <a:pt x="1256" y="621"/>
                  <a:pt x="1256" y="621"/>
                </a:cubicBezTo>
                <a:cubicBezTo>
                  <a:pt x="1254" y="621"/>
                  <a:pt x="1254" y="621"/>
                  <a:pt x="1254" y="621"/>
                </a:cubicBezTo>
                <a:cubicBezTo>
                  <a:pt x="1254" y="621"/>
                  <a:pt x="1257" y="623"/>
                  <a:pt x="1254" y="625"/>
                </a:cubicBezTo>
                <a:cubicBezTo>
                  <a:pt x="1252" y="627"/>
                  <a:pt x="1252" y="626"/>
                  <a:pt x="1252" y="626"/>
                </a:cubicBezTo>
                <a:cubicBezTo>
                  <a:pt x="1252" y="626"/>
                  <a:pt x="1248" y="630"/>
                  <a:pt x="1248" y="633"/>
                </a:cubicBezTo>
                <a:cubicBezTo>
                  <a:pt x="1248" y="634"/>
                  <a:pt x="1248" y="636"/>
                  <a:pt x="1248" y="638"/>
                </a:cubicBezTo>
                <a:cubicBezTo>
                  <a:pt x="1248" y="638"/>
                  <a:pt x="1248" y="638"/>
                  <a:pt x="1248" y="638"/>
                </a:cubicBezTo>
                <a:cubicBezTo>
                  <a:pt x="1248" y="640"/>
                  <a:pt x="1248" y="641"/>
                  <a:pt x="1248" y="641"/>
                </a:cubicBezTo>
                <a:cubicBezTo>
                  <a:pt x="1248" y="641"/>
                  <a:pt x="1250" y="641"/>
                  <a:pt x="1250" y="642"/>
                </a:cubicBezTo>
                <a:cubicBezTo>
                  <a:pt x="1250" y="643"/>
                  <a:pt x="1250" y="645"/>
                  <a:pt x="1251" y="646"/>
                </a:cubicBezTo>
                <a:cubicBezTo>
                  <a:pt x="1252" y="647"/>
                  <a:pt x="1253" y="644"/>
                  <a:pt x="1253" y="644"/>
                </a:cubicBezTo>
                <a:cubicBezTo>
                  <a:pt x="1254" y="649"/>
                  <a:pt x="1254" y="649"/>
                  <a:pt x="1254" y="649"/>
                </a:cubicBezTo>
                <a:cubicBezTo>
                  <a:pt x="1254" y="656"/>
                  <a:pt x="1254" y="656"/>
                  <a:pt x="1254" y="656"/>
                </a:cubicBezTo>
                <a:cubicBezTo>
                  <a:pt x="1252" y="656"/>
                  <a:pt x="1252" y="656"/>
                  <a:pt x="1252" y="656"/>
                </a:cubicBezTo>
                <a:cubicBezTo>
                  <a:pt x="1253" y="659"/>
                  <a:pt x="1253" y="659"/>
                  <a:pt x="1253" y="659"/>
                </a:cubicBezTo>
                <a:cubicBezTo>
                  <a:pt x="1251" y="660"/>
                  <a:pt x="1251" y="660"/>
                  <a:pt x="1251" y="660"/>
                </a:cubicBezTo>
                <a:cubicBezTo>
                  <a:pt x="1251" y="660"/>
                  <a:pt x="1256" y="666"/>
                  <a:pt x="1256" y="670"/>
                </a:cubicBezTo>
                <a:cubicBezTo>
                  <a:pt x="1256" y="673"/>
                  <a:pt x="1255" y="678"/>
                  <a:pt x="1255" y="678"/>
                </a:cubicBezTo>
                <a:cubicBezTo>
                  <a:pt x="1254" y="684"/>
                  <a:pt x="1254" y="684"/>
                  <a:pt x="1254" y="684"/>
                </a:cubicBezTo>
                <a:cubicBezTo>
                  <a:pt x="1254" y="684"/>
                  <a:pt x="1251" y="687"/>
                  <a:pt x="1250" y="691"/>
                </a:cubicBezTo>
                <a:cubicBezTo>
                  <a:pt x="1250" y="692"/>
                  <a:pt x="1250" y="696"/>
                  <a:pt x="1250" y="698"/>
                </a:cubicBezTo>
                <a:cubicBezTo>
                  <a:pt x="1250" y="699"/>
                  <a:pt x="1250" y="701"/>
                  <a:pt x="1250" y="701"/>
                </a:cubicBezTo>
                <a:cubicBezTo>
                  <a:pt x="1249" y="701"/>
                  <a:pt x="1247" y="703"/>
                  <a:pt x="1246" y="706"/>
                </a:cubicBezTo>
                <a:cubicBezTo>
                  <a:pt x="1244" y="708"/>
                  <a:pt x="1241" y="711"/>
                  <a:pt x="1241" y="711"/>
                </a:cubicBezTo>
                <a:cubicBezTo>
                  <a:pt x="1242" y="713"/>
                  <a:pt x="1242" y="713"/>
                  <a:pt x="1242" y="713"/>
                </a:cubicBezTo>
                <a:cubicBezTo>
                  <a:pt x="1243" y="712"/>
                  <a:pt x="1243" y="712"/>
                  <a:pt x="1243" y="712"/>
                </a:cubicBezTo>
                <a:cubicBezTo>
                  <a:pt x="1243" y="712"/>
                  <a:pt x="1245" y="714"/>
                  <a:pt x="1245" y="716"/>
                </a:cubicBezTo>
                <a:cubicBezTo>
                  <a:pt x="1245" y="717"/>
                  <a:pt x="1245" y="718"/>
                  <a:pt x="1245" y="718"/>
                </a:cubicBezTo>
                <a:cubicBezTo>
                  <a:pt x="1247" y="720"/>
                  <a:pt x="1247" y="720"/>
                  <a:pt x="1247" y="720"/>
                </a:cubicBezTo>
                <a:cubicBezTo>
                  <a:pt x="1247" y="720"/>
                  <a:pt x="1247" y="720"/>
                  <a:pt x="1247" y="722"/>
                </a:cubicBezTo>
                <a:cubicBezTo>
                  <a:pt x="1247" y="723"/>
                  <a:pt x="1248" y="724"/>
                  <a:pt x="1248" y="724"/>
                </a:cubicBezTo>
                <a:cubicBezTo>
                  <a:pt x="1249" y="725"/>
                  <a:pt x="1249" y="725"/>
                  <a:pt x="1249" y="725"/>
                </a:cubicBezTo>
                <a:cubicBezTo>
                  <a:pt x="1249" y="725"/>
                  <a:pt x="1247" y="728"/>
                  <a:pt x="1247" y="729"/>
                </a:cubicBezTo>
                <a:cubicBezTo>
                  <a:pt x="1247" y="730"/>
                  <a:pt x="1247" y="730"/>
                  <a:pt x="1247" y="730"/>
                </a:cubicBezTo>
                <a:cubicBezTo>
                  <a:pt x="1246" y="731"/>
                  <a:pt x="1246" y="733"/>
                  <a:pt x="1246" y="733"/>
                </a:cubicBezTo>
                <a:cubicBezTo>
                  <a:pt x="1245" y="734"/>
                  <a:pt x="1245" y="734"/>
                  <a:pt x="1245" y="734"/>
                </a:cubicBezTo>
                <a:cubicBezTo>
                  <a:pt x="1245" y="734"/>
                  <a:pt x="1246" y="738"/>
                  <a:pt x="1248" y="739"/>
                </a:cubicBezTo>
                <a:cubicBezTo>
                  <a:pt x="1250" y="740"/>
                  <a:pt x="1252" y="739"/>
                  <a:pt x="1252" y="739"/>
                </a:cubicBezTo>
                <a:cubicBezTo>
                  <a:pt x="1251" y="744"/>
                  <a:pt x="1251" y="744"/>
                  <a:pt x="1251" y="744"/>
                </a:cubicBezTo>
                <a:cubicBezTo>
                  <a:pt x="1251" y="744"/>
                  <a:pt x="1253" y="746"/>
                  <a:pt x="1254" y="745"/>
                </a:cubicBezTo>
                <a:cubicBezTo>
                  <a:pt x="1255" y="743"/>
                  <a:pt x="1261" y="744"/>
                  <a:pt x="1261" y="744"/>
                </a:cubicBezTo>
                <a:cubicBezTo>
                  <a:pt x="1264" y="742"/>
                  <a:pt x="1264" y="742"/>
                  <a:pt x="1264" y="742"/>
                </a:cubicBezTo>
                <a:cubicBezTo>
                  <a:pt x="1264" y="745"/>
                  <a:pt x="1264" y="745"/>
                  <a:pt x="1264" y="745"/>
                </a:cubicBezTo>
                <a:cubicBezTo>
                  <a:pt x="1264" y="745"/>
                  <a:pt x="1259" y="743"/>
                  <a:pt x="1259" y="745"/>
                </a:cubicBezTo>
                <a:cubicBezTo>
                  <a:pt x="1258" y="747"/>
                  <a:pt x="1260" y="748"/>
                  <a:pt x="1260" y="748"/>
                </a:cubicBezTo>
                <a:cubicBezTo>
                  <a:pt x="1264" y="747"/>
                  <a:pt x="1264" y="747"/>
                  <a:pt x="1264" y="747"/>
                </a:cubicBezTo>
                <a:cubicBezTo>
                  <a:pt x="1259" y="750"/>
                  <a:pt x="1259" y="750"/>
                  <a:pt x="1259" y="750"/>
                </a:cubicBezTo>
                <a:cubicBezTo>
                  <a:pt x="1263" y="756"/>
                  <a:pt x="1263" y="756"/>
                  <a:pt x="1263" y="756"/>
                </a:cubicBezTo>
                <a:cubicBezTo>
                  <a:pt x="1264" y="753"/>
                  <a:pt x="1264" y="753"/>
                  <a:pt x="1264" y="753"/>
                </a:cubicBezTo>
                <a:cubicBezTo>
                  <a:pt x="1264" y="753"/>
                  <a:pt x="1265" y="755"/>
                  <a:pt x="1266" y="756"/>
                </a:cubicBezTo>
                <a:cubicBezTo>
                  <a:pt x="1267" y="756"/>
                  <a:pt x="1268" y="756"/>
                  <a:pt x="1268" y="756"/>
                </a:cubicBezTo>
                <a:cubicBezTo>
                  <a:pt x="1268" y="756"/>
                  <a:pt x="1266" y="761"/>
                  <a:pt x="1269" y="763"/>
                </a:cubicBezTo>
                <a:cubicBezTo>
                  <a:pt x="1272" y="764"/>
                  <a:pt x="1273" y="763"/>
                  <a:pt x="1273" y="763"/>
                </a:cubicBezTo>
                <a:cubicBezTo>
                  <a:pt x="1273" y="763"/>
                  <a:pt x="1273" y="766"/>
                  <a:pt x="1274" y="767"/>
                </a:cubicBezTo>
                <a:cubicBezTo>
                  <a:pt x="1275" y="768"/>
                  <a:pt x="1276" y="766"/>
                  <a:pt x="1276" y="766"/>
                </a:cubicBezTo>
                <a:cubicBezTo>
                  <a:pt x="1276" y="766"/>
                  <a:pt x="1277" y="770"/>
                  <a:pt x="1278" y="771"/>
                </a:cubicBezTo>
                <a:cubicBezTo>
                  <a:pt x="1279" y="773"/>
                  <a:pt x="1282" y="775"/>
                  <a:pt x="1282" y="775"/>
                </a:cubicBezTo>
                <a:cubicBezTo>
                  <a:pt x="1280" y="776"/>
                  <a:pt x="1280" y="776"/>
                  <a:pt x="1280" y="776"/>
                </a:cubicBezTo>
                <a:cubicBezTo>
                  <a:pt x="1282" y="778"/>
                  <a:pt x="1282" y="778"/>
                  <a:pt x="1282" y="778"/>
                </a:cubicBezTo>
                <a:cubicBezTo>
                  <a:pt x="1282" y="778"/>
                  <a:pt x="1280" y="780"/>
                  <a:pt x="1280" y="781"/>
                </a:cubicBezTo>
                <a:cubicBezTo>
                  <a:pt x="1280" y="783"/>
                  <a:pt x="1284" y="785"/>
                  <a:pt x="1284" y="785"/>
                </a:cubicBezTo>
                <a:cubicBezTo>
                  <a:pt x="1283" y="789"/>
                  <a:pt x="1283" y="789"/>
                  <a:pt x="1283" y="789"/>
                </a:cubicBezTo>
                <a:cubicBezTo>
                  <a:pt x="1286" y="791"/>
                  <a:pt x="1286" y="791"/>
                  <a:pt x="1286" y="791"/>
                </a:cubicBezTo>
                <a:cubicBezTo>
                  <a:pt x="1286" y="791"/>
                  <a:pt x="1286" y="793"/>
                  <a:pt x="1288" y="795"/>
                </a:cubicBezTo>
                <a:cubicBezTo>
                  <a:pt x="1290" y="797"/>
                  <a:pt x="1294" y="797"/>
                  <a:pt x="1294" y="797"/>
                </a:cubicBezTo>
                <a:cubicBezTo>
                  <a:pt x="1298" y="801"/>
                  <a:pt x="1298" y="801"/>
                  <a:pt x="1298" y="801"/>
                </a:cubicBezTo>
                <a:cubicBezTo>
                  <a:pt x="1295" y="798"/>
                  <a:pt x="1295" y="798"/>
                  <a:pt x="1295" y="798"/>
                </a:cubicBezTo>
                <a:cubicBezTo>
                  <a:pt x="1300" y="803"/>
                  <a:pt x="1300" y="803"/>
                  <a:pt x="1300" y="803"/>
                </a:cubicBezTo>
                <a:cubicBezTo>
                  <a:pt x="1303" y="804"/>
                  <a:pt x="1303" y="804"/>
                  <a:pt x="1303" y="804"/>
                </a:cubicBezTo>
                <a:cubicBezTo>
                  <a:pt x="1305" y="808"/>
                  <a:pt x="1305" y="808"/>
                  <a:pt x="1305" y="808"/>
                </a:cubicBezTo>
                <a:cubicBezTo>
                  <a:pt x="1305" y="808"/>
                  <a:pt x="1309" y="807"/>
                  <a:pt x="1310" y="808"/>
                </a:cubicBezTo>
                <a:cubicBezTo>
                  <a:pt x="1311" y="810"/>
                  <a:pt x="1314" y="816"/>
                  <a:pt x="1317" y="818"/>
                </a:cubicBezTo>
                <a:cubicBezTo>
                  <a:pt x="1320" y="821"/>
                  <a:pt x="1326" y="823"/>
                  <a:pt x="1328" y="824"/>
                </a:cubicBezTo>
                <a:cubicBezTo>
                  <a:pt x="1329" y="825"/>
                  <a:pt x="1333" y="829"/>
                  <a:pt x="1336" y="829"/>
                </a:cubicBezTo>
                <a:cubicBezTo>
                  <a:pt x="1336" y="829"/>
                  <a:pt x="1336" y="829"/>
                  <a:pt x="1336" y="829"/>
                </a:cubicBezTo>
                <a:cubicBezTo>
                  <a:pt x="1339" y="828"/>
                  <a:pt x="1340" y="826"/>
                  <a:pt x="1340" y="826"/>
                </a:cubicBezTo>
                <a:cubicBezTo>
                  <a:pt x="1341" y="826"/>
                  <a:pt x="1341" y="826"/>
                  <a:pt x="1341" y="826"/>
                </a:cubicBezTo>
                <a:cubicBezTo>
                  <a:pt x="1344" y="825"/>
                  <a:pt x="1344" y="825"/>
                  <a:pt x="1344" y="825"/>
                </a:cubicBezTo>
                <a:cubicBezTo>
                  <a:pt x="1344" y="825"/>
                  <a:pt x="1353" y="819"/>
                  <a:pt x="1357" y="820"/>
                </a:cubicBezTo>
                <a:cubicBezTo>
                  <a:pt x="1362" y="820"/>
                  <a:pt x="1363" y="819"/>
                  <a:pt x="1363" y="819"/>
                </a:cubicBezTo>
                <a:cubicBezTo>
                  <a:pt x="1363" y="819"/>
                  <a:pt x="1370" y="817"/>
                  <a:pt x="1371" y="818"/>
                </a:cubicBezTo>
                <a:cubicBezTo>
                  <a:pt x="1373" y="819"/>
                  <a:pt x="1374" y="820"/>
                  <a:pt x="1375" y="820"/>
                </a:cubicBezTo>
                <a:cubicBezTo>
                  <a:pt x="1377" y="819"/>
                  <a:pt x="1379" y="817"/>
                  <a:pt x="1379" y="817"/>
                </a:cubicBezTo>
                <a:cubicBezTo>
                  <a:pt x="1379" y="817"/>
                  <a:pt x="1380" y="820"/>
                  <a:pt x="1383" y="821"/>
                </a:cubicBezTo>
                <a:cubicBezTo>
                  <a:pt x="1384" y="821"/>
                  <a:pt x="1385" y="822"/>
                  <a:pt x="1385" y="822"/>
                </a:cubicBezTo>
                <a:cubicBezTo>
                  <a:pt x="1387" y="822"/>
                  <a:pt x="1389" y="822"/>
                  <a:pt x="1389" y="822"/>
                </a:cubicBezTo>
                <a:cubicBezTo>
                  <a:pt x="1389" y="822"/>
                  <a:pt x="1389" y="825"/>
                  <a:pt x="1391" y="825"/>
                </a:cubicBezTo>
                <a:cubicBezTo>
                  <a:pt x="1394" y="824"/>
                  <a:pt x="1398" y="820"/>
                  <a:pt x="1399" y="820"/>
                </a:cubicBezTo>
                <a:cubicBezTo>
                  <a:pt x="1401" y="819"/>
                  <a:pt x="1403" y="820"/>
                  <a:pt x="1403" y="820"/>
                </a:cubicBezTo>
                <a:cubicBezTo>
                  <a:pt x="1403" y="820"/>
                  <a:pt x="1408" y="816"/>
                  <a:pt x="1408" y="816"/>
                </a:cubicBezTo>
                <a:cubicBezTo>
                  <a:pt x="1409" y="815"/>
                  <a:pt x="1412" y="815"/>
                  <a:pt x="1412" y="815"/>
                </a:cubicBezTo>
                <a:cubicBezTo>
                  <a:pt x="1412" y="815"/>
                  <a:pt x="1413" y="811"/>
                  <a:pt x="1415" y="812"/>
                </a:cubicBezTo>
                <a:cubicBezTo>
                  <a:pt x="1417" y="812"/>
                  <a:pt x="1418" y="813"/>
                  <a:pt x="1420" y="812"/>
                </a:cubicBezTo>
                <a:cubicBezTo>
                  <a:pt x="1421" y="812"/>
                  <a:pt x="1422" y="811"/>
                  <a:pt x="1423" y="809"/>
                </a:cubicBezTo>
                <a:cubicBezTo>
                  <a:pt x="1424" y="808"/>
                  <a:pt x="1426" y="807"/>
                  <a:pt x="1427" y="807"/>
                </a:cubicBezTo>
                <a:cubicBezTo>
                  <a:pt x="1428" y="807"/>
                  <a:pt x="1429" y="807"/>
                  <a:pt x="1430" y="807"/>
                </a:cubicBezTo>
                <a:cubicBezTo>
                  <a:pt x="1430" y="807"/>
                  <a:pt x="1430" y="807"/>
                  <a:pt x="1430" y="807"/>
                </a:cubicBezTo>
                <a:cubicBezTo>
                  <a:pt x="1432" y="807"/>
                  <a:pt x="1434" y="808"/>
                  <a:pt x="1434" y="808"/>
                </a:cubicBezTo>
                <a:cubicBezTo>
                  <a:pt x="1436" y="805"/>
                  <a:pt x="1436" y="805"/>
                  <a:pt x="1436" y="805"/>
                </a:cubicBezTo>
                <a:cubicBezTo>
                  <a:pt x="1436" y="805"/>
                  <a:pt x="1437" y="805"/>
                  <a:pt x="1438" y="806"/>
                </a:cubicBezTo>
                <a:cubicBezTo>
                  <a:pt x="1440" y="806"/>
                  <a:pt x="1442" y="807"/>
                  <a:pt x="1443" y="807"/>
                </a:cubicBezTo>
                <a:cubicBezTo>
                  <a:pt x="1445" y="806"/>
                  <a:pt x="1447" y="804"/>
                  <a:pt x="1447" y="804"/>
                </a:cubicBezTo>
                <a:cubicBezTo>
                  <a:pt x="1448" y="805"/>
                  <a:pt x="1448" y="805"/>
                  <a:pt x="1448" y="805"/>
                </a:cubicBezTo>
                <a:cubicBezTo>
                  <a:pt x="1448" y="805"/>
                  <a:pt x="1455" y="804"/>
                  <a:pt x="1458" y="808"/>
                </a:cubicBezTo>
                <a:cubicBezTo>
                  <a:pt x="1462" y="812"/>
                  <a:pt x="1462" y="814"/>
                  <a:pt x="1462" y="814"/>
                </a:cubicBezTo>
                <a:cubicBezTo>
                  <a:pt x="1465" y="814"/>
                  <a:pt x="1465" y="814"/>
                  <a:pt x="1465" y="814"/>
                </a:cubicBezTo>
                <a:cubicBezTo>
                  <a:pt x="1465" y="814"/>
                  <a:pt x="1463" y="817"/>
                  <a:pt x="1463" y="817"/>
                </a:cubicBezTo>
                <a:cubicBezTo>
                  <a:pt x="1464" y="817"/>
                  <a:pt x="1466" y="816"/>
                  <a:pt x="1466" y="816"/>
                </a:cubicBezTo>
                <a:cubicBezTo>
                  <a:pt x="1466" y="817"/>
                  <a:pt x="1465" y="819"/>
                  <a:pt x="1465" y="820"/>
                </a:cubicBezTo>
                <a:cubicBezTo>
                  <a:pt x="1465" y="822"/>
                  <a:pt x="1467" y="828"/>
                  <a:pt x="1471" y="828"/>
                </a:cubicBezTo>
                <a:cubicBezTo>
                  <a:pt x="1475" y="829"/>
                  <a:pt x="1478" y="828"/>
                  <a:pt x="1478" y="828"/>
                </a:cubicBezTo>
                <a:cubicBezTo>
                  <a:pt x="1479" y="824"/>
                  <a:pt x="1479" y="824"/>
                  <a:pt x="1479" y="824"/>
                </a:cubicBezTo>
                <a:cubicBezTo>
                  <a:pt x="1482" y="826"/>
                  <a:pt x="1482" y="826"/>
                  <a:pt x="1482" y="826"/>
                </a:cubicBezTo>
                <a:cubicBezTo>
                  <a:pt x="1486" y="825"/>
                  <a:pt x="1486" y="825"/>
                  <a:pt x="1486" y="825"/>
                </a:cubicBezTo>
                <a:cubicBezTo>
                  <a:pt x="1488" y="827"/>
                  <a:pt x="1488" y="827"/>
                  <a:pt x="1488" y="827"/>
                </a:cubicBezTo>
                <a:cubicBezTo>
                  <a:pt x="1494" y="827"/>
                  <a:pt x="1494" y="827"/>
                  <a:pt x="1494" y="827"/>
                </a:cubicBezTo>
                <a:cubicBezTo>
                  <a:pt x="1494" y="824"/>
                  <a:pt x="1494" y="824"/>
                  <a:pt x="1494" y="824"/>
                </a:cubicBezTo>
                <a:cubicBezTo>
                  <a:pt x="1497" y="823"/>
                  <a:pt x="1497" y="823"/>
                  <a:pt x="1497" y="823"/>
                </a:cubicBezTo>
                <a:cubicBezTo>
                  <a:pt x="1497" y="824"/>
                  <a:pt x="1497" y="824"/>
                  <a:pt x="1497" y="824"/>
                </a:cubicBezTo>
                <a:cubicBezTo>
                  <a:pt x="1496" y="826"/>
                  <a:pt x="1496" y="826"/>
                  <a:pt x="1496" y="826"/>
                </a:cubicBezTo>
                <a:cubicBezTo>
                  <a:pt x="1500" y="825"/>
                  <a:pt x="1500" y="825"/>
                  <a:pt x="1500" y="825"/>
                </a:cubicBezTo>
                <a:cubicBezTo>
                  <a:pt x="1500" y="825"/>
                  <a:pt x="1500" y="830"/>
                  <a:pt x="1502" y="832"/>
                </a:cubicBezTo>
                <a:cubicBezTo>
                  <a:pt x="1504" y="834"/>
                  <a:pt x="1505" y="834"/>
                  <a:pt x="1505" y="834"/>
                </a:cubicBezTo>
                <a:cubicBezTo>
                  <a:pt x="1508" y="831"/>
                  <a:pt x="1508" y="831"/>
                  <a:pt x="1508" y="831"/>
                </a:cubicBezTo>
                <a:cubicBezTo>
                  <a:pt x="1506" y="836"/>
                  <a:pt x="1506" y="836"/>
                  <a:pt x="1506" y="836"/>
                </a:cubicBezTo>
                <a:cubicBezTo>
                  <a:pt x="1508" y="839"/>
                  <a:pt x="1508" y="839"/>
                  <a:pt x="1508" y="839"/>
                </a:cubicBezTo>
                <a:cubicBezTo>
                  <a:pt x="1511" y="840"/>
                  <a:pt x="1511" y="840"/>
                  <a:pt x="1511" y="840"/>
                </a:cubicBezTo>
                <a:cubicBezTo>
                  <a:pt x="1510" y="847"/>
                  <a:pt x="1510" y="847"/>
                  <a:pt x="1510" y="847"/>
                </a:cubicBezTo>
                <a:cubicBezTo>
                  <a:pt x="1509" y="847"/>
                  <a:pt x="1509" y="847"/>
                  <a:pt x="1509" y="847"/>
                </a:cubicBezTo>
                <a:cubicBezTo>
                  <a:pt x="1509" y="852"/>
                  <a:pt x="1509" y="852"/>
                  <a:pt x="1509" y="852"/>
                </a:cubicBezTo>
                <a:cubicBezTo>
                  <a:pt x="1508" y="852"/>
                  <a:pt x="1508" y="852"/>
                  <a:pt x="1508" y="852"/>
                </a:cubicBezTo>
                <a:cubicBezTo>
                  <a:pt x="1508" y="852"/>
                  <a:pt x="1509" y="856"/>
                  <a:pt x="1508" y="858"/>
                </a:cubicBezTo>
                <a:cubicBezTo>
                  <a:pt x="1507" y="859"/>
                  <a:pt x="1503" y="862"/>
                  <a:pt x="1504" y="863"/>
                </a:cubicBezTo>
                <a:cubicBezTo>
                  <a:pt x="1504" y="865"/>
                  <a:pt x="1506" y="865"/>
                  <a:pt x="1507" y="866"/>
                </a:cubicBezTo>
                <a:cubicBezTo>
                  <a:pt x="1509" y="865"/>
                  <a:pt x="1509" y="865"/>
                  <a:pt x="1509" y="865"/>
                </a:cubicBezTo>
                <a:cubicBezTo>
                  <a:pt x="1507" y="866"/>
                  <a:pt x="1507" y="866"/>
                  <a:pt x="1507" y="866"/>
                </a:cubicBezTo>
                <a:cubicBezTo>
                  <a:pt x="1507" y="866"/>
                  <a:pt x="1508" y="866"/>
                  <a:pt x="1508" y="866"/>
                </a:cubicBezTo>
                <a:cubicBezTo>
                  <a:pt x="1506" y="867"/>
                  <a:pt x="1506" y="867"/>
                  <a:pt x="1506" y="867"/>
                </a:cubicBezTo>
                <a:cubicBezTo>
                  <a:pt x="1506" y="867"/>
                  <a:pt x="1508" y="873"/>
                  <a:pt x="1507" y="873"/>
                </a:cubicBezTo>
                <a:cubicBezTo>
                  <a:pt x="1506" y="874"/>
                  <a:pt x="1504" y="873"/>
                  <a:pt x="1504" y="873"/>
                </a:cubicBezTo>
                <a:cubicBezTo>
                  <a:pt x="1504" y="873"/>
                  <a:pt x="1504" y="882"/>
                  <a:pt x="1502" y="884"/>
                </a:cubicBezTo>
                <a:cubicBezTo>
                  <a:pt x="1500" y="886"/>
                  <a:pt x="1498" y="885"/>
                  <a:pt x="1498" y="885"/>
                </a:cubicBezTo>
                <a:cubicBezTo>
                  <a:pt x="1501" y="893"/>
                  <a:pt x="1501" y="893"/>
                  <a:pt x="1501" y="893"/>
                </a:cubicBezTo>
                <a:cubicBezTo>
                  <a:pt x="1503" y="891"/>
                  <a:pt x="1503" y="891"/>
                  <a:pt x="1503" y="891"/>
                </a:cubicBezTo>
                <a:cubicBezTo>
                  <a:pt x="1505" y="894"/>
                  <a:pt x="1505" y="894"/>
                  <a:pt x="1505" y="894"/>
                </a:cubicBezTo>
                <a:cubicBezTo>
                  <a:pt x="1505" y="894"/>
                  <a:pt x="1503" y="897"/>
                  <a:pt x="1503" y="898"/>
                </a:cubicBezTo>
                <a:cubicBezTo>
                  <a:pt x="1504" y="900"/>
                  <a:pt x="1506" y="899"/>
                  <a:pt x="1506" y="899"/>
                </a:cubicBezTo>
                <a:cubicBezTo>
                  <a:pt x="1507" y="905"/>
                  <a:pt x="1507" y="905"/>
                  <a:pt x="1507" y="905"/>
                </a:cubicBezTo>
                <a:cubicBezTo>
                  <a:pt x="1511" y="906"/>
                  <a:pt x="1511" y="906"/>
                  <a:pt x="1511" y="906"/>
                </a:cubicBezTo>
                <a:cubicBezTo>
                  <a:pt x="1510" y="907"/>
                  <a:pt x="1510" y="907"/>
                  <a:pt x="1510" y="907"/>
                </a:cubicBezTo>
                <a:cubicBezTo>
                  <a:pt x="1517" y="915"/>
                  <a:pt x="1517" y="915"/>
                  <a:pt x="1517" y="915"/>
                </a:cubicBezTo>
                <a:cubicBezTo>
                  <a:pt x="1517" y="916"/>
                  <a:pt x="1517" y="916"/>
                  <a:pt x="1517" y="916"/>
                </a:cubicBezTo>
                <a:cubicBezTo>
                  <a:pt x="1521" y="921"/>
                  <a:pt x="1521" y="921"/>
                  <a:pt x="1521" y="921"/>
                </a:cubicBezTo>
                <a:cubicBezTo>
                  <a:pt x="1521" y="922"/>
                  <a:pt x="1521" y="922"/>
                  <a:pt x="1521" y="922"/>
                </a:cubicBezTo>
                <a:cubicBezTo>
                  <a:pt x="1529" y="928"/>
                  <a:pt x="1529" y="928"/>
                  <a:pt x="1529" y="928"/>
                </a:cubicBezTo>
                <a:cubicBezTo>
                  <a:pt x="1529" y="931"/>
                  <a:pt x="1529" y="931"/>
                  <a:pt x="1529" y="931"/>
                </a:cubicBezTo>
                <a:cubicBezTo>
                  <a:pt x="1532" y="934"/>
                  <a:pt x="1532" y="934"/>
                  <a:pt x="1532" y="934"/>
                </a:cubicBezTo>
                <a:cubicBezTo>
                  <a:pt x="1532" y="942"/>
                  <a:pt x="1532" y="942"/>
                  <a:pt x="1532" y="942"/>
                </a:cubicBezTo>
                <a:cubicBezTo>
                  <a:pt x="1532" y="942"/>
                  <a:pt x="1533" y="942"/>
                  <a:pt x="1533" y="942"/>
                </a:cubicBezTo>
                <a:cubicBezTo>
                  <a:pt x="1534" y="942"/>
                  <a:pt x="1534" y="942"/>
                  <a:pt x="1535" y="941"/>
                </a:cubicBezTo>
                <a:cubicBezTo>
                  <a:pt x="1534" y="942"/>
                  <a:pt x="1534" y="942"/>
                  <a:pt x="1533" y="942"/>
                </a:cubicBezTo>
                <a:cubicBezTo>
                  <a:pt x="1534" y="943"/>
                  <a:pt x="1535" y="944"/>
                  <a:pt x="1535" y="945"/>
                </a:cubicBezTo>
                <a:cubicBezTo>
                  <a:pt x="1535" y="946"/>
                  <a:pt x="1535" y="946"/>
                  <a:pt x="1535" y="946"/>
                </a:cubicBezTo>
                <a:cubicBezTo>
                  <a:pt x="1534" y="947"/>
                  <a:pt x="1533" y="947"/>
                  <a:pt x="1533" y="947"/>
                </a:cubicBezTo>
                <a:cubicBezTo>
                  <a:pt x="1533" y="947"/>
                  <a:pt x="1536" y="951"/>
                  <a:pt x="1536" y="953"/>
                </a:cubicBezTo>
                <a:cubicBezTo>
                  <a:pt x="1537" y="954"/>
                  <a:pt x="1539" y="955"/>
                  <a:pt x="1539" y="955"/>
                </a:cubicBezTo>
                <a:cubicBezTo>
                  <a:pt x="1538" y="959"/>
                  <a:pt x="1538" y="959"/>
                  <a:pt x="1538" y="959"/>
                </a:cubicBezTo>
                <a:cubicBezTo>
                  <a:pt x="1538" y="959"/>
                  <a:pt x="1545" y="966"/>
                  <a:pt x="1544" y="972"/>
                </a:cubicBezTo>
                <a:cubicBezTo>
                  <a:pt x="1543" y="978"/>
                  <a:pt x="1541" y="979"/>
                  <a:pt x="1541" y="979"/>
                </a:cubicBezTo>
                <a:cubicBezTo>
                  <a:pt x="1540" y="983"/>
                  <a:pt x="1540" y="983"/>
                  <a:pt x="1540" y="983"/>
                </a:cubicBezTo>
                <a:cubicBezTo>
                  <a:pt x="1542" y="982"/>
                  <a:pt x="1542" y="982"/>
                  <a:pt x="1542" y="982"/>
                </a:cubicBezTo>
                <a:cubicBezTo>
                  <a:pt x="1542" y="982"/>
                  <a:pt x="1541" y="987"/>
                  <a:pt x="1544" y="992"/>
                </a:cubicBezTo>
                <a:cubicBezTo>
                  <a:pt x="1547" y="996"/>
                  <a:pt x="1549" y="1004"/>
                  <a:pt x="1549" y="1007"/>
                </a:cubicBezTo>
                <a:cubicBezTo>
                  <a:pt x="1548" y="1010"/>
                  <a:pt x="1546" y="1014"/>
                  <a:pt x="1546" y="1014"/>
                </a:cubicBezTo>
                <a:cubicBezTo>
                  <a:pt x="1546" y="1014"/>
                  <a:pt x="1547" y="1017"/>
                  <a:pt x="1546" y="1018"/>
                </a:cubicBezTo>
                <a:cubicBezTo>
                  <a:pt x="1544" y="1020"/>
                  <a:pt x="1541" y="1019"/>
                  <a:pt x="1541" y="1019"/>
                </a:cubicBezTo>
                <a:cubicBezTo>
                  <a:pt x="1540" y="1022"/>
                  <a:pt x="1540" y="1022"/>
                  <a:pt x="1540" y="1022"/>
                </a:cubicBezTo>
                <a:cubicBezTo>
                  <a:pt x="1540" y="1025"/>
                  <a:pt x="1540" y="1025"/>
                  <a:pt x="1540" y="1025"/>
                </a:cubicBezTo>
                <a:cubicBezTo>
                  <a:pt x="1540" y="1025"/>
                  <a:pt x="1535" y="1025"/>
                  <a:pt x="1535" y="1027"/>
                </a:cubicBezTo>
                <a:cubicBezTo>
                  <a:pt x="1536" y="1030"/>
                  <a:pt x="1535" y="1033"/>
                  <a:pt x="1535" y="1033"/>
                </a:cubicBezTo>
                <a:cubicBezTo>
                  <a:pt x="1533" y="1035"/>
                  <a:pt x="1533" y="1035"/>
                  <a:pt x="1533" y="1035"/>
                </a:cubicBezTo>
                <a:cubicBezTo>
                  <a:pt x="1533" y="1035"/>
                  <a:pt x="1534" y="1042"/>
                  <a:pt x="1534" y="1044"/>
                </a:cubicBezTo>
                <a:cubicBezTo>
                  <a:pt x="1533" y="1046"/>
                  <a:pt x="1531" y="1047"/>
                  <a:pt x="1531" y="1047"/>
                </a:cubicBezTo>
                <a:cubicBezTo>
                  <a:pt x="1531" y="1053"/>
                  <a:pt x="1531" y="1053"/>
                  <a:pt x="1531" y="1053"/>
                </a:cubicBezTo>
                <a:cubicBezTo>
                  <a:pt x="1527" y="1055"/>
                  <a:pt x="1527" y="1055"/>
                  <a:pt x="1527" y="1055"/>
                </a:cubicBezTo>
                <a:cubicBezTo>
                  <a:pt x="1527" y="1061"/>
                  <a:pt x="1527" y="1061"/>
                  <a:pt x="1527" y="1061"/>
                </a:cubicBezTo>
                <a:cubicBezTo>
                  <a:pt x="1529" y="1063"/>
                  <a:pt x="1529" y="1063"/>
                  <a:pt x="1529" y="1063"/>
                </a:cubicBezTo>
                <a:cubicBezTo>
                  <a:pt x="1526" y="1066"/>
                  <a:pt x="1526" y="1066"/>
                  <a:pt x="1526" y="1066"/>
                </a:cubicBezTo>
                <a:cubicBezTo>
                  <a:pt x="1527" y="1071"/>
                  <a:pt x="1527" y="1071"/>
                  <a:pt x="1527" y="1071"/>
                </a:cubicBezTo>
                <a:cubicBezTo>
                  <a:pt x="1528" y="1081"/>
                  <a:pt x="1528" y="1081"/>
                  <a:pt x="1528" y="1081"/>
                </a:cubicBezTo>
                <a:cubicBezTo>
                  <a:pt x="1528" y="1081"/>
                  <a:pt x="1530" y="1085"/>
                  <a:pt x="1531" y="1087"/>
                </a:cubicBezTo>
                <a:cubicBezTo>
                  <a:pt x="1533" y="1090"/>
                  <a:pt x="1540" y="1100"/>
                  <a:pt x="1540" y="1104"/>
                </a:cubicBezTo>
                <a:cubicBezTo>
                  <a:pt x="1541" y="1107"/>
                  <a:pt x="1543" y="1111"/>
                  <a:pt x="1544" y="1114"/>
                </a:cubicBezTo>
                <a:cubicBezTo>
                  <a:pt x="1545" y="1116"/>
                  <a:pt x="1548" y="1119"/>
                  <a:pt x="1548" y="1119"/>
                </a:cubicBezTo>
                <a:cubicBezTo>
                  <a:pt x="1548" y="1122"/>
                  <a:pt x="1548" y="1122"/>
                  <a:pt x="1548" y="1122"/>
                </a:cubicBezTo>
                <a:cubicBezTo>
                  <a:pt x="1548" y="1122"/>
                  <a:pt x="1554" y="1127"/>
                  <a:pt x="1554" y="1130"/>
                </a:cubicBezTo>
                <a:cubicBezTo>
                  <a:pt x="1554" y="1133"/>
                  <a:pt x="1554" y="1149"/>
                  <a:pt x="1554" y="1149"/>
                </a:cubicBezTo>
                <a:cubicBezTo>
                  <a:pt x="1554" y="1149"/>
                  <a:pt x="1557" y="1154"/>
                  <a:pt x="1557" y="1158"/>
                </a:cubicBezTo>
                <a:cubicBezTo>
                  <a:pt x="1558" y="1162"/>
                  <a:pt x="1556" y="1162"/>
                  <a:pt x="1556" y="1162"/>
                </a:cubicBezTo>
                <a:cubicBezTo>
                  <a:pt x="1558" y="1169"/>
                  <a:pt x="1558" y="1169"/>
                  <a:pt x="1558" y="1169"/>
                </a:cubicBezTo>
                <a:cubicBezTo>
                  <a:pt x="1558" y="1174"/>
                  <a:pt x="1558" y="1174"/>
                  <a:pt x="1558" y="1174"/>
                </a:cubicBezTo>
                <a:cubicBezTo>
                  <a:pt x="1560" y="1174"/>
                  <a:pt x="1560" y="1174"/>
                  <a:pt x="1560" y="1174"/>
                </a:cubicBezTo>
                <a:cubicBezTo>
                  <a:pt x="1560" y="1174"/>
                  <a:pt x="1559" y="1179"/>
                  <a:pt x="1560" y="1179"/>
                </a:cubicBezTo>
                <a:cubicBezTo>
                  <a:pt x="1560" y="1180"/>
                  <a:pt x="1562" y="1182"/>
                  <a:pt x="1562" y="1182"/>
                </a:cubicBezTo>
                <a:cubicBezTo>
                  <a:pt x="1562" y="1186"/>
                  <a:pt x="1562" y="1186"/>
                  <a:pt x="1562" y="1186"/>
                </a:cubicBezTo>
                <a:cubicBezTo>
                  <a:pt x="1562" y="1186"/>
                  <a:pt x="1565" y="1193"/>
                  <a:pt x="1567" y="1195"/>
                </a:cubicBezTo>
                <a:cubicBezTo>
                  <a:pt x="1568" y="1197"/>
                  <a:pt x="1572" y="1199"/>
                  <a:pt x="1572" y="1199"/>
                </a:cubicBezTo>
                <a:cubicBezTo>
                  <a:pt x="1572" y="1199"/>
                  <a:pt x="1574" y="1203"/>
                  <a:pt x="1574" y="1204"/>
                </a:cubicBezTo>
                <a:cubicBezTo>
                  <a:pt x="1575" y="1205"/>
                  <a:pt x="1579" y="1209"/>
                  <a:pt x="1579" y="1212"/>
                </a:cubicBezTo>
                <a:cubicBezTo>
                  <a:pt x="1579" y="1214"/>
                  <a:pt x="1578" y="1220"/>
                  <a:pt x="1580" y="1223"/>
                </a:cubicBezTo>
                <a:cubicBezTo>
                  <a:pt x="1582" y="1226"/>
                  <a:pt x="1589" y="1233"/>
                  <a:pt x="1589" y="1236"/>
                </a:cubicBezTo>
                <a:cubicBezTo>
                  <a:pt x="1589" y="1239"/>
                  <a:pt x="1589" y="1245"/>
                  <a:pt x="1588" y="1245"/>
                </a:cubicBezTo>
                <a:cubicBezTo>
                  <a:pt x="1588" y="1246"/>
                  <a:pt x="1585" y="1245"/>
                  <a:pt x="1585" y="1246"/>
                </a:cubicBezTo>
                <a:cubicBezTo>
                  <a:pt x="1585" y="1248"/>
                  <a:pt x="1585" y="1250"/>
                  <a:pt x="1587" y="1253"/>
                </a:cubicBezTo>
                <a:cubicBezTo>
                  <a:pt x="1589" y="1257"/>
                  <a:pt x="1588" y="1261"/>
                  <a:pt x="1589" y="1262"/>
                </a:cubicBezTo>
                <a:cubicBezTo>
                  <a:pt x="1590" y="1264"/>
                  <a:pt x="1590" y="1262"/>
                  <a:pt x="1591" y="1261"/>
                </a:cubicBezTo>
                <a:cubicBezTo>
                  <a:pt x="1592" y="1260"/>
                  <a:pt x="1594" y="1263"/>
                  <a:pt x="1594" y="1263"/>
                </a:cubicBezTo>
                <a:cubicBezTo>
                  <a:pt x="1597" y="1264"/>
                  <a:pt x="1597" y="1264"/>
                  <a:pt x="1597" y="1264"/>
                </a:cubicBezTo>
                <a:cubicBezTo>
                  <a:pt x="1597" y="1264"/>
                  <a:pt x="1598" y="1269"/>
                  <a:pt x="1602" y="1269"/>
                </a:cubicBezTo>
                <a:cubicBezTo>
                  <a:pt x="1606" y="1268"/>
                  <a:pt x="1607" y="1265"/>
                  <a:pt x="1609" y="1264"/>
                </a:cubicBezTo>
                <a:cubicBezTo>
                  <a:pt x="1612" y="1263"/>
                  <a:pt x="1619" y="1266"/>
                  <a:pt x="1621" y="1265"/>
                </a:cubicBezTo>
                <a:cubicBezTo>
                  <a:pt x="1623" y="1264"/>
                  <a:pt x="1622" y="1260"/>
                  <a:pt x="1627" y="1260"/>
                </a:cubicBezTo>
                <a:cubicBezTo>
                  <a:pt x="1631" y="1260"/>
                  <a:pt x="1633" y="1262"/>
                  <a:pt x="1633" y="1262"/>
                </a:cubicBezTo>
                <a:cubicBezTo>
                  <a:pt x="1633" y="1262"/>
                  <a:pt x="1635" y="1259"/>
                  <a:pt x="1640" y="1260"/>
                </a:cubicBezTo>
                <a:cubicBezTo>
                  <a:pt x="1645" y="1260"/>
                  <a:pt x="1648" y="1262"/>
                  <a:pt x="1649" y="1262"/>
                </a:cubicBezTo>
                <a:cubicBezTo>
                  <a:pt x="1650" y="1261"/>
                  <a:pt x="1652" y="1259"/>
                  <a:pt x="1652" y="1259"/>
                </a:cubicBezTo>
                <a:cubicBezTo>
                  <a:pt x="1652" y="1259"/>
                  <a:pt x="1655" y="1261"/>
                  <a:pt x="1657" y="1260"/>
                </a:cubicBezTo>
                <a:cubicBezTo>
                  <a:pt x="1659" y="1259"/>
                  <a:pt x="1661" y="1257"/>
                  <a:pt x="1661" y="1257"/>
                </a:cubicBezTo>
                <a:cubicBezTo>
                  <a:pt x="1661" y="1257"/>
                  <a:pt x="1666" y="1259"/>
                  <a:pt x="1671" y="1256"/>
                </a:cubicBezTo>
                <a:cubicBezTo>
                  <a:pt x="1676" y="1252"/>
                  <a:pt x="1682" y="1246"/>
                  <a:pt x="1682" y="1246"/>
                </a:cubicBezTo>
                <a:cubicBezTo>
                  <a:pt x="1685" y="1245"/>
                  <a:pt x="1685" y="1245"/>
                  <a:pt x="1685" y="1245"/>
                </a:cubicBezTo>
                <a:cubicBezTo>
                  <a:pt x="1698" y="1231"/>
                  <a:pt x="1698" y="1231"/>
                  <a:pt x="1698" y="1231"/>
                </a:cubicBezTo>
                <a:cubicBezTo>
                  <a:pt x="1701" y="1231"/>
                  <a:pt x="1701" y="1231"/>
                  <a:pt x="1701" y="1231"/>
                </a:cubicBezTo>
                <a:cubicBezTo>
                  <a:pt x="1701" y="1231"/>
                  <a:pt x="1708" y="1220"/>
                  <a:pt x="1709" y="1218"/>
                </a:cubicBezTo>
                <a:cubicBezTo>
                  <a:pt x="1710" y="1215"/>
                  <a:pt x="1714" y="1207"/>
                  <a:pt x="1716" y="1206"/>
                </a:cubicBezTo>
                <a:cubicBezTo>
                  <a:pt x="1717" y="1205"/>
                  <a:pt x="1724" y="1202"/>
                  <a:pt x="1725" y="1200"/>
                </a:cubicBezTo>
                <a:cubicBezTo>
                  <a:pt x="1725" y="1197"/>
                  <a:pt x="1729" y="1189"/>
                  <a:pt x="1729" y="1189"/>
                </a:cubicBezTo>
                <a:cubicBezTo>
                  <a:pt x="1729" y="1189"/>
                  <a:pt x="1730" y="1185"/>
                  <a:pt x="1731" y="1182"/>
                </a:cubicBezTo>
                <a:cubicBezTo>
                  <a:pt x="1731" y="1180"/>
                  <a:pt x="1732" y="1179"/>
                  <a:pt x="1732" y="1178"/>
                </a:cubicBezTo>
                <a:cubicBezTo>
                  <a:pt x="1732" y="1174"/>
                  <a:pt x="1730" y="1172"/>
                  <a:pt x="1730" y="1172"/>
                </a:cubicBezTo>
                <a:cubicBezTo>
                  <a:pt x="1730" y="1172"/>
                  <a:pt x="1726" y="1171"/>
                  <a:pt x="1730" y="1167"/>
                </a:cubicBezTo>
                <a:cubicBezTo>
                  <a:pt x="1735" y="1162"/>
                  <a:pt x="1742" y="1160"/>
                  <a:pt x="1747" y="1157"/>
                </a:cubicBezTo>
                <a:cubicBezTo>
                  <a:pt x="1751" y="1155"/>
                  <a:pt x="1758" y="1151"/>
                  <a:pt x="1758" y="1149"/>
                </a:cubicBezTo>
                <a:cubicBezTo>
                  <a:pt x="1758" y="1147"/>
                  <a:pt x="1758" y="1146"/>
                  <a:pt x="1758" y="1146"/>
                </a:cubicBezTo>
                <a:cubicBezTo>
                  <a:pt x="1758" y="1146"/>
                  <a:pt x="1756" y="1147"/>
                  <a:pt x="1756" y="1144"/>
                </a:cubicBezTo>
                <a:cubicBezTo>
                  <a:pt x="1756" y="1142"/>
                  <a:pt x="1760" y="1138"/>
                  <a:pt x="1759" y="1136"/>
                </a:cubicBezTo>
                <a:cubicBezTo>
                  <a:pt x="1759" y="1134"/>
                  <a:pt x="1758" y="1131"/>
                  <a:pt x="1758" y="1131"/>
                </a:cubicBezTo>
                <a:cubicBezTo>
                  <a:pt x="1759" y="1127"/>
                  <a:pt x="1759" y="1127"/>
                  <a:pt x="1759" y="1127"/>
                </a:cubicBezTo>
                <a:cubicBezTo>
                  <a:pt x="1759" y="1126"/>
                  <a:pt x="1759" y="1126"/>
                  <a:pt x="1759" y="1126"/>
                </a:cubicBezTo>
                <a:cubicBezTo>
                  <a:pt x="1757" y="1129"/>
                  <a:pt x="1757" y="1129"/>
                  <a:pt x="1757" y="1129"/>
                </a:cubicBezTo>
                <a:cubicBezTo>
                  <a:pt x="1757" y="1123"/>
                  <a:pt x="1757" y="1123"/>
                  <a:pt x="1757" y="1123"/>
                </a:cubicBezTo>
                <a:cubicBezTo>
                  <a:pt x="1757" y="1123"/>
                  <a:pt x="1754" y="1120"/>
                  <a:pt x="1754" y="1118"/>
                </a:cubicBezTo>
                <a:cubicBezTo>
                  <a:pt x="1754" y="1116"/>
                  <a:pt x="1756" y="1114"/>
                  <a:pt x="1755" y="1111"/>
                </a:cubicBezTo>
                <a:cubicBezTo>
                  <a:pt x="1754" y="1109"/>
                  <a:pt x="1751" y="1111"/>
                  <a:pt x="1751" y="1108"/>
                </a:cubicBezTo>
                <a:cubicBezTo>
                  <a:pt x="1751" y="1106"/>
                  <a:pt x="1753" y="1101"/>
                  <a:pt x="1754" y="1101"/>
                </a:cubicBezTo>
                <a:cubicBezTo>
                  <a:pt x="1755" y="1100"/>
                  <a:pt x="1760" y="1098"/>
                  <a:pt x="1760" y="1097"/>
                </a:cubicBezTo>
                <a:cubicBezTo>
                  <a:pt x="1761" y="1095"/>
                  <a:pt x="1762" y="1092"/>
                  <a:pt x="1763" y="1091"/>
                </a:cubicBezTo>
                <a:cubicBezTo>
                  <a:pt x="1765" y="1089"/>
                  <a:pt x="1766" y="1091"/>
                  <a:pt x="1768" y="1089"/>
                </a:cubicBezTo>
                <a:cubicBezTo>
                  <a:pt x="1769" y="1088"/>
                  <a:pt x="1772" y="1086"/>
                  <a:pt x="1773" y="1083"/>
                </a:cubicBezTo>
                <a:cubicBezTo>
                  <a:pt x="1773" y="1080"/>
                  <a:pt x="1777" y="1076"/>
                  <a:pt x="1780" y="1074"/>
                </a:cubicBezTo>
                <a:cubicBezTo>
                  <a:pt x="1784" y="1073"/>
                  <a:pt x="1793" y="1070"/>
                  <a:pt x="1795" y="1068"/>
                </a:cubicBezTo>
                <a:cubicBezTo>
                  <a:pt x="1797" y="1067"/>
                  <a:pt x="1803" y="1063"/>
                  <a:pt x="1803" y="1063"/>
                </a:cubicBezTo>
                <a:cubicBezTo>
                  <a:pt x="1803" y="1061"/>
                  <a:pt x="1803" y="1061"/>
                  <a:pt x="1803" y="1061"/>
                </a:cubicBezTo>
                <a:cubicBezTo>
                  <a:pt x="1803" y="1061"/>
                  <a:pt x="1807" y="1057"/>
                  <a:pt x="1807" y="1056"/>
                </a:cubicBezTo>
                <a:cubicBezTo>
                  <a:pt x="1807" y="1055"/>
                  <a:pt x="1812" y="1050"/>
                  <a:pt x="1812" y="1050"/>
                </a:cubicBezTo>
                <a:cubicBezTo>
                  <a:pt x="1811" y="1048"/>
                  <a:pt x="1811" y="1048"/>
                  <a:pt x="1811" y="1048"/>
                </a:cubicBezTo>
                <a:cubicBezTo>
                  <a:pt x="1811" y="1048"/>
                  <a:pt x="1814" y="1045"/>
                  <a:pt x="1814" y="1043"/>
                </a:cubicBezTo>
                <a:cubicBezTo>
                  <a:pt x="1814" y="1042"/>
                  <a:pt x="1814" y="1039"/>
                  <a:pt x="1814" y="1039"/>
                </a:cubicBezTo>
                <a:cubicBezTo>
                  <a:pt x="1812" y="1039"/>
                  <a:pt x="1812" y="1039"/>
                  <a:pt x="1812" y="1039"/>
                </a:cubicBezTo>
                <a:cubicBezTo>
                  <a:pt x="1812" y="1031"/>
                  <a:pt x="1812" y="1031"/>
                  <a:pt x="1812" y="1031"/>
                </a:cubicBezTo>
                <a:cubicBezTo>
                  <a:pt x="1810" y="1029"/>
                  <a:pt x="1810" y="1029"/>
                  <a:pt x="1810" y="1029"/>
                </a:cubicBezTo>
                <a:cubicBezTo>
                  <a:pt x="1813" y="1028"/>
                  <a:pt x="1813" y="1028"/>
                  <a:pt x="1813" y="1028"/>
                </a:cubicBezTo>
                <a:cubicBezTo>
                  <a:pt x="1811" y="1021"/>
                  <a:pt x="1811" y="1021"/>
                  <a:pt x="1811" y="1021"/>
                </a:cubicBezTo>
                <a:cubicBezTo>
                  <a:pt x="1813" y="1017"/>
                  <a:pt x="1813" y="1017"/>
                  <a:pt x="1813" y="1017"/>
                </a:cubicBezTo>
                <a:cubicBezTo>
                  <a:pt x="1811" y="1012"/>
                  <a:pt x="1811" y="1012"/>
                  <a:pt x="1811" y="1012"/>
                </a:cubicBezTo>
                <a:cubicBezTo>
                  <a:pt x="1811" y="1012"/>
                  <a:pt x="1813" y="1000"/>
                  <a:pt x="1813" y="998"/>
                </a:cubicBezTo>
                <a:cubicBezTo>
                  <a:pt x="1813" y="996"/>
                  <a:pt x="1812" y="995"/>
                  <a:pt x="1812" y="995"/>
                </a:cubicBezTo>
                <a:cubicBezTo>
                  <a:pt x="1812" y="995"/>
                  <a:pt x="1812" y="995"/>
                  <a:pt x="1812" y="995"/>
                </a:cubicBezTo>
                <a:cubicBezTo>
                  <a:pt x="1811" y="993"/>
                  <a:pt x="1811" y="993"/>
                  <a:pt x="1811" y="993"/>
                </a:cubicBezTo>
                <a:cubicBezTo>
                  <a:pt x="1811" y="993"/>
                  <a:pt x="1805" y="992"/>
                  <a:pt x="1805" y="989"/>
                </a:cubicBezTo>
                <a:cubicBezTo>
                  <a:pt x="1804" y="987"/>
                  <a:pt x="1804" y="980"/>
                  <a:pt x="1804" y="980"/>
                </a:cubicBezTo>
                <a:cubicBezTo>
                  <a:pt x="1801" y="974"/>
                  <a:pt x="1801" y="974"/>
                  <a:pt x="1801" y="974"/>
                </a:cubicBezTo>
                <a:cubicBezTo>
                  <a:pt x="1803" y="967"/>
                  <a:pt x="1803" y="967"/>
                  <a:pt x="1803" y="967"/>
                </a:cubicBezTo>
                <a:cubicBezTo>
                  <a:pt x="1800" y="965"/>
                  <a:pt x="1800" y="965"/>
                  <a:pt x="1800" y="965"/>
                </a:cubicBezTo>
                <a:cubicBezTo>
                  <a:pt x="1800" y="965"/>
                  <a:pt x="1804" y="957"/>
                  <a:pt x="1803" y="956"/>
                </a:cubicBezTo>
                <a:cubicBezTo>
                  <a:pt x="1802" y="954"/>
                  <a:pt x="1797" y="952"/>
                  <a:pt x="1796" y="950"/>
                </a:cubicBezTo>
                <a:cubicBezTo>
                  <a:pt x="1795" y="947"/>
                  <a:pt x="1799" y="939"/>
                  <a:pt x="1799" y="938"/>
                </a:cubicBezTo>
                <a:cubicBezTo>
                  <a:pt x="1799" y="936"/>
                  <a:pt x="1800" y="932"/>
                  <a:pt x="1800" y="931"/>
                </a:cubicBezTo>
                <a:cubicBezTo>
                  <a:pt x="1800" y="930"/>
                  <a:pt x="1800" y="930"/>
                  <a:pt x="1800" y="930"/>
                </a:cubicBezTo>
                <a:cubicBezTo>
                  <a:pt x="1803" y="930"/>
                  <a:pt x="1803" y="930"/>
                  <a:pt x="1803" y="930"/>
                </a:cubicBezTo>
                <a:cubicBezTo>
                  <a:pt x="1807" y="921"/>
                  <a:pt x="1807" y="921"/>
                  <a:pt x="1807" y="921"/>
                </a:cubicBezTo>
                <a:cubicBezTo>
                  <a:pt x="1807" y="921"/>
                  <a:pt x="1807" y="918"/>
                  <a:pt x="1807" y="916"/>
                </a:cubicBezTo>
                <a:cubicBezTo>
                  <a:pt x="1807" y="915"/>
                  <a:pt x="1811" y="915"/>
                  <a:pt x="1811" y="913"/>
                </a:cubicBezTo>
                <a:cubicBezTo>
                  <a:pt x="1811" y="911"/>
                  <a:pt x="1809" y="908"/>
                  <a:pt x="1811" y="907"/>
                </a:cubicBezTo>
                <a:cubicBezTo>
                  <a:pt x="1813" y="907"/>
                  <a:pt x="1816" y="905"/>
                  <a:pt x="1816" y="905"/>
                </a:cubicBezTo>
                <a:cubicBezTo>
                  <a:pt x="1817" y="900"/>
                  <a:pt x="1817" y="900"/>
                  <a:pt x="1817" y="900"/>
                </a:cubicBezTo>
                <a:cubicBezTo>
                  <a:pt x="1817" y="900"/>
                  <a:pt x="1822" y="901"/>
                  <a:pt x="1824" y="898"/>
                </a:cubicBezTo>
                <a:cubicBezTo>
                  <a:pt x="1824" y="897"/>
                  <a:pt x="1824" y="897"/>
                  <a:pt x="1824" y="896"/>
                </a:cubicBezTo>
                <a:cubicBezTo>
                  <a:pt x="1824" y="896"/>
                  <a:pt x="1824" y="897"/>
                  <a:pt x="1824" y="897"/>
                </a:cubicBezTo>
                <a:cubicBezTo>
                  <a:pt x="1826" y="893"/>
                  <a:pt x="1829" y="886"/>
                  <a:pt x="1831" y="884"/>
                </a:cubicBezTo>
                <a:cubicBezTo>
                  <a:pt x="1832" y="882"/>
                  <a:pt x="1839" y="879"/>
                  <a:pt x="1839" y="876"/>
                </a:cubicBezTo>
                <a:cubicBezTo>
                  <a:pt x="1840" y="873"/>
                  <a:pt x="1849" y="865"/>
                  <a:pt x="1851" y="862"/>
                </a:cubicBezTo>
                <a:cubicBezTo>
                  <a:pt x="1854" y="859"/>
                  <a:pt x="1861" y="855"/>
                  <a:pt x="1862" y="854"/>
                </a:cubicBezTo>
                <a:cubicBezTo>
                  <a:pt x="1864" y="853"/>
                  <a:pt x="1876" y="843"/>
                  <a:pt x="1877" y="841"/>
                </a:cubicBezTo>
                <a:cubicBezTo>
                  <a:pt x="1879" y="839"/>
                  <a:pt x="1888" y="829"/>
                  <a:pt x="1889" y="826"/>
                </a:cubicBezTo>
                <a:cubicBezTo>
                  <a:pt x="1889" y="823"/>
                  <a:pt x="1895" y="813"/>
                  <a:pt x="1896" y="812"/>
                </a:cubicBezTo>
                <a:cubicBezTo>
                  <a:pt x="1897" y="811"/>
                  <a:pt x="1899" y="808"/>
                  <a:pt x="1899" y="807"/>
                </a:cubicBezTo>
                <a:cubicBezTo>
                  <a:pt x="1899" y="805"/>
                  <a:pt x="1900" y="799"/>
                  <a:pt x="1902" y="797"/>
                </a:cubicBezTo>
                <a:cubicBezTo>
                  <a:pt x="1903" y="795"/>
                  <a:pt x="1906" y="793"/>
                  <a:pt x="1906" y="790"/>
                </a:cubicBezTo>
                <a:cubicBezTo>
                  <a:pt x="1906" y="787"/>
                  <a:pt x="1908" y="785"/>
                  <a:pt x="1908" y="785"/>
                </a:cubicBezTo>
                <a:cubicBezTo>
                  <a:pt x="1911" y="777"/>
                  <a:pt x="1911" y="777"/>
                  <a:pt x="1911" y="777"/>
                </a:cubicBezTo>
                <a:cubicBezTo>
                  <a:pt x="1911" y="777"/>
                  <a:pt x="1914" y="778"/>
                  <a:pt x="1914" y="773"/>
                </a:cubicBezTo>
                <a:cubicBezTo>
                  <a:pt x="1914" y="767"/>
                  <a:pt x="1914" y="762"/>
                  <a:pt x="1914" y="762"/>
                </a:cubicBezTo>
                <a:cubicBezTo>
                  <a:pt x="1917" y="760"/>
                  <a:pt x="1917" y="760"/>
                  <a:pt x="1917" y="760"/>
                </a:cubicBezTo>
                <a:cubicBezTo>
                  <a:pt x="1916" y="750"/>
                  <a:pt x="1916" y="750"/>
                  <a:pt x="1916" y="750"/>
                </a:cubicBezTo>
                <a:cubicBezTo>
                  <a:pt x="1916" y="750"/>
                  <a:pt x="1919" y="745"/>
                  <a:pt x="1918" y="744"/>
                </a:cubicBezTo>
                <a:cubicBezTo>
                  <a:pt x="1916" y="743"/>
                  <a:pt x="1912" y="742"/>
                  <a:pt x="1912" y="742"/>
                </a:cubicBezTo>
                <a:cubicBezTo>
                  <a:pt x="1912" y="742"/>
                  <a:pt x="1910" y="745"/>
                  <a:pt x="1909" y="746"/>
                </a:cubicBezTo>
                <a:cubicBezTo>
                  <a:pt x="1907" y="748"/>
                  <a:pt x="1900" y="750"/>
                  <a:pt x="1898" y="750"/>
                </a:cubicBezTo>
                <a:cubicBezTo>
                  <a:pt x="1897" y="750"/>
                  <a:pt x="1893" y="749"/>
                  <a:pt x="1891" y="749"/>
                </a:cubicBezTo>
                <a:cubicBezTo>
                  <a:pt x="1889" y="750"/>
                  <a:pt x="1886" y="753"/>
                  <a:pt x="1885" y="753"/>
                </a:cubicBezTo>
                <a:cubicBezTo>
                  <a:pt x="1884" y="753"/>
                  <a:pt x="1882" y="751"/>
                  <a:pt x="1880" y="751"/>
                </a:cubicBezTo>
                <a:cubicBezTo>
                  <a:pt x="1879" y="751"/>
                  <a:pt x="1873" y="757"/>
                  <a:pt x="1871" y="757"/>
                </a:cubicBezTo>
                <a:cubicBezTo>
                  <a:pt x="1869" y="758"/>
                  <a:pt x="1868" y="754"/>
                  <a:pt x="1865" y="755"/>
                </a:cubicBezTo>
                <a:cubicBezTo>
                  <a:pt x="1862" y="756"/>
                  <a:pt x="1858" y="759"/>
                  <a:pt x="1856" y="760"/>
                </a:cubicBezTo>
                <a:cubicBezTo>
                  <a:pt x="1855" y="760"/>
                  <a:pt x="1848" y="760"/>
                  <a:pt x="1848" y="760"/>
                </a:cubicBezTo>
                <a:cubicBezTo>
                  <a:pt x="1848" y="760"/>
                  <a:pt x="1842" y="754"/>
                  <a:pt x="1842" y="752"/>
                </a:cubicBezTo>
                <a:cubicBezTo>
                  <a:pt x="1842" y="750"/>
                  <a:pt x="1840" y="750"/>
                  <a:pt x="1839" y="749"/>
                </a:cubicBezTo>
                <a:cubicBezTo>
                  <a:pt x="1839" y="749"/>
                  <a:pt x="1839" y="749"/>
                  <a:pt x="1839" y="749"/>
                </a:cubicBezTo>
                <a:cubicBezTo>
                  <a:pt x="1838" y="747"/>
                  <a:pt x="1838" y="747"/>
                  <a:pt x="1838" y="747"/>
                </a:cubicBezTo>
                <a:cubicBezTo>
                  <a:pt x="1833" y="748"/>
                  <a:pt x="1833" y="748"/>
                  <a:pt x="1833" y="748"/>
                </a:cubicBezTo>
                <a:cubicBezTo>
                  <a:pt x="1833" y="748"/>
                  <a:pt x="1841" y="741"/>
                  <a:pt x="1839" y="738"/>
                </a:cubicBezTo>
                <a:cubicBezTo>
                  <a:pt x="1839" y="737"/>
                  <a:pt x="1838" y="736"/>
                  <a:pt x="1837" y="735"/>
                </a:cubicBezTo>
                <a:cubicBezTo>
                  <a:pt x="1835" y="732"/>
                  <a:pt x="1833" y="731"/>
                  <a:pt x="1833" y="731"/>
                </a:cubicBezTo>
                <a:cubicBezTo>
                  <a:pt x="1833" y="731"/>
                  <a:pt x="1830" y="731"/>
                  <a:pt x="1829" y="730"/>
                </a:cubicBezTo>
                <a:cubicBezTo>
                  <a:pt x="1829" y="728"/>
                  <a:pt x="1829" y="725"/>
                  <a:pt x="1829" y="725"/>
                </a:cubicBezTo>
                <a:cubicBezTo>
                  <a:pt x="1829" y="725"/>
                  <a:pt x="1821" y="722"/>
                  <a:pt x="1820" y="720"/>
                </a:cubicBezTo>
                <a:cubicBezTo>
                  <a:pt x="1820" y="718"/>
                  <a:pt x="1820" y="713"/>
                  <a:pt x="1818" y="712"/>
                </a:cubicBezTo>
                <a:cubicBezTo>
                  <a:pt x="1817" y="712"/>
                  <a:pt x="1813" y="712"/>
                  <a:pt x="1812" y="712"/>
                </a:cubicBezTo>
                <a:cubicBezTo>
                  <a:pt x="1812" y="711"/>
                  <a:pt x="1809" y="708"/>
                  <a:pt x="1809" y="708"/>
                </a:cubicBezTo>
                <a:cubicBezTo>
                  <a:pt x="1807" y="709"/>
                  <a:pt x="1807" y="709"/>
                  <a:pt x="1807" y="709"/>
                </a:cubicBezTo>
                <a:cubicBezTo>
                  <a:pt x="1805" y="706"/>
                  <a:pt x="1805" y="706"/>
                  <a:pt x="1805" y="706"/>
                </a:cubicBezTo>
                <a:cubicBezTo>
                  <a:pt x="1803" y="706"/>
                  <a:pt x="1803" y="706"/>
                  <a:pt x="1803" y="706"/>
                </a:cubicBezTo>
                <a:cubicBezTo>
                  <a:pt x="1803" y="706"/>
                  <a:pt x="1798" y="701"/>
                  <a:pt x="1798" y="699"/>
                </a:cubicBezTo>
                <a:cubicBezTo>
                  <a:pt x="1797" y="696"/>
                  <a:pt x="1798" y="692"/>
                  <a:pt x="1797" y="687"/>
                </a:cubicBezTo>
                <a:cubicBezTo>
                  <a:pt x="1795" y="683"/>
                  <a:pt x="1791" y="675"/>
                  <a:pt x="1791" y="675"/>
                </a:cubicBezTo>
                <a:cubicBezTo>
                  <a:pt x="1790" y="674"/>
                  <a:pt x="1790" y="674"/>
                  <a:pt x="1790" y="674"/>
                </a:cubicBezTo>
                <a:cubicBezTo>
                  <a:pt x="1785" y="671"/>
                  <a:pt x="1785" y="671"/>
                  <a:pt x="1785" y="671"/>
                </a:cubicBezTo>
                <a:cubicBezTo>
                  <a:pt x="1785" y="671"/>
                  <a:pt x="1784" y="668"/>
                  <a:pt x="1783" y="667"/>
                </a:cubicBezTo>
                <a:cubicBezTo>
                  <a:pt x="1782" y="666"/>
                  <a:pt x="1779" y="668"/>
                  <a:pt x="1778" y="666"/>
                </a:cubicBezTo>
                <a:cubicBezTo>
                  <a:pt x="1777" y="663"/>
                  <a:pt x="1777" y="655"/>
                  <a:pt x="1777" y="655"/>
                </a:cubicBezTo>
                <a:cubicBezTo>
                  <a:pt x="1775" y="654"/>
                  <a:pt x="1775" y="654"/>
                  <a:pt x="1775" y="654"/>
                </a:cubicBezTo>
                <a:cubicBezTo>
                  <a:pt x="1775" y="654"/>
                  <a:pt x="1775" y="645"/>
                  <a:pt x="1775" y="644"/>
                </a:cubicBezTo>
                <a:cubicBezTo>
                  <a:pt x="1775" y="643"/>
                  <a:pt x="1774" y="641"/>
                  <a:pt x="1774" y="641"/>
                </a:cubicBezTo>
                <a:cubicBezTo>
                  <a:pt x="1776" y="640"/>
                  <a:pt x="1776" y="640"/>
                  <a:pt x="1776" y="640"/>
                </a:cubicBezTo>
                <a:cubicBezTo>
                  <a:pt x="1776" y="640"/>
                  <a:pt x="1773" y="637"/>
                  <a:pt x="1772" y="635"/>
                </a:cubicBezTo>
                <a:cubicBezTo>
                  <a:pt x="1772" y="633"/>
                  <a:pt x="1774" y="630"/>
                  <a:pt x="1772" y="629"/>
                </a:cubicBezTo>
                <a:cubicBezTo>
                  <a:pt x="1770" y="628"/>
                  <a:pt x="1768" y="626"/>
                  <a:pt x="1768" y="626"/>
                </a:cubicBezTo>
                <a:cubicBezTo>
                  <a:pt x="1768" y="626"/>
                  <a:pt x="1766" y="623"/>
                  <a:pt x="1765" y="623"/>
                </a:cubicBezTo>
                <a:cubicBezTo>
                  <a:pt x="1764" y="622"/>
                  <a:pt x="1764" y="623"/>
                  <a:pt x="1763" y="622"/>
                </a:cubicBezTo>
                <a:cubicBezTo>
                  <a:pt x="1762" y="622"/>
                  <a:pt x="1761" y="620"/>
                  <a:pt x="1759" y="618"/>
                </a:cubicBezTo>
                <a:cubicBezTo>
                  <a:pt x="1759" y="617"/>
                  <a:pt x="1758" y="615"/>
                  <a:pt x="1758" y="614"/>
                </a:cubicBezTo>
                <a:cubicBezTo>
                  <a:pt x="1758" y="611"/>
                  <a:pt x="1758" y="608"/>
                  <a:pt x="1758" y="608"/>
                </a:cubicBezTo>
                <a:cubicBezTo>
                  <a:pt x="1761" y="608"/>
                  <a:pt x="1761" y="608"/>
                  <a:pt x="1761" y="608"/>
                </a:cubicBezTo>
                <a:cubicBezTo>
                  <a:pt x="1761" y="608"/>
                  <a:pt x="1755" y="604"/>
                  <a:pt x="1752" y="598"/>
                </a:cubicBezTo>
                <a:cubicBezTo>
                  <a:pt x="1749" y="592"/>
                  <a:pt x="1750" y="589"/>
                  <a:pt x="1748" y="587"/>
                </a:cubicBezTo>
                <a:cubicBezTo>
                  <a:pt x="1746" y="585"/>
                  <a:pt x="1745" y="584"/>
                  <a:pt x="1743" y="581"/>
                </a:cubicBezTo>
                <a:cubicBezTo>
                  <a:pt x="1742" y="578"/>
                  <a:pt x="1742" y="574"/>
                  <a:pt x="1742" y="574"/>
                </a:cubicBezTo>
                <a:cubicBezTo>
                  <a:pt x="1736" y="568"/>
                  <a:pt x="1736" y="568"/>
                  <a:pt x="1736" y="568"/>
                </a:cubicBezTo>
                <a:cubicBezTo>
                  <a:pt x="1736" y="568"/>
                  <a:pt x="1737" y="566"/>
                  <a:pt x="1736" y="564"/>
                </a:cubicBezTo>
                <a:cubicBezTo>
                  <a:pt x="1735" y="561"/>
                  <a:pt x="1729" y="557"/>
                  <a:pt x="1729" y="555"/>
                </a:cubicBezTo>
                <a:cubicBezTo>
                  <a:pt x="1728" y="553"/>
                  <a:pt x="1727" y="552"/>
                  <a:pt x="1727" y="552"/>
                </a:cubicBezTo>
                <a:cubicBezTo>
                  <a:pt x="1727" y="552"/>
                  <a:pt x="1728" y="550"/>
                  <a:pt x="1727" y="547"/>
                </a:cubicBezTo>
                <a:cubicBezTo>
                  <a:pt x="1725" y="545"/>
                  <a:pt x="1723" y="545"/>
                  <a:pt x="1723" y="545"/>
                </a:cubicBezTo>
                <a:cubicBezTo>
                  <a:pt x="1725" y="542"/>
                  <a:pt x="1725" y="542"/>
                  <a:pt x="1725" y="542"/>
                </a:cubicBezTo>
                <a:cubicBezTo>
                  <a:pt x="1728" y="544"/>
                  <a:pt x="1728" y="544"/>
                  <a:pt x="1728" y="544"/>
                </a:cubicBezTo>
                <a:cubicBezTo>
                  <a:pt x="1728" y="544"/>
                  <a:pt x="1727" y="547"/>
                  <a:pt x="1729" y="548"/>
                </a:cubicBezTo>
                <a:cubicBezTo>
                  <a:pt x="1731" y="550"/>
                  <a:pt x="1732" y="551"/>
                  <a:pt x="1732" y="551"/>
                </a:cubicBezTo>
                <a:cubicBezTo>
                  <a:pt x="1732" y="555"/>
                  <a:pt x="1732" y="555"/>
                  <a:pt x="1732" y="555"/>
                </a:cubicBezTo>
                <a:cubicBezTo>
                  <a:pt x="1732" y="555"/>
                  <a:pt x="1739" y="566"/>
                  <a:pt x="1741" y="564"/>
                </a:cubicBezTo>
                <a:cubicBezTo>
                  <a:pt x="1744" y="563"/>
                  <a:pt x="1745" y="562"/>
                  <a:pt x="1745" y="562"/>
                </a:cubicBezTo>
                <a:cubicBezTo>
                  <a:pt x="1744" y="559"/>
                  <a:pt x="1744" y="559"/>
                  <a:pt x="1744" y="559"/>
                </a:cubicBezTo>
                <a:cubicBezTo>
                  <a:pt x="1744" y="559"/>
                  <a:pt x="1746" y="554"/>
                  <a:pt x="1746" y="551"/>
                </a:cubicBezTo>
                <a:cubicBezTo>
                  <a:pt x="1746" y="548"/>
                  <a:pt x="1748" y="545"/>
                  <a:pt x="1748" y="545"/>
                </a:cubicBezTo>
                <a:cubicBezTo>
                  <a:pt x="1749" y="547"/>
                  <a:pt x="1749" y="547"/>
                  <a:pt x="1749" y="547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49" y="548"/>
                  <a:pt x="1749" y="549"/>
                  <a:pt x="1749" y="549"/>
                </a:cubicBezTo>
                <a:cubicBezTo>
                  <a:pt x="1749" y="549"/>
                  <a:pt x="1749" y="549"/>
                  <a:pt x="1749" y="549"/>
                </a:cubicBezTo>
                <a:cubicBezTo>
                  <a:pt x="1749" y="551"/>
                  <a:pt x="1746" y="565"/>
                  <a:pt x="1749" y="568"/>
                </a:cubicBezTo>
                <a:cubicBezTo>
                  <a:pt x="1751" y="570"/>
                  <a:pt x="1756" y="570"/>
                  <a:pt x="1757" y="573"/>
                </a:cubicBezTo>
                <a:cubicBezTo>
                  <a:pt x="1759" y="576"/>
                  <a:pt x="1762" y="583"/>
                  <a:pt x="1764" y="585"/>
                </a:cubicBezTo>
                <a:cubicBezTo>
                  <a:pt x="1766" y="587"/>
                  <a:pt x="1770" y="590"/>
                  <a:pt x="1771" y="593"/>
                </a:cubicBezTo>
                <a:cubicBezTo>
                  <a:pt x="1773" y="596"/>
                  <a:pt x="1774" y="604"/>
                  <a:pt x="1776" y="606"/>
                </a:cubicBezTo>
                <a:cubicBezTo>
                  <a:pt x="1779" y="609"/>
                  <a:pt x="1785" y="606"/>
                  <a:pt x="1788" y="610"/>
                </a:cubicBezTo>
                <a:cubicBezTo>
                  <a:pt x="1792" y="614"/>
                  <a:pt x="1795" y="627"/>
                  <a:pt x="1795" y="633"/>
                </a:cubicBezTo>
                <a:cubicBezTo>
                  <a:pt x="1795" y="639"/>
                  <a:pt x="1802" y="646"/>
                  <a:pt x="1802" y="646"/>
                </a:cubicBezTo>
                <a:cubicBezTo>
                  <a:pt x="1802" y="646"/>
                  <a:pt x="1807" y="646"/>
                  <a:pt x="1809" y="648"/>
                </a:cubicBezTo>
                <a:cubicBezTo>
                  <a:pt x="1811" y="649"/>
                  <a:pt x="1818" y="663"/>
                  <a:pt x="1821" y="668"/>
                </a:cubicBezTo>
                <a:cubicBezTo>
                  <a:pt x="1824" y="673"/>
                  <a:pt x="1834" y="685"/>
                  <a:pt x="1834" y="688"/>
                </a:cubicBezTo>
                <a:cubicBezTo>
                  <a:pt x="1834" y="690"/>
                  <a:pt x="1833" y="692"/>
                  <a:pt x="1833" y="694"/>
                </a:cubicBezTo>
                <a:cubicBezTo>
                  <a:pt x="1832" y="695"/>
                  <a:pt x="1832" y="697"/>
                  <a:pt x="1831" y="698"/>
                </a:cubicBezTo>
                <a:cubicBezTo>
                  <a:pt x="1831" y="700"/>
                  <a:pt x="1836" y="704"/>
                  <a:pt x="1836" y="704"/>
                </a:cubicBezTo>
                <a:cubicBezTo>
                  <a:pt x="1834" y="721"/>
                  <a:pt x="1834" y="721"/>
                  <a:pt x="1834" y="721"/>
                </a:cubicBezTo>
                <a:cubicBezTo>
                  <a:pt x="1839" y="725"/>
                  <a:pt x="1839" y="725"/>
                  <a:pt x="1839" y="725"/>
                </a:cubicBezTo>
                <a:cubicBezTo>
                  <a:pt x="1839" y="725"/>
                  <a:pt x="1840" y="731"/>
                  <a:pt x="1844" y="732"/>
                </a:cubicBezTo>
                <a:cubicBezTo>
                  <a:pt x="1848" y="733"/>
                  <a:pt x="1851" y="733"/>
                  <a:pt x="1853" y="731"/>
                </a:cubicBezTo>
                <a:cubicBezTo>
                  <a:pt x="1856" y="730"/>
                  <a:pt x="1857" y="724"/>
                  <a:pt x="1859" y="724"/>
                </a:cubicBezTo>
                <a:cubicBezTo>
                  <a:pt x="1861" y="724"/>
                  <a:pt x="1865" y="725"/>
                  <a:pt x="1869" y="725"/>
                </a:cubicBezTo>
                <a:cubicBezTo>
                  <a:pt x="1874" y="724"/>
                  <a:pt x="1879" y="723"/>
                  <a:pt x="1882" y="723"/>
                </a:cubicBezTo>
                <a:cubicBezTo>
                  <a:pt x="1885" y="723"/>
                  <a:pt x="1889" y="716"/>
                  <a:pt x="1892" y="715"/>
                </a:cubicBezTo>
                <a:cubicBezTo>
                  <a:pt x="1895" y="714"/>
                  <a:pt x="1897" y="710"/>
                  <a:pt x="1901" y="709"/>
                </a:cubicBezTo>
                <a:cubicBezTo>
                  <a:pt x="1905" y="707"/>
                  <a:pt x="1914" y="702"/>
                  <a:pt x="1914" y="702"/>
                </a:cubicBezTo>
                <a:cubicBezTo>
                  <a:pt x="1924" y="702"/>
                  <a:pt x="1924" y="702"/>
                  <a:pt x="1924" y="702"/>
                </a:cubicBezTo>
                <a:cubicBezTo>
                  <a:pt x="1924" y="702"/>
                  <a:pt x="1929" y="692"/>
                  <a:pt x="1931" y="690"/>
                </a:cubicBezTo>
                <a:cubicBezTo>
                  <a:pt x="1931" y="690"/>
                  <a:pt x="1932" y="690"/>
                  <a:pt x="1933" y="689"/>
                </a:cubicBezTo>
                <a:cubicBezTo>
                  <a:pt x="1939" y="687"/>
                  <a:pt x="1955" y="683"/>
                  <a:pt x="1956" y="682"/>
                </a:cubicBezTo>
                <a:cubicBezTo>
                  <a:pt x="1957" y="681"/>
                  <a:pt x="1957" y="674"/>
                  <a:pt x="1957" y="674"/>
                </a:cubicBezTo>
                <a:cubicBezTo>
                  <a:pt x="1957" y="674"/>
                  <a:pt x="1966" y="673"/>
                  <a:pt x="1968" y="671"/>
                </a:cubicBezTo>
                <a:cubicBezTo>
                  <a:pt x="1969" y="669"/>
                  <a:pt x="1969" y="665"/>
                  <a:pt x="1969" y="665"/>
                </a:cubicBezTo>
                <a:cubicBezTo>
                  <a:pt x="1969" y="665"/>
                  <a:pt x="1976" y="663"/>
                  <a:pt x="1978" y="660"/>
                </a:cubicBezTo>
                <a:cubicBezTo>
                  <a:pt x="1980" y="656"/>
                  <a:pt x="1979" y="648"/>
                  <a:pt x="1981" y="648"/>
                </a:cubicBezTo>
                <a:cubicBezTo>
                  <a:pt x="1983" y="648"/>
                  <a:pt x="1985" y="650"/>
                  <a:pt x="1987" y="648"/>
                </a:cubicBezTo>
                <a:cubicBezTo>
                  <a:pt x="1989" y="646"/>
                  <a:pt x="1988" y="642"/>
                  <a:pt x="1988" y="642"/>
                </a:cubicBezTo>
                <a:cubicBezTo>
                  <a:pt x="1996" y="635"/>
                  <a:pt x="1996" y="635"/>
                  <a:pt x="1996" y="635"/>
                </a:cubicBezTo>
                <a:cubicBezTo>
                  <a:pt x="1996" y="635"/>
                  <a:pt x="1998" y="626"/>
                  <a:pt x="1997" y="624"/>
                </a:cubicBezTo>
                <a:cubicBezTo>
                  <a:pt x="1996" y="622"/>
                  <a:pt x="1993" y="623"/>
                  <a:pt x="1993" y="623"/>
                </a:cubicBezTo>
                <a:cubicBezTo>
                  <a:pt x="1993" y="623"/>
                  <a:pt x="1988" y="614"/>
                  <a:pt x="1985" y="612"/>
                </a:cubicBezTo>
                <a:cubicBezTo>
                  <a:pt x="1982" y="609"/>
                  <a:pt x="1971" y="607"/>
                  <a:pt x="1971" y="607"/>
                </a:cubicBezTo>
                <a:cubicBezTo>
                  <a:pt x="1971" y="607"/>
                  <a:pt x="1962" y="604"/>
                  <a:pt x="1962" y="601"/>
                </a:cubicBezTo>
                <a:cubicBezTo>
                  <a:pt x="1961" y="600"/>
                  <a:pt x="1961" y="599"/>
                  <a:pt x="1960" y="597"/>
                </a:cubicBezTo>
                <a:cubicBezTo>
                  <a:pt x="1959" y="595"/>
                  <a:pt x="1958" y="592"/>
                  <a:pt x="1958" y="589"/>
                </a:cubicBezTo>
                <a:cubicBezTo>
                  <a:pt x="1959" y="586"/>
                  <a:pt x="1960" y="580"/>
                  <a:pt x="1958" y="579"/>
                </a:cubicBezTo>
                <a:cubicBezTo>
                  <a:pt x="1957" y="578"/>
                  <a:pt x="1952" y="589"/>
                  <a:pt x="1952" y="589"/>
                </a:cubicBezTo>
                <a:cubicBezTo>
                  <a:pt x="1952" y="589"/>
                  <a:pt x="1949" y="590"/>
                  <a:pt x="1948" y="591"/>
                </a:cubicBezTo>
                <a:cubicBezTo>
                  <a:pt x="1947" y="593"/>
                  <a:pt x="1941" y="600"/>
                  <a:pt x="1941" y="600"/>
                </a:cubicBezTo>
                <a:cubicBezTo>
                  <a:pt x="1941" y="600"/>
                  <a:pt x="1941" y="606"/>
                  <a:pt x="1939" y="606"/>
                </a:cubicBezTo>
                <a:cubicBezTo>
                  <a:pt x="1937" y="606"/>
                  <a:pt x="1928" y="605"/>
                  <a:pt x="1926" y="605"/>
                </a:cubicBezTo>
                <a:cubicBezTo>
                  <a:pt x="1925" y="605"/>
                  <a:pt x="1918" y="609"/>
                  <a:pt x="1917" y="608"/>
                </a:cubicBezTo>
                <a:cubicBezTo>
                  <a:pt x="1916" y="607"/>
                  <a:pt x="1914" y="606"/>
                  <a:pt x="1913" y="605"/>
                </a:cubicBezTo>
                <a:cubicBezTo>
                  <a:pt x="1913" y="605"/>
                  <a:pt x="1913" y="605"/>
                  <a:pt x="1913" y="605"/>
                </a:cubicBezTo>
                <a:cubicBezTo>
                  <a:pt x="1913" y="604"/>
                  <a:pt x="1912" y="603"/>
                  <a:pt x="1912" y="602"/>
                </a:cubicBezTo>
                <a:cubicBezTo>
                  <a:pt x="1912" y="602"/>
                  <a:pt x="1912" y="602"/>
                  <a:pt x="1912" y="602"/>
                </a:cubicBezTo>
                <a:cubicBezTo>
                  <a:pt x="1913" y="600"/>
                  <a:pt x="1916" y="594"/>
                  <a:pt x="1916" y="589"/>
                </a:cubicBezTo>
                <a:cubicBezTo>
                  <a:pt x="1915" y="585"/>
                  <a:pt x="1912" y="582"/>
                  <a:pt x="1911" y="582"/>
                </a:cubicBezTo>
                <a:cubicBezTo>
                  <a:pt x="1908" y="583"/>
                  <a:pt x="1908" y="588"/>
                  <a:pt x="1908" y="592"/>
                </a:cubicBezTo>
                <a:cubicBezTo>
                  <a:pt x="1908" y="595"/>
                  <a:pt x="1908" y="599"/>
                  <a:pt x="1906" y="599"/>
                </a:cubicBezTo>
                <a:cubicBezTo>
                  <a:pt x="1906" y="599"/>
                  <a:pt x="1906" y="599"/>
                  <a:pt x="1906" y="599"/>
                </a:cubicBezTo>
                <a:cubicBezTo>
                  <a:pt x="1904" y="599"/>
                  <a:pt x="1903" y="591"/>
                  <a:pt x="1902" y="590"/>
                </a:cubicBezTo>
                <a:cubicBezTo>
                  <a:pt x="1901" y="588"/>
                  <a:pt x="1897" y="588"/>
                  <a:pt x="1897" y="585"/>
                </a:cubicBezTo>
                <a:cubicBezTo>
                  <a:pt x="1896" y="582"/>
                  <a:pt x="1897" y="577"/>
                  <a:pt x="1894" y="575"/>
                </a:cubicBezTo>
                <a:cubicBezTo>
                  <a:pt x="1891" y="573"/>
                  <a:pt x="1887" y="573"/>
                  <a:pt x="1886" y="571"/>
                </a:cubicBezTo>
                <a:cubicBezTo>
                  <a:pt x="1885" y="568"/>
                  <a:pt x="1886" y="565"/>
                  <a:pt x="1885" y="565"/>
                </a:cubicBezTo>
                <a:cubicBezTo>
                  <a:pt x="1884" y="564"/>
                  <a:pt x="1881" y="561"/>
                  <a:pt x="1881" y="561"/>
                </a:cubicBezTo>
                <a:cubicBezTo>
                  <a:pt x="1881" y="558"/>
                  <a:pt x="1881" y="558"/>
                  <a:pt x="1881" y="558"/>
                </a:cubicBezTo>
                <a:cubicBezTo>
                  <a:pt x="1881" y="558"/>
                  <a:pt x="1880" y="557"/>
                  <a:pt x="1879" y="556"/>
                </a:cubicBezTo>
                <a:cubicBezTo>
                  <a:pt x="1877" y="555"/>
                  <a:pt x="1874" y="552"/>
                  <a:pt x="1874" y="549"/>
                </a:cubicBezTo>
                <a:cubicBezTo>
                  <a:pt x="1874" y="549"/>
                  <a:pt x="1874" y="549"/>
                  <a:pt x="1874" y="549"/>
                </a:cubicBezTo>
                <a:cubicBezTo>
                  <a:pt x="1872" y="548"/>
                  <a:pt x="1872" y="548"/>
                  <a:pt x="1872" y="548"/>
                </a:cubicBezTo>
                <a:cubicBezTo>
                  <a:pt x="1872" y="545"/>
                  <a:pt x="1872" y="545"/>
                  <a:pt x="1872" y="545"/>
                </a:cubicBezTo>
                <a:cubicBezTo>
                  <a:pt x="1872" y="545"/>
                  <a:pt x="1875" y="545"/>
                  <a:pt x="1876" y="545"/>
                </a:cubicBezTo>
                <a:cubicBezTo>
                  <a:pt x="1877" y="545"/>
                  <a:pt x="1877" y="543"/>
                  <a:pt x="1877" y="543"/>
                </a:cubicBezTo>
                <a:cubicBezTo>
                  <a:pt x="1877" y="543"/>
                  <a:pt x="1877" y="541"/>
                  <a:pt x="1875" y="541"/>
                </a:cubicBezTo>
                <a:cubicBezTo>
                  <a:pt x="1873" y="541"/>
                  <a:pt x="1873" y="542"/>
                  <a:pt x="1873" y="542"/>
                </a:cubicBezTo>
                <a:cubicBezTo>
                  <a:pt x="1872" y="540"/>
                  <a:pt x="1872" y="540"/>
                  <a:pt x="1872" y="540"/>
                </a:cubicBezTo>
                <a:cubicBezTo>
                  <a:pt x="1873" y="541"/>
                  <a:pt x="1873" y="541"/>
                  <a:pt x="1873" y="541"/>
                </a:cubicBezTo>
                <a:cubicBezTo>
                  <a:pt x="1876" y="539"/>
                  <a:pt x="1876" y="539"/>
                  <a:pt x="1876" y="539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9" y="540"/>
                  <a:pt x="1881" y="541"/>
                  <a:pt x="1882" y="540"/>
                </a:cubicBezTo>
                <a:cubicBezTo>
                  <a:pt x="1883" y="539"/>
                  <a:pt x="1879" y="537"/>
                  <a:pt x="1882" y="535"/>
                </a:cubicBezTo>
                <a:cubicBezTo>
                  <a:pt x="1885" y="534"/>
                  <a:pt x="1885" y="538"/>
                  <a:pt x="1885" y="538"/>
                </a:cubicBezTo>
                <a:cubicBezTo>
                  <a:pt x="1887" y="539"/>
                  <a:pt x="1887" y="539"/>
                  <a:pt x="1887" y="539"/>
                </a:cubicBezTo>
                <a:cubicBezTo>
                  <a:pt x="1887" y="539"/>
                  <a:pt x="1887" y="539"/>
                  <a:pt x="1888" y="539"/>
                </a:cubicBezTo>
                <a:cubicBezTo>
                  <a:pt x="1888" y="539"/>
                  <a:pt x="1889" y="539"/>
                  <a:pt x="1889" y="539"/>
                </a:cubicBezTo>
                <a:cubicBezTo>
                  <a:pt x="1889" y="539"/>
                  <a:pt x="1889" y="539"/>
                  <a:pt x="1889" y="538"/>
                </a:cubicBezTo>
                <a:cubicBezTo>
                  <a:pt x="1890" y="538"/>
                  <a:pt x="1892" y="537"/>
                  <a:pt x="1893" y="537"/>
                </a:cubicBezTo>
                <a:cubicBezTo>
                  <a:pt x="1893" y="538"/>
                  <a:pt x="1892" y="542"/>
                  <a:pt x="1894" y="543"/>
                </a:cubicBezTo>
                <a:cubicBezTo>
                  <a:pt x="1895" y="544"/>
                  <a:pt x="1898" y="546"/>
                  <a:pt x="1898" y="546"/>
                </a:cubicBezTo>
                <a:cubicBezTo>
                  <a:pt x="1898" y="546"/>
                  <a:pt x="1898" y="547"/>
                  <a:pt x="1898" y="548"/>
                </a:cubicBezTo>
                <a:cubicBezTo>
                  <a:pt x="1899" y="549"/>
                  <a:pt x="1900" y="550"/>
                  <a:pt x="1901" y="552"/>
                </a:cubicBezTo>
                <a:cubicBezTo>
                  <a:pt x="1901" y="552"/>
                  <a:pt x="1901" y="552"/>
                  <a:pt x="1901" y="552"/>
                </a:cubicBezTo>
                <a:cubicBezTo>
                  <a:pt x="1901" y="552"/>
                  <a:pt x="1902" y="553"/>
                  <a:pt x="1902" y="553"/>
                </a:cubicBezTo>
                <a:cubicBezTo>
                  <a:pt x="1904" y="555"/>
                  <a:pt x="1904" y="555"/>
                  <a:pt x="1904" y="555"/>
                </a:cubicBezTo>
                <a:cubicBezTo>
                  <a:pt x="1904" y="555"/>
                  <a:pt x="1904" y="560"/>
                  <a:pt x="1906" y="561"/>
                </a:cubicBezTo>
                <a:cubicBezTo>
                  <a:pt x="1908" y="561"/>
                  <a:pt x="1908" y="564"/>
                  <a:pt x="1908" y="564"/>
                </a:cubicBezTo>
                <a:cubicBezTo>
                  <a:pt x="1913" y="564"/>
                  <a:pt x="1913" y="564"/>
                  <a:pt x="1913" y="564"/>
                </a:cubicBezTo>
                <a:cubicBezTo>
                  <a:pt x="1916" y="567"/>
                  <a:pt x="1916" y="567"/>
                  <a:pt x="1916" y="567"/>
                </a:cubicBezTo>
                <a:cubicBezTo>
                  <a:pt x="1917" y="567"/>
                  <a:pt x="1919" y="566"/>
                  <a:pt x="1920" y="567"/>
                </a:cubicBezTo>
                <a:cubicBezTo>
                  <a:pt x="1922" y="568"/>
                  <a:pt x="1928" y="573"/>
                  <a:pt x="1933" y="577"/>
                </a:cubicBezTo>
                <a:cubicBezTo>
                  <a:pt x="1933" y="577"/>
                  <a:pt x="1933" y="577"/>
                  <a:pt x="1934" y="577"/>
                </a:cubicBezTo>
                <a:cubicBezTo>
                  <a:pt x="1935" y="577"/>
                  <a:pt x="1937" y="577"/>
                  <a:pt x="1937" y="577"/>
                </a:cubicBezTo>
                <a:cubicBezTo>
                  <a:pt x="1937" y="577"/>
                  <a:pt x="1938" y="580"/>
                  <a:pt x="1941" y="579"/>
                </a:cubicBezTo>
                <a:cubicBezTo>
                  <a:pt x="1944" y="578"/>
                  <a:pt x="1945" y="577"/>
                  <a:pt x="1945" y="577"/>
                </a:cubicBezTo>
                <a:cubicBezTo>
                  <a:pt x="1948" y="577"/>
                  <a:pt x="1948" y="577"/>
                  <a:pt x="1948" y="577"/>
                </a:cubicBezTo>
                <a:cubicBezTo>
                  <a:pt x="1950" y="574"/>
                  <a:pt x="1950" y="574"/>
                  <a:pt x="1950" y="574"/>
                </a:cubicBezTo>
                <a:cubicBezTo>
                  <a:pt x="1953" y="574"/>
                  <a:pt x="1953" y="574"/>
                  <a:pt x="1953" y="574"/>
                </a:cubicBezTo>
                <a:cubicBezTo>
                  <a:pt x="1956" y="571"/>
                  <a:pt x="1956" y="571"/>
                  <a:pt x="1956" y="571"/>
                </a:cubicBezTo>
                <a:cubicBezTo>
                  <a:pt x="1957" y="572"/>
                  <a:pt x="1957" y="572"/>
                  <a:pt x="1957" y="572"/>
                </a:cubicBezTo>
                <a:cubicBezTo>
                  <a:pt x="1959" y="572"/>
                  <a:pt x="1960" y="572"/>
                  <a:pt x="1961" y="573"/>
                </a:cubicBezTo>
                <a:cubicBezTo>
                  <a:pt x="1963" y="575"/>
                  <a:pt x="1966" y="580"/>
                  <a:pt x="1967" y="583"/>
                </a:cubicBezTo>
                <a:cubicBezTo>
                  <a:pt x="1967" y="587"/>
                  <a:pt x="1973" y="587"/>
                  <a:pt x="1973" y="587"/>
                </a:cubicBezTo>
                <a:cubicBezTo>
                  <a:pt x="1973" y="587"/>
                  <a:pt x="1973" y="588"/>
                  <a:pt x="1976" y="589"/>
                </a:cubicBezTo>
                <a:cubicBezTo>
                  <a:pt x="1978" y="590"/>
                  <a:pt x="1985" y="589"/>
                  <a:pt x="1985" y="589"/>
                </a:cubicBezTo>
                <a:cubicBezTo>
                  <a:pt x="1985" y="589"/>
                  <a:pt x="1990" y="593"/>
                  <a:pt x="1991" y="593"/>
                </a:cubicBezTo>
                <a:cubicBezTo>
                  <a:pt x="1992" y="593"/>
                  <a:pt x="1996" y="591"/>
                  <a:pt x="1996" y="591"/>
                </a:cubicBezTo>
                <a:cubicBezTo>
                  <a:pt x="1996" y="591"/>
                  <a:pt x="2002" y="595"/>
                  <a:pt x="2005" y="595"/>
                </a:cubicBezTo>
                <a:cubicBezTo>
                  <a:pt x="2007" y="595"/>
                  <a:pt x="2008" y="595"/>
                  <a:pt x="2009" y="594"/>
                </a:cubicBezTo>
                <a:cubicBezTo>
                  <a:pt x="2009" y="594"/>
                  <a:pt x="2009" y="594"/>
                  <a:pt x="2009" y="594"/>
                </a:cubicBezTo>
                <a:cubicBezTo>
                  <a:pt x="2011" y="593"/>
                  <a:pt x="2013" y="592"/>
                  <a:pt x="2013" y="592"/>
                </a:cubicBezTo>
                <a:cubicBezTo>
                  <a:pt x="2013" y="592"/>
                  <a:pt x="2017" y="594"/>
                  <a:pt x="2020" y="594"/>
                </a:cubicBezTo>
                <a:cubicBezTo>
                  <a:pt x="2022" y="594"/>
                  <a:pt x="2028" y="591"/>
                  <a:pt x="2028" y="591"/>
                </a:cubicBezTo>
                <a:cubicBezTo>
                  <a:pt x="2028" y="591"/>
                  <a:pt x="2031" y="592"/>
                  <a:pt x="2033" y="592"/>
                </a:cubicBezTo>
                <a:cubicBezTo>
                  <a:pt x="2035" y="591"/>
                  <a:pt x="2040" y="590"/>
                  <a:pt x="2040" y="590"/>
                </a:cubicBezTo>
                <a:cubicBezTo>
                  <a:pt x="2045" y="591"/>
                  <a:pt x="2045" y="591"/>
                  <a:pt x="2045" y="591"/>
                </a:cubicBezTo>
                <a:cubicBezTo>
                  <a:pt x="2045" y="591"/>
                  <a:pt x="2049" y="587"/>
                  <a:pt x="2052" y="589"/>
                </a:cubicBezTo>
                <a:cubicBezTo>
                  <a:pt x="2056" y="591"/>
                  <a:pt x="2056" y="599"/>
                  <a:pt x="2059" y="599"/>
                </a:cubicBezTo>
                <a:cubicBezTo>
                  <a:pt x="2062" y="600"/>
                  <a:pt x="2067" y="600"/>
                  <a:pt x="2069" y="602"/>
                </a:cubicBezTo>
                <a:cubicBezTo>
                  <a:pt x="2071" y="604"/>
                  <a:pt x="2072" y="608"/>
                  <a:pt x="2074" y="608"/>
                </a:cubicBezTo>
                <a:cubicBezTo>
                  <a:pt x="2075" y="608"/>
                  <a:pt x="2075" y="608"/>
                  <a:pt x="2076" y="608"/>
                </a:cubicBezTo>
                <a:cubicBezTo>
                  <a:pt x="2079" y="609"/>
                  <a:pt x="2081" y="609"/>
                  <a:pt x="2081" y="609"/>
                </a:cubicBezTo>
                <a:cubicBezTo>
                  <a:pt x="2081" y="609"/>
                  <a:pt x="2079" y="614"/>
                  <a:pt x="2082" y="615"/>
                </a:cubicBezTo>
                <a:cubicBezTo>
                  <a:pt x="2084" y="618"/>
                  <a:pt x="2091" y="618"/>
                  <a:pt x="2093" y="618"/>
                </a:cubicBezTo>
                <a:cubicBezTo>
                  <a:pt x="2094" y="617"/>
                  <a:pt x="2099" y="614"/>
                  <a:pt x="2099" y="614"/>
                </a:cubicBezTo>
                <a:cubicBezTo>
                  <a:pt x="2099" y="614"/>
                  <a:pt x="2101" y="616"/>
                  <a:pt x="2098" y="619"/>
                </a:cubicBezTo>
                <a:cubicBezTo>
                  <a:pt x="2096" y="621"/>
                  <a:pt x="2091" y="622"/>
                  <a:pt x="2091" y="622"/>
                </a:cubicBezTo>
                <a:cubicBezTo>
                  <a:pt x="2091" y="622"/>
                  <a:pt x="2083" y="623"/>
                  <a:pt x="2083" y="626"/>
                </a:cubicBezTo>
                <a:cubicBezTo>
                  <a:pt x="2082" y="628"/>
                  <a:pt x="2088" y="633"/>
                  <a:pt x="2091" y="635"/>
                </a:cubicBezTo>
                <a:cubicBezTo>
                  <a:pt x="2094" y="637"/>
                  <a:pt x="2098" y="643"/>
                  <a:pt x="2105" y="643"/>
                </a:cubicBezTo>
                <a:cubicBezTo>
                  <a:pt x="2111" y="644"/>
                  <a:pt x="2119" y="638"/>
                  <a:pt x="2118" y="634"/>
                </a:cubicBezTo>
                <a:cubicBezTo>
                  <a:pt x="2117" y="630"/>
                  <a:pt x="2120" y="627"/>
                  <a:pt x="2122" y="625"/>
                </a:cubicBezTo>
                <a:cubicBezTo>
                  <a:pt x="2124" y="623"/>
                  <a:pt x="2128" y="622"/>
                  <a:pt x="2126" y="626"/>
                </a:cubicBezTo>
                <a:cubicBezTo>
                  <a:pt x="2124" y="629"/>
                  <a:pt x="2119" y="632"/>
                  <a:pt x="2121" y="635"/>
                </a:cubicBezTo>
                <a:cubicBezTo>
                  <a:pt x="2122" y="638"/>
                  <a:pt x="2126" y="638"/>
                  <a:pt x="2126" y="641"/>
                </a:cubicBezTo>
                <a:cubicBezTo>
                  <a:pt x="2126" y="644"/>
                  <a:pt x="2125" y="647"/>
                  <a:pt x="2124" y="652"/>
                </a:cubicBezTo>
                <a:cubicBezTo>
                  <a:pt x="2122" y="657"/>
                  <a:pt x="2122" y="662"/>
                  <a:pt x="2124" y="668"/>
                </a:cubicBezTo>
                <a:cubicBezTo>
                  <a:pt x="2125" y="674"/>
                  <a:pt x="2128" y="684"/>
                  <a:pt x="2130" y="687"/>
                </a:cubicBezTo>
                <a:cubicBezTo>
                  <a:pt x="2133" y="691"/>
                  <a:pt x="2133" y="689"/>
                  <a:pt x="2132" y="694"/>
                </a:cubicBezTo>
                <a:cubicBezTo>
                  <a:pt x="2131" y="699"/>
                  <a:pt x="2139" y="700"/>
                  <a:pt x="2139" y="700"/>
                </a:cubicBezTo>
                <a:cubicBezTo>
                  <a:pt x="2139" y="700"/>
                  <a:pt x="2140" y="707"/>
                  <a:pt x="2142" y="709"/>
                </a:cubicBezTo>
                <a:cubicBezTo>
                  <a:pt x="2143" y="712"/>
                  <a:pt x="2147" y="714"/>
                  <a:pt x="2147" y="714"/>
                </a:cubicBezTo>
                <a:cubicBezTo>
                  <a:pt x="2147" y="714"/>
                  <a:pt x="2148" y="728"/>
                  <a:pt x="2150" y="734"/>
                </a:cubicBezTo>
                <a:cubicBezTo>
                  <a:pt x="2153" y="740"/>
                  <a:pt x="2160" y="749"/>
                  <a:pt x="2161" y="751"/>
                </a:cubicBezTo>
                <a:cubicBezTo>
                  <a:pt x="2162" y="754"/>
                  <a:pt x="2163" y="759"/>
                  <a:pt x="2163" y="762"/>
                </a:cubicBezTo>
                <a:cubicBezTo>
                  <a:pt x="2162" y="764"/>
                  <a:pt x="2176" y="786"/>
                  <a:pt x="2176" y="786"/>
                </a:cubicBezTo>
                <a:cubicBezTo>
                  <a:pt x="2176" y="786"/>
                  <a:pt x="2183" y="784"/>
                  <a:pt x="2185" y="782"/>
                </a:cubicBezTo>
                <a:cubicBezTo>
                  <a:pt x="2186" y="780"/>
                  <a:pt x="2184" y="776"/>
                  <a:pt x="2186" y="774"/>
                </a:cubicBezTo>
                <a:cubicBezTo>
                  <a:pt x="2188" y="773"/>
                  <a:pt x="2189" y="775"/>
                  <a:pt x="2191" y="774"/>
                </a:cubicBezTo>
                <a:cubicBezTo>
                  <a:pt x="2194" y="773"/>
                  <a:pt x="2197" y="771"/>
                  <a:pt x="2197" y="771"/>
                </a:cubicBezTo>
                <a:cubicBezTo>
                  <a:pt x="2197" y="771"/>
                  <a:pt x="2194" y="771"/>
                  <a:pt x="2195" y="768"/>
                </a:cubicBezTo>
                <a:cubicBezTo>
                  <a:pt x="2195" y="764"/>
                  <a:pt x="2197" y="764"/>
                  <a:pt x="2199" y="762"/>
                </a:cubicBezTo>
                <a:cubicBezTo>
                  <a:pt x="2202" y="761"/>
                  <a:pt x="2204" y="761"/>
                  <a:pt x="2204" y="759"/>
                </a:cubicBezTo>
                <a:cubicBezTo>
                  <a:pt x="2205" y="757"/>
                  <a:pt x="2202" y="750"/>
                  <a:pt x="2202" y="746"/>
                </a:cubicBezTo>
                <a:cubicBezTo>
                  <a:pt x="2202" y="743"/>
                  <a:pt x="2202" y="736"/>
                  <a:pt x="2203" y="736"/>
                </a:cubicBezTo>
                <a:cubicBezTo>
                  <a:pt x="2204" y="735"/>
                  <a:pt x="2204" y="733"/>
                  <a:pt x="2204" y="727"/>
                </a:cubicBezTo>
                <a:cubicBezTo>
                  <a:pt x="2204" y="720"/>
                  <a:pt x="2200" y="720"/>
                  <a:pt x="2200" y="717"/>
                </a:cubicBezTo>
                <a:cubicBezTo>
                  <a:pt x="2199" y="715"/>
                  <a:pt x="2201" y="713"/>
                  <a:pt x="2202" y="711"/>
                </a:cubicBezTo>
                <a:cubicBezTo>
                  <a:pt x="2202" y="708"/>
                  <a:pt x="2201" y="707"/>
                  <a:pt x="2201" y="704"/>
                </a:cubicBezTo>
                <a:cubicBezTo>
                  <a:pt x="2201" y="700"/>
                  <a:pt x="2208" y="700"/>
                  <a:pt x="2208" y="698"/>
                </a:cubicBezTo>
                <a:cubicBezTo>
                  <a:pt x="2208" y="697"/>
                  <a:pt x="2208" y="694"/>
                  <a:pt x="2210" y="692"/>
                </a:cubicBezTo>
                <a:cubicBezTo>
                  <a:pt x="2211" y="691"/>
                  <a:pt x="2214" y="692"/>
                  <a:pt x="2214" y="692"/>
                </a:cubicBezTo>
                <a:cubicBezTo>
                  <a:pt x="2215" y="690"/>
                  <a:pt x="2215" y="690"/>
                  <a:pt x="2215" y="690"/>
                </a:cubicBezTo>
                <a:cubicBezTo>
                  <a:pt x="2215" y="690"/>
                  <a:pt x="2220" y="693"/>
                  <a:pt x="2220" y="690"/>
                </a:cubicBezTo>
                <a:cubicBezTo>
                  <a:pt x="2221" y="688"/>
                  <a:pt x="2225" y="681"/>
                  <a:pt x="2226" y="679"/>
                </a:cubicBezTo>
                <a:cubicBezTo>
                  <a:pt x="2227" y="677"/>
                  <a:pt x="2232" y="677"/>
                  <a:pt x="2233" y="674"/>
                </a:cubicBezTo>
                <a:cubicBezTo>
                  <a:pt x="2235" y="671"/>
                  <a:pt x="2237" y="666"/>
                  <a:pt x="2239" y="664"/>
                </a:cubicBezTo>
                <a:cubicBezTo>
                  <a:pt x="2241" y="662"/>
                  <a:pt x="2249" y="657"/>
                  <a:pt x="2249" y="657"/>
                </a:cubicBezTo>
                <a:cubicBezTo>
                  <a:pt x="2248" y="653"/>
                  <a:pt x="2248" y="653"/>
                  <a:pt x="2248" y="653"/>
                </a:cubicBezTo>
                <a:cubicBezTo>
                  <a:pt x="2249" y="652"/>
                  <a:pt x="2249" y="652"/>
                  <a:pt x="2249" y="652"/>
                </a:cubicBezTo>
                <a:cubicBezTo>
                  <a:pt x="2252" y="656"/>
                  <a:pt x="2252" y="656"/>
                  <a:pt x="2252" y="656"/>
                </a:cubicBezTo>
                <a:cubicBezTo>
                  <a:pt x="2260" y="648"/>
                  <a:pt x="2260" y="648"/>
                  <a:pt x="2260" y="648"/>
                </a:cubicBezTo>
                <a:cubicBezTo>
                  <a:pt x="2262" y="644"/>
                  <a:pt x="2262" y="644"/>
                  <a:pt x="2262" y="644"/>
                </a:cubicBezTo>
                <a:cubicBezTo>
                  <a:pt x="2262" y="644"/>
                  <a:pt x="2259" y="641"/>
                  <a:pt x="2259" y="638"/>
                </a:cubicBezTo>
                <a:cubicBezTo>
                  <a:pt x="2259" y="636"/>
                  <a:pt x="2264" y="637"/>
                  <a:pt x="2266" y="634"/>
                </a:cubicBezTo>
                <a:cubicBezTo>
                  <a:pt x="2269" y="630"/>
                  <a:pt x="2268" y="628"/>
                  <a:pt x="2268" y="628"/>
                </a:cubicBezTo>
                <a:cubicBezTo>
                  <a:pt x="2270" y="629"/>
                  <a:pt x="2270" y="629"/>
                  <a:pt x="2270" y="629"/>
                </a:cubicBezTo>
                <a:cubicBezTo>
                  <a:pt x="2272" y="632"/>
                  <a:pt x="2272" y="632"/>
                  <a:pt x="2272" y="632"/>
                </a:cubicBezTo>
                <a:cubicBezTo>
                  <a:pt x="2273" y="628"/>
                  <a:pt x="2273" y="628"/>
                  <a:pt x="2273" y="628"/>
                </a:cubicBezTo>
                <a:cubicBezTo>
                  <a:pt x="2273" y="628"/>
                  <a:pt x="2275" y="636"/>
                  <a:pt x="2276" y="637"/>
                </a:cubicBezTo>
                <a:cubicBezTo>
                  <a:pt x="2278" y="637"/>
                  <a:pt x="2279" y="632"/>
                  <a:pt x="2279" y="632"/>
                </a:cubicBezTo>
                <a:cubicBezTo>
                  <a:pt x="2282" y="636"/>
                  <a:pt x="2282" y="636"/>
                  <a:pt x="2282" y="636"/>
                </a:cubicBezTo>
                <a:cubicBezTo>
                  <a:pt x="2283" y="628"/>
                  <a:pt x="2283" y="628"/>
                  <a:pt x="2283" y="628"/>
                </a:cubicBezTo>
                <a:cubicBezTo>
                  <a:pt x="2283" y="628"/>
                  <a:pt x="2292" y="632"/>
                  <a:pt x="2293" y="631"/>
                </a:cubicBezTo>
                <a:cubicBezTo>
                  <a:pt x="2295" y="631"/>
                  <a:pt x="2292" y="627"/>
                  <a:pt x="2293" y="626"/>
                </a:cubicBezTo>
                <a:cubicBezTo>
                  <a:pt x="2295" y="626"/>
                  <a:pt x="2299" y="630"/>
                  <a:pt x="2302" y="629"/>
                </a:cubicBezTo>
                <a:cubicBezTo>
                  <a:pt x="2304" y="628"/>
                  <a:pt x="2303" y="626"/>
                  <a:pt x="2303" y="626"/>
                </a:cubicBezTo>
                <a:cubicBezTo>
                  <a:pt x="2302" y="621"/>
                  <a:pt x="2302" y="621"/>
                  <a:pt x="2302" y="621"/>
                </a:cubicBezTo>
                <a:cubicBezTo>
                  <a:pt x="2308" y="628"/>
                  <a:pt x="2308" y="628"/>
                  <a:pt x="2308" y="628"/>
                </a:cubicBezTo>
                <a:cubicBezTo>
                  <a:pt x="2308" y="628"/>
                  <a:pt x="2306" y="636"/>
                  <a:pt x="2307" y="637"/>
                </a:cubicBezTo>
                <a:cubicBezTo>
                  <a:pt x="2308" y="638"/>
                  <a:pt x="2309" y="638"/>
                  <a:pt x="2310" y="638"/>
                </a:cubicBezTo>
                <a:cubicBezTo>
                  <a:pt x="2310" y="638"/>
                  <a:pt x="2310" y="638"/>
                  <a:pt x="2310" y="638"/>
                </a:cubicBezTo>
                <a:cubicBezTo>
                  <a:pt x="2311" y="638"/>
                  <a:pt x="2312" y="638"/>
                  <a:pt x="2312" y="638"/>
                </a:cubicBezTo>
                <a:cubicBezTo>
                  <a:pt x="2312" y="645"/>
                  <a:pt x="2312" y="645"/>
                  <a:pt x="2312" y="645"/>
                </a:cubicBezTo>
                <a:cubicBezTo>
                  <a:pt x="2312" y="645"/>
                  <a:pt x="2317" y="646"/>
                  <a:pt x="2319" y="648"/>
                </a:cubicBezTo>
                <a:cubicBezTo>
                  <a:pt x="2321" y="650"/>
                  <a:pt x="2322" y="655"/>
                  <a:pt x="2322" y="655"/>
                </a:cubicBezTo>
                <a:cubicBezTo>
                  <a:pt x="2327" y="654"/>
                  <a:pt x="2327" y="654"/>
                  <a:pt x="2327" y="654"/>
                </a:cubicBezTo>
                <a:cubicBezTo>
                  <a:pt x="2324" y="660"/>
                  <a:pt x="2324" y="660"/>
                  <a:pt x="2324" y="660"/>
                </a:cubicBezTo>
                <a:cubicBezTo>
                  <a:pt x="2324" y="660"/>
                  <a:pt x="2330" y="661"/>
                  <a:pt x="2333" y="663"/>
                </a:cubicBezTo>
                <a:cubicBezTo>
                  <a:pt x="2335" y="665"/>
                  <a:pt x="2337" y="673"/>
                  <a:pt x="2338" y="674"/>
                </a:cubicBezTo>
                <a:cubicBezTo>
                  <a:pt x="2338" y="675"/>
                  <a:pt x="2341" y="678"/>
                  <a:pt x="2341" y="678"/>
                </a:cubicBezTo>
                <a:cubicBezTo>
                  <a:pt x="2339" y="681"/>
                  <a:pt x="2339" y="681"/>
                  <a:pt x="2339" y="681"/>
                </a:cubicBezTo>
                <a:cubicBezTo>
                  <a:pt x="2340" y="693"/>
                  <a:pt x="2340" y="693"/>
                  <a:pt x="2340" y="693"/>
                </a:cubicBezTo>
                <a:cubicBezTo>
                  <a:pt x="2338" y="695"/>
                  <a:pt x="2338" y="695"/>
                  <a:pt x="2338" y="695"/>
                </a:cubicBezTo>
                <a:cubicBezTo>
                  <a:pt x="2338" y="695"/>
                  <a:pt x="2339" y="699"/>
                  <a:pt x="2341" y="699"/>
                </a:cubicBezTo>
                <a:cubicBezTo>
                  <a:pt x="2343" y="699"/>
                  <a:pt x="2345" y="697"/>
                  <a:pt x="2345" y="697"/>
                </a:cubicBezTo>
                <a:cubicBezTo>
                  <a:pt x="2345" y="697"/>
                  <a:pt x="2346" y="700"/>
                  <a:pt x="2348" y="699"/>
                </a:cubicBezTo>
                <a:cubicBezTo>
                  <a:pt x="2351" y="698"/>
                  <a:pt x="2353" y="693"/>
                  <a:pt x="2353" y="693"/>
                </a:cubicBezTo>
                <a:cubicBezTo>
                  <a:pt x="2353" y="693"/>
                  <a:pt x="2358" y="692"/>
                  <a:pt x="2360" y="691"/>
                </a:cubicBezTo>
                <a:cubicBezTo>
                  <a:pt x="2363" y="689"/>
                  <a:pt x="2360" y="682"/>
                  <a:pt x="2361" y="681"/>
                </a:cubicBezTo>
                <a:close/>
                <a:moveTo>
                  <a:pt x="1719" y="975"/>
                </a:moveTo>
                <a:cubicBezTo>
                  <a:pt x="1719" y="976"/>
                  <a:pt x="1718" y="977"/>
                  <a:pt x="1718" y="977"/>
                </a:cubicBezTo>
                <a:cubicBezTo>
                  <a:pt x="1716" y="978"/>
                  <a:pt x="1716" y="975"/>
                  <a:pt x="1716" y="975"/>
                </a:cubicBezTo>
                <a:cubicBezTo>
                  <a:pt x="1716" y="975"/>
                  <a:pt x="1714" y="974"/>
                  <a:pt x="1712" y="973"/>
                </a:cubicBezTo>
                <a:cubicBezTo>
                  <a:pt x="1710" y="972"/>
                  <a:pt x="1711" y="971"/>
                  <a:pt x="1712" y="969"/>
                </a:cubicBezTo>
                <a:cubicBezTo>
                  <a:pt x="1713" y="969"/>
                  <a:pt x="1713" y="968"/>
                  <a:pt x="1713" y="968"/>
                </a:cubicBezTo>
                <a:cubicBezTo>
                  <a:pt x="1713" y="968"/>
                  <a:pt x="1712" y="966"/>
                  <a:pt x="1711" y="965"/>
                </a:cubicBezTo>
                <a:cubicBezTo>
                  <a:pt x="1710" y="964"/>
                  <a:pt x="1711" y="960"/>
                  <a:pt x="1711" y="959"/>
                </a:cubicBezTo>
                <a:cubicBezTo>
                  <a:pt x="1711" y="957"/>
                  <a:pt x="1708" y="958"/>
                  <a:pt x="1707" y="958"/>
                </a:cubicBezTo>
                <a:cubicBezTo>
                  <a:pt x="1707" y="958"/>
                  <a:pt x="1706" y="956"/>
                  <a:pt x="1706" y="954"/>
                </a:cubicBezTo>
                <a:cubicBezTo>
                  <a:pt x="1706" y="952"/>
                  <a:pt x="1704" y="952"/>
                  <a:pt x="1703" y="951"/>
                </a:cubicBezTo>
                <a:cubicBezTo>
                  <a:pt x="1701" y="949"/>
                  <a:pt x="1701" y="946"/>
                  <a:pt x="1701" y="944"/>
                </a:cubicBezTo>
                <a:cubicBezTo>
                  <a:pt x="1701" y="943"/>
                  <a:pt x="1702" y="941"/>
                  <a:pt x="1702" y="940"/>
                </a:cubicBezTo>
                <a:cubicBezTo>
                  <a:pt x="1702" y="938"/>
                  <a:pt x="1700" y="938"/>
                  <a:pt x="1699" y="936"/>
                </a:cubicBezTo>
                <a:cubicBezTo>
                  <a:pt x="1699" y="934"/>
                  <a:pt x="1699" y="931"/>
                  <a:pt x="1700" y="929"/>
                </a:cubicBezTo>
                <a:cubicBezTo>
                  <a:pt x="1700" y="926"/>
                  <a:pt x="1700" y="924"/>
                  <a:pt x="1701" y="921"/>
                </a:cubicBezTo>
                <a:cubicBezTo>
                  <a:pt x="1701" y="920"/>
                  <a:pt x="1702" y="920"/>
                  <a:pt x="1703" y="921"/>
                </a:cubicBezTo>
                <a:cubicBezTo>
                  <a:pt x="1703" y="922"/>
                  <a:pt x="1703" y="926"/>
                  <a:pt x="1704" y="928"/>
                </a:cubicBezTo>
                <a:cubicBezTo>
                  <a:pt x="1705" y="928"/>
                  <a:pt x="1705" y="928"/>
                  <a:pt x="1706" y="928"/>
                </a:cubicBezTo>
                <a:cubicBezTo>
                  <a:pt x="1705" y="928"/>
                  <a:pt x="1705" y="928"/>
                  <a:pt x="1705" y="928"/>
                </a:cubicBezTo>
                <a:cubicBezTo>
                  <a:pt x="1705" y="930"/>
                  <a:pt x="1705" y="930"/>
                  <a:pt x="1705" y="930"/>
                </a:cubicBezTo>
                <a:cubicBezTo>
                  <a:pt x="1705" y="930"/>
                  <a:pt x="1706" y="932"/>
                  <a:pt x="1707" y="933"/>
                </a:cubicBezTo>
                <a:cubicBezTo>
                  <a:pt x="1707" y="934"/>
                  <a:pt x="1707" y="936"/>
                  <a:pt x="1707" y="936"/>
                </a:cubicBezTo>
                <a:cubicBezTo>
                  <a:pt x="1707" y="936"/>
                  <a:pt x="1709" y="943"/>
                  <a:pt x="1708" y="944"/>
                </a:cubicBezTo>
                <a:cubicBezTo>
                  <a:pt x="1707" y="945"/>
                  <a:pt x="1707" y="945"/>
                  <a:pt x="1707" y="948"/>
                </a:cubicBezTo>
                <a:cubicBezTo>
                  <a:pt x="1707" y="950"/>
                  <a:pt x="1709" y="951"/>
                  <a:pt x="1710" y="951"/>
                </a:cubicBezTo>
                <a:cubicBezTo>
                  <a:pt x="1711" y="952"/>
                  <a:pt x="1715" y="955"/>
                  <a:pt x="1716" y="957"/>
                </a:cubicBezTo>
                <a:cubicBezTo>
                  <a:pt x="1716" y="958"/>
                  <a:pt x="1716" y="960"/>
                  <a:pt x="1715" y="961"/>
                </a:cubicBezTo>
                <a:cubicBezTo>
                  <a:pt x="1715" y="963"/>
                  <a:pt x="1717" y="967"/>
                  <a:pt x="1717" y="967"/>
                </a:cubicBezTo>
                <a:cubicBezTo>
                  <a:pt x="1720" y="972"/>
                  <a:pt x="1720" y="972"/>
                  <a:pt x="1720" y="972"/>
                </a:cubicBezTo>
                <a:cubicBezTo>
                  <a:pt x="1720" y="972"/>
                  <a:pt x="1720" y="973"/>
                  <a:pt x="1719" y="975"/>
                </a:cubicBezTo>
                <a:close/>
                <a:moveTo>
                  <a:pt x="1763" y="1008"/>
                </a:moveTo>
                <a:cubicBezTo>
                  <a:pt x="1763" y="1008"/>
                  <a:pt x="1763" y="1008"/>
                  <a:pt x="1763" y="1008"/>
                </a:cubicBezTo>
                <a:cubicBezTo>
                  <a:pt x="1763" y="1008"/>
                  <a:pt x="1763" y="1008"/>
                  <a:pt x="1763" y="1008"/>
                </a:cubicBezTo>
                <a:close/>
                <a:moveTo>
                  <a:pt x="1763" y="1008"/>
                </a:moveTo>
                <a:cubicBezTo>
                  <a:pt x="1763" y="1008"/>
                  <a:pt x="1761" y="1008"/>
                  <a:pt x="1759" y="1008"/>
                </a:cubicBezTo>
                <a:cubicBezTo>
                  <a:pt x="1761" y="1008"/>
                  <a:pt x="1763" y="1008"/>
                  <a:pt x="1763" y="1008"/>
                </a:cubicBezTo>
                <a:close/>
                <a:moveTo>
                  <a:pt x="1757" y="1008"/>
                </a:moveTo>
                <a:cubicBezTo>
                  <a:pt x="1757" y="1008"/>
                  <a:pt x="1757" y="1008"/>
                  <a:pt x="1757" y="1008"/>
                </a:cubicBezTo>
                <a:cubicBezTo>
                  <a:pt x="1757" y="1009"/>
                  <a:pt x="1757" y="1010"/>
                  <a:pt x="1757" y="1010"/>
                </a:cubicBezTo>
                <a:cubicBezTo>
                  <a:pt x="1757" y="1011"/>
                  <a:pt x="1756" y="1012"/>
                  <a:pt x="1754" y="1014"/>
                </a:cubicBezTo>
                <a:cubicBezTo>
                  <a:pt x="1753" y="1016"/>
                  <a:pt x="1755" y="1017"/>
                  <a:pt x="1756" y="1018"/>
                </a:cubicBezTo>
                <a:cubicBezTo>
                  <a:pt x="1756" y="1019"/>
                  <a:pt x="1756" y="1023"/>
                  <a:pt x="1755" y="1025"/>
                </a:cubicBezTo>
                <a:cubicBezTo>
                  <a:pt x="1755" y="1027"/>
                  <a:pt x="1755" y="1029"/>
                  <a:pt x="1755" y="1030"/>
                </a:cubicBezTo>
                <a:cubicBezTo>
                  <a:pt x="1755" y="1031"/>
                  <a:pt x="1755" y="1031"/>
                  <a:pt x="1756" y="1031"/>
                </a:cubicBezTo>
                <a:cubicBezTo>
                  <a:pt x="1757" y="1032"/>
                  <a:pt x="1758" y="1033"/>
                  <a:pt x="1758" y="1033"/>
                </a:cubicBezTo>
                <a:cubicBezTo>
                  <a:pt x="1758" y="1033"/>
                  <a:pt x="1759" y="1038"/>
                  <a:pt x="1757" y="1039"/>
                </a:cubicBezTo>
                <a:cubicBezTo>
                  <a:pt x="1756" y="1039"/>
                  <a:pt x="1756" y="1037"/>
                  <a:pt x="1756" y="1037"/>
                </a:cubicBezTo>
                <a:cubicBezTo>
                  <a:pt x="1756" y="1037"/>
                  <a:pt x="1753" y="1038"/>
                  <a:pt x="1753" y="1037"/>
                </a:cubicBezTo>
                <a:cubicBezTo>
                  <a:pt x="1752" y="1037"/>
                  <a:pt x="1752" y="1034"/>
                  <a:pt x="1752" y="1033"/>
                </a:cubicBezTo>
                <a:cubicBezTo>
                  <a:pt x="1752" y="1031"/>
                  <a:pt x="1751" y="1030"/>
                  <a:pt x="1751" y="1030"/>
                </a:cubicBezTo>
                <a:cubicBezTo>
                  <a:pt x="1750" y="1029"/>
                  <a:pt x="1751" y="1026"/>
                  <a:pt x="1751" y="1024"/>
                </a:cubicBezTo>
                <a:cubicBezTo>
                  <a:pt x="1751" y="1023"/>
                  <a:pt x="1750" y="1021"/>
                  <a:pt x="1747" y="1019"/>
                </a:cubicBezTo>
                <a:cubicBezTo>
                  <a:pt x="1745" y="1017"/>
                  <a:pt x="1747" y="1018"/>
                  <a:pt x="1746" y="1016"/>
                </a:cubicBezTo>
                <a:cubicBezTo>
                  <a:pt x="1746" y="1014"/>
                  <a:pt x="1748" y="1012"/>
                  <a:pt x="1750" y="1010"/>
                </a:cubicBezTo>
                <a:cubicBezTo>
                  <a:pt x="1752" y="1008"/>
                  <a:pt x="1751" y="1007"/>
                  <a:pt x="1751" y="1006"/>
                </a:cubicBezTo>
                <a:cubicBezTo>
                  <a:pt x="1752" y="1005"/>
                  <a:pt x="1751" y="1004"/>
                  <a:pt x="1751" y="1002"/>
                </a:cubicBezTo>
                <a:cubicBezTo>
                  <a:pt x="1751" y="1001"/>
                  <a:pt x="1750" y="998"/>
                  <a:pt x="1750" y="994"/>
                </a:cubicBezTo>
                <a:cubicBezTo>
                  <a:pt x="1750" y="991"/>
                  <a:pt x="1749" y="993"/>
                  <a:pt x="1747" y="991"/>
                </a:cubicBezTo>
                <a:cubicBezTo>
                  <a:pt x="1745" y="990"/>
                  <a:pt x="1747" y="988"/>
                  <a:pt x="1746" y="986"/>
                </a:cubicBezTo>
                <a:cubicBezTo>
                  <a:pt x="1746" y="986"/>
                  <a:pt x="1747" y="983"/>
                  <a:pt x="1749" y="984"/>
                </a:cubicBezTo>
                <a:cubicBezTo>
                  <a:pt x="1751" y="985"/>
                  <a:pt x="1753" y="989"/>
                  <a:pt x="1753" y="989"/>
                </a:cubicBezTo>
                <a:cubicBezTo>
                  <a:pt x="1753" y="997"/>
                  <a:pt x="1753" y="997"/>
                  <a:pt x="1753" y="997"/>
                </a:cubicBezTo>
                <a:cubicBezTo>
                  <a:pt x="1753" y="997"/>
                  <a:pt x="1754" y="997"/>
                  <a:pt x="1754" y="998"/>
                </a:cubicBezTo>
                <a:cubicBezTo>
                  <a:pt x="1754" y="1000"/>
                  <a:pt x="1754" y="1000"/>
                  <a:pt x="1753" y="1002"/>
                </a:cubicBezTo>
                <a:cubicBezTo>
                  <a:pt x="1753" y="1004"/>
                  <a:pt x="1757" y="1006"/>
                  <a:pt x="1757" y="1006"/>
                </a:cubicBezTo>
                <a:cubicBezTo>
                  <a:pt x="1757" y="1008"/>
                  <a:pt x="1757" y="1008"/>
                  <a:pt x="1757" y="1008"/>
                </a:cubicBezTo>
                <a:cubicBezTo>
                  <a:pt x="1757" y="1008"/>
                  <a:pt x="1757" y="1008"/>
                  <a:pt x="1757" y="1008"/>
                </a:cubicBezTo>
                <a:close/>
                <a:moveTo>
                  <a:pt x="1726" y="898"/>
                </a:moveTo>
                <a:cubicBezTo>
                  <a:pt x="1726" y="895"/>
                  <a:pt x="1728" y="891"/>
                  <a:pt x="1728" y="890"/>
                </a:cubicBezTo>
                <a:cubicBezTo>
                  <a:pt x="1728" y="889"/>
                  <a:pt x="1728" y="889"/>
                  <a:pt x="1728" y="889"/>
                </a:cubicBezTo>
                <a:cubicBezTo>
                  <a:pt x="1728" y="888"/>
                  <a:pt x="1727" y="887"/>
                  <a:pt x="1727" y="886"/>
                </a:cubicBezTo>
                <a:cubicBezTo>
                  <a:pt x="1726" y="884"/>
                  <a:pt x="1728" y="882"/>
                  <a:pt x="1729" y="882"/>
                </a:cubicBezTo>
                <a:cubicBezTo>
                  <a:pt x="1729" y="881"/>
                  <a:pt x="1728" y="878"/>
                  <a:pt x="1730" y="877"/>
                </a:cubicBezTo>
                <a:cubicBezTo>
                  <a:pt x="1732" y="875"/>
                  <a:pt x="1738" y="876"/>
                  <a:pt x="1739" y="875"/>
                </a:cubicBezTo>
                <a:cubicBezTo>
                  <a:pt x="1739" y="875"/>
                  <a:pt x="1741" y="872"/>
                  <a:pt x="1742" y="872"/>
                </a:cubicBezTo>
                <a:cubicBezTo>
                  <a:pt x="1743" y="872"/>
                  <a:pt x="1743" y="876"/>
                  <a:pt x="1743" y="876"/>
                </a:cubicBezTo>
                <a:cubicBezTo>
                  <a:pt x="1743" y="876"/>
                  <a:pt x="1745" y="875"/>
                  <a:pt x="1747" y="875"/>
                </a:cubicBezTo>
                <a:cubicBezTo>
                  <a:pt x="1748" y="875"/>
                  <a:pt x="1748" y="875"/>
                  <a:pt x="1749" y="876"/>
                </a:cubicBezTo>
                <a:cubicBezTo>
                  <a:pt x="1749" y="876"/>
                  <a:pt x="1749" y="876"/>
                  <a:pt x="1749" y="876"/>
                </a:cubicBezTo>
                <a:cubicBezTo>
                  <a:pt x="1749" y="878"/>
                  <a:pt x="1750" y="880"/>
                  <a:pt x="1752" y="881"/>
                </a:cubicBezTo>
                <a:cubicBezTo>
                  <a:pt x="1753" y="881"/>
                  <a:pt x="1753" y="879"/>
                  <a:pt x="1753" y="879"/>
                </a:cubicBezTo>
                <a:cubicBezTo>
                  <a:pt x="1756" y="879"/>
                  <a:pt x="1756" y="879"/>
                  <a:pt x="1756" y="879"/>
                </a:cubicBezTo>
                <a:cubicBezTo>
                  <a:pt x="1757" y="881"/>
                  <a:pt x="1757" y="881"/>
                  <a:pt x="1757" y="881"/>
                </a:cubicBezTo>
                <a:cubicBezTo>
                  <a:pt x="1755" y="882"/>
                  <a:pt x="1755" y="882"/>
                  <a:pt x="1755" y="882"/>
                </a:cubicBezTo>
                <a:cubicBezTo>
                  <a:pt x="1753" y="883"/>
                  <a:pt x="1753" y="883"/>
                  <a:pt x="1753" y="883"/>
                </a:cubicBezTo>
                <a:cubicBezTo>
                  <a:pt x="1753" y="883"/>
                  <a:pt x="1752" y="881"/>
                  <a:pt x="1750" y="883"/>
                </a:cubicBezTo>
                <a:cubicBezTo>
                  <a:pt x="1748" y="885"/>
                  <a:pt x="1751" y="887"/>
                  <a:pt x="1751" y="887"/>
                </a:cubicBezTo>
                <a:cubicBezTo>
                  <a:pt x="1750" y="889"/>
                  <a:pt x="1750" y="889"/>
                  <a:pt x="1750" y="889"/>
                </a:cubicBezTo>
                <a:cubicBezTo>
                  <a:pt x="1749" y="889"/>
                  <a:pt x="1748" y="889"/>
                  <a:pt x="1748" y="889"/>
                </a:cubicBezTo>
                <a:cubicBezTo>
                  <a:pt x="1748" y="889"/>
                  <a:pt x="1748" y="889"/>
                  <a:pt x="1748" y="889"/>
                </a:cubicBezTo>
                <a:cubicBezTo>
                  <a:pt x="1748" y="891"/>
                  <a:pt x="1749" y="894"/>
                  <a:pt x="1749" y="894"/>
                </a:cubicBezTo>
                <a:cubicBezTo>
                  <a:pt x="1745" y="896"/>
                  <a:pt x="1745" y="896"/>
                  <a:pt x="1745" y="896"/>
                </a:cubicBezTo>
                <a:cubicBezTo>
                  <a:pt x="1745" y="896"/>
                  <a:pt x="1743" y="898"/>
                  <a:pt x="1742" y="901"/>
                </a:cubicBezTo>
                <a:cubicBezTo>
                  <a:pt x="1741" y="904"/>
                  <a:pt x="1748" y="902"/>
                  <a:pt x="1748" y="902"/>
                </a:cubicBezTo>
                <a:cubicBezTo>
                  <a:pt x="1748" y="902"/>
                  <a:pt x="1744" y="905"/>
                  <a:pt x="1743" y="906"/>
                </a:cubicBezTo>
                <a:cubicBezTo>
                  <a:pt x="1741" y="906"/>
                  <a:pt x="1741" y="904"/>
                  <a:pt x="1739" y="904"/>
                </a:cubicBezTo>
                <a:cubicBezTo>
                  <a:pt x="1737" y="904"/>
                  <a:pt x="1737" y="908"/>
                  <a:pt x="1737" y="908"/>
                </a:cubicBezTo>
                <a:cubicBezTo>
                  <a:pt x="1739" y="910"/>
                  <a:pt x="1739" y="910"/>
                  <a:pt x="1739" y="910"/>
                </a:cubicBezTo>
                <a:cubicBezTo>
                  <a:pt x="1739" y="910"/>
                  <a:pt x="1738" y="910"/>
                  <a:pt x="1736" y="910"/>
                </a:cubicBezTo>
                <a:cubicBezTo>
                  <a:pt x="1734" y="910"/>
                  <a:pt x="1736" y="904"/>
                  <a:pt x="1736" y="904"/>
                </a:cubicBezTo>
                <a:cubicBezTo>
                  <a:pt x="1734" y="906"/>
                  <a:pt x="1734" y="906"/>
                  <a:pt x="1734" y="906"/>
                </a:cubicBezTo>
                <a:cubicBezTo>
                  <a:pt x="1734" y="906"/>
                  <a:pt x="1732" y="903"/>
                  <a:pt x="1731" y="903"/>
                </a:cubicBezTo>
                <a:cubicBezTo>
                  <a:pt x="1729" y="903"/>
                  <a:pt x="1729" y="908"/>
                  <a:pt x="1728" y="908"/>
                </a:cubicBezTo>
                <a:cubicBezTo>
                  <a:pt x="1727" y="908"/>
                  <a:pt x="1727" y="906"/>
                  <a:pt x="1727" y="906"/>
                </a:cubicBezTo>
                <a:cubicBezTo>
                  <a:pt x="1727" y="906"/>
                  <a:pt x="1726" y="900"/>
                  <a:pt x="1726" y="898"/>
                </a:cubicBezTo>
                <a:close/>
                <a:moveTo>
                  <a:pt x="1796" y="411"/>
                </a:moveTo>
                <a:cubicBezTo>
                  <a:pt x="1795" y="413"/>
                  <a:pt x="1791" y="416"/>
                  <a:pt x="1789" y="417"/>
                </a:cubicBezTo>
                <a:cubicBezTo>
                  <a:pt x="1786" y="418"/>
                  <a:pt x="1777" y="417"/>
                  <a:pt x="1777" y="417"/>
                </a:cubicBezTo>
                <a:cubicBezTo>
                  <a:pt x="1769" y="419"/>
                  <a:pt x="1769" y="419"/>
                  <a:pt x="1769" y="419"/>
                </a:cubicBezTo>
                <a:cubicBezTo>
                  <a:pt x="1760" y="416"/>
                  <a:pt x="1760" y="416"/>
                  <a:pt x="1760" y="416"/>
                </a:cubicBezTo>
                <a:cubicBezTo>
                  <a:pt x="1756" y="417"/>
                  <a:pt x="1756" y="417"/>
                  <a:pt x="1756" y="417"/>
                </a:cubicBezTo>
                <a:cubicBezTo>
                  <a:pt x="1756" y="417"/>
                  <a:pt x="1754" y="412"/>
                  <a:pt x="1753" y="413"/>
                </a:cubicBezTo>
                <a:cubicBezTo>
                  <a:pt x="1751" y="413"/>
                  <a:pt x="1749" y="414"/>
                  <a:pt x="1749" y="414"/>
                </a:cubicBezTo>
                <a:cubicBezTo>
                  <a:pt x="1746" y="412"/>
                  <a:pt x="1746" y="412"/>
                  <a:pt x="1746" y="412"/>
                </a:cubicBezTo>
                <a:cubicBezTo>
                  <a:pt x="1745" y="409"/>
                  <a:pt x="1745" y="409"/>
                  <a:pt x="1745" y="409"/>
                </a:cubicBezTo>
                <a:cubicBezTo>
                  <a:pt x="1739" y="410"/>
                  <a:pt x="1739" y="410"/>
                  <a:pt x="1739" y="410"/>
                </a:cubicBezTo>
                <a:cubicBezTo>
                  <a:pt x="1735" y="408"/>
                  <a:pt x="1735" y="408"/>
                  <a:pt x="1735" y="408"/>
                </a:cubicBezTo>
                <a:cubicBezTo>
                  <a:pt x="1734" y="405"/>
                  <a:pt x="1734" y="405"/>
                  <a:pt x="1734" y="405"/>
                </a:cubicBezTo>
                <a:cubicBezTo>
                  <a:pt x="1734" y="405"/>
                  <a:pt x="1730" y="407"/>
                  <a:pt x="1727" y="407"/>
                </a:cubicBezTo>
                <a:cubicBezTo>
                  <a:pt x="1724" y="407"/>
                  <a:pt x="1721" y="406"/>
                  <a:pt x="1718" y="406"/>
                </a:cubicBezTo>
                <a:cubicBezTo>
                  <a:pt x="1716" y="406"/>
                  <a:pt x="1708" y="409"/>
                  <a:pt x="1707" y="411"/>
                </a:cubicBezTo>
                <a:cubicBezTo>
                  <a:pt x="1706" y="412"/>
                  <a:pt x="1703" y="413"/>
                  <a:pt x="1703" y="413"/>
                </a:cubicBezTo>
                <a:cubicBezTo>
                  <a:pt x="1702" y="416"/>
                  <a:pt x="1702" y="416"/>
                  <a:pt x="1702" y="416"/>
                </a:cubicBezTo>
                <a:cubicBezTo>
                  <a:pt x="1702" y="416"/>
                  <a:pt x="1702" y="417"/>
                  <a:pt x="1699" y="416"/>
                </a:cubicBezTo>
                <a:cubicBezTo>
                  <a:pt x="1696" y="415"/>
                  <a:pt x="1691" y="415"/>
                  <a:pt x="1689" y="415"/>
                </a:cubicBezTo>
                <a:cubicBezTo>
                  <a:pt x="1686" y="415"/>
                  <a:pt x="1678" y="413"/>
                  <a:pt x="1678" y="413"/>
                </a:cubicBezTo>
                <a:cubicBezTo>
                  <a:pt x="1678" y="413"/>
                  <a:pt x="1672" y="414"/>
                  <a:pt x="1672" y="411"/>
                </a:cubicBezTo>
                <a:cubicBezTo>
                  <a:pt x="1671" y="409"/>
                  <a:pt x="1671" y="408"/>
                  <a:pt x="1671" y="407"/>
                </a:cubicBezTo>
                <a:cubicBezTo>
                  <a:pt x="1669" y="407"/>
                  <a:pt x="1666" y="407"/>
                  <a:pt x="1666" y="407"/>
                </a:cubicBezTo>
                <a:cubicBezTo>
                  <a:pt x="1666" y="406"/>
                  <a:pt x="1666" y="406"/>
                  <a:pt x="1665" y="405"/>
                </a:cubicBezTo>
                <a:cubicBezTo>
                  <a:pt x="1667" y="404"/>
                  <a:pt x="1667" y="404"/>
                  <a:pt x="1667" y="404"/>
                </a:cubicBezTo>
                <a:cubicBezTo>
                  <a:pt x="1669" y="406"/>
                  <a:pt x="1669" y="406"/>
                  <a:pt x="1669" y="406"/>
                </a:cubicBezTo>
                <a:cubicBezTo>
                  <a:pt x="1669" y="406"/>
                  <a:pt x="1672" y="407"/>
                  <a:pt x="1674" y="406"/>
                </a:cubicBezTo>
                <a:cubicBezTo>
                  <a:pt x="1673" y="406"/>
                  <a:pt x="1673" y="405"/>
                  <a:pt x="1673" y="405"/>
                </a:cubicBezTo>
                <a:cubicBezTo>
                  <a:pt x="1668" y="400"/>
                  <a:pt x="1668" y="400"/>
                  <a:pt x="1668" y="400"/>
                </a:cubicBezTo>
                <a:cubicBezTo>
                  <a:pt x="1668" y="400"/>
                  <a:pt x="1671" y="398"/>
                  <a:pt x="1671" y="397"/>
                </a:cubicBezTo>
                <a:cubicBezTo>
                  <a:pt x="1672" y="396"/>
                  <a:pt x="1670" y="393"/>
                  <a:pt x="1672" y="391"/>
                </a:cubicBezTo>
                <a:cubicBezTo>
                  <a:pt x="1674" y="390"/>
                  <a:pt x="1677" y="391"/>
                  <a:pt x="1677" y="391"/>
                </a:cubicBezTo>
                <a:cubicBezTo>
                  <a:pt x="1677" y="391"/>
                  <a:pt x="1677" y="389"/>
                  <a:pt x="1677" y="386"/>
                </a:cubicBezTo>
                <a:cubicBezTo>
                  <a:pt x="1676" y="384"/>
                  <a:pt x="1676" y="381"/>
                  <a:pt x="1677" y="379"/>
                </a:cubicBezTo>
                <a:cubicBezTo>
                  <a:pt x="1679" y="377"/>
                  <a:pt x="1681" y="375"/>
                  <a:pt x="1681" y="375"/>
                </a:cubicBezTo>
                <a:cubicBezTo>
                  <a:pt x="1681" y="375"/>
                  <a:pt x="1687" y="377"/>
                  <a:pt x="1686" y="372"/>
                </a:cubicBezTo>
                <a:cubicBezTo>
                  <a:pt x="1686" y="369"/>
                  <a:pt x="1685" y="367"/>
                  <a:pt x="1684" y="366"/>
                </a:cubicBezTo>
                <a:cubicBezTo>
                  <a:pt x="1684" y="366"/>
                  <a:pt x="1684" y="366"/>
                  <a:pt x="1684" y="366"/>
                </a:cubicBezTo>
                <a:cubicBezTo>
                  <a:pt x="1684" y="366"/>
                  <a:pt x="1688" y="364"/>
                  <a:pt x="1689" y="363"/>
                </a:cubicBezTo>
                <a:cubicBezTo>
                  <a:pt x="1691" y="362"/>
                  <a:pt x="1694" y="357"/>
                  <a:pt x="1694" y="357"/>
                </a:cubicBezTo>
                <a:cubicBezTo>
                  <a:pt x="1698" y="355"/>
                  <a:pt x="1698" y="355"/>
                  <a:pt x="1698" y="355"/>
                </a:cubicBezTo>
                <a:cubicBezTo>
                  <a:pt x="1700" y="353"/>
                  <a:pt x="1700" y="353"/>
                  <a:pt x="1700" y="353"/>
                </a:cubicBezTo>
                <a:cubicBezTo>
                  <a:pt x="1702" y="354"/>
                  <a:pt x="1702" y="354"/>
                  <a:pt x="1702" y="354"/>
                </a:cubicBezTo>
                <a:cubicBezTo>
                  <a:pt x="1702" y="354"/>
                  <a:pt x="1707" y="355"/>
                  <a:pt x="1708" y="355"/>
                </a:cubicBezTo>
                <a:cubicBezTo>
                  <a:pt x="1708" y="355"/>
                  <a:pt x="1710" y="353"/>
                  <a:pt x="1710" y="353"/>
                </a:cubicBezTo>
                <a:cubicBezTo>
                  <a:pt x="1707" y="357"/>
                  <a:pt x="1707" y="357"/>
                  <a:pt x="1707" y="357"/>
                </a:cubicBezTo>
                <a:cubicBezTo>
                  <a:pt x="1707" y="357"/>
                  <a:pt x="1704" y="355"/>
                  <a:pt x="1704" y="357"/>
                </a:cubicBezTo>
                <a:cubicBezTo>
                  <a:pt x="1705" y="358"/>
                  <a:pt x="1709" y="359"/>
                  <a:pt x="1709" y="359"/>
                </a:cubicBezTo>
                <a:cubicBezTo>
                  <a:pt x="1716" y="360"/>
                  <a:pt x="1716" y="360"/>
                  <a:pt x="1716" y="360"/>
                </a:cubicBezTo>
                <a:cubicBezTo>
                  <a:pt x="1718" y="360"/>
                  <a:pt x="1718" y="360"/>
                  <a:pt x="1718" y="360"/>
                </a:cubicBezTo>
                <a:cubicBezTo>
                  <a:pt x="1720" y="362"/>
                  <a:pt x="1720" y="362"/>
                  <a:pt x="1720" y="362"/>
                </a:cubicBezTo>
                <a:cubicBezTo>
                  <a:pt x="1720" y="362"/>
                  <a:pt x="1710" y="368"/>
                  <a:pt x="1711" y="368"/>
                </a:cubicBezTo>
                <a:cubicBezTo>
                  <a:pt x="1712" y="369"/>
                  <a:pt x="1720" y="369"/>
                  <a:pt x="1721" y="372"/>
                </a:cubicBezTo>
                <a:cubicBezTo>
                  <a:pt x="1721" y="375"/>
                  <a:pt x="1719" y="378"/>
                  <a:pt x="1720" y="378"/>
                </a:cubicBezTo>
                <a:cubicBezTo>
                  <a:pt x="1721" y="378"/>
                  <a:pt x="1725" y="379"/>
                  <a:pt x="1725" y="379"/>
                </a:cubicBezTo>
                <a:cubicBezTo>
                  <a:pt x="1725" y="379"/>
                  <a:pt x="1728" y="375"/>
                  <a:pt x="1730" y="375"/>
                </a:cubicBezTo>
                <a:cubicBezTo>
                  <a:pt x="1731" y="375"/>
                  <a:pt x="1732" y="376"/>
                  <a:pt x="1734" y="375"/>
                </a:cubicBezTo>
                <a:cubicBezTo>
                  <a:pt x="1736" y="374"/>
                  <a:pt x="1736" y="371"/>
                  <a:pt x="1737" y="371"/>
                </a:cubicBezTo>
                <a:cubicBezTo>
                  <a:pt x="1739" y="371"/>
                  <a:pt x="1740" y="373"/>
                  <a:pt x="1740" y="373"/>
                </a:cubicBezTo>
                <a:cubicBezTo>
                  <a:pt x="1745" y="372"/>
                  <a:pt x="1745" y="372"/>
                  <a:pt x="1745" y="372"/>
                </a:cubicBezTo>
                <a:cubicBezTo>
                  <a:pt x="1745" y="369"/>
                  <a:pt x="1745" y="369"/>
                  <a:pt x="1745" y="369"/>
                </a:cubicBezTo>
                <a:cubicBezTo>
                  <a:pt x="1747" y="368"/>
                  <a:pt x="1747" y="368"/>
                  <a:pt x="1747" y="368"/>
                </a:cubicBezTo>
                <a:cubicBezTo>
                  <a:pt x="1747" y="368"/>
                  <a:pt x="1744" y="366"/>
                  <a:pt x="1742" y="368"/>
                </a:cubicBezTo>
                <a:cubicBezTo>
                  <a:pt x="1741" y="369"/>
                  <a:pt x="1736" y="369"/>
                  <a:pt x="1736" y="369"/>
                </a:cubicBezTo>
                <a:cubicBezTo>
                  <a:pt x="1736" y="369"/>
                  <a:pt x="1732" y="368"/>
                  <a:pt x="1732" y="366"/>
                </a:cubicBezTo>
                <a:cubicBezTo>
                  <a:pt x="1732" y="364"/>
                  <a:pt x="1729" y="364"/>
                  <a:pt x="1729" y="364"/>
                </a:cubicBezTo>
                <a:cubicBezTo>
                  <a:pt x="1727" y="361"/>
                  <a:pt x="1727" y="361"/>
                  <a:pt x="1727" y="361"/>
                </a:cubicBezTo>
                <a:cubicBezTo>
                  <a:pt x="1722" y="361"/>
                  <a:pt x="1722" y="361"/>
                  <a:pt x="1722" y="361"/>
                </a:cubicBezTo>
                <a:cubicBezTo>
                  <a:pt x="1720" y="359"/>
                  <a:pt x="1720" y="359"/>
                  <a:pt x="1720" y="359"/>
                </a:cubicBezTo>
                <a:cubicBezTo>
                  <a:pt x="1724" y="359"/>
                  <a:pt x="1724" y="359"/>
                  <a:pt x="1724" y="359"/>
                </a:cubicBezTo>
                <a:cubicBezTo>
                  <a:pt x="1724" y="359"/>
                  <a:pt x="1727" y="360"/>
                  <a:pt x="1729" y="359"/>
                </a:cubicBezTo>
                <a:cubicBezTo>
                  <a:pt x="1730" y="359"/>
                  <a:pt x="1733" y="356"/>
                  <a:pt x="1733" y="356"/>
                </a:cubicBezTo>
                <a:cubicBezTo>
                  <a:pt x="1735" y="357"/>
                  <a:pt x="1735" y="357"/>
                  <a:pt x="1735" y="357"/>
                </a:cubicBezTo>
                <a:cubicBezTo>
                  <a:pt x="1735" y="357"/>
                  <a:pt x="1738" y="355"/>
                  <a:pt x="1739" y="354"/>
                </a:cubicBezTo>
                <a:cubicBezTo>
                  <a:pt x="1741" y="353"/>
                  <a:pt x="1747" y="353"/>
                  <a:pt x="1747" y="353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4" y="349"/>
                </a:cubicBezTo>
                <a:cubicBezTo>
                  <a:pt x="1755" y="349"/>
                  <a:pt x="1757" y="350"/>
                  <a:pt x="1758" y="349"/>
                </a:cubicBezTo>
                <a:cubicBezTo>
                  <a:pt x="1758" y="349"/>
                  <a:pt x="1758" y="349"/>
                  <a:pt x="1758" y="349"/>
                </a:cubicBezTo>
                <a:cubicBezTo>
                  <a:pt x="1758" y="349"/>
                  <a:pt x="1758" y="349"/>
                  <a:pt x="1759" y="349"/>
                </a:cubicBezTo>
                <a:cubicBezTo>
                  <a:pt x="1761" y="348"/>
                  <a:pt x="1767" y="346"/>
                  <a:pt x="1767" y="348"/>
                </a:cubicBezTo>
                <a:cubicBezTo>
                  <a:pt x="1768" y="350"/>
                  <a:pt x="1763" y="353"/>
                  <a:pt x="1763" y="353"/>
                </a:cubicBezTo>
                <a:cubicBezTo>
                  <a:pt x="1756" y="355"/>
                  <a:pt x="1756" y="355"/>
                  <a:pt x="1756" y="355"/>
                </a:cubicBezTo>
                <a:cubicBezTo>
                  <a:pt x="1762" y="360"/>
                  <a:pt x="1762" y="360"/>
                  <a:pt x="1762" y="360"/>
                </a:cubicBezTo>
                <a:cubicBezTo>
                  <a:pt x="1762" y="360"/>
                  <a:pt x="1757" y="361"/>
                  <a:pt x="1757" y="363"/>
                </a:cubicBezTo>
                <a:cubicBezTo>
                  <a:pt x="1757" y="365"/>
                  <a:pt x="1757" y="367"/>
                  <a:pt x="1757" y="367"/>
                </a:cubicBezTo>
                <a:cubicBezTo>
                  <a:pt x="1757" y="367"/>
                  <a:pt x="1754" y="369"/>
                  <a:pt x="1753" y="369"/>
                </a:cubicBezTo>
                <a:cubicBezTo>
                  <a:pt x="1752" y="369"/>
                  <a:pt x="1749" y="367"/>
                  <a:pt x="1749" y="367"/>
                </a:cubicBezTo>
                <a:cubicBezTo>
                  <a:pt x="1748" y="369"/>
                  <a:pt x="1748" y="369"/>
                  <a:pt x="1748" y="369"/>
                </a:cubicBezTo>
                <a:cubicBezTo>
                  <a:pt x="1748" y="369"/>
                  <a:pt x="1751" y="372"/>
                  <a:pt x="1751" y="372"/>
                </a:cubicBezTo>
                <a:cubicBezTo>
                  <a:pt x="1752" y="372"/>
                  <a:pt x="1754" y="376"/>
                  <a:pt x="1754" y="376"/>
                </a:cubicBezTo>
                <a:cubicBezTo>
                  <a:pt x="1759" y="375"/>
                  <a:pt x="1759" y="375"/>
                  <a:pt x="1759" y="375"/>
                </a:cubicBezTo>
                <a:cubicBezTo>
                  <a:pt x="1759" y="375"/>
                  <a:pt x="1763" y="379"/>
                  <a:pt x="1764" y="379"/>
                </a:cubicBezTo>
                <a:cubicBezTo>
                  <a:pt x="1765" y="379"/>
                  <a:pt x="1768" y="380"/>
                  <a:pt x="1768" y="380"/>
                </a:cubicBezTo>
                <a:cubicBezTo>
                  <a:pt x="1768" y="380"/>
                  <a:pt x="1774" y="387"/>
                  <a:pt x="1776" y="388"/>
                </a:cubicBezTo>
                <a:cubicBezTo>
                  <a:pt x="1777" y="388"/>
                  <a:pt x="1778" y="389"/>
                  <a:pt x="1779" y="389"/>
                </a:cubicBezTo>
                <a:cubicBezTo>
                  <a:pt x="1779" y="389"/>
                  <a:pt x="1779" y="390"/>
                  <a:pt x="1779" y="390"/>
                </a:cubicBezTo>
                <a:cubicBezTo>
                  <a:pt x="1779" y="390"/>
                  <a:pt x="1779" y="390"/>
                  <a:pt x="1779" y="390"/>
                </a:cubicBezTo>
                <a:cubicBezTo>
                  <a:pt x="1779" y="390"/>
                  <a:pt x="1788" y="395"/>
                  <a:pt x="1790" y="396"/>
                </a:cubicBezTo>
                <a:cubicBezTo>
                  <a:pt x="1791" y="396"/>
                  <a:pt x="1794" y="399"/>
                  <a:pt x="1794" y="399"/>
                </a:cubicBezTo>
                <a:cubicBezTo>
                  <a:pt x="1794" y="399"/>
                  <a:pt x="1795" y="405"/>
                  <a:pt x="1795" y="406"/>
                </a:cubicBezTo>
                <a:cubicBezTo>
                  <a:pt x="1795" y="406"/>
                  <a:pt x="1798" y="410"/>
                  <a:pt x="1798" y="410"/>
                </a:cubicBezTo>
                <a:cubicBezTo>
                  <a:pt x="1798" y="410"/>
                  <a:pt x="1797" y="410"/>
                  <a:pt x="1796" y="411"/>
                </a:cubicBezTo>
                <a:close/>
                <a:moveTo>
                  <a:pt x="1835" y="337"/>
                </a:move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lose/>
                <a:moveTo>
                  <a:pt x="1835" y="313"/>
                </a:moveTo>
                <a:cubicBezTo>
                  <a:pt x="1835" y="312"/>
                  <a:pt x="1835" y="312"/>
                  <a:pt x="1834" y="312"/>
                </a:cubicBezTo>
                <a:cubicBezTo>
                  <a:pt x="1835" y="312"/>
                  <a:pt x="1835" y="312"/>
                  <a:pt x="1835" y="313"/>
                </a:cubicBezTo>
                <a:cubicBezTo>
                  <a:pt x="1835" y="313"/>
                  <a:pt x="1835" y="313"/>
                  <a:pt x="1835" y="313"/>
                </a:cubicBezTo>
                <a:close/>
                <a:moveTo>
                  <a:pt x="1908" y="405"/>
                </a:moveTo>
                <a:cubicBezTo>
                  <a:pt x="1908" y="406"/>
                  <a:pt x="1908" y="406"/>
                  <a:pt x="1910" y="409"/>
                </a:cubicBezTo>
                <a:cubicBezTo>
                  <a:pt x="1911" y="411"/>
                  <a:pt x="1919" y="413"/>
                  <a:pt x="1918" y="415"/>
                </a:cubicBezTo>
                <a:cubicBezTo>
                  <a:pt x="1918" y="418"/>
                  <a:pt x="1918" y="419"/>
                  <a:pt x="1916" y="418"/>
                </a:cubicBezTo>
                <a:cubicBezTo>
                  <a:pt x="1915" y="418"/>
                  <a:pt x="1912" y="415"/>
                  <a:pt x="1912" y="416"/>
                </a:cubicBezTo>
                <a:cubicBezTo>
                  <a:pt x="1913" y="417"/>
                  <a:pt x="1912" y="419"/>
                  <a:pt x="1912" y="419"/>
                </a:cubicBezTo>
                <a:cubicBezTo>
                  <a:pt x="1906" y="419"/>
                  <a:pt x="1906" y="419"/>
                  <a:pt x="1906" y="419"/>
                </a:cubicBezTo>
                <a:cubicBezTo>
                  <a:pt x="1904" y="416"/>
                  <a:pt x="1904" y="416"/>
                  <a:pt x="1904" y="416"/>
                </a:cubicBezTo>
                <a:cubicBezTo>
                  <a:pt x="1904" y="418"/>
                  <a:pt x="1904" y="418"/>
                  <a:pt x="1904" y="418"/>
                </a:cubicBezTo>
                <a:cubicBezTo>
                  <a:pt x="1904" y="418"/>
                  <a:pt x="1902" y="415"/>
                  <a:pt x="1900" y="413"/>
                </a:cubicBezTo>
                <a:cubicBezTo>
                  <a:pt x="1899" y="411"/>
                  <a:pt x="1900" y="408"/>
                  <a:pt x="1899" y="408"/>
                </a:cubicBezTo>
                <a:cubicBezTo>
                  <a:pt x="1899" y="408"/>
                  <a:pt x="1899" y="408"/>
                  <a:pt x="1898" y="408"/>
                </a:cubicBezTo>
                <a:cubicBezTo>
                  <a:pt x="1898" y="408"/>
                  <a:pt x="1898" y="408"/>
                  <a:pt x="1898" y="408"/>
                </a:cubicBezTo>
                <a:cubicBezTo>
                  <a:pt x="1899" y="406"/>
                  <a:pt x="1900" y="402"/>
                  <a:pt x="1902" y="402"/>
                </a:cubicBezTo>
                <a:cubicBezTo>
                  <a:pt x="1903" y="402"/>
                  <a:pt x="1904" y="402"/>
                  <a:pt x="1906" y="402"/>
                </a:cubicBezTo>
                <a:cubicBezTo>
                  <a:pt x="1906" y="403"/>
                  <a:pt x="1906" y="403"/>
                  <a:pt x="1906" y="403"/>
                </a:cubicBezTo>
                <a:cubicBezTo>
                  <a:pt x="1906" y="403"/>
                  <a:pt x="1908" y="405"/>
                  <a:pt x="1908" y="405"/>
                </a:cubicBezTo>
                <a:close/>
                <a:moveTo>
                  <a:pt x="1883" y="302"/>
                </a:moveTo>
                <a:cubicBezTo>
                  <a:pt x="1883" y="302"/>
                  <a:pt x="1882" y="302"/>
                  <a:pt x="1882" y="302"/>
                </a:cubicBezTo>
                <a:cubicBezTo>
                  <a:pt x="1882" y="302"/>
                  <a:pt x="1883" y="302"/>
                  <a:pt x="1883" y="302"/>
                </a:cubicBezTo>
                <a:close/>
                <a:moveTo>
                  <a:pt x="1882" y="301"/>
                </a:moveTo>
                <a:cubicBezTo>
                  <a:pt x="1881" y="301"/>
                  <a:pt x="1881" y="301"/>
                  <a:pt x="1881" y="301"/>
                </a:cubicBezTo>
                <a:cubicBezTo>
                  <a:pt x="1881" y="301"/>
                  <a:pt x="1881" y="301"/>
                  <a:pt x="1882" y="301"/>
                </a:cubicBezTo>
                <a:close/>
                <a:moveTo>
                  <a:pt x="1852" y="353"/>
                </a:moveTo>
                <a:cubicBezTo>
                  <a:pt x="1852" y="353"/>
                  <a:pt x="1852" y="353"/>
                  <a:pt x="1852" y="353"/>
                </a:cubicBezTo>
                <a:cubicBezTo>
                  <a:pt x="1852" y="353"/>
                  <a:pt x="1852" y="353"/>
                  <a:pt x="1851" y="353"/>
                </a:cubicBezTo>
                <a:cubicBezTo>
                  <a:pt x="1852" y="353"/>
                  <a:pt x="1852" y="353"/>
                  <a:pt x="1852" y="353"/>
                </a:cubicBezTo>
                <a:close/>
                <a:moveTo>
                  <a:pt x="1851" y="347"/>
                </a:moveTo>
                <a:cubicBezTo>
                  <a:pt x="1851" y="347"/>
                  <a:pt x="1851" y="347"/>
                  <a:pt x="1851" y="347"/>
                </a:cubicBezTo>
                <a:cubicBezTo>
                  <a:pt x="1850" y="352"/>
                  <a:pt x="1850" y="352"/>
                  <a:pt x="1850" y="352"/>
                </a:cubicBezTo>
                <a:cubicBezTo>
                  <a:pt x="1851" y="347"/>
                  <a:pt x="1851" y="347"/>
                  <a:pt x="1851" y="347"/>
                </a:cubicBezTo>
                <a:cubicBezTo>
                  <a:pt x="1851" y="347"/>
                  <a:pt x="1851" y="347"/>
                  <a:pt x="1851" y="347"/>
                </a:cubicBezTo>
                <a:close/>
                <a:moveTo>
                  <a:pt x="1845" y="313"/>
                </a:move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5" y="312"/>
                  <a:pt x="1845" y="312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4" y="312"/>
                  <a:pt x="1844" y="312"/>
                </a:cubicBezTo>
                <a:cubicBezTo>
                  <a:pt x="1844" y="312"/>
                  <a:pt x="1844" y="312"/>
                  <a:pt x="1845" y="312"/>
                </a:cubicBezTo>
                <a:close/>
                <a:moveTo>
                  <a:pt x="1844" y="311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1"/>
                </a:cubicBezTo>
                <a:cubicBezTo>
                  <a:pt x="1844" y="311"/>
                  <a:pt x="1844" y="311"/>
                  <a:pt x="1844" y="311"/>
                </a:cubicBezTo>
                <a:close/>
                <a:moveTo>
                  <a:pt x="1868" y="446"/>
                </a:moveTo>
                <a:cubicBezTo>
                  <a:pt x="1868" y="446"/>
                  <a:pt x="1868" y="447"/>
                  <a:pt x="1869" y="447"/>
                </a:cubicBezTo>
                <a:cubicBezTo>
                  <a:pt x="1868" y="447"/>
                  <a:pt x="1868" y="446"/>
                  <a:pt x="1868" y="446"/>
                </a:cubicBezTo>
                <a:close/>
                <a:moveTo>
                  <a:pt x="1919" y="463"/>
                </a:moveTo>
                <a:cubicBezTo>
                  <a:pt x="1917" y="464"/>
                  <a:pt x="1914" y="462"/>
                  <a:pt x="1914" y="462"/>
                </a:cubicBezTo>
                <a:cubicBezTo>
                  <a:pt x="1914" y="462"/>
                  <a:pt x="1909" y="463"/>
                  <a:pt x="1906" y="464"/>
                </a:cubicBezTo>
                <a:cubicBezTo>
                  <a:pt x="1904" y="465"/>
                  <a:pt x="1902" y="466"/>
                  <a:pt x="1901" y="466"/>
                </a:cubicBezTo>
                <a:cubicBezTo>
                  <a:pt x="1899" y="466"/>
                  <a:pt x="1897" y="464"/>
                  <a:pt x="1895" y="464"/>
                </a:cubicBezTo>
                <a:cubicBezTo>
                  <a:pt x="1893" y="464"/>
                  <a:pt x="1890" y="464"/>
                  <a:pt x="1888" y="462"/>
                </a:cubicBezTo>
                <a:cubicBezTo>
                  <a:pt x="1885" y="460"/>
                  <a:pt x="1883" y="456"/>
                  <a:pt x="1883" y="456"/>
                </a:cubicBezTo>
                <a:cubicBezTo>
                  <a:pt x="1883" y="456"/>
                  <a:pt x="1877" y="456"/>
                  <a:pt x="1876" y="456"/>
                </a:cubicBezTo>
                <a:cubicBezTo>
                  <a:pt x="1876" y="456"/>
                  <a:pt x="1873" y="454"/>
                  <a:pt x="1872" y="453"/>
                </a:cubicBezTo>
                <a:cubicBezTo>
                  <a:pt x="1871" y="451"/>
                  <a:pt x="1869" y="449"/>
                  <a:pt x="1869" y="447"/>
                </a:cubicBezTo>
                <a:cubicBezTo>
                  <a:pt x="1869" y="446"/>
                  <a:pt x="1870" y="444"/>
                  <a:pt x="1869" y="443"/>
                </a:cubicBezTo>
                <a:cubicBezTo>
                  <a:pt x="1869" y="442"/>
                  <a:pt x="1867" y="441"/>
                  <a:pt x="1867" y="441"/>
                </a:cubicBezTo>
                <a:cubicBezTo>
                  <a:pt x="1869" y="440"/>
                  <a:pt x="1869" y="440"/>
                  <a:pt x="1869" y="440"/>
                </a:cubicBezTo>
                <a:cubicBezTo>
                  <a:pt x="1869" y="436"/>
                  <a:pt x="1869" y="436"/>
                  <a:pt x="1869" y="436"/>
                </a:cubicBezTo>
                <a:cubicBezTo>
                  <a:pt x="1869" y="436"/>
                  <a:pt x="1872" y="439"/>
                  <a:pt x="1873" y="437"/>
                </a:cubicBezTo>
                <a:cubicBezTo>
                  <a:pt x="1874" y="436"/>
                  <a:pt x="1871" y="433"/>
                  <a:pt x="1871" y="433"/>
                </a:cubicBezTo>
                <a:cubicBezTo>
                  <a:pt x="1871" y="431"/>
                  <a:pt x="1871" y="431"/>
                  <a:pt x="1871" y="431"/>
                </a:cubicBezTo>
                <a:cubicBezTo>
                  <a:pt x="1871" y="426"/>
                  <a:pt x="1871" y="426"/>
                  <a:pt x="1871" y="426"/>
                </a:cubicBezTo>
                <a:cubicBezTo>
                  <a:pt x="1873" y="426"/>
                  <a:pt x="1873" y="426"/>
                  <a:pt x="1873" y="426"/>
                </a:cubicBezTo>
                <a:cubicBezTo>
                  <a:pt x="1875" y="424"/>
                  <a:pt x="1875" y="424"/>
                  <a:pt x="1875" y="424"/>
                </a:cubicBezTo>
                <a:cubicBezTo>
                  <a:pt x="1880" y="425"/>
                  <a:pt x="1880" y="425"/>
                  <a:pt x="1880" y="425"/>
                </a:cubicBezTo>
                <a:cubicBezTo>
                  <a:pt x="1880" y="425"/>
                  <a:pt x="1879" y="424"/>
                  <a:pt x="1879" y="422"/>
                </a:cubicBezTo>
                <a:cubicBezTo>
                  <a:pt x="1878" y="420"/>
                  <a:pt x="1874" y="422"/>
                  <a:pt x="1872" y="422"/>
                </a:cubicBezTo>
                <a:cubicBezTo>
                  <a:pt x="1870" y="422"/>
                  <a:pt x="1870" y="418"/>
                  <a:pt x="1870" y="418"/>
                </a:cubicBezTo>
                <a:cubicBezTo>
                  <a:pt x="1866" y="414"/>
                  <a:pt x="1866" y="414"/>
                  <a:pt x="1866" y="414"/>
                </a:cubicBezTo>
                <a:cubicBezTo>
                  <a:pt x="1866" y="413"/>
                  <a:pt x="1866" y="413"/>
                  <a:pt x="1866" y="413"/>
                </a:cubicBezTo>
                <a:cubicBezTo>
                  <a:pt x="1860" y="407"/>
                  <a:pt x="1860" y="407"/>
                  <a:pt x="1860" y="407"/>
                </a:cubicBezTo>
                <a:cubicBezTo>
                  <a:pt x="1858" y="406"/>
                  <a:pt x="1858" y="406"/>
                  <a:pt x="1858" y="406"/>
                </a:cubicBezTo>
                <a:cubicBezTo>
                  <a:pt x="1858" y="406"/>
                  <a:pt x="1857" y="403"/>
                  <a:pt x="1856" y="402"/>
                </a:cubicBezTo>
                <a:cubicBezTo>
                  <a:pt x="1855" y="400"/>
                  <a:pt x="1851" y="399"/>
                  <a:pt x="1851" y="399"/>
                </a:cubicBezTo>
                <a:cubicBezTo>
                  <a:pt x="1851" y="396"/>
                  <a:pt x="1851" y="396"/>
                  <a:pt x="1851" y="396"/>
                </a:cubicBezTo>
                <a:cubicBezTo>
                  <a:pt x="1851" y="396"/>
                  <a:pt x="1849" y="395"/>
                  <a:pt x="1848" y="393"/>
                </a:cubicBezTo>
                <a:cubicBezTo>
                  <a:pt x="1846" y="391"/>
                  <a:pt x="1848" y="388"/>
                  <a:pt x="1847" y="385"/>
                </a:cubicBezTo>
                <a:cubicBezTo>
                  <a:pt x="1846" y="382"/>
                  <a:pt x="1842" y="379"/>
                  <a:pt x="1842" y="379"/>
                </a:cubicBezTo>
                <a:cubicBezTo>
                  <a:pt x="1842" y="379"/>
                  <a:pt x="1840" y="379"/>
                  <a:pt x="1838" y="378"/>
                </a:cubicBezTo>
                <a:cubicBezTo>
                  <a:pt x="1836" y="377"/>
                  <a:pt x="1841" y="373"/>
                  <a:pt x="1841" y="373"/>
                </a:cubicBezTo>
                <a:cubicBezTo>
                  <a:pt x="1841" y="373"/>
                  <a:pt x="1844" y="370"/>
                  <a:pt x="1844" y="368"/>
                </a:cubicBezTo>
                <a:cubicBezTo>
                  <a:pt x="1845" y="367"/>
                  <a:pt x="1842" y="364"/>
                  <a:pt x="1842" y="364"/>
                </a:cubicBezTo>
                <a:cubicBezTo>
                  <a:pt x="1842" y="364"/>
                  <a:pt x="1845" y="365"/>
                  <a:pt x="1846" y="365"/>
                </a:cubicBezTo>
                <a:cubicBezTo>
                  <a:pt x="1846" y="365"/>
                  <a:pt x="1849" y="365"/>
                  <a:pt x="1849" y="364"/>
                </a:cubicBezTo>
                <a:cubicBezTo>
                  <a:pt x="1850" y="362"/>
                  <a:pt x="1851" y="364"/>
                  <a:pt x="1853" y="363"/>
                </a:cubicBezTo>
                <a:cubicBezTo>
                  <a:pt x="1856" y="363"/>
                  <a:pt x="1852" y="360"/>
                  <a:pt x="1852" y="360"/>
                </a:cubicBezTo>
                <a:cubicBezTo>
                  <a:pt x="1852" y="360"/>
                  <a:pt x="1856" y="360"/>
                  <a:pt x="1856" y="360"/>
                </a:cubicBezTo>
                <a:cubicBezTo>
                  <a:pt x="1857" y="360"/>
                  <a:pt x="1856" y="358"/>
                  <a:pt x="1856" y="357"/>
                </a:cubicBezTo>
                <a:cubicBezTo>
                  <a:pt x="1856" y="357"/>
                  <a:pt x="1857" y="358"/>
                  <a:pt x="1857" y="358"/>
                </a:cubicBezTo>
                <a:cubicBezTo>
                  <a:pt x="1858" y="356"/>
                  <a:pt x="1858" y="356"/>
                  <a:pt x="1858" y="356"/>
                </a:cubicBezTo>
                <a:cubicBezTo>
                  <a:pt x="1858" y="356"/>
                  <a:pt x="1860" y="356"/>
                  <a:pt x="1861" y="355"/>
                </a:cubicBezTo>
                <a:cubicBezTo>
                  <a:pt x="1863" y="353"/>
                  <a:pt x="1873" y="349"/>
                  <a:pt x="1874" y="349"/>
                </a:cubicBezTo>
                <a:cubicBezTo>
                  <a:pt x="1876" y="350"/>
                  <a:pt x="1880" y="353"/>
                  <a:pt x="1882" y="353"/>
                </a:cubicBezTo>
                <a:cubicBezTo>
                  <a:pt x="1884" y="353"/>
                  <a:pt x="1886" y="349"/>
                  <a:pt x="1890" y="355"/>
                </a:cubicBezTo>
                <a:cubicBezTo>
                  <a:pt x="1894" y="360"/>
                  <a:pt x="1891" y="361"/>
                  <a:pt x="1890" y="363"/>
                </a:cubicBezTo>
                <a:cubicBezTo>
                  <a:pt x="1890" y="365"/>
                  <a:pt x="1894" y="368"/>
                  <a:pt x="1896" y="369"/>
                </a:cubicBezTo>
                <a:cubicBezTo>
                  <a:pt x="1897" y="369"/>
                  <a:pt x="1899" y="366"/>
                  <a:pt x="1901" y="365"/>
                </a:cubicBezTo>
                <a:cubicBezTo>
                  <a:pt x="1903" y="365"/>
                  <a:pt x="1903" y="367"/>
                  <a:pt x="1903" y="369"/>
                </a:cubicBezTo>
                <a:cubicBezTo>
                  <a:pt x="1903" y="371"/>
                  <a:pt x="1906" y="373"/>
                  <a:pt x="1906" y="373"/>
                </a:cubicBezTo>
                <a:cubicBezTo>
                  <a:pt x="1900" y="373"/>
                  <a:pt x="1900" y="373"/>
                  <a:pt x="1900" y="373"/>
                </a:cubicBezTo>
                <a:cubicBezTo>
                  <a:pt x="1900" y="373"/>
                  <a:pt x="1900" y="377"/>
                  <a:pt x="1898" y="375"/>
                </a:cubicBezTo>
                <a:cubicBezTo>
                  <a:pt x="1895" y="373"/>
                  <a:pt x="1900" y="370"/>
                  <a:pt x="1900" y="370"/>
                </a:cubicBezTo>
                <a:cubicBezTo>
                  <a:pt x="1900" y="370"/>
                  <a:pt x="1890" y="370"/>
                  <a:pt x="1889" y="369"/>
                </a:cubicBezTo>
                <a:cubicBezTo>
                  <a:pt x="1887" y="369"/>
                  <a:pt x="1878" y="367"/>
                  <a:pt x="1878" y="367"/>
                </a:cubicBezTo>
                <a:cubicBezTo>
                  <a:pt x="1880" y="372"/>
                  <a:pt x="1880" y="372"/>
                  <a:pt x="1880" y="372"/>
                </a:cubicBezTo>
                <a:cubicBezTo>
                  <a:pt x="1880" y="372"/>
                  <a:pt x="1876" y="370"/>
                  <a:pt x="1875" y="373"/>
                </a:cubicBezTo>
                <a:cubicBezTo>
                  <a:pt x="1874" y="376"/>
                  <a:pt x="1882" y="376"/>
                  <a:pt x="1881" y="378"/>
                </a:cubicBezTo>
                <a:cubicBezTo>
                  <a:pt x="1881" y="380"/>
                  <a:pt x="1871" y="374"/>
                  <a:pt x="1870" y="377"/>
                </a:cubicBezTo>
                <a:cubicBezTo>
                  <a:pt x="1869" y="379"/>
                  <a:pt x="1876" y="381"/>
                  <a:pt x="1876" y="381"/>
                </a:cubicBezTo>
                <a:cubicBezTo>
                  <a:pt x="1876" y="381"/>
                  <a:pt x="1876" y="383"/>
                  <a:pt x="1877" y="384"/>
                </a:cubicBezTo>
                <a:cubicBezTo>
                  <a:pt x="1879" y="386"/>
                  <a:pt x="1881" y="389"/>
                  <a:pt x="1881" y="389"/>
                </a:cubicBezTo>
                <a:cubicBezTo>
                  <a:pt x="1881" y="392"/>
                  <a:pt x="1881" y="392"/>
                  <a:pt x="1881" y="392"/>
                </a:cubicBezTo>
                <a:cubicBezTo>
                  <a:pt x="1886" y="393"/>
                  <a:pt x="1886" y="393"/>
                  <a:pt x="1886" y="393"/>
                </a:cubicBezTo>
                <a:cubicBezTo>
                  <a:pt x="1887" y="396"/>
                  <a:pt x="1887" y="396"/>
                  <a:pt x="1887" y="396"/>
                </a:cubicBezTo>
                <a:cubicBezTo>
                  <a:pt x="1887" y="396"/>
                  <a:pt x="1894" y="396"/>
                  <a:pt x="1897" y="398"/>
                </a:cubicBezTo>
                <a:cubicBezTo>
                  <a:pt x="1899" y="401"/>
                  <a:pt x="1894" y="403"/>
                  <a:pt x="1894" y="405"/>
                </a:cubicBezTo>
                <a:cubicBezTo>
                  <a:pt x="1893" y="407"/>
                  <a:pt x="1896" y="407"/>
                  <a:pt x="1896" y="407"/>
                </a:cubicBezTo>
                <a:cubicBezTo>
                  <a:pt x="1895" y="409"/>
                  <a:pt x="1898" y="412"/>
                  <a:pt x="1898" y="412"/>
                </a:cubicBezTo>
                <a:cubicBezTo>
                  <a:pt x="1898" y="412"/>
                  <a:pt x="1902" y="417"/>
                  <a:pt x="1902" y="418"/>
                </a:cubicBezTo>
                <a:cubicBezTo>
                  <a:pt x="1902" y="418"/>
                  <a:pt x="1900" y="421"/>
                  <a:pt x="1900" y="422"/>
                </a:cubicBezTo>
                <a:cubicBezTo>
                  <a:pt x="1900" y="423"/>
                  <a:pt x="1904" y="428"/>
                  <a:pt x="1904" y="428"/>
                </a:cubicBezTo>
                <a:cubicBezTo>
                  <a:pt x="1908" y="428"/>
                  <a:pt x="1908" y="428"/>
                  <a:pt x="1908" y="428"/>
                </a:cubicBezTo>
                <a:cubicBezTo>
                  <a:pt x="1908" y="431"/>
                  <a:pt x="1908" y="431"/>
                  <a:pt x="1908" y="431"/>
                </a:cubicBezTo>
                <a:cubicBezTo>
                  <a:pt x="1911" y="433"/>
                  <a:pt x="1911" y="433"/>
                  <a:pt x="1911" y="433"/>
                </a:cubicBezTo>
                <a:cubicBezTo>
                  <a:pt x="1911" y="433"/>
                  <a:pt x="1905" y="432"/>
                  <a:pt x="1906" y="434"/>
                </a:cubicBezTo>
                <a:cubicBezTo>
                  <a:pt x="1907" y="436"/>
                  <a:pt x="1909" y="435"/>
                  <a:pt x="1910" y="436"/>
                </a:cubicBezTo>
                <a:cubicBezTo>
                  <a:pt x="1912" y="436"/>
                  <a:pt x="1914" y="439"/>
                  <a:pt x="1914" y="439"/>
                </a:cubicBezTo>
                <a:cubicBezTo>
                  <a:pt x="1915" y="446"/>
                  <a:pt x="1915" y="446"/>
                  <a:pt x="1915" y="446"/>
                </a:cubicBezTo>
                <a:cubicBezTo>
                  <a:pt x="1916" y="447"/>
                  <a:pt x="1916" y="447"/>
                  <a:pt x="1916" y="447"/>
                </a:cubicBezTo>
                <a:cubicBezTo>
                  <a:pt x="1916" y="447"/>
                  <a:pt x="1915" y="450"/>
                  <a:pt x="1915" y="451"/>
                </a:cubicBezTo>
                <a:cubicBezTo>
                  <a:pt x="1915" y="453"/>
                  <a:pt x="1917" y="457"/>
                  <a:pt x="1917" y="457"/>
                </a:cubicBezTo>
                <a:cubicBezTo>
                  <a:pt x="1917" y="457"/>
                  <a:pt x="1922" y="463"/>
                  <a:pt x="1919" y="463"/>
                </a:cubicBezTo>
                <a:close/>
                <a:moveTo>
                  <a:pt x="1964" y="358"/>
                </a:moveTo>
                <a:cubicBezTo>
                  <a:pt x="1963" y="359"/>
                  <a:pt x="1960" y="360"/>
                  <a:pt x="1960" y="360"/>
                </a:cubicBezTo>
                <a:cubicBezTo>
                  <a:pt x="1960" y="360"/>
                  <a:pt x="1959" y="361"/>
                  <a:pt x="1958" y="362"/>
                </a:cubicBezTo>
                <a:cubicBezTo>
                  <a:pt x="1957" y="363"/>
                  <a:pt x="1954" y="362"/>
                  <a:pt x="1953" y="362"/>
                </a:cubicBezTo>
                <a:cubicBezTo>
                  <a:pt x="1952" y="363"/>
                  <a:pt x="1952" y="365"/>
                  <a:pt x="1952" y="365"/>
                </a:cubicBezTo>
                <a:cubicBezTo>
                  <a:pt x="1952" y="365"/>
                  <a:pt x="1956" y="366"/>
                  <a:pt x="1956" y="367"/>
                </a:cubicBezTo>
                <a:cubicBezTo>
                  <a:pt x="1957" y="367"/>
                  <a:pt x="1958" y="369"/>
                  <a:pt x="1957" y="371"/>
                </a:cubicBezTo>
                <a:cubicBezTo>
                  <a:pt x="1956" y="371"/>
                  <a:pt x="1957" y="373"/>
                  <a:pt x="1957" y="374"/>
                </a:cubicBezTo>
                <a:cubicBezTo>
                  <a:pt x="1958" y="376"/>
                  <a:pt x="1959" y="378"/>
                  <a:pt x="1958" y="379"/>
                </a:cubicBezTo>
                <a:cubicBezTo>
                  <a:pt x="1957" y="381"/>
                  <a:pt x="1957" y="382"/>
                  <a:pt x="1957" y="382"/>
                </a:cubicBezTo>
                <a:cubicBezTo>
                  <a:pt x="1957" y="382"/>
                  <a:pt x="1954" y="382"/>
                  <a:pt x="1952" y="381"/>
                </a:cubicBezTo>
                <a:cubicBezTo>
                  <a:pt x="1951" y="380"/>
                  <a:pt x="1951" y="378"/>
                  <a:pt x="1951" y="378"/>
                </a:cubicBezTo>
                <a:cubicBezTo>
                  <a:pt x="1950" y="374"/>
                  <a:pt x="1950" y="374"/>
                  <a:pt x="1950" y="374"/>
                </a:cubicBezTo>
                <a:cubicBezTo>
                  <a:pt x="1951" y="371"/>
                  <a:pt x="1951" y="371"/>
                  <a:pt x="1951" y="371"/>
                </a:cubicBezTo>
                <a:cubicBezTo>
                  <a:pt x="1951" y="369"/>
                  <a:pt x="1951" y="369"/>
                  <a:pt x="1951" y="369"/>
                </a:cubicBezTo>
                <a:cubicBezTo>
                  <a:pt x="1951" y="369"/>
                  <a:pt x="1949" y="366"/>
                  <a:pt x="1948" y="365"/>
                </a:cubicBezTo>
                <a:cubicBezTo>
                  <a:pt x="1946" y="364"/>
                  <a:pt x="1946" y="363"/>
                  <a:pt x="1946" y="363"/>
                </a:cubicBezTo>
                <a:cubicBezTo>
                  <a:pt x="1944" y="366"/>
                  <a:pt x="1944" y="366"/>
                  <a:pt x="1944" y="366"/>
                </a:cubicBezTo>
                <a:cubicBezTo>
                  <a:pt x="1944" y="368"/>
                  <a:pt x="1944" y="368"/>
                  <a:pt x="1944" y="368"/>
                </a:cubicBezTo>
                <a:cubicBezTo>
                  <a:pt x="1942" y="370"/>
                  <a:pt x="1942" y="370"/>
                  <a:pt x="1942" y="370"/>
                </a:cubicBezTo>
                <a:cubicBezTo>
                  <a:pt x="1942" y="370"/>
                  <a:pt x="1945" y="372"/>
                  <a:pt x="1945" y="374"/>
                </a:cubicBezTo>
                <a:cubicBezTo>
                  <a:pt x="1945" y="376"/>
                  <a:pt x="1944" y="376"/>
                  <a:pt x="1944" y="376"/>
                </a:cubicBezTo>
                <a:cubicBezTo>
                  <a:pt x="1944" y="376"/>
                  <a:pt x="1945" y="378"/>
                  <a:pt x="1942" y="378"/>
                </a:cubicBezTo>
                <a:cubicBezTo>
                  <a:pt x="1940" y="379"/>
                  <a:pt x="1941" y="374"/>
                  <a:pt x="1939" y="374"/>
                </a:cubicBezTo>
                <a:cubicBezTo>
                  <a:pt x="1938" y="374"/>
                  <a:pt x="1941" y="371"/>
                  <a:pt x="1941" y="371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3" y="364"/>
                  <a:pt x="1943" y="362"/>
                </a:cubicBezTo>
                <a:cubicBezTo>
                  <a:pt x="1943" y="360"/>
                  <a:pt x="1947" y="361"/>
                  <a:pt x="1947" y="361"/>
                </a:cubicBezTo>
                <a:cubicBezTo>
                  <a:pt x="1948" y="364"/>
                  <a:pt x="1948" y="364"/>
                  <a:pt x="1948" y="364"/>
                </a:cubicBezTo>
                <a:cubicBezTo>
                  <a:pt x="1948" y="364"/>
                  <a:pt x="1951" y="363"/>
                  <a:pt x="1951" y="362"/>
                </a:cubicBezTo>
                <a:cubicBezTo>
                  <a:pt x="1952" y="362"/>
                  <a:pt x="1948" y="358"/>
                  <a:pt x="1948" y="358"/>
                </a:cubicBezTo>
                <a:cubicBezTo>
                  <a:pt x="1951" y="358"/>
                  <a:pt x="1951" y="358"/>
                  <a:pt x="1951" y="358"/>
                </a:cubicBezTo>
                <a:cubicBezTo>
                  <a:pt x="1952" y="360"/>
                  <a:pt x="1952" y="360"/>
                  <a:pt x="1952" y="360"/>
                </a:cubicBezTo>
                <a:cubicBezTo>
                  <a:pt x="1956" y="360"/>
                  <a:pt x="1956" y="360"/>
                  <a:pt x="1956" y="360"/>
                </a:cubicBezTo>
                <a:cubicBezTo>
                  <a:pt x="1956" y="360"/>
                  <a:pt x="1959" y="360"/>
                  <a:pt x="1959" y="360"/>
                </a:cubicBezTo>
                <a:cubicBezTo>
                  <a:pt x="1960" y="359"/>
                  <a:pt x="1959" y="358"/>
                  <a:pt x="1958" y="358"/>
                </a:cubicBezTo>
                <a:cubicBezTo>
                  <a:pt x="1957" y="358"/>
                  <a:pt x="1956" y="357"/>
                  <a:pt x="1956" y="357"/>
                </a:cubicBezTo>
                <a:cubicBezTo>
                  <a:pt x="1956" y="357"/>
                  <a:pt x="1952" y="358"/>
                  <a:pt x="1952" y="356"/>
                </a:cubicBezTo>
                <a:cubicBezTo>
                  <a:pt x="1951" y="353"/>
                  <a:pt x="1956" y="354"/>
                  <a:pt x="1956" y="354"/>
                </a:cubicBezTo>
                <a:cubicBezTo>
                  <a:pt x="1958" y="352"/>
                  <a:pt x="1958" y="352"/>
                  <a:pt x="1958" y="352"/>
                </a:cubicBezTo>
                <a:cubicBezTo>
                  <a:pt x="1958" y="352"/>
                  <a:pt x="1960" y="356"/>
                  <a:pt x="1961" y="356"/>
                </a:cubicBezTo>
                <a:cubicBezTo>
                  <a:pt x="1962" y="356"/>
                  <a:pt x="1963" y="355"/>
                  <a:pt x="1963" y="355"/>
                </a:cubicBezTo>
                <a:cubicBezTo>
                  <a:pt x="1963" y="355"/>
                  <a:pt x="1965" y="357"/>
                  <a:pt x="1964" y="358"/>
                </a:cubicBezTo>
                <a:close/>
                <a:moveTo>
                  <a:pt x="2119" y="357"/>
                </a:moveTo>
                <a:cubicBezTo>
                  <a:pt x="2118" y="358"/>
                  <a:pt x="2115" y="357"/>
                  <a:pt x="2115" y="357"/>
                </a:cubicBezTo>
                <a:cubicBezTo>
                  <a:pt x="2115" y="357"/>
                  <a:pt x="2114" y="358"/>
                  <a:pt x="2113" y="358"/>
                </a:cubicBezTo>
                <a:cubicBezTo>
                  <a:pt x="2112" y="359"/>
                  <a:pt x="2110" y="356"/>
                  <a:pt x="2110" y="356"/>
                </a:cubicBezTo>
                <a:cubicBezTo>
                  <a:pt x="2106" y="357"/>
                  <a:pt x="2106" y="357"/>
                  <a:pt x="2106" y="357"/>
                </a:cubicBezTo>
                <a:cubicBezTo>
                  <a:pt x="2101" y="356"/>
                  <a:pt x="2101" y="356"/>
                  <a:pt x="2101" y="356"/>
                </a:cubicBezTo>
                <a:cubicBezTo>
                  <a:pt x="2099" y="356"/>
                  <a:pt x="2099" y="356"/>
                  <a:pt x="2099" y="356"/>
                </a:cubicBezTo>
                <a:cubicBezTo>
                  <a:pt x="2095" y="355"/>
                  <a:pt x="2095" y="355"/>
                  <a:pt x="2095" y="355"/>
                </a:cubicBezTo>
                <a:cubicBezTo>
                  <a:pt x="2095" y="355"/>
                  <a:pt x="2093" y="356"/>
                  <a:pt x="2090" y="356"/>
                </a:cubicBezTo>
                <a:cubicBezTo>
                  <a:pt x="2088" y="356"/>
                  <a:pt x="2088" y="354"/>
                  <a:pt x="2088" y="354"/>
                </a:cubicBezTo>
                <a:cubicBezTo>
                  <a:pt x="2088" y="354"/>
                  <a:pt x="2086" y="356"/>
                  <a:pt x="2085" y="356"/>
                </a:cubicBezTo>
                <a:cubicBezTo>
                  <a:pt x="2084" y="357"/>
                  <a:pt x="2084" y="359"/>
                  <a:pt x="2083" y="361"/>
                </a:cubicBezTo>
                <a:cubicBezTo>
                  <a:pt x="2081" y="362"/>
                  <a:pt x="2080" y="362"/>
                  <a:pt x="2080" y="362"/>
                </a:cubicBezTo>
                <a:cubicBezTo>
                  <a:pt x="2080" y="365"/>
                  <a:pt x="2080" y="365"/>
                  <a:pt x="2080" y="365"/>
                </a:cubicBezTo>
                <a:cubicBezTo>
                  <a:pt x="2079" y="367"/>
                  <a:pt x="2079" y="367"/>
                  <a:pt x="2079" y="367"/>
                </a:cubicBezTo>
                <a:cubicBezTo>
                  <a:pt x="2081" y="369"/>
                  <a:pt x="2081" y="369"/>
                  <a:pt x="2081" y="369"/>
                </a:cubicBezTo>
                <a:cubicBezTo>
                  <a:pt x="2081" y="373"/>
                  <a:pt x="2081" y="373"/>
                  <a:pt x="2081" y="373"/>
                </a:cubicBezTo>
                <a:cubicBezTo>
                  <a:pt x="2080" y="373"/>
                  <a:pt x="2074" y="365"/>
                  <a:pt x="2074" y="365"/>
                </a:cubicBezTo>
                <a:cubicBezTo>
                  <a:pt x="2074" y="365"/>
                  <a:pt x="2073" y="362"/>
                  <a:pt x="2073" y="360"/>
                </a:cubicBezTo>
                <a:cubicBezTo>
                  <a:pt x="2073" y="358"/>
                  <a:pt x="2077" y="357"/>
                  <a:pt x="2077" y="357"/>
                </a:cubicBezTo>
                <a:cubicBezTo>
                  <a:pt x="2078" y="357"/>
                  <a:pt x="2078" y="354"/>
                  <a:pt x="2079" y="353"/>
                </a:cubicBezTo>
                <a:cubicBezTo>
                  <a:pt x="2080" y="352"/>
                  <a:pt x="2086" y="353"/>
                  <a:pt x="2086" y="353"/>
                </a:cubicBezTo>
                <a:cubicBezTo>
                  <a:pt x="2087" y="353"/>
                  <a:pt x="2089" y="352"/>
                  <a:pt x="2092" y="352"/>
                </a:cubicBezTo>
                <a:cubicBezTo>
                  <a:pt x="2094" y="352"/>
                  <a:pt x="2096" y="354"/>
                  <a:pt x="2098" y="354"/>
                </a:cubicBezTo>
                <a:cubicBezTo>
                  <a:pt x="2099" y="354"/>
                  <a:pt x="2100" y="355"/>
                  <a:pt x="2103" y="355"/>
                </a:cubicBezTo>
                <a:cubicBezTo>
                  <a:pt x="2106" y="356"/>
                  <a:pt x="2105" y="353"/>
                  <a:pt x="2107" y="353"/>
                </a:cubicBezTo>
                <a:cubicBezTo>
                  <a:pt x="2110" y="353"/>
                  <a:pt x="2114" y="354"/>
                  <a:pt x="2114" y="354"/>
                </a:cubicBezTo>
                <a:cubicBezTo>
                  <a:pt x="2114" y="354"/>
                  <a:pt x="2116" y="352"/>
                  <a:pt x="2119" y="352"/>
                </a:cubicBezTo>
                <a:cubicBezTo>
                  <a:pt x="2122" y="352"/>
                  <a:pt x="2120" y="356"/>
                  <a:pt x="2119" y="357"/>
                </a:cubicBezTo>
                <a:close/>
                <a:moveTo>
                  <a:pt x="2339" y="282"/>
                </a:moveTo>
                <a:cubicBezTo>
                  <a:pt x="2339" y="282"/>
                  <a:pt x="2339" y="285"/>
                  <a:pt x="2339" y="286"/>
                </a:cubicBezTo>
                <a:cubicBezTo>
                  <a:pt x="2338" y="286"/>
                  <a:pt x="2336" y="288"/>
                  <a:pt x="2336" y="288"/>
                </a:cubicBezTo>
                <a:cubicBezTo>
                  <a:pt x="2336" y="288"/>
                  <a:pt x="2333" y="289"/>
                  <a:pt x="2332" y="289"/>
                </a:cubicBezTo>
                <a:cubicBezTo>
                  <a:pt x="2331" y="289"/>
                  <a:pt x="2331" y="292"/>
                  <a:pt x="2331" y="292"/>
                </a:cubicBezTo>
                <a:cubicBezTo>
                  <a:pt x="2331" y="292"/>
                  <a:pt x="2331" y="290"/>
                  <a:pt x="2327" y="292"/>
                </a:cubicBezTo>
                <a:cubicBezTo>
                  <a:pt x="2322" y="293"/>
                  <a:pt x="2329" y="295"/>
                  <a:pt x="2329" y="295"/>
                </a:cubicBezTo>
                <a:cubicBezTo>
                  <a:pt x="2329" y="295"/>
                  <a:pt x="2326" y="297"/>
                  <a:pt x="2326" y="298"/>
                </a:cubicBezTo>
                <a:cubicBezTo>
                  <a:pt x="2326" y="301"/>
                  <a:pt x="2323" y="299"/>
                  <a:pt x="2323" y="299"/>
                </a:cubicBezTo>
                <a:cubicBezTo>
                  <a:pt x="2323" y="299"/>
                  <a:pt x="2322" y="302"/>
                  <a:pt x="2318" y="302"/>
                </a:cubicBezTo>
                <a:cubicBezTo>
                  <a:pt x="2313" y="302"/>
                  <a:pt x="2314" y="301"/>
                  <a:pt x="2314" y="301"/>
                </a:cubicBezTo>
                <a:cubicBezTo>
                  <a:pt x="2309" y="299"/>
                  <a:pt x="2309" y="299"/>
                  <a:pt x="2309" y="299"/>
                </a:cubicBezTo>
                <a:cubicBezTo>
                  <a:pt x="2311" y="298"/>
                  <a:pt x="2311" y="298"/>
                  <a:pt x="2311" y="298"/>
                </a:cubicBezTo>
                <a:cubicBezTo>
                  <a:pt x="2316" y="298"/>
                  <a:pt x="2316" y="298"/>
                  <a:pt x="2316" y="298"/>
                </a:cubicBezTo>
                <a:cubicBezTo>
                  <a:pt x="2316" y="297"/>
                  <a:pt x="2316" y="297"/>
                  <a:pt x="2316" y="297"/>
                </a:cubicBezTo>
                <a:cubicBezTo>
                  <a:pt x="2316" y="297"/>
                  <a:pt x="2319" y="297"/>
                  <a:pt x="2321" y="296"/>
                </a:cubicBezTo>
                <a:cubicBezTo>
                  <a:pt x="2322" y="294"/>
                  <a:pt x="2322" y="290"/>
                  <a:pt x="2322" y="290"/>
                </a:cubicBezTo>
                <a:cubicBezTo>
                  <a:pt x="2322" y="290"/>
                  <a:pt x="2323" y="290"/>
                  <a:pt x="2325" y="290"/>
                </a:cubicBezTo>
                <a:cubicBezTo>
                  <a:pt x="2327" y="289"/>
                  <a:pt x="2327" y="286"/>
                  <a:pt x="2327" y="286"/>
                </a:cubicBezTo>
                <a:cubicBezTo>
                  <a:pt x="2327" y="286"/>
                  <a:pt x="2325" y="285"/>
                  <a:pt x="2326" y="284"/>
                </a:cubicBezTo>
                <a:cubicBezTo>
                  <a:pt x="2326" y="283"/>
                  <a:pt x="2330" y="279"/>
                  <a:pt x="2330" y="279"/>
                </a:cubicBezTo>
                <a:cubicBezTo>
                  <a:pt x="2330" y="277"/>
                  <a:pt x="2330" y="277"/>
                  <a:pt x="2330" y="277"/>
                </a:cubicBezTo>
                <a:cubicBezTo>
                  <a:pt x="2333" y="274"/>
                  <a:pt x="2333" y="274"/>
                  <a:pt x="2333" y="274"/>
                </a:cubicBezTo>
                <a:cubicBezTo>
                  <a:pt x="2331" y="272"/>
                  <a:pt x="2331" y="272"/>
                  <a:pt x="2331" y="272"/>
                </a:cubicBezTo>
                <a:cubicBezTo>
                  <a:pt x="2331" y="261"/>
                  <a:pt x="2331" y="261"/>
                  <a:pt x="2331" y="261"/>
                </a:cubicBezTo>
                <a:cubicBezTo>
                  <a:pt x="2331" y="261"/>
                  <a:pt x="2328" y="256"/>
                  <a:pt x="2331" y="255"/>
                </a:cubicBezTo>
                <a:cubicBezTo>
                  <a:pt x="2335" y="254"/>
                  <a:pt x="2335" y="260"/>
                  <a:pt x="2335" y="260"/>
                </a:cubicBezTo>
                <a:cubicBezTo>
                  <a:pt x="2335" y="260"/>
                  <a:pt x="2337" y="261"/>
                  <a:pt x="2337" y="264"/>
                </a:cubicBezTo>
                <a:cubicBezTo>
                  <a:pt x="2338" y="267"/>
                  <a:pt x="2339" y="270"/>
                  <a:pt x="2339" y="270"/>
                </a:cubicBezTo>
                <a:cubicBezTo>
                  <a:pt x="2342" y="274"/>
                  <a:pt x="2342" y="274"/>
                  <a:pt x="2342" y="274"/>
                </a:cubicBezTo>
                <a:cubicBezTo>
                  <a:pt x="2340" y="276"/>
                  <a:pt x="2340" y="276"/>
                  <a:pt x="2340" y="276"/>
                </a:cubicBezTo>
                <a:cubicBezTo>
                  <a:pt x="2340" y="276"/>
                  <a:pt x="2338" y="277"/>
                  <a:pt x="2338" y="279"/>
                </a:cubicBezTo>
                <a:cubicBezTo>
                  <a:pt x="2338" y="280"/>
                  <a:pt x="2342" y="278"/>
                  <a:pt x="2342" y="278"/>
                </a:cubicBezTo>
                <a:cubicBezTo>
                  <a:pt x="2342" y="281"/>
                  <a:pt x="2342" y="281"/>
                  <a:pt x="2342" y="281"/>
                </a:cubicBezTo>
                <a:cubicBezTo>
                  <a:pt x="2339" y="282"/>
                  <a:pt x="2339" y="282"/>
                  <a:pt x="2339" y="282"/>
                </a:cubicBezTo>
                <a:cubicBezTo>
                  <a:pt x="2339" y="282"/>
                  <a:pt x="2339" y="282"/>
                  <a:pt x="2339" y="282"/>
                </a:cubicBezTo>
                <a:close/>
                <a:moveTo>
                  <a:pt x="2727" y="377"/>
                </a:moveTo>
                <a:cubicBezTo>
                  <a:pt x="2725" y="386"/>
                  <a:pt x="2725" y="386"/>
                  <a:pt x="2725" y="386"/>
                </a:cubicBezTo>
                <a:cubicBezTo>
                  <a:pt x="2727" y="385"/>
                  <a:pt x="2727" y="385"/>
                  <a:pt x="2727" y="385"/>
                </a:cubicBezTo>
                <a:cubicBezTo>
                  <a:pt x="2730" y="379"/>
                  <a:pt x="2730" y="379"/>
                  <a:pt x="2730" y="379"/>
                </a:cubicBezTo>
                <a:cubicBezTo>
                  <a:pt x="2727" y="377"/>
                  <a:pt x="2727" y="377"/>
                  <a:pt x="2727" y="377"/>
                </a:cubicBezTo>
                <a:cubicBezTo>
                  <a:pt x="2727" y="377"/>
                  <a:pt x="2727" y="377"/>
                  <a:pt x="2727" y="377"/>
                </a:cubicBezTo>
                <a:close/>
                <a:moveTo>
                  <a:pt x="2639" y="502"/>
                </a:moveTo>
                <a:cubicBezTo>
                  <a:pt x="2643" y="509"/>
                  <a:pt x="2643" y="509"/>
                  <a:pt x="2643" y="509"/>
                </a:cubicBezTo>
                <a:cubicBezTo>
                  <a:pt x="2645" y="508"/>
                  <a:pt x="2645" y="508"/>
                  <a:pt x="2645" y="508"/>
                </a:cubicBezTo>
                <a:cubicBezTo>
                  <a:pt x="2645" y="508"/>
                  <a:pt x="2644" y="504"/>
                  <a:pt x="2645" y="505"/>
                </a:cubicBezTo>
                <a:cubicBezTo>
                  <a:pt x="2647" y="506"/>
                  <a:pt x="2649" y="510"/>
                  <a:pt x="2649" y="510"/>
                </a:cubicBezTo>
                <a:cubicBezTo>
                  <a:pt x="2649" y="515"/>
                  <a:pt x="2649" y="515"/>
                  <a:pt x="2649" y="515"/>
                </a:cubicBezTo>
                <a:cubicBezTo>
                  <a:pt x="2647" y="517"/>
                  <a:pt x="2647" y="517"/>
                  <a:pt x="2647" y="517"/>
                </a:cubicBezTo>
                <a:cubicBezTo>
                  <a:pt x="2647" y="517"/>
                  <a:pt x="2649" y="526"/>
                  <a:pt x="2651" y="527"/>
                </a:cubicBezTo>
                <a:cubicBezTo>
                  <a:pt x="2653" y="527"/>
                  <a:pt x="2653" y="520"/>
                  <a:pt x="2653" y="520"/>
                </a:cubicBezTo>
                <a:cubicBezTo>
                  <a:pt x="2657" y="522"/>
                  <a:pt x="2657" y="522"/>
                  <a:pt x="2657" y="522"/>
                </a:cubicBezTo>
                <a:cubicBezTo>
                  <a:pt x="2657" y="522"/>
                  <a:pt x="2657" y="528"/>
                  <a:pt x="2657" y="528"/>
                </a:cubicBezTo>
                <a:cubicBezTo>
                  <a:pt x="2658" y="528"/>
                  <a:pt x="2661" y="523"/>
                  <a:pt x="2661" y="523"/>
                </a:cubicBezTo>
                <a:cubicBezTo>
                  <a:pt x="2661" y="523"/>
                  <a:pt x="2659" y="515"/>
                  <a:pt x="2659" y="513"/>
                </a:cubicBezTo>
                <a:cubicBezTo>
                  <a:pt x="2659" y="510"/>
                  <a:pt x="2662" y="509"/>
                  <a:pt x="2662" y="509"/>
                </a:cubicBezTo>
                <a:cubicBezTo>
                  <a:pt x="2662" y="506"/>
                  <a:pt x="2657" y="503"/>
                  <a:pt x="2657" y="503"/>
                </a:cubicBezTo>
                <a:cubicBezTo>
                  <a:pt x="2657" y="503"/>
                  <a:pt x="2657" y="501"/>
                  <a:pt x="2656" y="500"/>
                </a:cubicBezTo>
                <a:cubicBezTo>
                  <a:pt x="2654" y="500"/>
                  <a:pt x="2653" y="500"/>
                  <a:pt x="2653" y="500"/>
                </a:cubicBezTo>
                <a:cubicBezTo>
                  <a:pt x="2653" y="500"/>
                  <a:pt x="2649" y="497"/>
                  <a:pt x="2647" y="497"/>
                </a:cubicBezTo>
                <a:cubicBezTo>
                  <a:pt x="2646" y="497"/>
                  <a:pt x="2644" y="500"/>
                  <a:pt x="2644" y="500"/>
                </a:cubicBezTo>
                <a:cubicBezTo>
                  <a:pt x="2639" y="502"/>
                  <a:pt x="2639" y="502"/>
                  <a:pt x="2639" y="502"/>
                </a:cubicBezTo>
                <a:cubicBezTo>
                  <a:pt x="2639" y="502"/>
                  <a:pt x="2639" y="502"/>
                  <a:pt x="2639" y="502"/>
                </a:cubicBezTo>
                <a:close/>
                <a:moveTo>
                  <a:pt x="2697" y="453"/>
                </a:moveTo>
                <a:cubicBezTo>
                  <a:pt x="2699" y="453"/>
                  <a:pt x="2699" y="453"/>
                  <a:pt x="2699" y="453"/>
                </a:cubicBezTo>
                <a:cubicBezTo>
                  <a:pt x="2699" y="450"/>
                  <a:pt x="2699" y="450"/>
                  <a:pt x="2699" y="450"/>
                </a:cubicBezTo>
                <a:cubicBezTo>
                  <a:pt x="2698" y="449"/>
                  <a:pt x="2698" y="449"/>
                  <a:pt x="2698" y="449"/>
                </a:cubicBezTo>
                <a:cubicBezTo>
                  <a:pt x="2696" y="446"/>
                  <a:pt x="2696" y="446"/>
                  <a:pt x="2696" y="446"/>
                </a:cubicBezTo>
                <a:cubicBezTo>
                  <a:pt x="2695" y="448"/>
                  <a:pt x="2695" y="448"/>
                  <a:pt x="2695" y="448"/>
                </a:cubicBezTo>
                <a:cubicBezTo>
                  <a:pt x="2696" y="450"/>
                  <a:pt x="2696" y="450"/>
                  <a:pt x="2696" y="450"/>
                </a:cubicBezTo>
                <a:cubicBezTo>
                  <a:pt x="2697" y="453"/>
                  <a:pt x="2697" y="453"/>
                  <a:pt x="2697" y="453"/>
                </a:cubicBezTo>
                <a:cubicBezTo>
                  <a:pt x="2697" y="453"/>
                  <a:pt x="2697" y="453"/>
                  <a:pt x="2697" y="453"/>
                </a:cubicBezTo>
                <a:close/>
                <a:moveTo>
                  <a:pt x="2647" y="575"/>
                </a:moveTo>
                <a:cubicBezTo>
                  <a:pt x="2645" y="577"/>
                  <a:pt x="2643" y="584"/>
                  <a:pt x="2643" y="584"/>
                </a:cubicBezTo>
                <a:cubicBezTo>
                  <a:pt x="2646" y="585"/>
                  <a:pt x="2646" y="585"/>
                  <a:pt x="2646" y="585"/>
                </a:cubicBezTo>
                <a:cubicBezTo>
                  <a:pt x="2646" y="585"/>
                  <a:pt x="2648" y="580"/>
                  <a:pt x="2648" y="580"/>
                </a:cubicBezTo>
                <a:cubicBezTo>
                  <a:pt x="2647" y="580"/>
                  <a:pt x="2650" y="577"/>
                  <a:pt x="2650" y="577"/>
                </a:cubicBezTo>
                <a:cubicBezTo>
                  <a:pt x="2650" y="577"/>
                  <a:pt x="2649" y="573"/>
                  <a:pt x="2647" y="575"/>
                </a:cubicBezTo>
                <a:close/>
                <a:moveTo>
                  <a:pt x="2649" y="568"/>
                </a:moveTo>
                <a:cubicBezTo>
                  <a:pt x="2649" y="570"/>
                  <a:pt x="2649" y="570"/>
                  <a:pt x="2649" y="570"/>
                </a:cubicBezTo>
                <a:cubicBezTo>
                  <a:pt x="2652" y="570"/>
                  <a:pt x="2652" y="570"/>
                  <a:pt x="2652" y="570"/>
                </a:cubicBezTo>
                <a:cubicBezTo>
                  <a:pt x="2649" y="568"/>
                  <a:pt x="2649" y="568"/>
                  <a:pt x="2649" y="568"/>
                </a:cubicBezTo>
                <a:cubicBezTo>
                  <a:pt x="2649" y="568"/>
                  <a:pt x="2649" y="568"/>
                  <a:pt x="2649" y="568"/>
                </a:cubicBezTo>
                <a:close/>
                <a:moveTo>
                  <a:pt x="2721" y="381"/>
                </a:moveTo>
                <a:cubicBezTo>
                  <a:pt x="2719" y="379"/>
                  <a:pt x="2718" y="384"/>
                  <a:pt x="2718" y="384"/>
                </a:cubicBezTo>
                <a:cubicBezTo>
                  <a:pt x="2718" y="384"/>
                  <a:pt x="2704" y="381"/>
                  <a:pt x="2701" y="379"/>
                </a:cubicBezTo>
                <a:cubicBezTo>
                  <a:pt x="2697" y="377"/>
                  <a:pt x="2682" y="364"/>
                  <a:pt x="2680" y="367"/>
                </a:cubicBezTo>
                <a:cubicBezTo>
                  <a:pt x="2678" y="369"/>
                  <a:pt x="2687" y="376"/>
                  <a:pt x="2687" y="376"/>
                </a:cubicBezTo>
                <a:cubicBezTo>
                  <a:pt x="2687" y="379"/>
                  <a:pt x="2687" y="379"/>
                  <a:pt x="2687" y="379"/>
                </a:cubicBezTo>
                <a:cubicBezTo>
                  <a:pt x="2687" y="379"/>
                  <a:pt x="2690" y="382"/>
                  <a:pt x="2690" y="383"/>
                </a:cubicBezTo>
                <a:cubicBezTo>
                  <a:pt x="2690" y="385"/>
                  <a:pt x="2689" y="387"/>
                  <a:pt x="2689" y="387"/>
                </a:cubicBezTo>
                <a:cubicBezTo>
                  <a:pt x="2689" y="387"/>
                  <a:pt x="2693" y="392"/>
                  <a:pt x="2692" y="392"/>
                </a:cubicBezTo>
                <a:cubicBezTo>
                  <a:pt x="2690" y="392"/>
                  <a:pt x="2684" y="391"/>
                  <a:pt x="2683" y="390"/>
                </a:cubicBezTo>
                <a:cubicBezTo>
                  <a:pt x="2681" y="390"/>
                  <a:pt x="2686" y="394"/>
                  <a:pt x="2686" y="394"/>
                </a:cubicBezTo>
                <a:cubicBezTo>
                  <a:pt x="2682" y="398"/>
                  <a:pt x="2682" y="398"/>
                  <a:pt x="2682" y="398"/>
                </a:cubicBezTo>
                <a:cubicBezTo>
                  <a:pt x="2682" y="398"/>
                  <a:pt x="2684" y="401"/>
                  <a:pt x="2684" y="402"/>
                </a:cubicBezTo>
                <a:cubicBezTo>
                  <a:pt x="2685" y="403"/>
                  <a:pt x="2690" y="406"/>
                  <a:pt x="2690" y="406"/>
                </a:cubicBezTo>
                <a:cubicBezTo>
                  <a:pt x="2690" y="406"/>
                  <a:pt x="2688" y="413"/>
                  <a:pt x="2693" y="413"/>
                </a:cubicBezTo>
                <a:cubicBezTo>
                  <a:pt x="2695" y="412"/>
                  <a:pt x="2692" y="409"/>
                  <a:pt x="2694" y="409"/>
                </a:cubicBezTo>
                <a:cubicBezTo>
                  <a:pt x="2697" y="409"/>
                  <a:pt x="2699" y="409"/>
                  <a:pt x="2699" y="409"/>
                </a:cubicBezTo>
                <a:cubicBezTo>
                  <a:pt x="2700" y="407"/>
                  <a:pt x="2700" y="407"/>
                  <a:pt x="2700" y="407"/>
                </a:cubicBezTo>
                <a:cubicBezTo>
                  <a:pt x="2695" y="404"/>
                  <a:pt x="2695" y="404"/>
                  <a:pt x="2695" y="404"/>
                </a:cubicBezTo>
                <a:cubicBezTo>
                  <a:pt x="2692" y="404"/>
                  <a:pt x="2692" y="404"/>
                  <a:pt x="2692" y="404"/>
                </a:cubicBezTo>
                <a:cubicBezTo>
                  <a:pt x="2692" y="404"/>
                  <a:pt x="2685" y="401"/>
                  <a:pt x="2688" y="400"/>
                </a:cubicBezTo>
                <a:cubicBezTo>
                  <a:pt x="2692" y="398"/>
                  <a:pt x="2694" y="402"/>
                  <a:pt x="2694" y="402"/>
                </a:cubicBezTo>
                <a:cubicBezTo>
                  <a:pt x="2694" y="402"/>
                  <a:pt x="2697" y="400"/>
                  <a:pt x="2699" y="399"/>
                </a:cubicBezTo>
                <a:cubicBezTo>
                  <a:pt x="2701" y="399"/>
                  <a:pt x="2716" y="407"/>
                  <a:pt x="2717" y="406"/>
                </a:cubicBezTo>
                <a:cubicBezTo>
                  <a:pt x="2718" y="405"/>
                  <a:pt x="2714" y="397"/>
                  <a:pt x="2718" y="395"/>
                </a:cubicBezTo>
                <a:cubicBezTo>
                  <a:pt x="2722" y="394"/>
                  <a:pt x="2721" y="397"/>
                  <a:pt x="2725" y="395"/>
                </a:cubicBezTo>
                <a:cubicBezTo>
                  <a:pt x="2729" y="393"/>
                  <a:pt x="2730" y="392"/>
                  <a:pt x="2730" y="392"/>
                </a:cubicBezTo>
                <a:cubicBezTo>
                  <a:pt x="2722" y="387"/>
                  <a:pt x="2722" y="387"/>
                  <a:pt x="2722" y="387"/>
                </a:cubicBezTo>
                <a:cubicBezTo>
                  <a:pt x="2722" y="387"/>
                  <a:pt x="2722" y="382"/>
                  <a:pt x="2721" y="381"/>
                </a:cubicBezTo>
                <a:close/>
                <a:moveTo>
                  <a:pt x="1804" y="932"/>
                </a:moveTo>
                <a:cubicBezTo>
                  <a:pt x="1803" y="934"/>
                  <a:pt x="1803" y="939"/>
                  <a:pt x="1806" y="939"/>
                </a:cubicBezTo>
                <a:cubicBezTo>
                  <a:pt x="1809" y="938"/>
                  <a:pt x="1806" y="930"/>
                  <a:pt x="1804" y="932"/>
                </a:cubicBezTo>
                <a:close/>
                <a:moveTo>
                  <a:pt x="1801" y="942"/>
                </a:moveTo>
                <a:cubicBezTo>
                  <a:pt x="1797" y="942"/>
                  <a:pt x="1799" y="947"/>
                  <a:pt x="1799" y="947"/>
                </a:cubicBezTo>
                <a:cubicBezTo>
                  <a:pt x="1799" y="947"/>
                  <a:pt x="1803" y="951"/>
                  <a:pt x="1805" y="951"/>
                </a:cubicBezTo>
                <a:cubicBezTo>
                  <a:pt x="1807" y="950"/>
                  <a:pt x="1803" y="946"/>
                  <a:pt x="1803" y="946"/>
                </a:cubicBezTo>
                <a:cubicBezTo>
                  <a:pt x="1803" y="946"/>
                  <a:pt x="1804" y="942"/>
                  <a:pt x="1801" y="942"/>
                </a:cubicBezTo>
                <a:close/>
                <a:moveTo>
                  <a:pt x="1911" y="1038"/>
                </a:moveTo>
                <a:cubicBezTo>
                  <a:pt x="1911" y="1038"/>
                  <a:pt x="1906" y="1028"/>
                  <a:pt x="1906" y="1027"/>
                </a:cubicBezTo>
                <a:cubicBezTo>
                  <a:pt x="1906" y="1026"/>
                  <a:pt x="1906" y="1024"/>
                  <a:pt x="1906" y="1024"/>
                </a:cubicBezTo>
                <a:cubicBezTo>
                  <a:pt x="1898" y="1015"/>
                  <a:pt x="1898" y="1015"/>
                  <a:pt x="1898" y="1015"/>
                </a:cubicBezTo>
                <a:cubicBezTo>
                  <a:pt x="1894" y="1021"/>
                  <a:pt x="1894" y="1021"/>
                  <a:pt x="1894" y="1021"/>
                </a:cubicBezTo>
                <a:cubicBezTo>
                  <a:pt x="1894" y="1021"/>
                  <a:pt x="1894" y="1025"/>
                  <a:pt x="1893" y="1028"/>
                </a:cubicBezTo>
                <a:cubicBezTo>
                  <a:pt x="1892" y="1031"/>
                  <a:pt x="1888" y="1034"/>
                  <a:pt x="1888" y="1034"/>
                </a:cubicBezTo>
                <a:cubicBezTo>
                  <a:pt x="1888" y="1034"/>
                  <a:pt x="1886" y="1032"/>
                  <a:pt x="1885" y="1034"/>
                </a:cubicBezTo>
                <a:cubicBezTo>
                  <a:pt x="1883" y="1035"/>
                  <a:pt x="1886" y="1039"/>
                  <a:pt x="1884" y="1042"/>
                </a:cubicBezTo>
                <a:cubicBezTo>
                  <a:pt x="1882" y="1044"/>
                  <a:pt x="1881" y="1044"/>
                  <a:pt x="1881" y="1044"/>
                </a:cubicBezTo>
                <a:cubicBezTo>
                  <a:pt x="1881" y="1044"/>
                  <a:pt x="1880" y="1040"/>
                  <a:pt x="1879" y="1041"/>
                </a:cubicBezTo>
                <a:cubicBezTo>
                  <a:pt x="1877" y="1042"/>
                  <a:pt x="1878" y="1048"/>
                  <a:pt x="1878" y="1048"/>
                </a:cubicBezTo>
                <a:cubicBezTo>
                  <a:pt x="1876" y="1054"/>
                  <a:pt x="1876" y="1054"/>
                  <a:pt x="1876" y="1054"/>
                </a:cubicBezTo>
                <a:cubicBezTo>
                  <a:pt x="1875" y="1051"/>
                  <a:pt x="1875" y="1051"/>
                  <a:pt x="1875" y="1051"/>
                </a:cubicBezTo>
                <a:cubicBezTo>
                  <a:pt x="1875" y="1047"/>
                  <a:pt x="1875" y="1047"/>
                  <a:pt x="1875" y="1047"/>
                </a:cubicBezTo>
                <a:cubicBezTo>
                  <a:pt x="1873" y="1051"/>
                  <a:pt x="1873" y="1051"/>
                  <a:pt x="1873" y="1051"/>
                </a:cubicBezTo>
                <a:cubicBezTo>
                  <a:pt x="1873" y="1056"/>
                  <a:pt x="1873" y="1056"/>
                  <a:pt x="1873" y="1056"/>
                </a:cubicBezTo>
                <a:cubicBezTo>
                  <a:pt x="1867" y="1055"/>
                  <a:pt x="1867" y="1055"/>
                  <a:pt x="1867" y="1055"/>
                </a:cubicBezTo>
                <a:cubicBezTo>
                  <a:pt x="1864" y="1058"/>
                  <a:pt x="1864" y="1058"/>
                  <a:pt x="1864" y="1058"/>
                </a:cubicBezTo>
                <a:cubicBezTo>
                  <a:pt x="1856" y="1057"/>
                  <a:pt x="1856" y="1057"/>
                  <a:pt x="1856" y="1057"/>
                </a:cubicBezTo>
                <a:cubicBezTo>
                  <a:pt x="1856" y="1061"/>
                  <a:pt x="1856" y="1061"/>
                  <a:pt x="1856" y="1061"/>
                </a:cubicBezTo>
                <a:cubicBezTo>
                  <a:pt x="1850" y="1060"/>
                  <a:pt x="1850" y="1060"/>
                  <a:pt x="1850" y="1060"/>
                </a:cubicBezTo>
                <a:cubicBezTo>
                  <a:pt x="1846" y="1061"/>
                  <a:pt x="1846" y="1061"/>
                  <a:pt x="1846" y="1061"/>
                </a:cubicBezTo>
                <a:cubicBezTo>
                  <a:pt x="1848" y="1065"/>
                  <a:pt x="1848" y="1065"/>
                  <a:pt x="1848" y="1065"/>
                </a:cubicBezTo>
                <a:cubicBezTo>
                  <a:pt x="1848" y="1065"/>
                  <a:pt x="1845" y="1069"/>
                  <a:pt x="1842" y="1072"/>
                </a:cubicBezTo>
                <a:cubicBezTo>
                  <a:pt x="1839" y="1074"/>
                  <a:pt x="1842" y="1084"/>
                  <a:pt x="1843" y="1088"/>
                </a:cubicBezTo>
                <a:cubicBezTo>
                  <a:pt x="1843" y="1093"/>
                  <a:pt x="1844" y="1106"/>
                  <a:pt x="1844" y="1106"/>
                </a:cubicBezTo>
                <a:cubicBezTo>
                  <a:pt x="1844" y="1106"/>
                  <a:pt x="1839" y="1110"/>
                  <a:pt x="1836" y="1114"/>
                </a:cubicBezTo>
                <a:cubicBezTo>
                  <a:pt x="1833" y="1118"/>
                  <a:pt x="1828" y="1118"/>
                  <a:pt x="1829" y="1132"/>
                </a:cubicBezTo>
                <a:cubicBezTo>
                  <a:pt x="1830" y="1145"/>
                  <a:pt x="1836" y="1153"/>
                  <a:pt x="1836" y="1153"/>
                </a:cubicBezTo>
                <a:cubicBezTo>
                  <a:pt x="1834" y="1156"/>
                  <a:pt x="1834" y="1156"/>
                  <a:pt x="1834" y="1156"/>
                </a:cubicBezTo>
                <a:cubicBezTo>
                  <a:pt x="1834" y="1156"/>
                  <a:pt x="1834" y="1159"/>
                  <a:pt x="1840" y="1165"/>
                </a:cubicBezTo>
                <a:cubicBezTo>
                  <a:pt x="1847" y="1171"/>
                  <a:pt x="1856" y="1164"/>
                  <a:pt x="1856" y="1164"/>
                </a:cubicBezTo>
                <a:cubicBezTo>
                  <a:pt x="1856" y="1164"/>
                  <a:pt x="1857" y="1165"/>
                  <a:pt x="1859" y="1164"/>
                </a:cubicBezTo>
                <a:cubicBezTo>
                  <a:pt x="1861" y="1163"/>
                  <a:pt x="1862" y="1161"/>
                  <a:pt x="1867" y="1157"/>
                </a:cubicBezTo>
                <a:cubicBezTo>
                  <a:pt x="1873" y="1152"/>
                  <a:pt x="1872" y="1143"/>
                  <a:pt x="1872" y="1143"/>
                </a:cubicBezTo>
                <a:cubicBezTo>
                  <a:pt x="1872" y="1143"/>
                  <a:pt x="1876" y="1130"/>
                  <a:pt x="1884" y="1115"/>
                </a:cubicBezTo>
                <a:cubicBezTo>
                  <a:pt x="1892" y="1101"/>
                  <a:pt x="1897" y="1085"/>
                  <a:pt x="1899" y="1080"/>
                </a:cubicBezTo>
                <a:cubicBezTo>
                  <a:pt x="1900" y="1075"/>
                  <a:pt x="1897" y="1072"/>
                  <a:pt x="1898" y="1069"/>
                </a:cubicBezTo>
                <a:cubicBezTo>
                  <a:pt x="1898" y="1066"/>
                  <a:pt x="1903" y="1061"/>
                  <a:pt x="1903" y="1061"/>
                </a:cubicBezTo>
                <a:cubicBezTo>
                  <a:pt x="1902" y="1056"/>
                  <a:pt x="1902" y="1056"/>
                  <a:pt x="1902" y="1056"/>
                </a:cubicBezTo>
                <a:cubicBezTo>
                  <a:pt x="1906" y="1055"/>
                  <a:pt x="1906" y="1055"/>
                  <a:pt x="1906" y="1055"/>
                </a:cubicBezTo>
                <a:cubicBezTo>
                  <a:pt x="1906" y="1055"/>
                  <a:pt x="1911" y="1057"/>
                  <a:pt x="1912" y="1056"/>
                </a:cubicBezTo>
                <a:cubicBezTo>
                  <a:pt x="1913" y="1055"/>
                  <a:pt x="1908" y="1045"/>
                  <a:pt x="1908" y="1045"/>
                </a:cubicBezTo>
                <a:cubicBezTo>
                  <a:pt x="1911" y="1038"/>
                  <a:pt x="1911" y="1038"/>
                  <a:pt x="1911" y="1038"/>
                </a:cubicBezTo>
                <a:cubicBezTo>
                  <a:pt x="1911" y="1038"/>
                  <a:pt x="1911" y="1038"/>
                  <a:pt x="1911" y="1038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D15218BD-28B2-4DE3-A995-40C3CC49AD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404E7883-6F6D-4A3D-BE15-9778CCCAA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473371BB-2D05-4230-BC88-EA1AB1FC633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A38E1BDB-D20F-466C-B976-D851D5C20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402946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ita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020C1CA9-F4AC-4E0E-B866-3376EB46B703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1436F573-5E96-4072-9BF6-E46AF6A547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45389275-C049-4719-AAEE-6F963AB85CA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BE0B22A6-5A3D-48FF-9FB1-0D33833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9302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Zitat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0626A875-D321-48B1-94F8-0ABA576692A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CD490BA-96A5-4D8A-98E5-8BB739FEE2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6E45FBDA-FADD-4D89-8EFE-03F4F73EB61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0B594D79-FE43-4578-A9F9-1224A526C9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58011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itat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270A7CFB-CCD3-4981-8A06-B30F0947B1D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326A4F2-777D-4195-9351-3B9DF3F17E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734580BE-41A3-4543-9172-B6B416CEB86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CE0380D0-DCAF-4CFA-AF54-F2216EE7EE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16875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Zitat">
    <p:bg bwMode="lt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096550C7-7E5F-4090-BF5E-6938848F37F7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80BCDB9-6C14-4364-865C-80158D4502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197A381-43A3-4BF8-A72E-3C7CADC5781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4E71AB58-9639-4726-821E-D75396F65D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61305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Zitat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DDAABBF3-CB38-45C1-8C54-D964905E0B05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6201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Zitat">
    <p:bg bwMode="lt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EC44AF76-C728-4FF1-B177-43AA2978CF7C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73230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Zita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accent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5598F78E-2DF5-4233-808B-D5DC7BE23329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rm">
            <a:extLst>
              <a:ext uri="{FF2B5EF4-FFF2-40B4-BE49-F238E27FC236}">
                <a16:creationId xmlns:a16="http://schemas.microsoft.com/office/drawing/2014/main" id="{C483D2F5-5E03-4303-A858-9CDC5472EB33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accent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6674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CF4742D1-25B2-4198-A88E-C126244F5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0" name="Text 1">
            <a:extLst>
              <a:ext uri="{FF2B5EF4-FFF2-40B4-BE49-F238E27FC236}">
                <a16:creationId xmlns:a16="http://schemas.microsoft.com/office/drawing/2014/main" id="{23A33831-295E-4736-A6D2-4BDA3CB1F7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326841" y="1512000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Text 2">
            <a:extLst>
              <a:ext uri="{FF2B5EF4-FFF2-40B4-BE49-F238E27FC236}">
                <a16:creationId xmlns:a16="http://schemas.microsoft.com/office/drawing/2014/main" id="{C6374270-2AC5-4667-8150-B7F53150DD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2326841" y="3845964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Text 3">
            <a:extLst>
              <a:ext uri="{FF2B5EF4-FFF2-40B4-BE49-F238E27FC236}">
                <a16:creationId xmlns:a16="http://schemas.microsoft.com/office/drawing/2014/main" id="{921B555A-10E4-4D89-973D-D6617EF5FB3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190322" y="1512000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6" name="Text 4">
            <a:extLst>
              <a:ext uri="{FF2B5EF4-FFF2-40B4-BE49-F238E27FC236}">
                <a16:creationId xmlns:a16="http://schemas.microsoft.com/office/drawing/2014/main" id="{D884CC2A-7C4C-4057-9047-184F2EDB7B6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190322" y="3845964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Text 5">
            <a:extLst>
              <a:ext uri="{FF2B5EF4-FFF2-40B4-BE49-F238E27FC236}">
                <a16:creationId xmlns:a16="http://schemas.microsoft.com/office/drawing/2014/main" id="{6FA04A43-4EE7-4197-8CE9-E2466050011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0031117" y="1512000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8" name="Text 6">
            <a:extLst>
              <a:ext uri="{FF2B5EF4-FFF2-40B4-BE49-F238E27FC236}">
                <a16:creationId xmlns:a16="http://schemas.microsoft.com/office/drawing/2014/main" id="{93C7EC07-3BC8-44CB-8BA5-4BC7FA8B45C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031117" y="3845964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1" name="Bild 1">
            <a:extLst>
              <a:ext uri="{FF2B5EF4-FFF2-40B4-BE49-F238E27FC236}">
                <a16:creationId xmlns:a16="http://schemas.microsoft.com/office/drawing/2014/main" id="{5C55ED35-42C4-4571-9BD3-920C4C891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595354" y="1591489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Bild 2">
            <a:extLst>
              <a:ext uri="{FF2B5EF4-FFF2-40B4-BE49-F238E27FC236}">
                <a16:creationId xmlns:a16="http://schemas.microsoft.com/office/drawing/2014/main" id="{400D0692-8C88-49C5-A509-13F7EB687A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595354" y="3925453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2" name="Bild 3">
            <a:extLst>
              <a:ext uri="{FF2B5EF4-FFF2-40B4-BE49-F238E27FC236}">
                <a16:creationId xmlns:a16="http://schemas.microsoft.com/office/drawing/2014/main" id="{D312C0D0-ACE6-438F-A154-9C24467E0DB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447542" y="1591489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5" name="Bild 4">
            <a:extLst>
              <a:ext uri="{FF2B5EF4-FFF2-40B4-BE49-F238E27FC236}">
                <a16:creationId xmlns:a16="http://schemas.microsoft.com/office/drawing/2014/main" id="{403F0BDA-09F4-4909-BE3A-33494BD6C0E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4447542" y="3925453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3" name="Bild 5">
            <a:extLst>
              <a:ext uri="{FF2B5EF4-FFF2-40B4-BE49-F238E27FC236}">
                <a16:creationId xmlns:a16="http://schemas.microsoft.com/office/drawing/2014/main" id="{D31219C2-73E5-452A-9594-5C1C824318A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8277548" y="1591489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6" name="Bild 6">
            <a:extLst>
              <a:ext uri="{FF2B5EF4-FFF2-40B4-BE49-F238E27FC236}">
                <a16:creationId xmlns:a16="http://schemas.microsoft.com/office/drawing/2014/main" id="{E3438E73-D16E-4FF8-AB45-0648D2D0CBE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277548" y="3925453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18" name="Form">
            <a:extLst>
              <a:ext uri="{FF2B5EF4-FFF2-40B4-BE49-F238E27FC236}">
                <a16:creationId xmlns:a16="http://schemas.microsoft.com/office/drawing/2014/main" id="{641AC2EC-7972-4C03-9EB7-D99EE7A32615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26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Linie 1">
            <a:extLst>
              <a:ext uri="{FF2B5EF4-FFF2-40B4-BE49-F238E27FC236}">
                <a16:creationId xmlns:a16="http://schemas.microsoft.com/office/drawing/2014/main" id="{C9064D9F-B951-4C83-98B5-755EE70B54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BAD8EE41-403F-4A48-B1D9-59F5C8F2F1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2634C2BB-8434-4B74-B0E7-547A2713A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Kreis">
            <a:extLst>
              <a:ext uri="{FF2B5EF4-FFF2-40B4-BE49-F238E27FC236}">
                <a16:creationId xmlns:a16="http://schemas.microsoft.com/office/drawing/2014/main" id="{90E9D527-DFF9-4F85-B1A2-0169589ACE74}"/>
              </a:ext>
            </a:extLst>
          </p:cNvPr>
          <p:cNvSpPr>
            <a:spLocks noGrp="1" noChangeAspect="1"/>
          </p:cNvSpPr>
          <p:nvPr>
            <p:ph type="body" sz="quarter" idx="32"/>
          </p:nvPr>
        </p:nvSpPr>
        <p:spPr bwMode="gray">
          <a:xfrm>
            <a:off x="5015206" y="2635200"/>
            <a:ext cx="2160000" cy="2160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txBody>
          <a:bodyPr lIns="0" rIns="0" anchor="ctr"/>
          <a:lstStyle>
            <a:lvl1pPr marL="0" indent="0" algn="ctr">
              <a:buNone/>
              <a:defRPr lang="de-DE" sz="20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79FE2F73-4C50-4BEA-BA8C-06EF1BBA314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F950371D-2325-4314-A83B-C07C50C3AD5C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8736B850-542D-4264-9EC5-4444FB9224E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 bwMode="gray">
          <a:xfrm>
            <a:off x="2186099" y="6300000"/>
            <a:ext cx="752628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6578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Kontak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479C4382-3F4D-40DC-8306-0BAF2AEDA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2" name="Inhalt 4">
            <a:extLst>
              <a:ext uri="{FF2B5EF4-FFF2-40B4-BE49-F238E27FC236}">
                <a16:creationId xmlns:a16="http://schemas.microsoft.com/office/drawing/2014/main" id="{D6697A05-6148-41A5-B57F-F685CF11FB1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9234000" y="4144926"/>
            <a:ext cx="2416527" cy="14129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3" name="Inhalt 3">
            <a:extLst>
              <a:ext uri="{FF2B5EF4-FFF2-40B4-BE49-F238E27FC236}">
                <a16:creationId xmlns:a16="http://schemas.microsoft.com/office/drawing/2014/main" id="{23EBCE45-9990-4DBF-AA8E-4F41D0CD241D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6591651" y="4144926"/>
            <a:ext cx="2416527" cy="14129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5" name="Inhalt 2">
            <a:extLst>
              <a:ext uri="{FF2B5EF4-FFF2-40B4-BE49-F238E27FC236}">
                <a16:creationId xmlns:a16="http://schemas.microsoft.com/office/drawing/2014/main" id="{541BAB8E-DD02-4B2F-B61C-4E4FEB405F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3949303" y="4144926"/>
            <a:ext cx="2416527" cy="14129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1">
            <a:extLst>
              <a:ext uri="{FF2B5EF4-FFF2-40B4-BE49-F238E27FC236}">
                <a16:creationId xmlns:a16="http://schemas.microsoft.com/office/drawing/2014/main" id="{1BF71FFC-658B-4FB6-8F35-18BCB4BD8424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539999" y="4144926"/>
            <a:ext cx="3183483" cy="141291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Rechteck">
            <a:extLst>
              <a:ext uri="{FF2B5EF4-FFF2-40B4-BE49-F238E27FC236}">
                <a16:creationId xmlns:a16="http://schemas.microsoft.com/office/drawing/2014/main" id="{38ECE1AA-ADC8-406C-A030-51C7237C1C57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512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0">
            <a:extLst>
              <a:ext uri="{FF2B5EF4-FFF2-40B4-BE49-F238E27FC236}">
                <a16:creationId xmlns:a16="http://schemas.microsoft.com/office/drawing/2014/main" id="{95F00F19-DD66-4969-806D-A359AFFE39BF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02433F4-0C5C-4F16-A44E-852E620268F0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452400"/>
            <a:ext cx="7560000" cy="666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</a:p>
        </p:txBody>
      </p:sp>
      <p:sp>
        <p:nvSpPr>
          <p:cNvPr id="43" name="Text 1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478200"/>
            <a:ext cx="3600000" cy="133205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418D7843-BEA3-4F34-A55F-8D47734BAE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500000" y="4478200"/>
            <a:ext cx="3600000" cy="133205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13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ischenfolie_dkl_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FCA8B40-724D-4BA2-BA56-DC873CDD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312622-8050-401C-B46A-894B0E6F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3C1F49-32DA-47D2-B466-1D055DEC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>
                <a:solidFill>
                  <a:schemeClr val="bg2"/>
                </a:solidFill>
              </a:defRPr>
            </a:lvl1pPr>
          </a:lstStyle>
          <a:p>
            <a:r>
              <a:rPr lang="de-DE" noProof="0" err="1"/>
              <a:t>Nr</a:t>
            </a:r>
            <a:endParaRPr lang="de-DE" noProof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540000" y="4634328"/>
            <a:ext cx="8464168" cy="702846"/>
          </a:xfr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CBB2050-78F8-4EEA-8C4A-D7011811A3F1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4193582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">
            <a:extLst>
              <a:ext uri="{FF2B5EF4-FFF2-40B4-BE49-F238E27FC236}">
                <a16:creationId xmlns:a16="http://schemas.microsoft.com/office/drawing/2014/main" id="{9B4E86DA-98B2-4C2F-9787-543BC397018E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D90BAA20-FDEF-45E6-91AE-BC87F7456B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554986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9A3EF7B2-9B34-475A-9FFE-708775C680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2811765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41528210-6C8E-4156-85F2-26AC82FE48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5068545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4DCE1052-B5EA-4FEE-80B5-333566DE07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7325325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3" name="Text 5">
            <a:extLst>
              <a:ext uri="{FF2B5EF4-FFF2-40B4-BE49-F238E27FC236}">
                <a16:creationId xmlns:a16="http://schemas.microsoft.com/office/drawing/2014/main" id="{8BDA7EF0-199A-4B0D-8C49-FE26ED2B31D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9582104" y="4680000"/>
            <a:ext cx="2065384" cy="878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Foliennummer">
            <a:extLst>
              <a:ext uri="{FF2B5EF4-FFF2-40B4-BE49-F238E27FC236}">
                <a16:creationId xmlns:a16="http://schemas.microsoft.com/office/drawing/2014/main" id="{38BB0998-EA11-4EA3-B64A-2439AE457C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Datum">
            <a:extLst>
              <a:ext uri="{FF2B5EF4-FFF2-40B4-BE49-F238E27FC236}">
                <a16:creationId xmlns:a16="http://schemas.microsoft.com/office/drawing/2014/main" id="{740C6E7A-561B-485C-8E5B-6BB93DF1886A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6D6A4D7B-9B3F-4ABE-998C-725F48B0818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185170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39999" y="432000"/>
            <a:ext cx="11109601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0" name="Bild">
            <a:extLst>
              <a:ext uri="{FF2B5EF4-FFF2-40B4-BE49-F238E27FC236}">
                <a16:creationId xmlns:a16="http://schemas.microsoft.com/office/drawing/2014/main" id="{741D75DC-FE62-4050-BF49-3EF60908BD0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1"/>
            <a:ext cx="6095206" cy="457814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/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8" name="Inhalt 1">
            <a:extLst>
              <a:ext uri="{FF2B5EF4-FFF2-40B4-BE49-F238E27FC236}">
                <a16:creationId xmlns:a16="http://schemas.microsoft.com/office/drawing/2014/main" id="{5CB7901B-7295-410F-81BD-33951C07D3C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7689600" y="2078471"/>
            <a:ext cx="3960000" cy="81041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2">
            <a:extLst>
              <a:ext uri="{FF2B5EF4-FFF2-40B4-BE49-F238E27FC236}">
                <a16:creationId xmlns:a16="http://schemas.microsoft.com/office/drawing/2014/main" id="{DEDBE632-E268-4A30-BCE3-DB4BE10284E5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7689600" y="3395864"/>
            <a:ext cx="3960000" cy="81041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0" name="Inhalt 3">
            <a:extLst>
              <a:ext uri="{FF2B5EF4-FFF2-40B4-BE49-F238E27FC236}">
                <a16:creationId xmlns:a16="http://schemas.microsoft.com/office/drawing/2014/main" id="{D1A4CB82-6BE4-4E31-895D-C51E15DCB0B8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7689600" y="4713257"/>
            <a:ext cx="3960000" cy="81041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D8F3324B-806D-478E-B175-0F14B5B70139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6787DE7E-70C3-46DC-BDB1-4244F4281D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77B3D5A9-695B-4A9F-875C-3DB563B12AC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2" name="Fußzeile">
            <a:extLst>
              <a:ext uri="{FF2B5EF4-FFF2-40B4-BE49-F238E27FC236}">
                <a16:creationId xmlns:a16="http://schemas.microsoft.com/office/drawing/2014/main" id="{E1FE2A1E-2909-47CA-BAFD-C67CF1749D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118072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3" name="Bild">
            <a:extLst>
              <a:ext uri="{FF2B5EF4-FFF2-40B4-BE49-F238E27FC236}">
                <a16:creationId xmlns:a16="http://schemas.microsoft.com/office/drawing/2014/main" id="{C596D226-8F8B-4B4F-A6BA-8F59BEB83F3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12190412" cy="4578144"/>
          </a:xfrm>
          <a:custGeom>
            <a:avLst/>
            <a:gdLst>
              <a:gd name="connsiteX0" fmla="*/ 0 w 12190412"/>
              <a:gd name="connsiteY0" fmla="*/ 0 h 4578144"/>
              <a:gd name="connsiteX1" fmla="*/ 12190412 w 12190412"/>
              <a:gd name="connsiteY1" fmla="*/ 0 h 4578144"/>
              <a:gd name="connsiteX2" fmla="*/ 12190412 w 12190412"/>
              <a:gd name="connsiteY2" fmla="*/ 4578144 h 4578144"/>
              <a:gd name="connsiteX3" fmla="*/ 11205890 w 12190412"/>
              <a:gd name="connsiteY3" fmla="*/ 4578144 h 4578144"/>
              <a:gd name="connsiteX4" fmla="*/ 11165942 w 12190412"/>
              <a:gd name="connsiteY4" fmla="*/ 4529727 h 4578144"/>
              <a:gd name="connsiteX5" fmla="*/ 10780975 w 12190412"/>
              <a:gd name="connsiteY5" fmla="*/ 4370268 h 4578144"/>
              <a:gd name="connsiteX6" fmla="*/ 10396008 w 12190412"/>
              <a:gd name="connsiteY6" fmla="*/ 4529727 h 4578144"/>
              <a:gd name="connsiteX7" fmla="*/ 10356060 w 12190412"/>
              <a:gd name="connsiteY7" fmla="*/ 4578144 h 4578144"/>
              <a:gd name="connsiteX8" fmla="*/ 0 w 12190412"/>
              <a:gd name="connsiteY8" fmla="*/ 4578144 h 4578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2" h="4578144">
                <a:moveTo>
                  <a:pt x="0" y="0"/>
                </a:moveTo>
                <a:lnTo>
                  <a:pt x="12190412" y="0"/>
                </a:lnTo>
                <a:lnTo>
                  <a:pt x="12190412" y="4578144"/>
                </a:lnTo>
                <a:lnTo>
                  <a:pt x="11205890" y="4578144"/>
                </a:lnTo>
                <a:lnTo>
                  <a:pt x="11165942" y="4529727"/>
                </a:lnTo>
                <a:cubicBezTo>
                  <a:pt x="11067420" y="4431205"/>
                  <a:pt x="10931314" y="4370268"/>
                  <a:pt x="10780975" y="4370268"/>
                </a:cubicBezTo>
                <a:cubicBezTo>
                  <a:pt x="10630636" y="4370268"/>
                  <a:pt x="10494530" y="4431205"/>
                  <a:pt x="10396008" y="4529727"/>
                </a:cubicBezTo>
                <a:lnTo>
                  <a:pt x="10356060" y="4578144"/>
                </a:lnTo>
                <a:lnTo>
                  <a:pt x="0" y="4578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7" name="Text 1">
            <a:extLst>
              <a:ext uri="{FF2B5EF4-FFF2-40B4-BE49-F238E27FC236}">
                <a16:creationId xmlns:a16="http://schemas.microsoft.com/office/drawing/2014/main" id="{1E78131E-F322-41F9-8C9A-A42B6CD3DD0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9582" y="18720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l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Text 2">
            <a:extLst>
              <a:ext uri="{FF2B5EF4-FFF2-40B4-BE49-F238E27FC236}">
                <a16:creationId xmlns:a16="http://schemas.microsoft.com/office/drawing/2014/main" id="{3EF7D546-FD5A-4C9C-BEFF-91D418A9A19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569582" y="31320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l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221F9525-B0ED-4C1F-9BBC-8AFF27A3AE6F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929127" y="33984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r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3" name="Text 4">
            <a:extLst>
              <a:ext uri="{FF2B5EF4-FFF2-40B4-BE49-F238E27FC236}">
                <a16:creationId xmlns:a16="http://schemas.microsoft.com/office/drawing/2014/main" id="{AF2A2909-392E-4E33-BEA5-AC88A1FC1FE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929127" y="4658400"/>
            <a:ext cx="2700000" cy="900000"/>
          </a:xfrm>
          <a:prstGeom prst="rect">
            <a:avLst/>
          </a:prstGeom>
        </p:spPr>
        <p:txBody>
          <a:bodyPr lIns="0" anchor="t"/>
          <a:lstStyle>
            <a:lvl1pPr marL="0" indent="0" algn="r">
              <a:buFontTx/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3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4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82075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">
            <a:extLst>
              <a:ext uri="{FF2B5EF4-FFF2-40B4-BE49-F238E27FC236}">
                <a16:creationId xmlns:a16="http://schemas.microsoft.com/office/drawing/2014/main" id="{86B94227-10D3-4E3D-BB8E-16CA0D837B2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06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22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Rechteck">
            <a:extLst>
              <a:ext uri="{FF2B5EF4-FFF2-40B4-BE49-F238E27FC236}">
                <a16:creationId xmlns:a16="http://schemas.microsoft.com/office/drawing/2014/main" id="{DEE1A475-1444-4081-A5D1-AF1DD9BD59B6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2226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">
            <a:extLst>
              <a:ext uri="{FF2B5EF4-FFF2-40B4-BE49-F238E27FC236}">
                <a16:creationId xmlns:a16="http://schemas.microsoft.com/office/drawing/2014/main" id="{E956635E-5F2E-40B8-B86F-C5BD10005B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12190412" cy="4578144"/>
          </a:xfrm>
          <a:custGeom>
            <a:avLst/>
            <a:gdLst>
              <a:gd name="connsiteX0" fmla="*/ 0 w 12190412"/>
              <a:gd name="connsiteY0" fmla="*/ 0 h 4578144"/>
              <a:gd name="connsiteX1" fmla="*/ 12190412 w 12190412"/>
              <a:gd name="connsiteY1" fmla="*/ 0 h 4578144"/>
              <a:gd name="connsiteX2" fmla="*/ 12190412 w 12190412"/>
              <a:gd name="connsiteY2" fmla="*/ 4578144 h 4578144"/>
              <a:gd name="connsiteX3" fmla="*/ 11205890 w 12190412"/>
              <a:gd name="connsiteY3" fmla="*/ 4578144 h 4578144"/>
              <a:gd name="connsiteX4" fmla="*/ 11165942 w 12190412"/>
              <a:gd name="connsiteY4" fmla="*/ 4529727 h 4578144"/>
              <a:gd name="connsiteX5" fmla="*/ 10780975 w 12190412"/>
              <a:gd name="connsiteY5" fmla="*/ 4370268 h 4578144"/>
              <a:gd name="connsiteX6" fmla="*/ 10396008 w 12190412"/>
              <a:gd name="connsiteY6" fmla="*/ 4529727 h 4578144"/>
              <a:gd name="connsiteX7" fmla="*/ 10356060 w 12190412"/>
              <a:gd name="connsiteY7" fmla="*/ 4578144 h 4578144"/>
              <a:gd name="connsiteX8" fmla="*/ 0 w 12190412"/>
              <a:gd name="connsiteY8" fmla="*/ 4578144 h 4578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2" h="4578144">
                <a:moveTo>
                  <a:pt x="0" y="0"/>
                </a:moveTo>
                <a:lnTo>
                  <a:pt x="12190412" y="0"/>
                </a:lnTo>
                <a:lnTo>
                  <a:pt x="12190412" y="4578144"/>
                </a:lnTo>
                <a:lnTo>
                  <a:pt x="11205890" y="4578144"/>
                </a:lnTo>
                <a:lnTo>
                  <a:pt x="11165942" y="4529727"/>
                </a:lnTo>
                <a:cubicBezTo>
                  <a:pt x="11067420" y="4431205"/>
                  <a:pt x="10931314" y="4370268"/>
                  <a:pt x="10780975" y="4370268"/>
                </a:cubicBezTo>
                <a:cubicBezTo>
                  <a:pt x="10630636" y="4370268"/>
                  <a:pt x="10494530" y="4431205"/>
                  <a:pt x="10396008" y="4529727"/>
                </a:cubicBezTo>
                <a:lnTo>
                  <a:pt x="10356060" y="4578144"/>
                </a:lnTo>
                <a:lnTo>
                  <a:pt x="0" y="4578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3" name="Inhalt 4">
            <a:extLst>
              <a:ext uri="{FF2B5EF4-FFF2-40B4-BE49-F238E27FC236}">
                <a16:creationId xmlns:a16="http://schemas.microsoft.com/office/drawing/2014/main" id="{90E260A5-FC78-4681-900F-E826056781C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7594809" y="2167101"/>
            <a:ext cx="3096000" cy="3096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1600">
                <a:solidFill>
                  <a:schemeClr val="accent1"/>
                </a:solidFill>
              </a:defRPr>
            </a:lvl1pPr>
            <a:lvl2pPr marL="450000" indent="0" algn="ctr">
              <a:buFontTx/>
              <a:buNone/>
              <a:defRPr sz="1400">
                <a:solidFill>
                  <a:schemeClr val="bg1"/>
                </a:solidFill>
              </a:defRPr>
            </a:lvl2pPr>
            <a:lvl3pPr marL="810000" indent="0"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marL="1170000" indent="0" algn="ctr">
              <a:buFontTx/>
              <a:buNone/>
              <a:defRPr sz="1100">
                <a:solidFill>
                  <a:schemeClr val="bg1"/>
                </a:solidFill>
              </a:defRPr>
            </a:lvl4pPr>
            <a:lvl5pPr marL="1530000" indent="0" algn="ctr">
              <a:buFontTx/>
              <a:buNone/>
              <a:defRPr sz="11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E16B58-0925-41DB-A230-1382938C8B3F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3679B3-7B75-488F-908D-EFC7A5CEA67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2E5462-67E8-4410-9603-B69E836A41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E4F04A3-91D6-4B74-A940-C963B9FE2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982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8" name="Bild 1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12762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2" name="Bild 2"/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1228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7" name="Bild 3"/>
          <p:cNvSpPr>
            <a:spLocks noGrp="1" noChangeAspect="1"/>
          </p:cNvSpPr>
          <p:nvPr>
            <p:ph type="pic" sz="quarter" idx="32"/>
          </p:nvPr>
        </p:nvSpPr>
        <p:spPr bwMode="gray">
          <a:xfrm>
            <a:off x="8969400" y="1825126"/>
            <a:ext cx="1944000" cy="19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9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233500"/>
            <a:ext cx="3416400" cy="157675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3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386600" y="4233500"/>
            <a:ext cx="3416400" cy="157675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8" name="Text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233200" y="4233500"/>
            <a:ext cx="3416400" cy="157675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Form">
            <a:extLst>
              <a:ext uri="{FF2B5EF4-FFF2-40B4-BE49-F238E27FC236}">
                <a16:creationId xmlns:a16="http://schemas.microsoft.com/office/drawing/2014/main" id="{FC08AAE2-6B1E-4BB2-85E9-3B133D9E7644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68825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D90BAA20-FDEF-45E6-91AE-BC87F7456B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1427400" y="1512000"/>
            <a:ext cx="2520000" cy="878400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9A3EF7B2-9B34-475A-9FFE-708775C680B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4834800" y="1512000"/>
            <a:ext cx="2520000" cy="878400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41528210-6C8E-4156-85F2-26AC82FE48B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242200" y="1512000"/>
            <a:ext cx="2520000" cy="878400"/>
          </a:xfrm>
          <a:prstGeom prst="rect">
            <a:avLst/>
          </a:prstGeom>
        </p:spPr>
        <p:txBody>
          <a:bodyPr anchor="b" anchorCtr="0"/>
          <a:lstStyle>
            <a:lvl1pPr marL="0" indent="0" algn="ct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Bild">
            <a:extLst>
              <a:ext uri="{FF2B5EF4-FFF2-40B4-BE49-F238E27FC236}">
                <a16:creationId xmlns:a16="http://schemas.microsoft.com/office/drawing/2014/main" id="{3F9E8CA4-7B70-46F6-BBA4-97BD85894A28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3429000"/>
            <a:ext cx="12190413" cy="2661144"/>
          </a:xfrm>
          <a:custGeom>
            <a:avLst/>
            <a:gdLst>
              <a:gd name="connsiteX0" fmla="*/ 0 w 12190413"/>
              <a:gd name="connsiteY0" fmla="*/ 0 h 2661144"/>
              <a:gd name="connsiteX1" fmla="*/ 12190413 w 12190413"/>
              <a:gd name="connsiteY1" fmla="*/ 0 h 2661144"/>
              <a:gd name="connsiteX2" fmla="*/ 12190413 w 12190413"/>
              <a:gd name="connsiteY2" fmla="*/ 2661144 h 2661144"/>
              <a:gd name="connsiteX3" fmla="*/ 11205891 w 12190413"/>
              <a:gd name="connsiteY3" fmla="*/ 2661144 h 2661144"/>
              <a:gd name="connsiteX4" fmla="*/ 11165943 w 12190413"/>
              <a:gd name="connsiteY4" fmla="*/ 2612727 h 2661144"/>
              <a:gd name="connsiteX5" fmla="*/ 10780976 w 12190413"/>
              <a:gd name="connsiteY5" fmla="*/ 2453268 h 2661144"/>
              <a:gd name="connsiteX6" fmla="*/ 10396009 w 12190413"/>
              <a:gd name="connsiteY6" fmla="*/ 2612727 h 2661144"/>
              <a:gd name="connsiteX7" fmla="*/ 10356061 w 12190413"/>
              <a:gd name="connsiteY7" fmla="*/ 2661144 h 2661144"/>
              <a:gd name="connsiteX8" fmla="*/ 0 w 12190413"/>
              <a:gd name="connsiteY8" fmla="*/ 2661144 h 2661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2661144">
                <a:moveTo>
                  <a:pt x="0" y="0"/>
                </a:moveTo>
                <a:lnTo>
                  <a:pt x="12190413" y="0"/>
                </a:lnTo>
                <a:lnTo>
                  <a:pt x="12190413" y="2661144"/>
                </a:lnTo>
                <a:lnTo>
                  <a:pt x="11205891" y="2661144"/>
                </a:lnTo>
                <a:lnTo>
                  <a:pt x="11165943" y="2612727"/>
                </a:lnTo>
                <a:cubicBezTo>
                  <a:pt x="11067421" y="2514205"/>
                  <a:pt x="10931315" y="2453268"/>
                  <a:pt x="10780976" y="2453268"/>
                </a:cubicBezTo>
                <a:cubicBezTo>
                  <a:pt x="10630637" y="2453268"/>
                  <a:pt x="10494531" y="2514205"/>
                  <a:pt x="10396009" y="2612727"/>
                </a:cubicBezTo>
                <a:lnTo>
                  <a:pt x="10356061" y="2661144"/>
                </a:lnTo>
                <a:lnTo>
                  <a:pt x="0" y="2661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9" name="Text 1">
            <a:extLst>
              <a:ext uri="{FF2B5EF4-FFF2-40B4-BE49-F238E27FC236}">
                <a16:creationId xmlns:a16="http://schemas.microsoft.com/office/drawing/2014/main" id="{8A0D3638-97F4-4F23-84F6-043848F005E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1877400" y="2619000"/>
            <a:ext cx="1620000" cy="16200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 anchorCtr="0"/>
          <a:lstStyle>
            <a:lvl1pPr marL="0" indent="0" algn="ctr">
              <a:buNone/>
              <a:defRPr lang="de-DE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4" name="Text 2">
            <a:extLst>
              <a:ext uri="{FF2B5EF4-FFF2-40B4-BE49-F238E27FC236}">
                <a16:creationId xmlns:a16="http://schemas.microsoft.com/office/drawing/2014/main" id="{0869F75D-6B54-4650-8733-5FFAD8A5CE8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285206" y="2619000"/>
            <a:ext cx="1620000" cy="16200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 anchorCtr="0"/>
          <a:lstStyle>
            <a:lvl1pPr marL="0" indent="0" algn="ctr">
              <a:buNone/>
              <a:defRPr lang="de-DE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5" name="Text 3">
            <a:extLst>
              <a:ext uri="{FF2B5EF4-FFF2-40B4-BE49-F238E27FC236}">
                <a16:creationId xmlns:a16="http://schemas.microsoft.com/office/drawing/2014/main" id="{19187AA5-347E-422B-A190-F8D2AD349EB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>
          <a:xfrm>
            <a:off x="8692200" y="2619000"/>
            <a:ext cx="1620000" cy="1620000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 anchorCtr="0"/>
          <a:lstStyle>
            <a:lvl1pPr marL="0" indent="0" algn="ctr">
              <a:buNone/>
              <a:defRPr lang="de-DE" sz="28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6" name="Foliennummer">
            <a:extLst>
              <a:ext uri="{FF2B5EF4-FFF2-40B4-BE49-F238E27FC236}">
                <a16:creationId xmlns:a16="http://schemas.microsoft.com/office/drawing/2014/main" id="{38BB0998-EA11-4EA3-B64A-2439AE457C8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10" name="Datum">
            <a:extLst>
              <a:ext uri="{FF2B5EF4-FFF2-40B4-BE49-F238E27FC236}">
                <a16:creationId xmlns:a16="http://schemas.microsoft.com/office/drawing/2014/main" id="{740C6E7A-561B-485C-8E5B-6BB93DF1886A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6D6A4D7B-9B3F-4ABE-998C-725F48B0818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40367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Hintergrund_Bild_Text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39ED2CFF-8044-4FC6-93C8-45C3C10A1E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835206" y="1512000"/>
            <a:ext cx="2520000" cy="25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Form">
            <a:extLst>
              <a:ext uri="{FF2B5EF4-FFF2-40B4-BE49-F238E27FC236}">
                <a16:creationId xmlns:a16="http://schemas.microsoft.com/office/drawing/2014/main" id="{1BBF12AD-3D4E-4B29-88B9-E5A3E5F3F5B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36813" y="1512000"/>
            <a:ext cx="718393" cy="540000"/>
          </a:xfrm>
          <a:custGeom>
            <a:avLst/>
            <a:gdLst>
              <a:gd name="connsiteX0" fmla="*/ 604287 w 718393"/>
              <a:gd name="connsiteY0" fmla="*/ 0 h 540000"/>
              <a:gd name="connsiteX1" fmla="*/ 657322 w 718393"/>
              <a:gd name="connsiteY1" fmla="*/ 3215 h 540000"/>
              <a:gd name="connsiteX2" fmla="*/ 692679 w 718393"/>
              <a:gd name="connsiteY2" fmla="*/ 16071 h 540000"/>
              <a:gd name="connsiteX3" fmla="*/ 713572 w 718393"/>
              <a:gd name="connsiteY3" fmla="*/ 45000 h 540000"/>
              <a:gd name="connsiteX4" fmla="*/ 718393 w 718393"/>
              <a:gd name="connsiteY4" fmla="*/ 98036 h 540000"/>
              <a:gd name="connsiteX5" fmla="*/ 715179 w 718393"/>
              <a:gd name="connsiteY5" fmla="*/ 163929 h 540000"/>
              <a:gd name="connsiteX6" fmla="*/ 705536 w 718393"/>
              <a:gd name="connsiteY6" fmla="*/ 221786 h 540000"/>
              <a:gd name="connsiteX7" fmla="*/ 684643 w 718393"/>
              <a:gd name="connsiteY7" fmla="*/ 274821 h 540000"/>
              <a:gd name="connsiteX8" fmla="*/ 654108 w 718393"/>
              <a:gd name="connsiteY8" fmla="*/ 326250 h 540000"/>
              <a:gd name="connsiteX9" fmla="*/ 533572 w 718393"/>
              <a:gd name="connsiteY9" fmla="*/ 506250 h 540000"/>
              <a:gd name="connsiteX10" fmla="*/ 520714 w 718393"/>
              <a:gd name="connsiteY10" fmla="*/ 522321 h 540000"/>
              <a:gd name="connsiteX11" fmla="*/ 501429 w 718393"/>
              <a:gd name="connsiteY11" fmla="*/ 531964 h 540000"/>
              <a:gd name="connsiteX12" fmla="*/ 475715 w 718393"/>
              <a:gd name="connsiteY12" fmla="*/ 538393 h 540000"/>
              <a:gd name="connsiteX13" fmla="*/ 438750 w 718393"/>
              <a:gd name="connsiteY13" fmla="*/ 540000 h 540000"/>
              <a:gd name="connsiteX14" fmla="*/ 398572 w 718393"/>
              <a:gd name="connsiteY14" fmla="*/ 538393 h 540000"/>
              <a:gd name="connsiteX15" fmla="*/ 377679 w 718393"/>
              <a:gd name="connsiteY15" fmla="*/ 531964 h 540000"/>
              <a:gd name="connsiteX16" fmla="*/ 369643 w 718393"/>
              <a:gd name="connsiteY16" fmla="*/ 519108 h 540000"/>
              <a:gd name="connsiteX17" fmla="*/ 372858 w 718393"/>
              <a:gd name="connsiteY17" fmla="*/ 501429 h 540000"/>
              <a:gd name="connsiteX18" fmla="*/ 483751 w 718393"/>
              <a:gd name="connsiteY18" fmla="*/ 244286 h 540000"/>
              <a:gd name="connsiteX19" fmla="*/ 483751 w 718393"/>
              <a:gd name="connsiteY19" fmla="*/ 98036 h 540000"/>
              <a:gd name="connsiteX20" fmla="*/ 490179 w 718393"/>
              <a:gd name="connsiteY20" fmla="*/ 46608 h 540000"/>
              <a:gd name="connsiteX21" fmla="*/ 511071 w 718393"/>
              <a:gd name="connsiteY21" fmla="*/ 17679 h 540000"/>
              <a:gd name="connsiteX22" fmla="*/ 548036 w 718393"/>
              <a:gd name="connsiteY22" fmla="*/ 4821 h 540000"/>
              <a:gd name="connsiteX23" fmla="*/ 604287 w 718393"/>
              <a:gd name="connsiteY23" fmla="*/ 0 h 540000"/>
              <a:gd name="connsiteX24" fmla="*/ 234643 w 718393"/>
              <a:gd name="connsiteY24" fmla="*/ 0 h 540000"/>
              <a:gd name="connsiteX25" fmla="*/ 287678 w 718393"/>
              <a:gd name="connsiteY25" fmla="*/ 3215 h 540000"/>
              <a:gd name="connsiteX26" fmla="*/ 323036 w 718393"/>
              <a:gd name="connsiteY26" fmla="*/ 16071 h 540000"/>
              <a:gd name="connsiteX27" fmla="*/ 343929 w 718393"/>
              <a:gd name="connsiteY27" fmla="*/ 45000 h 540000"/>
              <a:gd name="connsiteX28" fmla="*/ 350357 w 718393"/>
              <a:gd name="connsiteY28" fmla="*/ 98036 h 540000"/>
              <a:gd name="connsiteX29" fmla="*/ 347144 w 718393"/>
              <a:gd name="connsiteY29" fmla="*/ 163929 h 540000"/>
              <a:gd name="connsiteX30" fmla="*/ 335893 w 718393"/>
              <a:gd name="connsiteY30" fmla="*/ 221786 h 540000"/>
              <a:gd name="connsiteX31" fmla="*/ 315000 w 718393"/>
              <a:gd name="connsiteY31" fmla="*/ 274821 h 540000"/>
              <a:gd name="connsiteX32" fmla="*/ 284465 w 718393"/>
              <a:gd name="connsiteY32" fmla="*/ 326250 h 540000"/>
              <a:gd name="connsiteX33" fmla="*/ 163929 w 718393"/>
              <a:gd name="connsiteY33" fmla="*/ 506250 h 540000"/>
              <a:gd name="connsiteX34" fmla="*/ 151071 w 718393"/>
              <a:gd name="connsiteY34" fmla="*/ 522321 h 540000"/>
              <a:gd name="connsiteX35" fmla="*/ 131786 w 718393"/>
              <a:gd name="connsiteY35" fmla="*/ 531964 h 540000"/>
              <a:gd name="connsiteX36" fmla="*/ 106072 w 718393"/>
              <a:gd name="connsiteY36" fmla="*/ 538393 h 540000"/>
              <a:gd name="connsiteX37" fmla="*/ 70715 w 718393"/>
              <a:gd name="connsiteY37" fmla="*/ 540000 h 540000"/>
              <a:gd name="connsiteX38" fmla="*/ 30535 w 718393"/>
              <a:gd name="connsiteY38" fmla="*/ 538393 h 540000"/>
              <a:gd name="connsiteX39" fmla="*/ 8036 w 718393"/>
              <a:gd name="connsiteY39" fmla="*/ 531964 h 540000"/>
              <a:gd name="connsiteX40" fmla="*/ 0 w 718393"/>
              <a:gd name="connsiteY40" fmla="*/ 519108 h 540000"/>
              <a:gd name="connsiteX41" fmla="*/ 4821 w 718393"/>
              <a:gd name="connsiteY41" fmla="*/ 501429 h 540000"/>
              <a:gd name="connsiteX42" fmla="*/ 115715 w 718393"/>
              <a:gd name="connsiteY42" fmla="*/ 244286 h 540000"/>
              <a:gd name="connsiteX43" fmla="*/ 115715 w 718393"/>
              <a:gd name="connsiteY43" fmla="*/ 98036 h 540000"/>
              <a:gd name="connsiteX44" fmla="*/ 122143 w 718393"/>
              <a:gd name="connsiteY44" fmla="*/ 46608 h 540000"/>
              <a:gd name="connsiteX45" fmla="*/ 143036 w 718393"/>
              <a:gd name="connsiteY45" fmla="*/ 17679 h 540000"/>
              <a:gd name="connsiteX46" fmla="*/ 180000 w 718393"/>
              <a:gd name="connsiteY46" fmla="*/ 4821 h 540000"/>
              <a:gd name="connsiteX47" fmla="*/ 234643 w 718393"/>
              <a:gd name="connsiteY47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718393" h="540000">
                <a:moveTo>
                  <a:pt x="604287" y="0"/>
                </a:moveTo>
                <a:cubicBezTo>
                  <a:pt x="625179" y="0"/>
                  <a:pt x="642858" y="1607"/>
                  <a:pt x="657322" y="3215"/>
                </a:cubicBezTo>
                <a:cubicBezTo>
                  <a:pt x="671786" y="6428"/>
                  <a:pt x="683036" y="9643"/>
                  <a:pt x="692679" y="16071"/>
                </a:cubicBezTo>
                <a:cubicBezTo>
                  <a:pt x="702322" y="22500"/>
                  <a:pt x="708750" y="32143"/>
                  <a:pt x="713572" y="45000"/>
                </a:cubicBezTo>
                <a:cubicBezTo>
                  <a:pt x="718393" y="57857"/>
                  <a:pt x="718393" y="77143"/>
                  <a:pt x="718393" y="98036"/>
                </a:cubicBezTo>
                <a:cubicBezTo>
                  <a:pt x="718393" y="122143"/>
                  <a:pt x="716786" y="144643"/>
                  <a:pt x="715179" y="163929"/>
                </a:cubicBezTo>
                <a:cubicBezTo>
                  <a:pt x="713572" y="183215"/>
                  <a:pt x="710357" y="204107"/>
                  <a:pt x="705536" y="221786"/>
                </a:cubicBezTo>
                <a:cubicBezTo>
                  <a:pt x="700715" y="239464"/>
                  <a:pt x="692679" y="257143"/>
                  <a:pt x="684643" y="274821"/>
                </a:cubicBezTo>
                <a:cubicBezTo>
                  <a:pt x="676608" y="292500"/>
                  <a:pt x="666965" y="308571"/>
                  <a:pt x="654108" y="326250"/>
                </a:cubicBezTo>
                <a:lnTo>
                  <a:pt x="533572" y="506250"/>
                </a:lnTo>
                <a:cubicBezTo>
                  <a:pt x="528750" y="512678"/>
                  <a:pt x="523929" y="517500"/>
                  <a:pt x="520714" y="522321"/>
                </a:cubicBezTo>
                <a:cubicBezTo>
                  <a:pt x="517501" y="527143"/>
                  <a:pt x="509465" y="530357"/>
                  <a:pt x="501429" y="531964"/>
                </a:cubicBezTo>
                <a:cubicBezTo>
                  <a:pt x="493393" y="533572"/>
                  <a:pt x="485357" y="536786"/>
                  <a:pt x="475715" y="538393"/>
                </a:cubicBezTo>
                <a:cubicBezTo>
                  <a:pt x="466072" y="540000"/>
                  <a:pt x="453215" y="540000"/>
                  <a:pt x="438750" y="540000"/>
                </a:cubicBezTo>
                <a:cubicBezTo>
                  <a:pt x="422679" y="540000"/>
                  <a:pt x="409822" y="540000"/>
                  <a:pt x="398572" y="538393"/>
                </a:cubicBezTo>
                <a:cubicBezTo>
                  <a:pt x="387322" y="536786"/>
                  <a:pt x="382500" y="535179"/>
                  <a:pt x="377679" y="531964"/>
                </a:cubicBezTo>
                <a:cubicBezTo>
                  <a:pt x="372858" y="528751"/>
                  <a:pt x="369643" y="523929"/>
                  <a:pt x="369643" y="519108"/>
                </a:cubicBezTo>
                <a:cubicBezTo>
                  <a:pt x="369643" y="514286"/>
                  <a:pt x="369643" y="507857"/>
                  <a:pt x="372858" y="501429"/>
                </a:cubicBezTo>
                <a:lnTo>
                  <a:pt x="483751" y="244286"/>
                </a:lnTo>
                <a:lnTo>
                  <a:pt x="483751" y="98036"/>
                </a:lnTo>
                <a:cubicBezTo>
                  <a:pt x="483751" y="77143"/>
                  <a:pt x="485357" y="59464"/>
                  <a:pt x="490179" y="46608"/>
                </a:cubicBezTo>
                <a:cubicBezTo>
                  <a:pt x="495000" y="33750"/>
                  <a:pt x="501429" y="24107"/>
                  <a:pt x="511071" y="17679"/>
                </a:cubicBezTo>
                <a:cubicBezTo>
                  <a:pt x="520714" y="11250"/>
                  <a:pt x="533572" y="6428"/>
                  <a:pt x="548036" y="4821"/>
                </a:cubicBezTo>
                <a:cubicBezTo>
                  <a:pt x="562500" y="3215"/>
                  <a:pt x="583393" y="0"/>
                  <a:pt x="604287" y="0"/>
                </a:cubicBezTo>
                <a:close/>
                <a:moveTo>
                  <a:pt x="234643" y="0"/>
                </a:moveTo>
                <a:cubicBezTo>
                  <a:pt x="255536" y="0"/>
                  <a:pt x="273214" y="1607"/>
                  <a:pt x="287678" y="3215"/>
                </a:cubicBezTo>
                <a:cubicBezTo>
                  <a:pt x="302143" y="4821"/>
                  <a:pt x="313393" y="9643"/>
                  <a:pt x="323036" y="16071"/>
                </a:cubicBezTo>
                <a:cubicBezTo>
                  <a:pt x="332679" y="22500"/>
                  <a:pt x="339107" y="32143"/>
                  <a:pt x="343929" y="45000"/>
                </a:cubicBezTo>
                <a:cubicBezTo>
                  <a:pt x="348750" y="57857"/>
                  <a:pt x="350357" y="77143"/>
                  <a:pt x="350357" y="98036"/>
                </a:cubicBezTo>
                <a:cubicBezTo>
                  <a:pt x="350357" y="122143"/>
                  <a:pt x="348750" y="144643"/>
                  <a:pt x="347144" y="163929"/>
                </a:cubicBezTo>
                <a:cubicBezTo>
                  <a:pt x="345536" y="183215"/>
                  <a:pt x="340714" y="204107"/>
                  <a:pt x="335893" y="221786"/>
                </a:cubicBezTo>
                <a:cubicBezTo>
                  <a:pt x="331071" y="239464"/>
                  <a:pt x="324643" y="257143"/>
                  <a:pt x="315000" y="274821"/>
                </a:cubicBezTo>
                <a:cubicBezTo>
                  <a:pt x="305357" y="292500"/>
                  <a:pt x="297321" y="308571"/>
                  <a:pt x="284465" y="326250"/>
                </a:cubicBezTo>
                <a:lnTo>
                  <a:pt x="163929" y="506250"/>
                </a:lnTo>
                <a:cubicBezTo>
                  <a:pt x="160714" y="512678"/>
                  <a:pt x="155893" y="517500"/>
                  <a:pt x="151071" y="522321"/>
                </a:cubicBezTo>
                <a:cubicBezTo>
                  <a:pt x="146250" y="527143"/>
                  <a:pt x="139822" y="530357"/>
                  <a:pt x="131786" y="531964"/>
                </a:cubicBezTo>
                <a:cubicBezTo>
                  <a:pt x="123751" y="533572"/>
                  <a:pt x="115715" y="536786"/>
                  <a:pt x="106072" y="538393"/>
                </a:cubicBezTo>
                <a:cubicBezTo>
                  <a:pt x="96429" y="540000"/>
                  <a:pt x="85179" y="540000"/>
                  <a:pt x="70715" y="540000"/>
                </a:cubicBezTo>
                <a:cubicBezTo>
                  <a:pt x="54643" y="540000"/>
                  <a:pt x="41786" y="540000"/>
                  <a:pt x="30535" y="538393"/>
                </a:cubicBezTo>
                <a:cubicBezTo>
                  <a:pt x="19286" y="536786"/>
                  <a:pt x="12858" y="535179"/>
                  <a:pt x="8036" y="531964"/>
                </a:cubicBezTo>
                <a:cubicBezTo>
                  <a:pt x="3215" y="528751"/>
                  <a:pt x="0" y="523929"/>
                  <a:pt x="0" y="519108"/>
                </a:cubicBezTo>
                <a:cubicBezTo>
                  <a:pt x="0" y="514286"/>
                  <a:pt x="1607" y="507857"/>
                  <a:pt x="4821" y="501429"/>
                </a:cubicBezTo>
                <a:lnTo>
                  <a:pt x="115715" y="244286"/>
                </a:lnTo>
                <a:lnTo>
                  <a:pt x="115715" y="98036"/>
                </a:lnTo>
                <a:cubicBezTo>
                  <a:pt x="115715" y="77143"/>
                  <a:pt x="117321" y="59464"/>
                  <a:pt x="122143" y="46608"/>
                </a:cubicBezTo>
                <a:cubicBezTo>
                  <a:pt x="126964" y="33750"/>
                  <a:pt x="133393" y="24107"/>
                  <a:pt x="143036" y="17679"/>
                </a:cubicBezTo>
                <a:cubicBezTo>
                  <a:pt x="152679" y="11250"/>
                  <a:pt x="165536" y="6428"/>
                  <a:pt x="180000" y="4821"/>
                </a:cubicBezTo>
                <a:cubicBezTo>
                  <a:pt x="194464" y="3215"/>
                  <a:pt x="213750" y="0"/>
                  <a:pt x="234643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595206" y="4212000"/>
            <a:ext cx="9000000" cy="720000"/>
          </a:xfrm>
          <a:prstGeom prst="rect">
            <a:avLst/>
          </a:prstGeom>
        </p:spPr>
        <p:txBody>
          <a:bodyPr rIns="0" anchor="b" anchorCtr="0"/>
          <a:lstStyle>
            <a:lvl1pPr marL="0" indent="0" algn="ctr">
              <a:buFontTx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F96C59BA-BE22-4B29-AD36-09FA94D9680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595206" y="5112000"/>
            <a:ext cx="9000000" cy="445838"/>
          </a:xfrm>
          <a:prstGeom prst="rect">
            <a:avLst/>
          </a:prstGeom>
        </p:spPr>
        <p:txBody>
          <a:bodyPr rIns="0" anchor="t" anchorCtr="0"/>
          <a:lstStyle>
            <a:lvl1pPr marL="0" indent="0" algn="ctr">
              <a:buFontTx/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611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Hintergrund_Bild_Text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Linie 1">
            <a:extLst>
              <a:ext uri="{FF2B5EF4-FFF2-40B4-BE49-F238E27FC236}">
                <a16:creationId xmlns:a16="http://schemas.microsoft.com/office/drawing/2014/main" id="{460BAA3B-171B-4D22-B9AB-DC36BFCA051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F9661A75-ABF9-4098-B4E4-22976361AC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CA4056E2-86C5-4903-A2D5-BA5FD40B3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 bwMode="gray">
          <a:xfrm>
            <a:off x="4251741" y="1872562"/>
            <a:ext cx="3686932" cy="368527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4C1D2ACF-529C-4292-9D08-FD20D2D8593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E477596D-A8F3-4703-80ED-0798DFAA16C7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191E0D61-13EE-4677-8307-85A7F63C746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2186099" y="6300000"/>
            <a:ext cx="7501587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82926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Linie 1">
            <a:extLst>
              <a:ext uri="{FF2B5EF4-FFF2-40B4-BE49-F238E27FC236}">
                <a16:creationId xmlns:a16="http://schemas.microsoft.com/office/drawing/2014/main" id="{460BAA3B-171B-4D22-B9AB-DC36BFCA051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F9661A75-ABF9-4098-B4E4-22976361AC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CA4056E2-86C5-4903-A2D5-BA5FD40B3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 bwMode="gray">
          <a:xfrm>
            <a:off x="4251741" y="1872562"/>
            <a:ext cx="3686932" cy="368527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4C1D2ACF-529C-4292-9D08-FD20D2D8593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E477596D-A8F3-4703-80ED-0798DFAA16C7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191E0D61-13EE-4677-8307-85A7F63C746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2186099" y="6300000"/>
            <a:ext cx="746863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01213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39999" y="2736139"/>
            <a:ext cx="3600000" cy="1597561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673206" y="2112919"/>
            <a:ext cx="2844000" cy="28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0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049600" y="2736139"/>
            <a:ext cx="3600000" cy="159756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5" name="Datum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6" name="Fußzeile"/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1685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nie">
            <a:extLst>
              <a:ext uri="{FF2B5EF4-FFF2-40B4-BE49-F238E27FC236}">
                <a16:creationId xmlns:a16="http://schemas.microsoft.com/office/drawing/2014/main" id="{CFD4C627-3EDC-40D2-829D-1FEDFB67E21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3672000"/>
            <a:ext cx="0" cy="3186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Ellipse">
            <a:extLst>
              <a:ext uri="{FF2B5EF4-FFF2-40B4-BE49-F238E27FC236}">
                <a16:creationId xmlns:a16="http://schemas.microsoft.com/office/drawing/2014/main" id="{B2324544-18CB-4ADE-A361-AE4771C6402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872C575-800C-481B-9E21-57874F011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9B363C7E-AB4B-415C-AA91-3D39EEE1FF5D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015206" y="1512000"/>
            <a:ext cx="2160000" cy="21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5ADECE05-E3F2-4E59-9CD3-A06F4A44B6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27A749E6-4642-4BD2-9222-2FCE7838556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1091B776-F8FF-4514-B227-23880F01DC5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0159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3378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Linie">
            <a:extLst>
              <a:ext uri="{FF2B5EF4-FFF2-40B4-BE49-F238E27FC236}">
                <a16:creationId xmlns:a16="http://schemas.microsoft.com/office/drawing/2014/main" id="{ED9BA028-009A-4CAB-B0E2-D389C9960A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Ellipse 1">
            <a:extLst>
              <a:ext uri="{FF2B5EF4-FFF2-40B4-BE49-F238E27FC236}">
                <a16:creationId xmlns:a16="http://schemas.microsoft.com/office/drawing/2014/main" id="{E5D5FBC6-32B9-4B0C-BB75-AA569CDF9F0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188999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4" name="Ellipse 2">
            <a:extLst>
              <a:ext uri="{FF2B5EF4-FFF2-40B4-BE49-F238E27FC236}">
                <a16:creationId xmlns:a16="http://schemas.microsoft.com/office/drawing/2014/main" id="{2D4D7C40-3F32-4F01-BA33-B1987A25DA2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346291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7" name="Ellipse 3">
            <a:extLst>
              <a:ext uri="{FF2B5EF4-FFF2-40B4-BE49-F238E27FC236}">
                <a16:creationId xmlns:a16="http://schemas.microsoft.com/office/drawing/2014/main" id="{7693EFA4-2E8F-479D-9C23-B60BBF5789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432FB5BB-C0A6-48A9-AFEA-323F7F165439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 bwMode="gray">
          <a:xfrm>
            <a:off x="1062925" y="151199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Inhalt 2">
            <a:extLst>
              <a:ext uri="{FF2B5EF4-FFF2-40B4-BE49-F238E27FC236}">
                <a16:creationId xmlns:a16="http://schemas.microsoft.com/office/drawing/2014/main" id="{0771D76F-6B60-4F65-9A7A-D5826C2B98F9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 bwMode="gray">
          <a:xfrm>
            <a:off x="1062925" y="308491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3">
            <a:extLst>
              <a:ext uri="{FF2B5EF4-FFF2-40B4-BE49-F238E27FC236}">
                <a16:creationId xmlns:a16="http://schemas.microsoft.com/office/drawing/2014/main" id="{6EC08D63-9BF3-469D-B60A-957DAA4BF25A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Inhalt 4">
            <a:extLst>
              <a:ext uri="{FF2B5EF4-FFF2-40B4-BE49-F238E27FC236}">
                <a16:creationId xmlns:a16="http://schemas.microsoft.com/office/drawing/2014/main" id="{E61BC949-8478-432F-BAC9-D59A65E7135D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 bwMode="gray">
          <a:xfrm>
            <a:off x="6409961" y="151199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0" name="Inhalt 5">
            <a:extLst>
              <a:ext uri="{FF2B5EF4-FFF2-40B4-BE49-F238E27FC236}">
                <a16:creationId xmlns:a16="http://schemas.microsoft.com/office/drawing/2014/main" id="{4C6B609E-388D-48E1-800F-C0A85655CD7F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 bwMode="gray">
          <a:xfrm>
            <a:off x="6409961" y="308491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Inhalt 6">
            <a:extLst>
              <a:ext uri="{FF2B5EF4-FFF2-40B4-BE49-F238E27FC236}">
                <a16:creationId xmlns:a16="http://schemas.microsoft.com/office/drawing/2014/main" id="{48CB1EA9-203C-4E42-A308-04A5A08DD20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D1F7B944-8A45-40CF-89E5-A218E37E269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0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7397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6" name="Form">
            <a:extLst>
              <a:ext uri="{FF2B5EF4-FFF2-40B4-BE49-F238E27FC236}">
                <a16:creationId xmlns:a16="http://schemas.microsoft.com/office/drawing/2014/main" id="{ABE7071D-F074-45F7-B1B6-E48BC4775EE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4618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370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wischenfoli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E77C0D5E-6442-43CF-9A58-2F1D7F6B3CC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18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melin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4618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4792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Weltkart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eltkarte">
            <a:extLst>
              <a:ext uri="{FF2B5EF4-FFF2-40B4-BE49-F238E27FC236}">
                <a16:creationId xmlns:a16="http://schemas.microsoft.com/office/drawing/2014/main" id="{A4477C10-B2A8-4541-BCA5-CD24548967F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947018" y="1512000"/>
            <a:ext cx="8296377" cy="4046400"/>
          </a:xfrm>
          <a:custGeom>
            <a:avLst/>
            <a:gdLst>
              <a:gd name="T0" fmla="*/ 2629 w 3071"/>
              <a:gd name="T1" fmla="*/ 937 h 1498"/>
              <a:gd name="T2" fmla="*/ 2624 w 3071"/>
              <a:gd name="T3" fmla="*/ 809 h 1498"/>
              <a:gd name="T4" fmla="*/ 2682 w 3071"/>
              <a:gd name="T5" fmla="*/ 915 h 1498"/>
              <a:gd name="T6" fmla="*/ 2547 w 3071"/>
              <a:gd name="T7" fmla="*/ 953 h 1498"/>
              <a:gd name="T8" fmla="*/ 2461 w 3071"/>
              <a:gd name="T9" fmla="*/ 919 h 1498"/>
              <a:gd name="T10" fmla="*/ 2747 w 3071"/>
              <a:gd name="T11" fmla="*/ 1052 h 1498"/>
              <a:gd name="T12" fmla="*/ 2583 w 3071"/>
              <a:gd name="T13" fmla="*/ 1255 h 1498"/>
              <a:gd name="T14" fmla="*/ 2387 w 3071"/>
              <a:gd name="T15" fmla="*/ 878 h 1498"/>
              <a:gd name="T16" fmla="*/ 2948 w 3071"/>
              <a:gd name="T17" fmla="*/ 1383 h 1498"/>
              <a:gd name="T18" fmla="*/ 1378 w 3071"/>
              <a:gd name="T19" fmla="*/ 255 h 1498"/>
              <a:gd name="T20" fmla="*/ 1659 w 3071"/>
              <a:gd name="T21" fmla="*/ 449 h 1498"/>
              <a:gd name="T22" fmla="*/ 1415 w 3071"/>
              <a:gd name="T23" fmla="*/ 257 h 1498"/>
              <a:gd name="T24" fmla="*/ 1829 w 3071"/>
              <a:gd name="T25" fmla="*/ 60 h 1498"/>
              <a:gd name="T26" fmla="*/ 1433 w 3071"/>
              <a:gd name="T27" fmla="*/ 438 h 1498"/>
              <a:gd name="T28" fmla="*/ 183 w 3071"/>
              <a:gd name="T29" fmla="*/ 237 h 1498"/>
              <a:gd name="T30" fmla="*/ 623 w 3071"/>
              <a:gd name="T31" fmla="*/ 92 h 1498"/>
              <a:gd name="T32" fmla="*/ 765 w 3071"/>
              <a:gd name="T33" fmla="*/ 95 h 1498"/>
              <a:gd name="T34" fmla="*/ 650 w 3071"/>
              <a:gd name="T35" fmla="*/ 65 h 1498"/>
              <a:gd name="T36" fmla="*/ 890 w 3071"/>
              <a:gd name="T37" fmla="*/ 182 h 1498"/>
              <a:gd name="T38" fmla="*/ 1040 w 3071"/>
              <a:gd name="T39" fmla="*/ 15 h 1498"/>
              <a:gd name="T40" fmla="*/ 1280 w 3071"/>
              <a:gd name="T41" fmla="*/ 82 h 1498"/>
              <a:gd name="T42" fmla="*/ 986 w 3071"/>
              <a:gd name="T43" fmla="*/ 48 h 1498"/>
              <a:gd name="T44" fmla="*/ 1077 w 3071"/>
              <a:gd name="T45" fmla="*/ 200 h 1498"/>
              <a:gd name="T46" fmla="*/ 329 w 3071"/>
              <a:gd name="T47" fmla="*/ 266 h 1498"/>
              <a:gd name="T48" fmla="*/ 908 w 3071"/>
              <a:gd name="T49" fmla="*/ 878 h 1498"/>
              <a:gd name="T50" fmla="*/ 1059 w 3071"/>
              <a:gd name="T51" fmla="*/ 935 h 1498"/>
              <a:gd name="T52" fmla="*/ 650 w 3071"/>
              <a:gd name="T53" fmla="*/ 785 h 1498"/>
              <a:gd name="T54" fmla="*/ 571 w 3071"/>
              <a:gd name="T55" fmla="*/ 536 h 1498"/>
              <a:gd name="T56" fmla="*/ 846 w 3071"/>
              <a:gd name="T57" fmla="*/ 370 h 1498"/>
              <a:gd name="T58" fmla="*/ 882 w 3071"/>
              <a:gd name="T59" fmla="*/ 203 h 1498"/>
              <a:gd name="T60" fmla="*/ 761 w 3071"/>
              <a:gd name="T61" fmla="*/ 106 h 1498"/>
              <a:gd name="T62" fmla="*/ 190 w 3071"/>
              <a:gd name="T63" fmla="*/ 165 h 1498"/>
              <a:gd name="T64" fmla="*/ 294 w 3071"/>
              <a:gd name="T65" fmla="*/ 210 h 1498"/>
              <a:gd name="T66" fmla="*/ 312 w 3071"/>
              <a:gd name="T67" fmla="*/ 536 h 1498"/>
              <a:gd name="T68" fmla="*/ 645 w 3071"/>
              <a:gd name="T69" fmla="*/ 814 h 1498"/>
              <a:gd name="T70" fmla="*/ 761 w 3071"/>
              <a:gd name="T71" fmla="*/ 1395 h 1498"/>
              <a:gd name="T72" fmla="*/ 887 w 3071"/>
              <a:gd name="T73" fmla="*/ 1307 h 1498"/>
              <a:gd name="T74" fmla="*/ 634 w 3071"/>
              <a:gd name="T75" fmla="*/ 384 h 1498"/>
              <a:gd name="T76" fmla="*/ 604 w 3071"/>
              <a:gd name="T77" fmla="*/ 286 h 1498"/>
              <a:gd name="T78" fmla="*/ 759 w 3071"/>
              <a:gd name="T79" fmla="*/ 1370 h 1498"/>
              <a:gd name="T80" fmla="*/ 1654 w 3071"/>
              <a:gd name="T81" fmla="*/ 426 h 1498"/>
              <a:gd name="T82" fmla="*/ 2428 w 3071"/>
              <a:gd name="T83" fmla="*/ 63 h 1498"/>
              <a:gd name="T84" fmla="*/ 2628 w 3071"/>
              <a:gd name="T85" fmla="*/ 294 h 1498"/>
              <a:gd name="T86" fmla="*/ 2448 w 3071"/>
              <a:gd name="T87" fmla="*/ 780 h 1498"/>
              <a:gd name="T88" fmla="*/ 2558 w 3071"/>
              <a:gd name="T89" fmla="*/ 427 h 1498"/>
              <a:gd name="T90" fmla="*/ 2670 w 3071"/>
              <a:gd name="T91" fmla="*/ 219 h 1498"/>
              <a:gd name="T92" fmla="*/ 2813 w 3071"/>
              <a:gd name="T93" fmla="*/ 144 h 1498"/>
              <a:gd name="T94" fmla="*/ 2186 w 3071"/>
              <a:gd name="T95" fmla="*/ 83 h 1498"/>
              <a:gd name="T96" fmla="*/ 1934 w 3071"/>
              <a:gd name="T97" fmla="*/ 126 h 1498"/>
              <a:gd name="T98" fmla="*/ 1560 w 3071"/>
              <a:gd name="T99" fmla="*/ 124 h 1498"/>
              <a:gd name="T100" fmla="*/ 1562 w 3071"/>
              <a:gd name="T101" fmla="*/ 228 h 1498"/>
              <a:gd name="T102" fmla="*/ 1502 w 3071"/>
              <a:gd name="T103" fmla="*/ 269 h 1498"/>
              <a:gd name="T104" fmla="*/ 1515 w 3071"/>
              <a:gd name="T105" fmla="*/ 391 h 1498"/>
              <a:gd name="T106" fmla="*/ 1752 w 3071"/>
              <a:gd name="T107" fmla="*/ 472 h 1498"/>
              <a:gd name="T108" fmla="*/ 1252 w 3071"/>
              <a:gd name="T109" fmla="*/ 626 h 1498"/>
              <a:gd name="T110" fmla="*/ 1498 w 3071"/>
              <a:gd name="T111" fmla="*/ 885 h 1498"/>
              <a:gd name="T112" fmla="*/ 1805 w 3071"/>
              <a:gd name="T113" fmla="*/ 989 h 1498"/>
              <a:gd name="T114" fmla="*/ 1957 w 3071"/>
              <a:gd name="T115" fmla="*/ 674 h 1498"/>
              <a:gd name="T116" fmla="*/ 2200 w 3071"/>
              <a:gd name="T117" fmla="*/ 717 h 1498"/>
              <a:gd name="T118" fmla="*/ 1755 w 3071"/>
              <a:gd name="T119" fmla="*/ 882 h 1498"/>
              <a:gd name="T120" fmla="*/ 1835 w 3071"/>
              <a:gd name="T121" fmla="*/ 313 h 1498"/>
              <a:gd name="T122" fmla="*/ 1906 w 3071"/>
              <a:gd name="T123" fmla="*/ 434 h 1498"/>
              <a:gd name="T124" fmla="*/ 2656 w 3071"/>
              <a:gd name="T125" fmla="*/ 500 h 1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71" h="1498">
                <a:moveTo>
                  <a:pt x="2691" y="854"/>
                </a:moveTo>
                <a:cubicBezTo>
                  <a:pt x="2694" y="851"/>
                  <a:pt x="2693" y="850"/>
                  <a:pt x="2690" y="849"/>
                </a:cubicBezTo>
                <a:cubicBezTo>
                  <a:pt x="2688" y="848"/>
                  <a:pt x="2687" y="849"/>
                  <a:pt x="2687" y="849"/>
                </a:cubicBezTo>
                <a:cubicBezTo>
                  <a:pt x="2687" y="849"/>
                  <a:pt x="2690" y="855"/>
                  <a:pt x="2691" y="854"/>
                </a:cubicBezTo>
                <a:close/>
                <a:moveTo>
                  <a:pt x="2678" y="874"/>
                </a:moveTo>
                <a:cubicBezTo>
                  <a:pt x="2678" y="876"/>
                  <a:pt x="2676" y="878"/>
                  <a:pt x="2678" y="880"/>
                </a:cubicBezTo>
                <a:cubicBezTo>
                  <a:pt x="2679" y="881"/>
                  <a:pt x="2687" y="888"/>
                  <a:pt x="2689" y="888"/>
                </a:cubicBezTo>
                <a:cubicBezTo>
                  <a:pt x="2691" y="887"/>
                  <a:pt x="2689" y="884"/>
                  <a:pt x="2687" y="883"/>
                </a:cubicBezTo>
                <a:cubicBezTo>
                  <a:pt x="2685" y="882"/>
                  <a:pt x="2683" y="879"/>
                  <a:pt x="2685" y="877"/>
                </a:cubicBezTo>
                <a:cubicBezTo>
                  <a:pt x="2688" y="875"/>
                  <a:pt x="2692" y="877"/>
                  <a:pt x="2692" y="877"/>
                </a:cubicBezTo>
                <a:cubicBezTo>
                  <a:pt x="2694" y="876"/>
                  <a:pt x="2694" y="876"/>
                  <a:pt x="2694" y="876"/>
                </a:cubicBezTo>
                <a:cubicBezTo>
                  <a:pt x="2690" y="873"/>
                  <a:pt x="2690" y="873"/>
                  <a:pt x="2690" y="873"/>
                </a:cubicBezTo>
                <a:cubicBezTo>
                  <a:pt x="2690" y="873"/>
                  <a:pt x="2693" y="872"/>
                  <a:pt x="2694" y="869"/>
                </a:cubicBezTo>
                <a:cubicBezTo>
                  <a:pt x="2694" y="867"/>
                  <a:pt x="2691" y="865"/>
                  <a:pt x="2689" y="865"/>
                </a:cubicBezTo>
                <a:cubicBezTo>
                  <a:pt x="2687" y="865"/>
                  <a:pt x="2685" y="870"/>
                  <a:pt x="2682" y="871"/>
                </a:cubicBezTo>
                <a:cubicBezTo>
                  <a:pt x="2680" y="871"/>
                  <a:pt x="2680" y="865"/>
                  <a:pt x="2680" y="865"/>
                </a:cubicBezTo>
                <a:cubicBezTo>
                  <a:pt x="2680" y="865"/>
                  <a:pt x="2683" y="863"/>
                  <a:pt x="2683" y="861"/>
                </a:cubicBezTo>
                <a:cubicBezTo>
                  <a:pt x="2684" y="858"/>
                  <a:pt x="2683" y="857"/>
                  <a:pt x="2683" y="857"/>
                </a:cubicBezTo>
                <a:cubicBezTo>
                  <a:pt x="2684" y="852"/>
                  <a:pt x="2684" y="852"/>
                  <a:pt x="2684" y="852"/>
                </a:cubicBezTo>
                <a:cubicBezTo>
                  <a:pt x="2679" y="857"/>
                  <a:pt x="2679" y="857"/>
                  <a:pt x="2679" y="857"/>
                </a:cubicBezTo>
                <a:cubicBezTo>
                  <a:pt x="2679" y="861"/>
                  <a:pt x="2679" y="861"/>
                  <a:pt x="2679" y="861"/>
                </a:cubicBezTo>
                <a:cubicBezTo>
                  <a:pt x="2679" y="861"/>
                  <a:pt x="2674" y="863"/>
                  <a:pt x="2674" y="868"/>
                </a:cubicBezTo>
                <a:cubicBezTo>
                  <a:pt x="2675" y="872"/>
                  <a:pt x="2677" y="872"/>
                  <a:pt x="2678" y="874"/>
                </a:cubicBezTo>
                <a:close/>
                <a:moveTo>
                  <a:pt x="2683" y="895"/>
                </a:moveTo>
                <a:cubicBezTo>
                  <a:pt x="2681" y="893"/>
                  <a:pt x="2677" y="890"/>
                  <a:pt x="2677" y="890"/>
                </a:cubicBezTo>
                <a:cubicBezTo>
                  <a:pt x="2677" y="897"/>
                  <a:pt x="2677" y="897"/>
                  <a:pt x="2677" y="897"/>
                </a:cubicBezTo>
                <a:cubicBezTo>
                  <a:pt x="2679" y="898"/>
                  <a:pt x="2685" y="898"/>
                  <a:pt x="2683" y="895"/>
                </a:cubicBezTo>
                <a:close/>
                <a:moveTo>
                  <a:pt x="2700" y="905"/>
                </a:moveTo>
                <a:cubicBezTo>
                  <a:pt x="2705" y="903"/>
                  <a:pt x="2705" y="899"/>
                  <a:pt x="2705" y="899"/>
                </a:cubicBezTo>
                <a:cubicBezTo>
                  <a:pt x="2695" y="899"/>
                  <a:pt x="2695" y="899"/>
                  <a:pt x="2695" y="899"/>
                </a:cubicBezTo>
                <a:cubicBezTo>
                  <a:pt x="2695" y="899"/>
                  <a:pt x="2696" y="907"/>
                  <a:pt x="2700" y="905"/>
                </a:cubicBezTo>
                <a:close/>
                <a:moveTo>
                  <a:pt x="2635" y="995"/>
                </a:moveTo>
                <a:cubicBezTo>
                  <a:pt x="2638" y="997"/>
                  <a:pt x="2646" y="989"/>
                  <a:pt x="2649" y="986"/>
                </a:cubicBezTo>
                <a:cubicBezTo>
                  <a:pt x="2650" y="986"/>
                  <a:pt x="2650" y="985"/>
                  <a:pt x="2650" y="985"/>
                </a:cubicBezTo>
                <a:cubicBezTo>
                  <a:pt x="2652" y="985"/>
                  <a:pt x="2652" y="985"/>
                  <a:pt x="2652" y="985"/>
                </a:cubicBezTo>
                <a:cubicBezTo>
                  <a:pt x="2657" y="981"/>
                  <a:pt x="2657" y="981"/>
                  <a:pt x="2657" y="981"/>
                </a:cubicBezTo>
                <a:cubicBezTo>
                  <a:pt x="2657" y="981"/>
                  <a:pt x="2659" y="983"/>
                  <a:pt x="2662" y="983"/>
                </a:cubicBezTo>
                <a:cubicBezTo>
                  <a:pt x="2664" y="982"/>
                  <a:pt x="2674" y="972"/>
                  <a:pt x="2674" y="972"/>
                </a:cubicBezTo>
                <a:cubicBezTo>
                  <a:pt x="2670" y="970"/>
                  <a:pt x="2670" y="970"/>
                  <a:pt x="2670" y="970"/>
                </a:cubicBezTo>
                <a:cubicBezTo>
                  <a:pt x="2667" y="973"/>
                  <a:pt x="2667" y="973"/>
                  <a:pt x="2667" y="973"/>
                </a:cubicBezTo>
                <a:cubicBezTo>
                  <a:pt x="2667" y="973"/>
                  <a:pt x="2658" y="973"/>
                  <a:pt x="2656" y="973"/>
                </a:cubicBezTo>
                <a:cubicBezTo>
                  <a:pt x="2654" y="973"/>
                  <a:pt x="2652" y="977"/>
                  <a:pt x="2652" y="977"/>
                </a:cubicBezTo>
                <a:cubicBezTo>
                  <a:pt x="2652" y="977"/>
                  <a:pt x="2651" y="977"/>
                  <a:pt x="2649" y="977"/>
                </a:cubicBezTo>
                <a:cubicBezTo>
                  <a:pt x="2649" y="977"/>
                  <a:pt x="2649" y="977"/>
                  <a:pt x="2649" y="977"/>
                </a:cubicBezTo>
                <a:cubicBezTo>
                  <a:pt x="2648" y="977"/>
                  <a:pt x="2647" y="978"/>
                  <a:pt x="2646" y="978"/>
                </a:cubicBezTo>
                <a:cubicBezTo>
                  <a:pt x="2645" y="979"/>
                  <a:pt x="2644" y="980"/>
                  <a:pt x="2644" y="980"/>
                </a:cubicBezTo>
                <a:cubicBezTo>
                  <a:pt x="2644" y="980"/>
                  <a:pt x="2644" y="980"/>
                  <a:pt x="2644" y="980"/>
                </a:cubicBezTo>
                <a:cubicBezTo>
                  <a:pt x="2641" y="980"/>
                  <a:pt x="2641" y="980"/>
                  <a:pt x="2641" y="980"/>
                </a:cubicBezTo>
                <a:cubicBezTo>
                  <a:pt x="2638" y="982"/>
                  <a:pt x="2638" y="982"/>
                  <a:pt x="2638" y="982"/>
                </a:cubicBezTo>
                <a:cubicBezTo>
                  <a:pt x="2639" y="984"/>
                  <a:pt x="2639" y="984"/>
                  <a:pt x="2639" y="984"/>
                </a:cubicBezTo>
                <a:cubicBezTo>
                  <a:pt x="2639" y="984"/>
                  <a:pt x="2639" y="984"/>
                  <a:pt x="2639" y="985"/>
                </a:cubicBezTo>
                <a:cubicBezTo>
                  <a:pt x="2636" y="987"/>
                  <a:pt x="2631" y="992"/>
                  <a:pt x="2635" y="995"/>
                </a:cubicBezTo>
                <a:close/>
                <a:moveTo>
                  <a:pt x="2609" y="943"/>
                </a:moveTo>
                <a:cubicBezTo>
                  <a:pt x="2605" y="950"/>
                  <a:pt x="2605" y="950"/>
                  <a:pt x="2605" y="950"/>
                </a:cubicBezTo>
                <a:cubicBezTo>
                  <a:pt x="2608" y="950"/>
                  <a:pt x="2608" y="950"/>
                  <a:pt x="2608" y="950"/>
                </a:cubicBezTo>
                <a:cubicBezTo>
                  <a:pt x="2610" y="946"/>
                  <a:pt x="2610" y="946"/>
                  <a:pt x="2610" y="946"/>
                </a:cubicBezTo>
                <a:cubicBezTo>
                  <a:pt x="2609" y="943"/>
                  <a:pt x="2609" y="943"/>
                  <a:pt x="2609" y="943"/>
                </a:cubicBezTo>
                <a:cubicBezTo>
                  <a:pt x="2609" y="943"/>
                  <a:pt x="2609" y="943"/>
                  <a:pt x="2609" y="943"/>
                </a:cubicBezTo>
                <a:close/>
                <a:moveTo>
                  <a:pt x="2609" y="976"/>
                </a:moveTo>
                <a:cubicBezTo>
                  <a:pt x="2622" y="976"/>
                  <a:pt x="2622" y="976"/>
                  <a:pt x="2622" y="976"/>
                </a:cubicBezTo>
                <a:cubicBezTo>
                  <a:pt x="2628" y="975"/>
                  <a:pt x="2628" y="975"/>
                  <a:pt x="2628" y="975"/>
                </a:cubicBezTo>
                <a:cubicBezTo>
                  <a:pt x="2634" y="970"/>
                  <a:pt x="2634" y="970"/>
                  <a:pt x="2634" y="970"/>
                </a:cubicBezTo>
                <a:cubicBezTo>
                  <a:pt x="2634" y="968"/>
                  <a:pt x="2634" y="968"/>
                  <a:pt x="2634" y="968"/>
                </a:cubicBezTo>
                <a:cubicBezTo>
                  <a:pt x="2629" y="970"/>
                  <a:pt x="2629" y="970"/>
                  <a:pt x="2629" y="970"/>
                </a:cubicBezTo>
                <a:cubicBezTo>
                  <a:pt x="2625" y="974"/>
                  <a:pt x="2625" y="974"/>
                  <a:pt x="2625" y="974"/>
                </a:cubicBezTo>
                <a:cubicBezTo>
                  <a:pt x="2625" y="974"/>
                  <a:pt x="2623" y="971"/>
                  <a:pt x="2621" y="971"/>
                </a:cubicBezTo>
                <a:cubicBezTo>
                  <a:pt x="2619" y="972"/>
                  <a:pt x="2616" y="974"/>
                  <a:pt x="2616" y="974"/>
                </a:cubicBezTo>
                <a:cubicBezTo>
                  <a:pt x="2616" y="974"/>
                  <a:pt x="2614" y="969"/>
                  <a:pt x="2610" y="970"/>
                </a:cubicBezTo>
                <a:cubicBezTo>
                  <a:pt x="2607" y="970"/>
                  <a:pt x="2602" y="976"/>
                  <a:pt x="2602" y="976"/>
                </a:cubicBezTo>
                <a:cubicBezTo>
                  <a:pt x="2597" y="975"/>
                  <a:pt x="2597" y="975"/>
                  <a:pt x="2597" y="975"/>
                </a:cubicBezTo>
                <a:cubicBezTo>
                  <a:pt x="2596" y="978"/>
                  <a:pt x="2596" y="978"/>
                  <a:pt x="2596" y="978"/>
                </a:cubicBezTo>
                <a:cubicBezTo>
                  <a:pt x="2599" y="977"/>
                  <a:pt x="2599" y="977"/>
                  <a:pt x="2599" y="977"/>
                </a:cubicBezTo>
                <a:cubicBezTo>
                  <a:pt x="2599" y="977"/>
                  <a:pt x="2601" y="978"/>
                  <a:pt x="2604" y="979"/>
                </a:cubicBezTo>
                <a:cubicBezTo>
                  <a:pt x="2606" y="980"/>
                  <a:pt x="2609" y="976"/>
                  <a:pt x="2609" y="976"/>
                </a:cubicBezTo>
                <a:close/>
                <a:moveTo>
                  <a:pt x="2636" y="933"/>
                </a:moveTo>
                <a:cubicBezTo>
                  <a:pt x="2636" y="930"/>
                  <a:pt x="2635" y="927"/>
                  <a:pt x="2635" y="927"/>
                </a:cubicBezTo>
                <a:cubicBezTo>
                  <a:pt x="2635" y="927"/>
                  <a:pt x="2627" y="921"/>
                  <a:pt x="2627" y="918"/>
                </a:cubicBezTo>
                <a:cubicBezTo>
                  <a:pt x="2628" y="916"/>
                  <a:pt x="2632" y="913"/>
                  <a:pt x="2629" y="911"/>
                </a:cubicBezTo>
                <a:cubicBezTo>
                  <a:pt x="2627" y="909"/>
                  <a:pt x="2625" y="908"/>
                  <a:pt x="2625" y="906"/>
                </a:cubicBezTo>
                <a:cubicBezTo>
                  <a:pt x="2625" y="904"/>
                  <a:pt x="2628" y="900"/>
                  <a:pt x="2625" y="899"/>
                </a:cubicBezTo>
                <a:cubicBezTo>
                  <a:pt x="2622" y="898"/>
                  <a:pt x="2618" y="895"/>
                  <a:pt x="2618" y="895"/>
                </a:cubicBezTo>
                <a:cubicBezTo>
                  <a:pt x="2618" y="895"/>
                  <a:pt x="2622" y="896"/>
                  <a:pt x="2624" y="894"/>
                </a:cubicBezTo>
                <a:cubicBezTo>
                  <a:pt x="2626" y="892"/>
                  <a:pt x="2628" y="887"/>
                  <a:pt x="2628" y="887"/>
                </a:cubicBezTo>
                <a:cubicBezTo>
                  <a:pt x="2628" y="887"/>
                  <a:pt x="2637" y="888"/>
                  <a:pt x="2637" y="886"/>
                </a:cubicBezTo>
                <a:cubicBezTo>
                  <a:pt x="2637" y="884"/>
                  <a:pt x="2635" y="881"/>
                  <a:pt x="2633" y="881"/>
                </a:cubicBezTo>
                <a:cubicBezTo>
                  <a:pt x="2630" y="881"/>
                  <a:pt x="2629" y="884"/>
                  <a:pt x="2629" y="884"/>
                </a:cubicBezTo>
                <a:cubicBezTo>
                  <a:pt x="2629" y="884"/>
                  <a:pt x="2623" y="883"/>
                  <a:pt x="2620" y="884"/>
                </a:cubicBezTo>
                <a:cubicBezTo>
                  <a:pt x="2618" y="884"/>
                  <a:pt x="2617" y="890"/>
                  <a:pt x="2614" y="890"/>
                </a:cubicBezTo>
                <a:cubicBezTo>
                  <a:pt x="2612" y="890"/>
                  <a:pt x="2612" y="886"/>
                  <a:pt x="2608" y="884"/>
                </a:cubicBezTo>
                <a:cubicBezTo>
                  <a:pt x="2605" y="882"/>
                  <a:pt x="2603" y="883"/>
                  <a:pt x="2603" y="883"/>
                </a:cubicBezTo>
                <a:cubicBezTo>
                  <a:pt x="2603" y="883"/>
                  <a:pt x="2604" y="870"/>
                  <a:pt x="2608" y="870"/>
                </a:cubicBezTo>
                <a:cubicBezTo>
                  <a:pt x="2611" y="870"/>
                  <a:pt x="2617" y="872"/>
                  <a:pt x="2620" y="871"/>
                </a:cubicBezTo>
                <a:cubicBezTo>
                  <a:pt x="2623" y="871"/>
                  <a:pt x="2621" y="868"/>
                  <a:pt x="2623" y="869"/>
                </a:cubicBezTo>
                <a:cubicBezTo>
                  <a:pt x="2626" y="869"/>
                  <a:pt x="2637" y="874"/>
                  <a:pt x="2639" y="875"/>
                </a:cubicBezTo>
                <a:cubicBezTo>
                  <a:pt x="2641" y="875"/>
                  <a:pt x="2642" y="873"/>
                  <a:pt x="2643" y="872"/>
                </a:cubicBezTo>
                <a:cubicBezTo>
                  <a:pt x="2645" y="871"/>
                  <a:pt x="2647" y="872"/>
                  <a:pt x="2649" y="871"/>
                </a:cubicBezTo>
                <a:cubicBezTo>
                  <a:pt x="2651" y="870"/>
                  <a:pt x="2649" y="869"/>
                  <a:pt x="2651" y="867"/>
                </a:cubicBezTo>
                <a:cubicBezTo>
                  <a:pt x="2652" y="865"/>
                  <a:pt x="2657" y="863"/>
                  <a:pt x="2657" y="863"/>
                </a:cubicBezTo>
                <a:cubicBezTo>
                  <a:pt x="2655" y="859"/>
                  <a:pt x="2655" y="859"/>
                  <a:pt x="2655" y="859"/>
                </a:cubicBezTo>
                <a:cubicBezTo>
                  <a:pt x="2644" y="864"/>
                  <a:pt x="2644" y="864"/>
                  <a:pt x="2644" y="864"/>
                </a:cubicBezTo>
                <a:cubicBezTo>
                  <a:pt x="2644" y="864"/>
                  <a:pt x="2647" y="866"/>
                  <a:pt x="2644" y="867"/>
                </a:cubicBezTo>
                <a:cubicBezTo>
                  <a:pt x="2640" y="867"/>
                  <a:pt x="2638" y="865"/>
                  <a:pt x="2636" y="865"/>
                </a:cubicBezTo>
                <a:cubicBezTo>
                  <a:pt x="2634" y="865"/>
                  <a:pt x="2631" y="868"/>
                  <a:pt x="2629" y="867"/>
                </a:cubicBezTo>
                <a:cubicBezTo>
                  <a:pt x="2627" y="867"/>
                  <a:pt x="2621" y="864"/>
                  <a:pt x="2620" y="864"/>
                </a:cubicBezTo>
                <a:cubicBezTo>
                  <a:pt x="2619" y="864"/>
                  <a:pt x="2615" y="864"/>
                  <a:pt x="2615" y="864"/>
                </a:cubicBezTo>
                <a:cubicBezTo>
                  <a:pt x="2617" y="862"/>
                  <a:pt x="2617" y="862"/>
                  <a:pt x="2617" y="862"/>
                </a:cubicBezTo>
                <a:cubicBezTo>
                  <a:pt x="2617" y="862"/>
                  <a:pt x="2611" y="860"/>
                  <a:pt x="2611" y="861"/>
                </a:cubicBezTo>
                <a:cubicBezTo>
                  <a:pt x="2610" y="862"/>
                  <a:pt x="2611" y="865"/>
                  <a:pt x="2608" y="867"/>
                </a:cubicBezTo>
                <a:cubicBezTo>
                  <a:pt x="2606" y="868"/>
                  <a:pt x="2601" y="868"/>
                  <a:pt x="2601" y="869"/>
                </a:cubicBezTo>
                <a:cubicBezTo>
                  <a:pt x="2601" y="870"/>
                  <a:pt x="2601" y="873"/>
                  <a:pt x="2601" y="873"/>
                </a:cubicBezTo>
                <a:cubicBezTo>
                  <a:pt x="2598" y="874"/>
                  <a:pt x="2598" y="874"/>
                  <a:pt x="2598" y="874"/>
                </a:cubicBezTo>
                <a:cubicBezTo>
                  <a:pt x="2600" y="883"/>
                  <a:pt x="2600" y="883"/>
                  <a:pt x="2600" y="883"/>
                </a:cubicBezTo>
                <a:cubicBezTo>
                  <a:pt x="2598" y="883"/>
                  <a:pt x="2598" y="883"/>
                  <a:pt x="2598" y="883"/>
                </a:cubicBezTo>
                <a:cubicBezTo>
                  <a:pt x="2598" y="883"/>
                  <a:pt x="2595" y="888"/>
                  <a:pt x="2594" y="890"/>
                </a:cubicBezTo>
                <a:cubicBezTo>
                  <a:pt x="2594" y="893"/>
                  <a:pt x="2598" y="897"/>
                  <a:pt x="2596" y="899"/>
                </a:cubicBezTo>
                <a:cubicBezTo>
                  <a:pt x="2594" y="900"/>
                  <a:pt x="2589" y="902"/>
                  <a:pt x="2589" y="904"/>
                </a:cubicBezTo>
                <a:cubicBezTo>
                  <a:pt x="2589" y="907"/>
                  <a:pt x="2591" y="910"/>
                  <a:pt x="2591" y="910"/>
                </a:cubicBezTo>
                <a:cubicBezTo>
                  <a:pt x="2591" y="910"/>
                  <a:pt x="2588" y="913"/>
                  <a:pt x="2590" y="915"/>
                </a:cubicBezTo>
                <a:cubicBezTo>
                  <a:pt x="2592" y="916"/>
                  <a:pt x="2596" y="913"/>
                  <a:pt x="2597" y="915"/>
                </a:cubicBezTo>
                <a:cubicBezTo>
                  <a:pt x="2598" y="918"/>
                  <a:pt x="2596" y="920"/>
                  <a:pt x="2596" y="920"/>
                </a:cubicBezTo>
                <a:cubicBezTo>
                  <a:pt x="2598" y="923"/>
                  <a:pt x="2598" y="923"/>
                  <a:pt x="2598" y="923"/>
                </a:cubicBezTo>
                <a:cubicBezTo>
                  <a:pt x="2597" y="932"/>
                  <a:pt x="2597" y="932"/>
                  <a:pt x="2597" y="932"/>
                </a:cubicBezTo>
                <a:cubicBezTo>
                  <a:pt x="2597" y="932"/>
                  <a:pt x="2592" y="935"/>
                  <a:pt x="2594" y="940"/>
                </a:cubicBezTo>
                <a:cubicBezTo>
                  <a:pt x="2597" y="945"/>
                  <a:pt x="2600" y="945"/>
                  <a:pt x="2604" y="941"/>
                </a:cubicBezTo>
                <a:cubicBezTo>
                  <a:pt x="2607" y="938"/>
                  <a:pt x="2603" y="931"/>
                  <a:pt x="2603" y="931"/>
                </a:cubicBezTo>
                <a:cubicBezTo>
                  <a:pt x="2603" y="931"/>
                  <a:pt x="2608" y="928"/>
                  <a:pt x="2608" y="924"/>
                </a:cubicBezTo>
                <a:cubicBezTo>
                  <a:pt x="2607" y="919"/>
                  <a:pt x="2609" y="915"/>
                  <a:pt x="2608" y="913"/>
                </a:cubicBezTo>
                <a:cubicBezTo>
                  <a:pt x="2606" y="910"/>
                  <a:pt x="2605" y="905"/>
                  <a:pt x="2606" y="904"/>
                </a:cubicBezTo>
                <a:cubicBezTo>
                  <a:pt x="2606" y="903"/>
                  <a:pt x="2607" y="897"/>
                  <a:pt x="2609" y="901"/>
                </a:cubicBezTo>
                <a:cubicBezTo>
                  <a:pt x="2612" y="904"/>
                  <a:pt x="2612" y="911"/>
                  <a:pt x="2612" y="911"/>
                </a:cubicBezTo>
                <a:cubicBezTo>
                  <a:pt x="2616" y="916"/>
                  <a:pt x="2616" y="916"/>
                  <a:pt x="2616" y="916"/>
                </a:cubicBezTo>
                <a:cubicBezTo>
                  <a:pt x="2616" y="924"/>
                  <a:pt x="2616" y="924"/>
                  <a:pt x="2616" y="924"/>
                </a:cubicBezTo>
                <a:cubicBezTo>
                  <a:pt x="2619" y="928"/>
                  <a:pt x="2619" y="928"/>
                  <a:pt x="2619" y="928"/>
                </a:cubicBezTo>
                <a:cubicBezTo>
                  <a:pt x="2620" y="933"/>
                  <a:pt x="2620" y="933"/>
                  <a:pt x="2620" y="933"/>
                </a:cubicBezTo>
                <a:cubicBezTo>
                  <a:pt x="2621" y="944"/>
                  <a:pt x="2621" y="944"/>
                  <a:pt x="2621" y="944"/>
                </a:cubicBezTo>
                <a:cubicBezTo>
                  <a:pt x="2624" y="942"/>
                  <a:pt x="2624" y="942"/>
                  <a:pt x="2624" y="942"/>
                </a:cubicBezTo>
                <a:cubicBezTo>
                  <a:pt x="2629" y="943"/>
                  <a:pt x="2629" y="943"/>
                  <a:pt x="2629" y="943"/>
                </a:cubicBezTo>
                <a:cubicBezTo>
                  <a:pt x="2629" y="943"/>
                  <a:pt x="2630" y="940"/>
                  <a:pt x="2629" y="937"/>
                </a:cubicBezTo>
                <a:cubicBezTo>
                  <a:pt x="2629" y="934"/>
                  <a:pt x="2631" y="933"/>
                  <a:pt x="2631" y="933"/>
                </a:cubicBezTo>
                <a:cubicBezTo>
                  <a:pt x="2632" y="936"/>
                  <a:pt x="2632" y="936"/>
                  <a:pt x="2632" y="936"/>
                </a:cubicBezTo>
                <a:cubicBezTo>
                  <a:pt x="2632" y="936"/>
                  <a:pt x="2635" y="936"/>
                  <a:pt x="2636" y="933"/>
                </a:cubicBezTo>
                <a:close/>
                <a:moveTo>
                  <a:pt x="2633" y="894"/>
                </a:moveTo>
                <a:cubicBezTo>
                  <a:pt x="2633" y="897"/>
                  <a:pt x="2633" y="897"/>
                  <a:pt x="2633" y="897"/>
                </a:cubicBezTo>
                <a:cubicBezTo>
                  <a:pt x="2633" y="897"/>
                  <a:pt x="2636" y="899"/>
                  <a:pt x="2637" y="896"/>
                </a:cubicBezTo>
                <a:cubicBezTo>
                  <a:pt x="2639" y="892"/>
                  <a:pt x="2633" y="894"/>
                  <a:pt x="2633" y="894"/>
                </a:cubicBezTo>
                <a:close/>
                <a:moveTo>
                  <a:pt x="2738" y="1322"/>
                </a:moveTo>
                <a:cubicBezTo>
                  <a:pt x="2737" y="1328"/>
                  <a:pt x="2737" y="1328"/>
                  <a:pt x="2737" y="1328"/>
                </a:cubicBezTo>
                <a:cubicBezTo>
                  <a:pt x="2744" y="1321"/>
                  <a:pt x="2744" y="1321"/>
                  <a:pt x="2744" y="1321"/>
                </a:cubicBezTo>
                <a:cubicBezTo>
                  <a:pt x="2738" y="1322"/>
                  <a:pt x="2738" y="1322"/>
                  <a:pt x="2738" y="1322"/>
                </a:cubicBezTo>
                <a:cubicBezTo>
                  <a:pt x="2738" y="1322"/>
                  <a:pt x="2738" y="1322"/>
                  <a:pt x="2738" y="1322"/>
                </a:cubicBezTo>
                <a:close/>
                <a:moveTo>
                  <a:pt x="2453" y="876"/>
                </a:moveTo>
                <a:cubicBezTo>
                  <a:pt x="2450" y="873"/>
                  <a:pt x="2450" y="873"/>
                  <a:pt x="2450" y="873"/>
                </a:cubicBezTo>
                <a:cubicBezTo>
                  <a:pt x="2449" y="878"/>
                  <a:pt x="2449" y="878"/>
                  <a:pt x="2449" y="878"/>
                </a:cubicBezTo>
                <a:cubicBezTo>
                  <a:pt x="2453" y="880"/>
                  <a:pt x="2453" y="880"/>
                  <a:pt x="2453" y="880"/>
                </a:cubicBezTo>
                <a:cubicBezTo>
                  <a:pt x="2453" y="876"/>
                  <a:pt x="2453" y="876"/>
                  <a:pt x="2453" y="876"/>
                </a:cubicBezTo>
                <a:cubicBezTo>
                  <a:pt x="2453" y="876"/>
                  <a:pt x="2453" y="876"/>
                  <a:pt x="2453" y="876"/>
                </a:cubicBezTo>
                <a:close/>
                <a:moveTo>
                  <a:pt x="2451" y="865"/>
                </a:moveTo>
                <a:cubicBezTo>
                  <a:pt x="2450" y="863"/>
                  <a:pt x="2447" y="864"/>
                  <a:pt x="2449" y="867"/>
                </a:cubicBezTo>
                <a:cubicBezTo>
                  <a:pt x="2451" y="871"/>
                  <a:pt x="2452" y="868"/>
                  <a:pt x="2451" y="865"/>
                </a:cubicBezTo>
                <a:close/>
                <a:moveTo>
                  <a:pt x="2420" y="857"/>
                </a:moveTo>
                <a:cubicBezTo>
                  <a:pt x="2420" y="860"/>
                  <a:pt x="2426" y="857"/>
                  <a:pt x="2423" y="855"/>
                </a:cubicBezTo>
                <a:cubicBezTo>
                  <a:pt x="2421" y="853"/>
                  <a:pt x="2418" y="854"/>
                  <a:pt x="2420" y="857"/>
                </a:cubicBezTo>
                <a:close/>
                <a:moveTo>
                  <a:pt x="2362" y="845"/>
                </a:moveTo>
                <a:cubicBezTo>
                  <a:pt x="2361" y="846"/>
                  <a:pt x="2361" y="849"/>
                  <a:pt x="2363" y="849"/>
                </a:cubicBezTo>
                <a:cubicBezTo>
                  <a:pt x="2366" y="850"/>
                  <a:pt x="2366" y="853"/>
                  <a:pt x="2369" y="851"/>
                </a:cubicBezTo>
                <a:cubicBezTo>
                  <a:pt x="2370" y="850"/>
                  <a:pt x="2363" y="844"/>
                  <a:pt x="2362" y="845"/>
                </a:cubicBezTo>
                <a:close/>
                <a:moveTo>
                  <a:pt x="2712" y="879"/>
                </a:moveTo>
                <a:cubicBezTo>
                  <a:pt x="2708" y="878"/>
                  <a:pt x="2706" y="879"/>
                  <a:pt x="2706" y="879"/>
                </a:cubicBezTo>
                <a:cubicBezTo>
                  <a:pt x="2707" y="883"/>
                  <a:pt x="2707" y="883"/>
                  <a:pt x="2707" y="883"/>
                </a:cubicBezTo>
                <a:cubicBezTo>
                  <a:pt x="2709" y="883"/>
                  <a:pt x="2715" y="882"/>
                  <a:pt x="2715" y="882"/>
                </a:cubicBezTo>
                <a:cubicBezTo>
                  <a:pt x="2715" y="882"/>
                  <a:pt x="2716" y="879"/>
                  <a:pt x="2712" y="879"/>
                </a:cubicBezTo>
                <a:close/>
                <a:moveTo>
                  <a:pt x="2451" y="889"/>
                </a:moveTo>
                <a:cubicBezTo>
                  <a:pt x="2450" y="882"/>
                  <a:pt x="2450" y="882"/>
                  <a:pt x="2450" y="882"/>
                </a:cubicBezTo>
                <a:cubicBezTo>
                  <a:pt x="2447" y="885"/>
                  <a:pt x="2447" y="885"/>
                  <a:pt x="2447" y="885"/>
                </a:cubicBezTo>
                <a:cubicBezTo>
                  <a:pt x="2451" y="889"/>
                  <a:pt x="2451" y="889"/>
                  <a:pt x="2451" y="889"/>
                </a:cubicBezTo>
                <a:cubicBezTo>
                  <a:pt x="2451" y="889"/>
                  <a:pt x="2451" y="889"/>
                  <a:pt x="2451" y="889"/>
                </a:cubicBezTo>
                <a:close/>
                <a:moveTo>
                  <a:pt x="2597" y="989"/>
                </a:moveTo>
                <a:cubicBezTo>
                  <a:pt x="2600" y="989"/>
                  <a:pt x="2598" y="991"/>
                  <a:pt x="2600" y="993"/>
                </a:cubicBezTo>
                <a:cubicBezTo>
                  <a:pt x="2602" y="995"/>
                  <a:pt x="2607" y="994"/>
                  <a:pt x="2607" y="994"/>
                </a:cubicBezTo>
                <a:cubicBezTo>
                  <a:pt x="2607" y="994"/>
                  <a:pt x="2606" y="990"/>
                  <a:pt x="2603" y="986"/>
                </a:cubicBezTo>
                <a:cubicBezTo>
                  <a:pt x="2600" y="982"/>
                  <a:pt x="2595" y="985"/>
                  <a:pt x="2595" y="985"/>
                </a:cubicBezTo>
                <a:cubicBezTo>
                  <a:pt x="2590" y="984"/>
                  <a:pt x="2590" y="984"/>
                  <a:pt x="2590" y="984"/>
                </a:cubicBezTo>
                <a:cubicBezTo>
                  <a:pt x="2589" y="985"/>
                  <a:pt x="2589" y="985"/>
                  <a:pt x="2591" y="988"/>
                </a:cubicBezTo>
                <a:cubicBezTo>
                  <a:pt x="2593" y="992"/>
                  <a:pt x="2595" y="989"/>
                  <a:pt x="2597" y="989"/>
                </a:cubicBezTo>
                <a:close/>
                <a:moveTo>
                  <a:pt x="2481" y="906"/>
                </a:moveTo>
                <a:cubicBezTo>
                  <a:pt x="2477" y="907"/>
                  <a:pt x="2478" y="911"/>
                  <a:pt x="2479" y="914"/>
                </a:cubicBezTo>
                <a:cubicBezTo>
                  <a:pt x="2483" y="913"/>
                  <a:pt x="2483" y="913"/>
                  <a:pt x="2483" y="913"/>
                </a:cubicBezTo>
                <a:cubicBezTo>
                  <a:pt x="2485" y="916"/>
                  <a:pt x="2485" y="916"/>
                  <a:pt x="2485" y="916"/>
                </a:cubicBezTo>
                <a:cubicBezTo>
                  <a:pt x="2487" y="912"/>
                  <a:pt x="2487" y="912"/>
                  <a:pt x="2487" y="912"/>
                </a:cubicBezTo>
                <a:cubicBezTo>
                  <a:pt x="2487" y="912"/>
                  <a:pt x="2485" y="906"/>
                  <a:pt x="2481" y="906"/>
                </a:cubicBezTo>
                <a:close/>
                <a:moveTo>
                  <a:pt x="2455" y="901"/>
                </a:moveTo>
                <a:cubicBezTo>
                  <a:pt x="2461" y="900"/>
                  <a:pt x="2461" y="900"/>
                  <a:pt x="2461" y="900"/>
                </a:cubicBezTo>
                <a:cubicBezTo>
                  <a:pt x="2461" y="900"/>
                  <a:pt x="2462" y="907"/>
                  <a:pt x="2464" y="909"/>
                </a:cubicBezTo>
                <a:cubicBezTo>
                  <a:pt x="2466" y="912"/>
                  <a:pt x="2472" y="912"/>
                  <a:pt x="2472" y="912"/>
                </a:cubicBezTo>
                <a:cubicBezTo>
                  <a:pt x="2471" y="906"/>
                  <a:pt x="2471" y="906"/>
                  <a:pt x="2471" y="906"/>
                </a:cubicBezTo>
                <a:cubicBezTo>
                  <a:pt x="2469" y="904"/>
                  <a:pt x="2469" y="904"/>
                  <a:pt x="2469" y="904"/>
                </a:cubicBezTo>
                <a:cubicBezTo>
                  <a:pt x="2469" y="900"/>
                  <a:pt x="2469" y="900"/>
                  <a:pt x="2469" y="900"/>
                </a:cubicBezTo>
                <a:cubicBezTo>
                  <a:pt x="2469" y="900"/>
                  <a:pt x="2466" y="895"/>
                  <a:pt x="2461" y="893"/>
                </a:cubicBezTo>
                <a:cubicBezTo>
                  <a:pt x="2456" y="892"/>
                  <a:pt x="2457" y="897"/>
                  <a:pt x="2457" y="897"/>
                </a:cubicBezTo>
                <a:cubicBezTo>
                  <a:pt x="2457" y="897"/>
                  <a:pt x="2454" y="897"/>
                  <a:pt x="2455" y="901"/>
                </a:cubicBezTo>
                <a:close/>
                <a:moveTo>
                  <a:pt x="2662" y="776"/>
                </a:moveTo>
                <a:cubicBezTo>
                  <a:pt x="2660" y="775"/>
                  <a:pt x="2654" y="768"/>
                  <a:pt x="2652" y="770"/>
                </a:cubicBezTo>
                <a:cubicBezTo>
                  <a:pt x="2651" y="771"/>
                  <a:pt x="2657" y="776"/>
                  <a:pt x="2656" y="777"/>
                </a:cubicBezTo>
                <a:cubicBezTo>
                  <a:pt x="2655" y="777"/>
                  <a:pt x="2648" y="778"/>
                  <a:pt x="2648" y="778"/>
                </a:cubicBezTo>
                <a:cubicBezTo>
                  <a:pt x="2648" y="782"/>
                  <a:pt x="2648" y="782"/>
                  <a:pt x="2648" y="782"/>
                </a:cubicBezTo>
                <a:cubicBezTo>
                  <a:pt x="2645" y="782"/>
                  <a:pt x="2645" y="782"/>
                  <a:pt x="2645" y="782"/>
                </a:cubicBezTo>
                <a:cubicBezTo>
                  <a:pt x="2644" y="785"/>
                  <a:pt x="2644" y="785"/>
                  <a:pt x="2644" y="785"/>
                </a:cubicBezTo>
                <a:cubicBezTo>
                  <a:pt x="2641" y="787"/>
                  <a:pt x="2641" y="787"/>
                  <a:pt x="2641" y="787"/>
                </a:cubicBezTo>
                <a:cubicBezTo>
                  <a:pt x="2641" y="787"/>
                  <a:pt x="2636" y="784"/>
                  <a:pt x="2634" y="786"/>
                </a:cubicBezTo>
                <a:cubicBezTo>
                  <a:pt x="2632" y="787"/>
                  <a:pt x="2629" y="793"/>
                  <a:pt x="2629" y="793"/>
                </a:cubicBezTo>
                <a:cubicBezTo>
                  <a:pt x="2629" y="793"/>
                  <a:pt x="2627" y="789"/>
                  <a:pt x="2626" y="791"/>
                </a:cubicBezTo>
                <a:cubicBezTo>
                  <a:pt x="2625" y="793"/>
                  <a:pt x="2622" y="798"/>
                  <a:pt x="2622" y="798"/>
                </a:cubicBezTo>
                <a:cubicBezTo>
                  <a:pt x="2625" y="801"/>
                  <a:pt x="2625" y="801"/>
                  <a:pt x="2625" y="801"/>
                </a:cubicBezTo>
                <a:cubicBezTo>
                  <a:pt x="2628" y="798"/>
                  <a:pt x="2628" y="798"/>
                  <a:pt x="2628" y="798"/>
                </a:cubicBezTo>
                <a:cubicBezTo>
                  <a:pt x="2630" y="801"/>
                  <a:pt x="2630" y="801"/>
                  <a:pt x="2630" y="801"/>
                </a:cubicBezTo>
                <a:cubicBezTo>
                  <a:pt x="2630" y="801"/>
                  <a:pt x="2635" y="797"/>
                  <a:pt x="2637" y="797"/>
                </a:cubicBezTo>
                <a:cubicBezTo>
                  <a:pt x="2638" y="797"/>
                  <a:pt x="2643" y="801"/>
                  <a:pt x="2643" y="801"/>
                </a:cubicBezTo>
                <a:cubicBezTo>
                  <a:pt x="2643" y="801"/>
                  <a:pt x="2641" y="802"/>
                  <a:pt x="2641" y="804"/>
                </a:cubicBezTo>
                <a:cubicBezTo>
                  <a:pt x="2641" y="806"/>
                  <a:pt x="2644" y="813"/>
                  <a:pt x="2646" y="814"/>
                </a:cubicBezTo>
                <a:cubicBezTo>
                  <a:pt x="2648" y="815"/>
                  <a:pt x="2653" y="816"/>
                  <a:pt x="2653" y="816"/>
                </a:cubicBezTo>
                <a:cubicBezTo>
                  <a:pt x="2656" y="813"/>
                  <a:pt x="2656" y="813"/>
                  <a:pt x="2656" y="813"/>
                </a:cubicBezTo>
                <a:cubicBezTo>
                  <a:pt x="2656" y="817"/>
                  <a:pt x="2656" y="817"/>
                  <a:pt x="2656" y="817"/>
                </a:cubicBezTo>
                <a:cubicBezTo>
                  <a:pt x="2659" y="817"/>
                  <a:pt x="2659" y="817"/>
                  <a:pt x="2659" y="817"/>
                </a:cubicBezTo>
                <a:cubicBezTo>
                  <a:pt x="2660" y="812"/>
                  <a:pt x="2660" y="812"/>
                  <a:pt x="2660" y="812"/>
                </a:cubicBezTo>
                <a:cubicBezTo>
                  <a:pt x="2660" y="812"/>
                  <a:pt x="2655" y="807"/>
                  <a:pt x="2656" y="804"/>
                </a:cubicBezTo>
                <a:cubicBezTo>
                  <a:pt x="2657" y="802"/>
                  <a:pt x="2659" y="801"/>
                  <a:pt x="2659" y="801"/>
                </a:cubicBezTo>
                <a:cubicBezTo>
                  <a:pt x="2662" y="808"/>
                  <a:pt x="2662" y="808"/>
                  <a:pt x="2662" y="808"/>
                </a:cubicBezTo>
                <a:cubicBezTo>
                  <a:pt x="2662" y="808"/>
                  <a:pt x="2666" y="803"/>
                  <a:pt x="2666" y="799"/>
                </a:cubicBezTo>
                <a:cubicBezTo>
                  <a:pt x="2666" y="796"/>
                  <a:pt x="2664" y="792"/>
                  <a:pt x="2664" y="792"/>
                </a:cubicBezTo>
                <a:cubicBezTo>
                  <a:pt x="2664" y="784"/>
                  <a:pt x="2664" y="784"/>
                  <a:pt x="2664" y="784"/>
                </a:cubicBezTo>
                <a:cubicBezTo>
                  <a:pt x="2664" y="784"/>
                  <a:pt x="2664" y="777"/>
                  <a:pt x="2662" y="776"/>
                </a:cubicBezTo>
                <a:close/>
                <a:moveTo>
                  <a:pt x="2653" y="900"/>
                </a:moveTo>
                <a:cubicBezTo>
                  <a:pt x="2664" y="898"/>
                  <a:pt x="2664" y="898"/>
                  <a:pt x="2664" y="898"/>
                </a:cubicBezTo>
                <a:cubicBezTo>
                  <a:pt x="2653" y="897"/>
                  <a:pt x="2653" y="897"/>
                  <a:pt x="2653" y="897"/>
                </a:cubicBezTo>
                <a:cubicBezTo>
                  <a:pt x="2653" y="897"/>
                  <a:pt x="2649" y="895"/>
                  <a:pt x="2647" y="895"/>
                </a:cubicBezTo>
                <a:cubicBezTo>
                  <a:pt x="2646" y="896"/>
                  <a:pt x="2645" y="898"/>
                  <a:pt x="2645" y="898"/>
                </a:cubicBezTo>
                <a:cubicBezTo>
                  <a:pt x="2647" y="901"/>
                  <a:pt x="2653" y="900"/>
                  <a:pt x="2653" y="900"/>
                </a:cubicBezTo>
                <a:close/>
                <a:moveTo>
                  <a:pt x="2648" y="972"/>
                </a:moveTo>
                <a:cubicBezTo>
                  <a:pt x="2648" y="968"/>
                  <a:pt x="2648" y="968"/>
                  <a:pt x="2648" y="968"/>
                </a:cubicBezTo>
                <a:cubicBezTo>
                  <a:pt x="2643" y="971"/>
                  <a:pt x="2643" y="971"/>
                  <a:pt x="2643" y="971"/>
                </a:cubicBezTo>
                <a:cubicBezTo>
                  <a:pt x="2648" y="972"/>
                  <a:pt x="2648" y="972"/>
                  <a:pt x="2648" y="972"/>
                </a:cubicBezTo>
                <a:cubicBezTo>
                  <a:pt x="2648" y="972"/>
                  <a:pt x="2648" y="972"/>
                  <a:pt x="2648" y="972"/>
                </a:cubicBezTo>
                <a:close/>
                <a:moveTo>
                  <a:pt x="2658" y="963"/>
                </a:moveTo>
                <a:cubicBezTo>
                  <a:pt x="2655" y="968"/>
                  <a:pt x="2655" y="968"/>
                  <a:pt x="2655" y="968"/>
                </a:cubicBezTo>
                <a:cubicBezTo>
                  <a:pt x="2666" y="965"/>
                  <a:pt x="2666" y="965"/>
                  <a:pt x="2666" y="965"/>
                </a:cubicBezTo>
                <a:cubicBezTo>
                  <a:pt x="2658" y="963"/>
                  <a:pt x="2658" y="963"/>
                  <a:pt x="2658" y="963"/>
                </a:cubicBezTo>
                <a:cubicBezTo>
                  <a:pt x="2658" y="963"/>
                  <a:pt x="2658" y="963"/>
                  <a:pt x="2658" y="963"/>
                </a:cubicBezTo>
                <a:close/>
                <a:moveTo>
                  <a:pt x="2671" y="826"/>
                </a:moveTo>
                <a:cubicBezTo>
                  <a:pt x="2669" y="826"/>
                  <a:pt x="2669" y="826"/>
                  <a:pt x="2669" y="826"/>
                </a:cubicBezTo>
                <a:cubicBezTo>
                  <a:pt x="2668" y="830"/>
                  <a:pt x="2668" y="830"/>
                  <a:pt x="2668" y="830"/>
                </a:cubicBezTo>
                <a:cubicBezTo>
                  <a:pt x="2669" y="834"/>
                  <a:pt x="2669" y="834"/>
                  <a:pt x="2669" y="834"/>
                </a:cubicBezTo>
                <a:cubicBezTo>
                  <a:pt x="2671" y="832"/>
                  <a:pt x="2671" y="832"/>
                  <a:pt x="2671" y="832"/>
                </a:cubicBezTo>
                <a:cubicBezTo>
                  <a:pt x="2671" y="826"/>
                  <a:pt x="2671" y="826"/>
                  <a:pt x="2671" y="826"/>
                </a:cubicBezTo>
                <a:cubicBezTo>
                  <a:pt x="2671" y="826"/>
                  <a:pt x="2671" y="826"/>
                  <a:pt x="2671" y="826"/>
                </a:cubicBezTo>
                <a:close/>
                <a:moveTo>
                  <a:pt x="2618" y="758"/>
                </a:moveTo>
                <a:cubicBezTo>
                  <a:pt x="2619" y="760"/>
                  <a:pt x="2621" y="762"/>
                  <a:pt x="2621" y="762"/>
                </a:cubicBezTo>
                <a:cubicBezTo>
                  <a:pt x="2621" y="762"/>
                  <a:pt x="2624" y="758"/>
                  <a:pt x="2625" y="759"/>
                </a:cubicBezTo>
                <a:cubicBezTo>
                  <a:pt x="2626" y="760"/>
                  <a:pt x="2626" y="764"/>
                  <a:pt x="2626" y="764"/>
                </a:cubicBezTo>
                <a:cubicBezTo>
                  <a:pt x="2628" y="766"/>
                  <a:pt x="2628" y="766"/>
                  <a:pt x="2628" y="766"/>
                </a:cubicBezTo>
                <a:cubicBezTo>
                  <a:pt x="2628" y="766"/>
                  <a:pt x="2623" y="773"/>
                  <a:pt x="2623" y="774"/>
                </a:cubicBezTo>
                <a:cubicBezTo>
                  <a:pt x="2623" y="775"/>
                  <a:pt x="2623" y="780"/>
                  <a:pt x="2627" y="779"/>
                </a:cubicBezTo>
                <a:cubicBezTo>
                  <a:pt x="2630" y="778"/>
                  <a:pt x="2635" y="777"/>
                  <a:pt x="2633" y="774"/>
                </a:cubicBezTo>
                <a:cubicBezTo>
                  <a:pt x="2631" y="771"/>
                  <a:pt x="2631" y="768"/>
                  <a:pt x="2632" y="764"/>
                </a:cubicBezTo>
                <a:cubicBezTo>
                  <a:pt x="2634" y="759"/>
                  <a:pt x="2633" y="755"/>
                  <a:pt x="2631" y="757"/>
                </a:cubicBezTo>
                <a:cubicBezTo>
                  <a:pt x="2630" y="758"/>
                  <a:pt x="2627" y="760"/>
                  <a:pt x="2627" y="758"/>
                </a:cubicBezTo>
                <a:cubicBezTo>
                  <a:pt x="2627" y="757"/>
                  <a:pt x="2631" y="750"/>
                  <a:pt x="2629" y="749"/>
                </a:cubicBezTo>
                <a:cubicBezTo>
                  <a:pt x="2626" y="749"/>
                  <a:pt x="2622" y="746"/>
                  <a:pt x="2622" y="746"/>
                </a:cubicBezTo>
                <a:cubicBezTo>
                  <a:pt x="2622" y="746"/>
                  <a:pt x="2617" y="745"/>
                  <a:pt x="2617" y="746"/>
                </a:cubicBezTo>
                <a:cubicBezTo>
                  <a:pt x="2617" y="748"/>
                  <a:pt x="2620" y="750"/>
                  <a:pt x="2620" y="750"/>
                </a:cubicBezTo>
                <a:cubicBezTo>
                  <a:pt x="2620" y="750"/>
                  <a:pt x="2617" y="755"/>
                  <a:pt x="2618" y="758"/>
                </a:cubicBezTo>
                <a:close/>
                <a:moveTo>
                  <a:pt x="2624" y="809"/>
                </a:moveTo>
                <a:cubicBezTo>
                  <a:pt x="2621" y="807"/>
                  <a:pt x="2621" y="807"/>
                  <a:pt x="2621" y="807"/>
                </a:cubicBezTo>
                <a:cubicBezTo>
                  <a:pt x="2618" y="810"/>
                  <a:pt x="2618" y="810"/>
                  <a:pt x="2618" y="810"/>
                </a:cubicBezTo>
                <a:cubicBezTo>
                  <a:pt x="2623" y="814"/>
                  <a:pt x="2623" y="814"/>
                  <a:pt x="2623" y="814"/>
                </a:cubicBezTo>
                <a:cubicBezTo>
                  <a:pt x="2624" y="809"/>
                  <a:pt x="2624" y="809"/>
                  <a:pt x="2624" y="809"/>
                </a:cubicBezTo>
                <a:cubicBezTo>
                  <a:pt x="2624" y="809"/>
                  <a:pt x="2624" y="809"/>
                  <a:pt x="2624" y="809"/>
                </a:cubicBezTo>
                <a:close/>
                <a:moveTo>
                  <a:pt x="2651" y="759"/>
                </a:moveTo>
                <a:cubicBezTo>
                  <a:pt x="2647" y="758"/>
                  <a:pt x="2647" y="758"/>
                  <a:pt x="2647" y="758"/>
                </a:cubicBezTo>
                <a:cubicBezTo>
                  <a:pt x="2647" y="758"/>
                  <a:pt x="2646" y="755"/>
                  <a:pt x="2645" y="754"/>
                </a:cubicBezTo>
                <a:cubicBezTo>
                  <a:pt x="2644" y="752"/>
                  <a:pt x="2639" y="753"/>
                  <a:pt x="2639" y="753"/>
                </a:cubicBezTo>
                <a:cubicBezTo>
                  <a:pt x="2640" y="759"/>
                  <a:pt x="2640" y="759"/>
                  <a:pt x="2640" y="759"/>
                </a:cubicBezTo>
                <a:cubicBezTo>
                  <a:pt x="2643" y="758"/>
                  <a:pt x="2643" y="758"/>
                  <a:pt x="2643" y="758"/>
                </a:cubicBezTo>
                <a:cubicBezTo>
                  <a:pt x="2644" y="761"/>
                  <a:pt x="2644" y="761"/>
                  <a:pt x="2644" y="761"/>
                </a:cubicBezTo>
                <a:cubicBezTo>
                  <a:pt x="2651" y="767"/>
                  <a:pt x="2651" y="767"/>
                  <a:pt x="2651" y="767"/>
                </a:cubicBezTo>
                <a:cubicBezTo>
                  <a:pt x="2651" y="759"/>
                  <a:pt x="2651" y="759"/>
                  <a:pt x="2651" y="759"/>
                </a:cubicBezTo>
                <a:cubicBezTo>
                  <a:pt x="2651" y="759"/>
                  <a:pt x="2651" y="759"/>
                  <a:pt x="2651" y="759"/>
                </a:cubicBezTo>
                <a:close/>
                <a:moveTo>
                  <a:pt x="2665" y="912"/>
                </a:moveTo>
                <a:cubicBezTo>
                  <a:pt x="2665" y="912"/>
                  <a:pt x="2663" y="916"/>
                  <a:pt x="2666" y="918"/>
                </a:cubicBezTo>
                <a:cubicBezTo>
                  <a:pt x="2669" y="920"/>
                  <a:pt x="2673" y="920"/>
                  <a:pt x="2673" y="920"/>
                </a:cubicBezTo>
                <a:cubicBezTo>
                  <a:pt x="2675" y="917"/>
                  <a:pt x="2672" y="912"/>
                  <a:pt x="2672" y="912"/>
                </a:cubicBezTo>
                <a:cubicBezTo>
                  <a:pt x="2670" y="912"/>
                  <a:pt x="2670" y="912"/>
                  <a:pt x="2670" y="912"/>
                </a:cubicBezTo>
                <a:cubicBezTo>
                  <a:pt x="2668" y="910"/>
                  <a:pt x="2668" y="910"/>
                  <a:pt x="2668" y="910"/>
                </a:cubicBezTo>
                <a:cubicBezTo>
                  <a:pt x="2665" y="912"/>
                  <a:pt x="2665" y="912"/>
                  <a:pt x="2665" y="912"/>
                </a:cubicBezTo>
                <a:cubicBezTo>
                  <a:pt x="2665" y="912"/>
                  <a:pt x="2665" y="912"/>
                  <a:pt x="2665" y="912"/>
                </a:cubicBezTo>
                <a:close/>
                <a:moveTo>
                  <a:pt x="2653" y="831"/>
                </a:moveTo>
                <a:cubicBezTo>
                  <a:pt x="2655" y="826"/>
                  <a:pt x="2655" y="826"/>
                  <a:pt x="2655" y="826"/>
                </a:cubicBezTo>
                <a:cubicBezTo>
                  <a:pt x="2652" y="825"/>
                  <a:pt x="2652" y="825"/>
                  <a:pt x="2652" y="825"/>
                </a:cubicBezTo>
                <a:cubicBezTo>
                  <a:pt x="2653" y="831"/>
                  <a:pt x="2653" y="831"/>
                  <a:pt x="2653" y="831"/>
                </a:cubicBezTo>
                <a:cubicBezTo>
                  <a:pt x="2653" y="831"/>
                  <a:pt x="2653" y="831"/>
                  <a:pt x="2653" y="831"/>
                </a:cubicBezTo>
                <a:close/>
                <a:moveTo>
                  <a:pt x="2640" y="770"/>
                </a:moveTo>
                <a:cubicBezTo>
                  <a:pt x="2644" y="770"/>
                  <a:pt x="2644" y="770"/>
                  <a:pt x="2644" y="770"/>
                </a:cubicBezTo>
                <a:cubicBezTo>
                  <a:pt x="2645" y="766"/>
                  <a:pt x="2645" y="766"/>
                  <a:pt x="2645" y="766"/>
                </a:cubicBezTo>
                <a:cubicBezTo>
                  <a:pt x="2641" y="765"/>
                  <a:pt x="2641" y="765"/>
                  <a:pt x="2641" y="765"/>
                </a:cubicBezTo>
                <a:cubicBezTo>
                  <a:pt x="2640" y="770"/>
                  <a:pt x="2640" y="770"/>
                  <a:pt x="2640" y="770"/>
                </a:cubicBezTo>
                <a:cubicBezTo>
                  <a:pt x="2640" y="770"/>
                  <a:pt x="2640" y="770"/>
                  <a:pt x="2640" y="770"/>
                </a:cubicBezTo>
                <a:close/>
                <a:moveTo>
                  <a:pt x="2592" y="975"/>
                </a:moveTo>
                <a:cubicBezTo>
                  <a:pt x="2593" y="972"/>
                  <a:pt x="2592" y="969"/>
                  <a:pt x="2590" y="969"/>
                </a:cubicBezTo>
                <a:cubicBezTo>
                  <a:pt x="2589" y="968"/>
                  <a:pt x="2587" y="969"/>
                  <a:pt x="2587" y="969"/>
                </a:cubicBezTo>
                <a:cubicBezTo>
                  <a:pt x="2581" y="968"/>
                  <a:pt x="2581" y="968"/>
                  <a:pt x="2581" y="968"/>
                </a:cubicBezTo>
                <a:cubicBezTo>
                  <a:pt x="2585" y="973"/>
                  <a:pt x="2585" y="973"/>
                  <a:pt x="2585" y="973"/>
                </a:cubicBezTo>
                <a:cubicBezTo>
                  <a:pt x="2585" y="973"/>
                  <a:pt x="2590" y="979"/>
                  <a:pt x="2592" y="975"/>
                </a:cubicBezTo>
                <a:close/>
                <a:moveTo>
                  <a:pt x="2573" y="983"/>
                </a:moveTo>
                <a:cubicBezTo>
                  <a:pt x="2576" y="982"/>
                  <a:pt x="2576" y="982"/>
                  <a:pt x="2576" y="982"/>
                </a:cubicBezTo>
                <a:cubicBezTo>
                  <a:pt x="2577" y="979"/>
                  <a:pt x="2577" y="979"/>
                  <a:pt x="2577" y="979"/>
                </a:cubicBezTo>
                <a:cubicBezTo>
                  <a:pt x="2581" y="981"/>
                  <a:pt x="2581" y="981"/>
                  <a:pt x="2581" y="981"/>
                </a:cubicBezTo>
                <a:cubicBezTo>
                  <a:pt x="2585" y="977"/>
                  <a:pt x="2585" y="977"/>
                  <a:pt x="2585" y="977"/>
                </a:cubicBezTo>
                <a:cubicBezTo>
                  <a:pt x="2578" y="974"/>
                  <a:pt x="2578" y="974"/>
                  <a:pt x="2578" y="974"/>
                </a:cubicBezTo>
                <a:cubicBezTo>
                  <a:pt x="2576" y="975"/>
                  <a:pt x="2576" y="975"/>
                  <a:pt x="2576" y="975"/>
                </a:cubicBezTo>
                <a:cubicBezTo>
                  <a:pt x="2576" y="975"/>
                  <a:pt x="2573" y="972"/>
                  <a:pt x="2571" y="972"/>
                </a:cubicBezTo>
                <a:cubicBezTo>
                  <a:pt x="2569" y="972"/>
                  <a:pt x="2565" y="979"/>
                  <a:pt x="2565" y="979"/>
                </a:cubicBezTo>
                <a:cubicBezTo>
                  <a:pt x="2572" y="980"/>
                  <a:pt x="2572" y="980"/>
                  <a:pt x="2572" y="980"/>
                </a:cubicBezTo>
                <a:cubicBezTo>
                  <a:pt x="2573" y="983"/>
                  <a:pt x="2573" y="983"/>
                  <a:pt x="2573" y="983"/>
                </a:cubicBezTo>
                <a:cubicBezTo>
                  <a:pt x="2573" y="983"/>
                  <a:pt x="2573" y="983"/>
                  <a:pt x="2573" y="983"/>
                </a:cubicBezTo>
                <a:close/>
                <a:moveTo>
                  <a:pt x="2572" y="787"/>
                </a:moveTo>
                <a:cubicBezTo>
                  <a:pt x="2576" y="783"/>
                  <a:pt x="2576" y="783"/>
                  <a:pt x="2576" y="783"/>
                </a:cubicBezTo>
                <a:cubicBezTo>
                  <a:pt x="2576" y="783"/>
                  <a:pt x="2575" y="780"/>
                  <a:pt x="2577" y="780"/>
                </a:cubicBezTo>
                <a:cubicBezTo>
                  <a:pt x="2579" y="780"/>
                  <a:pt x="2581" y="780"/>
                  <a:pt x="2583" y="778"/>
                </a:cubicBezTo>
                <a:cubicBezTo>
                  <a:pt x="2584" y="777"/>
                  <a:pt x="2583" y="774"/>
                  <a:pt x="2584" y="772"/>
                </a:cubicBezTo>
                <a:cubicBezTo>
                  <a:pt x="2586" y="770"/>
                  <a:pt x="2596" y="767"/>
                  <a:pt x="2596" y="764"/>
                </a:cubicBezTo>
                <a:cubicBezTo>
                  <a:pt x="2596" y="762"/>
                  <a:pt x="2594" y="760"/>
                  <a:pt x="2594" y="758"/>
                </a:cubicBezTo>
                <a:cubicBezTo>
                  <a:pt x="2593" y="755"/>
                  <a:pt x="2594" y="751"/>
                  <a:pt x="2594" y="751"/>
                </a:cubicBezTo>
                <a:cubicBezTo>
                  <a:pt x="2592" y="748"/>
                  <a:pt x="2592" y="748"/>
                  <a:pt x="2592" y="748"/>
                </a:cubicBezTo>
                <a:cubicBezTo>
                  <a:pt x="2591" y="752"/>
                  <a:pt x="2591" y="752"/>
                  <a:pt x="2591" y="752"/>
                </a:cubicBezTo>
                <a:cubicBezTo>
                  <a:pt x="2591" y="752"/>
                  <a:pt x="2587" y="755"/>
                  <a:pt x="2589" y="758"/>
                </a:cubicBezTo>
                <a:cubicBezTo>
                  <a:pt x="2590" y="761"/>
                  <a:pt x="2594" y="761"/>
                  <a:pt x="2592" y="762"/>
                </a:cubicBezTo>
                <a:cubicBezTo>
                  <a:pt x="2589" y="764"/>
                  <a:pt x="2586" y="766"/>
                  <a:pt x="2586" y="766"/>
                </a:cubicBezTo>
                <a:cubicBezTo>
                  <a:pt x="2585" y="769"/>
                  <a:pt x="2585" y="769"/>
                  <a:pt x="2585" y="769"/>
                </a:cubicBezTo>
                <a:cubicBezTo>
                  <a:pt x="2581" y="771"/>
                  <a:pt x="2581" y="771"/>
                  <a:pt x="2581" y="771"/>
                </a:cubicBezTo>
                <a:cubicBezTo>
                  <a:pt x="2581" y="771"/>
                  <a:pt x="2583" y="773"/>
                  <a:pt x="2581" y="774"/>
                </a:cubicBezTo>
                <a:cubicBezTo>
                  <a:pt x="2580" y="776"/>
                  <a:pt x="2574" y="778"/>
                  <a:pt x="2574" y="778"/>
                </a:cubicBezTo>
                <a:cubicBezTo>
                  <a:pt x="2574" y="778"/>
                  <a:pt x="2570" y="786"/>
                  <a:pt x="2572" y="787"/>
                </a:cubicBezTo>
                <a:close/>
                <a:moveTo>
                  <a:pt x="2590" y="678"/>
                </a:moveTo>
                <a:cubicBezTo>
                  <a:pt x="2589" y="680"/>
                  <a:pt x="2589" y="679"/>
                  <a:pt x="2591" y="681"/>
                </a:cubicBezTo>
                <a:cubicBezTo>
                  <a:pt x="2591" y="682"/>
                  <a:pt x="2592" y="684"/>
                  <a:pt x="2593" y="685"/>
                </a:cubicBezTo>
                <a:cubicBezTo>
                  <a:pt x="2593" y="687"/>
                  <a:pt x="2593" y="688"/>
                  <a:pt x="2593" y="690"/>
                </a:cubicBezTo>
                <a:cubicBezTo>
                  <a:pt x="2593" y="691"/>
                  <a:pt x="2591" y="692"/>
                  <a:pt x="2591" y="693"/>
                </a:cubicBezTo>
                <a:cubicBezTo>
                  <a:pt x="2591" y="695"/>
                  <a:pt x="2593" y="695"/>
                  <a:pt x="2593" y="697"/>
                </a:cubicBezTo>
                <a:cubicBezTo>
                  <a:pt x="2592" y="698"/>
                  <a:pt x="2590" y="699"/>
                  <a:pt x="2589" y="699"/>
                </a:cubicBezTo>
                <a:cubicBezTo>
                  <a:pt x="2589" y="697"/>
                  <a:pt x="2588" y="696"/>
                  <a:pt x="2587" y="696"/>
                </a:cubicBezTo>
                <a:cubicBezTo>
                  <a:pt x="2587" y="700"/>
                  <a:pt x="2588" y="703"/>
                  <a:pt x="2591" y="707"/>
                </a:cubicBezTo>
                <a:cubicBezTo>
                  <a:pt x="2594" y="710"/>
                  <a:pt x="2596" y="712"/>
                  <a:pt x="2598" y="716"/>
                </a:cubicBezTo>
                <a:cubicBezTo>
                  <a:pt x="2599" y="718"/>
                  <a:pt x="2602" y="724"/>
                  <a:pt x="2605" y="724"/>
                </a:cubicBezTo>
                <a:cubicBezTo>
                  <a:pt x="2607" y="724"/>
                  <a:pt x="2608" y="721"/>
                  <a:pt x="2611" y="721"/>
                </a:cubicBezTo>
                <a:cubicBezTo>
                  <a:pt x="2613" y="721"/>
                  <a:pt x="2614" y="723"/>
                  <a:pt x="2615" y="724"/>
                </a:cubicBezTo>
                <a:cubicBezTo>
                  <a:pt x="2620" y="728"/>
                  <a:pt x="2620" y="724"/>
                  <a:pt x="2618" y="721"/>
                </a:cubicBezTo>
                <a:cubicBezTo>
                  <a:pt x="2621" y="720"/>
                  <a:pt x="2623" y="722"/>
                  <a:pt x="2624" y="725"/>
                </a:cubicBezTo>
                <a:cubicBezTo>
                  <a:pt x="2624" y="728"/>
                  <a:pt x="2626" y="730"/>
                  <a:pt x="2629" y="731"/>
                </a:cubicBezTo>
                <a:cubicBezTo>
                  <a:pt x="2635" y="734"/>
                  <a:pt x="2635" y="721"/>
                  <a:pt x="2629" y="722"/>
                </a:cubicBezTo>
                <a:cubicBezTo>
                  <a:pt x="2628" y="721"/>
                  <a:pt x="2629" y="720"/>
                  <a:pt x="2630" y="719"/>
                </a:cubicBezTo>
                <a:cubicBezTo>
                  <a:pt x="2627" y="719"/>
                  <a:pt x="2626" y="716"/>
                  <a:pt x="2624" y="717"/>
                </a:cubicBezTo>
                <a:cubicBezTo>
                  <a:pt x="2622" y="721"/>
                  <a:pt x="2619" y="716"/>
                  <a:pt x="2616" y="716"/>
                </a:cubicBezTo>
                <a:cubicBezTo>
                  <a:pt x="2613" y="716"/>
                  <a:pt x="2612" y="721"/>
                  <a:pt x="2609" y="717"/>
                </a:cubicBezTo>
                <a:cubicBezTo>
                  <a:pt x="2607" y="714"/>
                  <a:pt x="2608" y="711"/>
                  <a:pt x="2608" y="709"/>
                </a:cubicBezTo>
                <a:cubicBezTo>
                  <a:pt x="2608" y="706"/>
                  <a:pt x="2607" y="702"/>
                  <a:pt x="2608" y="700"/>
                </a:cubicBezTo>
                <a:cubicBezTo>
                  <a:pt x="2610" y="697"/>
                  <a:pt x="2612" y="698"/>
                  <a:pt x="2612" y="694"/>
                </a:cubicBezTo>
                <a:cubicBezTo>
                  <a:pt x="2612" y="691"/>
                  <a:pt x="2610" y="689"/>
                  <a:pt x="2610" y="686"/>
                </a:cubicBezTo>
                <a:cubicBezTo>
                  <a:pt x="2610" y="683"/>
                  <a:pt x="2612" y="680"/>
                  <a:pt x="2611" y="677"/>
                </a:cubicBezTo>
                <a:cubicBezTo>
                  <a:pt x="2610" y="676"/>
                  <a:pt x="2609" y="675"/>
                  <a:pt x="2608" y="674"/>
                </a:cubicBezTo>
                <a:cubicBezTo>
                  <a:pt x="2608" y="673"/>
                  <a:pt x="2608" y="671"/>
                  <a:pt x="2608" y="670"/>
                </a:cubicBezTo>
                <a:cubicBezTo>
                  <a:pt x="2608" y="669"/>
                  <a:pt x="2607" y="667"/>
                  <a:pt x="2606" y="667"/>
                </a:cubicBezTo>
                <a:cubicBezTo>
                  <a:pt x="2605" y="667"/>
                  <a:pt x="2604" y="669"/>
                  <a:pt x="2603" y="669"/>
                </a:cubicBezTo>
                <a:cubicBezTo>
                  <a:pt x="2600" y="672"/>
                  <a:pt x="2599" y="669"/>
                  <a:pt x="2596" y="669"/>
                </a:cubicBezTo>
                <a:cubicBezTo>
                  <a:pt x="2594" y="669"/>
                  <a:pt x="2594" y="669"/>
                  <a:pt x="2594" y="669"/>
                </a:cubicBezTo>
                <a:cubicBezTo>
                  <a:pt x="2593" y="671"/>
                  <a:pt x="2594" y="672"/>
                  <a:pt x="2594" y="674"/>
                </a:cubicBezTo>
                <a:cubicBezTo>
                  <a:pt x="2593" y="675"/>
                  <a:pt x="2591" y="677"/>
                  <a:pt x="2590" y="678"/>
                </a:cubicBezTo>
                <a:close/>
                <a:moveTo>
                  <a:pt x="2606" y="812"/>
                </a:moveTo>
                <a:cubicBezTo>
                  <a:pt x="2609" y="813"/>
                  <a:pt x="2609" y="813"/>
                  <a:pt x="2609" y="813"/>
                </a:cubicBezTo>
                <a:cubicBezTo>
                  <a:pt x="2611" y="809"/>
                  <a:pt x="2611" y="809"/>
                  <a:pt x="2611" y="809"/>
                </a:cubicBezTo>
                <a:cubicBezTo>
                  <a:pt x="2608" y="807"/>
                  <a:pt x="2608" y="807"/>
                  <a:pt x="2608" y="807"/>
                </a:cubicBezTo>
                <a:cubicBezTo>
                  <a:pt x="2606" y="812"/>
                  <a:pt x="2606" y="812"/>
                  <a:pt x="2606" y="812"/>
                </a:cubicBezTo>
                <a:cubicBezTo>
                  <a:pt x="2606" y="812"/>
                  <a:pt x="2606" y="812"/>
                  <a:pt x="2606" y="812"/>
                </a:cubicBezTo>
                <a:close/>
                <a:moveTo>
                  <a:pt x="2637" y="737"/>
                </a:moveTo>
                <a:cubicBezTo>
                  <a:pt x="2635" y="741"/>
                  <a:pt x="2642" y="745"/>
                  <a:pt x="2642" y="745"/>
                </a:cubicBezTo>
                <a:cubicBezTo>
                  <a:pt x="2647" y="747"/>
                  <a:pt x="2647" y="747"/>
                  <a:pt x="2647" y="747"/>
                </a:cubicBezTo>
                <a:cubicBezTo>
                  <a:pt x="2647" y="751"/>
                  <a:pt x="2642" y="749"/>
                  <a:pt x="2642" y="749"/>
                </a:cubicBezTo>
                <a:cubicBezTo>
                  <a:pt x="2651" y="756"/>
                  <a:pt x="2651" y="756"/>
                  <a:pt x="2651" y="756"/>
                </a:cubicBezTo>
                <a:cubicBezTo>
                  <a:pt x="2651" y="753"/>
                  <a:pt x="2651" y="753"/>
                  <a:pt x="2651" y="753"/>
                </a:cubicBezTo>
                <a:cubicBezTo>
                  <a:pt x="2655" y="754"/>
                  <a:pt x="2655" y="754"/>
                  <a:pt x="2655" y="754"/>
                </a:cubicBezTo>
                <a:cubicBezTo>
                  <a:pt x="2652" y="749"/>
                  <a:pt x="2652" y="749"/>
                  <a:pt x="2652" y="749"/>
                </a:cubicBezTo>
                <a:cubicBezTo>
                  <a:pt x="2652" y="749"/>
                  <a:pt x="2651" y="744"/>
                  <a:pt x="2649" y="741"/>
                </a:cubicBezTo>
                <a:cubicBezTo>
                  <a:pt x="2646" y="739"/>
                  <a:pt x="2638" y="734"/>
                  <a:pt x="2637" y="737"/>
                </a:cubicBezTo>
                <a:close/>
                <a:moveTo>
                  <a:pt x="2610" y="733"/>
                </a:moveTo>
                <a:cubicBezTo>
                  <a:pt x="2610" y="733"/>
                  <a:pt x="2609" y="728"/>
                  <a:pt x="2608" y="727"/>
                </a:cubicBezTo>
                <a:cubicBezTo>
                  <a:pt x="2606" y="726"/>
                  <a:pt x="2600" y="726"/>
                  <a:pt x="2600" y="726"/>
                </a:cubicBezTo>
                <a:cubicBezTo>
                  <a:pt x="2605" y="732"/>
                  <a:pt x="2605" y="732"/>
                  <a:pt x="2605" y="732"/>
                </a:cubicBezTo>
                <a:cubicBezTo>
                  <a:pt x="2607" y="741"/>
                  <a:pt x="2607" y="741"/>
                  <a:pt x="2607" y="741"/>
                </a:cubicBezTo>
                <a:cubicBezTo>
                  <a:pt x="2607" y="741"/>
                  <a:pt x="2610" y="739"/>
                  <a:pt x="2611" y="738"/>
                </a:cubicBezTo>
                <a:cubicBezTo>
                  <a:pt x="2612" y="736"/>
                  <a:pt x="2610" y="733"/>
                  <a:pt x="2610" y="733"/>
                </a:cubicBezTo>
                <a:close/>
                <a:moveTo>
                  <a:pt x="2636" y="760"/>
                </a:moveTo>
                <a:cubicBezTo>
                  <a:pt x="2638" y="771"/>
                  <a:pt x="2638" y="771"/>
                  <a:pt x="2638" y="771"/>
                </a:cubicBezTo>
                <a:cubicBezTo>
                  <a:pt x="2639" y="761"/>
                  <a:pt x="2639" y="761"/>
                  <a:pt x="2639" y="761"/>
                </a:cubicBezTo>
                <a:cubicBezTo>
                  <a:pt x="2636" y="753"/>
                  <a:pt x="2636" y="753"/>
                  <a:pt x="2636" y="753"/>
                </a:cubicBezTo>
                <a:cubicBezTo>
                  <a:pt x="2633" y="753"/>
                  <a:pt x="2633" y="753"/>
                  <a:pt x="2633" y="753"/>
                </a:cubicBezTo>
                <a:cubicBezTo>
                  <a:pt x="2636" y="760"/>
                  <a:pt x="2636" y="760"/>
                  <a:pt x="2636" y="760"/>
                </a:cubicBezTo>
                <a:cubicBezTo>
                  <a:pt x="2636" y="760"/>
                  <a:pt x="2636" y="760"/>
                  <a:pt x="2636" y="760"/>
                </a:cubicBezTo>
                <a:close/>
                <a:moveTo>
                  <a:pt x="2378" y="859"/>
                </a:moveTo>
                <a:cubicBezTo>
                  <a:pt x="2376" y="859"/>
                  <a:pt x="2374" y="862"/>
                  <a:pt x="2377" y="864"/>
                </a:cubicBezTo>
                <a:cubicBezTo>
                  <a:pt x="2379" y="865"/>
                  <a:pt x="2380" y="872"/>
                  <a:pt x="2383" y="872"/>
                </a:cubicBezTo>
                <a:cubicBezTo>
                  <a:pt x="2384" y="872"/>
                  <a:pt x="2384" y="865"/>
                  <a:pt x="2384" y="864"/>
                </a:cubicBezTo>
                <a:cubicBezTo>
                  <a:pt x="2383" y="863"/>
                  <a:pt x="2380" y="859"/>
                  <a:pt x="2378" y="859"/>
                </a:cubicBezTo>
                <a:close/>
                <a:moveTo>
                  <a:pt x="2697" y="907"/>
                </a:moveTo>
                <a:cubicBezTo>
                  <a:pt x="2693" y="906"/>
                  <a:pt x="2691" y="908"/>
                  <a:pt x="2689" y="909"/>
                </a:cubicBezTo>
                <a:cubicBezTo>
                  <a:pt x="2688" y="909"/>
                  <a:pt x="2686" y="909"/>
                  <a:pt x="2685" y="909"/>
                </a:cubicBezTo>
                <a:cubicBezTo>
                  <a:pt x="2682" y="911"/>
                  <a:pt x="2681" y="914"/>
                  <a:pt x="2682" y="915"/>
                </a:cubicBezTo>
                <a:cubicBezTo>
                  <a:pt x="2684" y="916"/>
                  <a:pt x="2685" y="913"/>
                  <a:pt x="2685" y="913"/>
                </a:cubicBezTo>
                <a:cubicBezTo>
                  <a:pt x="2685" y="913"/>
                  <a:pt x="2685" y="917"/>
                  <a:pt x="2688" y="917"/>
                </a:cubicBezTo>
                <a:cubicBezTo>
                  <a:pt x="2690" y="917"/>
                  <a:pt x="2690" y="913"/>
                  <a:pt x="2690" y="913"/>
                </a:cubicBezTo>
                <a:cubicBezTo>
                  <a:pt x="2690" y="913"/>
                  <a:pt x="2692" y="915"/>
                  <a:pt x="2693" y="915"/>
                </a:cubicBezTo>
                <a:cubicBezTo>
                  <a:pt x="2695" y="915"/>
                  <a:pt x="2699" y="912"/>
                  <a:pt x="2699" y="912"/>
                </a:cubicBezTo>
                <a:cubicBezTo>
                  <a:pt x="2701" y="920"/>
                  <a:pt x="2701" y="920"/>
                  <a:pt x="2701" y="920"/>
                </a:cubicBezTo>
                <a:cubicBezTo>
                  <a:pt x="2705" y="917"/>
                  <a:pt x="2705" y="917"/>
                  <a:pt x="2705" y="917"/>
                </a:cubicBezTo>
                <a:cubicBezTo>
                  <a:pt x="2709" y="922"/>
                  <a:pt x="2709" y="922"/>
                  <a:pt x="2709" y="922"/>
                </a:cubicBezTo>
                <a:cubicBezTo>
                  <a:pt x="2710" y="918"/>
                  <a:pt x="2710" y="918"/>
                  <a:pt x="2710" y="918"/>
                </a:cubicBezTo>
                <a:cubicBezTo>
                  <a:pt x="2707" y="916"/>
                  <a:pt x="2707" y="916"/>
                  <a:pt x="2707" y="916"/>
                </a:cubicBezTo>
                <a:cubicBezTo>
                  <a:pt x="2708" y="913"/>
                  <a:pt x="2708" y="913"/>
                  <a:pt x="2708" y="913"/>
                </a:cubicBezTo>
                <a:cubicBezTo>
                  <a:pt x="2708" y="913"/>
                  <a:pt x="2706" y="909"/>
                  <a:pt x="2697" y="907"/>
                </a:cubicBezTo>
                <a:close/>
                <a:moveTo>
                  <a:pt x="2968" y="966"/>
                </a:moveTo>
                <a:cubicBezTo>
                  <a:pt x="2964" y="967"/>
                  <a:pt x="2964" y="967"/>
                  <a:pt x="2964" y="967"/>
                </a:cubicBezTo>
                <a:cubicBezTo>
                  <a:pt x="2964" y="970"/>
                  <a:pt x="2964" y="970"/>
                  <a:pt x="2964" y="970"/>
                </a:cubicBezTo>
                <a:cubicBezTo>
                  <a:pt x="2966" y="971"/>
                  <a:pt x="2966" y="971"/>
                  <a:pt x="2966" y="971"/>
                </a:cubicBezTo>
                <a:cubicBezTo>
                  <a:pt x="2968" y="966"/>
                  <a:pt x="2968" y="966"/>
                  <a:pt x="2968" y="966"/>
                </a:cubicBezTo>
                <a:cubicBezTo>
                  <a:pt x="2968" y="966"/>
                  <a:pt x="2968" y="966"/>
                  <a:pt x="2968" y="966"/>
                </a:cubicBezTo>
                <a:close/>
                <a:moveTo>
                  <a:pt x="2756" y="887"/>
                </a:moveTo>
                <a:cubicBezTo>
                  <a:pt x="2760" y="889"/>
                  <a:pt x="2762" y="887"/>
                  <a:pt x="2758" y="885"/>
                </a:cubicBezTo>
                <a:cubicBezTo>
                  <a:pt x="2756" y="884"/>
                  <a:pt x="2754" y="886"/>
                  <a:pt x="2756" y="887"/>
                </a:cubicBezTo>
                <a:close/>
                <a:moveTo>
                  <a:pt x="2968" y="955"/>
                </a:moveTo>
                <a:cubicBezTo>
                  <a:pt x="2965" y="952"/>
                  <a:pt x="2965" y="952"/>
                  <a:pt x="2965" y="952"/>
                </a:cubicBezTo>
                <a:cubicBezTo>
                  <a:pt x="2964" y="956"/>
                  <a:pt x="2964" y="956"/>
                  <a:pt x="2964" y="956"/>
                </a:cubicBezTo>
                <a:cubicBezTo>
                  <a:pt x="2967" y="959"/>
                  <a:pt x="2967" y="959"/>
                  <a:pt x="2967" y="959"/>
                </a:cubicBezTo>
                <a:cubicBezTo>
                  <a:pt x="2968" y="955"/>
                  <a:pt x="2968" y="955"/>
                  <a:pt x="2968" y="955"/>
                </a:cubicBezTo>
                <a:cubicBezTo>
                  <a:pt x="2968" y="955"/>
                  <a:pt x="2968" y="955"/>
                  <a:pt x="2968" y="955"/>
                </a:cubicBezTo>
                <a:close/>
                <a:moveTo>
                  <a:pt x="2770" y="898"/>
                </a:moveTo>
                <a:cubicBezTo>
                  <a:pt x="2770" y="898"/>
                  <a:pt x="2765" y="896"/>
                  <a:pt x="2764" y="896"/>
                </a:cubicBezTo>
                <a:cubicBezTo>
                  <a:pt x="2763" y="895"/>
                  <a:pt x="2757" y="897"/>
                  <a:pt x="2757" y="897"/>
                </a:cubicBezTo>
                <a:cubicBezTo>
                  <a:pt x="2757" y="897"/>
                  <a:pt x="2761" y="899"/>
                  <a:pt x="2763" y="899"/>
                </a:cubicBezTo>
                <a:cubicBezTo>
                  <a:pt x="2765" y="899"/>
                  <a:pt x="2770" y="898"/>
                  <a:pt x="2770" y="898"/>
                </a:cubicBezTo>
                <a:close/>
                <a:moveTo>
                  <a:pt x="2944" y="944"/>
                </a:moveTo>
                <a:cubicBezTo>
                  <a:pt x="2948" y="950"/>
                  <a:pt x="2948" y="950"/>
                  <a:pt x="2948" y="950"/>
                </a:cubicBezTo>
                <a:cubicBezTo>
                  <a:pt x="2957" y="959"/>
                  <a:pt x="2957" y="959"/>
                  <a:pt x="2957" y="959"/>
                </a:cubicBezTo>
                <a:cubicBezTo>
                  <a:pt x="2956" y="949"/>
                  <a:pt x="2956" y="949"/>
                  <a:pt x="2956" y="949"/>
                </a:cubicBezTo>
                <a:cubicBezTo>
                  <a:pt x="2948" y="939"/>
                  <a:pt x="2948" y="939"/>
                  <a:pt x="2948" y="939"/>
                </a:cubicBezTo>
                <a:cubicBezTo>
                  <a:pt x="2948" y="939"/>
                  <a:pt x="2947" y="934"/>
                  <a:pt x="2943" y="935"/>
                </a:cubicBezTo>
                <a:cubicBezTo>
                  <a:pt x="2940" y="936"/>
                  <a:pt x="2942" y="940"/>
                  <a:pt x="2942" y="940"/>
                </a:cubicBezTo>
                <a:cubicBezTo>
                  <a:pt x="2944" y="944"/>
                  <a:pt x="2944" y="944"/>
                  <a:pt x="2944" y="944"/>
                </a:cubicBezTo>
                <a:cubicBezTo>
                  <a:pt x="2944" y="944"/>
                  <a:pt x="2944" y="944"/>
                  <a:pt x="2944" y="944"/>
                </a:cubicBezTo>
                <a:close/>
                <a:moveTo>
                  <a:pt x="3068" y="1300"/>
                </a:moveTo>
                <a:cubicBezTo>
                  <a:pt x="3066" y="1298"/>
                  <a:pt x="3064" y="1302"/>
                  <a:pt x="3064" y="1302"/>
                </a:cubicBezTo>
                <a:cubicBezTo>
                  <a:pt x="3064" y="1302"/>
                  <a:pt x="3063" y="1302"/>
                  <a:pt x="3061" y="1302"/>
                </a:cubicBezTo>
                <a:cubicBezTo>
                  <a:pt x="3060" y="1301"/>
                  <a:pt x="3056" y="1304"/>
                  <a:pt x="3053" y="1303"/>
                </a:cubicBezTo>
                <a:cubicBezTo>
                  <a:pt x="3051" y="1303"/>
                  <a:pt x="3052" y="1293"/>
                  <a:pt x="3052" y="1293"/>
                </a:cubicBezTo>
                <a:cubicBezTo>
                  <a:pt x="3055" y="1288"/>
                  <a:pt x="3055" y="1288"/>
                  <a:pt x="3055" y="1288"/>
                </a:cubicBezTo>
                <a:cubicBezTo>
                  <a:pt x="3055" y="1288"/>
                  <a:pt x="3055" y="1284"/>
                  <a:pt x="3053" y="1285"/>
                </a:cubicBezTo>
                <a:cubicBezTo>
                  <a:pt x="3051" y="1285"/>
                  <a:pt x="3051" y="1288"/>
                  <a:pt x="3051" y="1290"/>
                </a:cubicBezTo>
                <a:cubicBezTo>
                  <a:pt x="3051" y="1292"/>
                  <a:pt x="3048" y="1294"/>
                  <a:pt x="3048" y="1294"/>
                </a:cubicBezTo>
                <a:cubicBezTo>
                  <a:pt x="3047" y="1290"/>
                  <a:pt x="3047" y="1290"/>
                  <a:pt x="3047" y="1290"/>
                </a:cubicBezTo>
                <a:cubicBezTo>
                  <a:pt x="3044" y="1287"/>
                  <a:pt x="3044" y="1287"/>
                  <a:pt x="3044" y="1287"/>
                </a:cubicBezTo>
                <a:cubicBezTo>
                  <a:pt x="3044" y="1287"/>
                  <a:pt x="3049" y="1280"/>
                  <a:pt x="3049" y="1276"/>
                </a:cubicBezTo>
                <a:cubicBezTo>
                  <a:pt x="3050" y="1272"/>
                  <a:pt x="3043" y="1272"/>
                  <a:pt x="3043" y="1272"/>
                </a:cubicBezTo>
                <a:cubicBezTo>
                  <a:pt x="3043" y="1269"/>
                  <a:pt x="3043" y="1269"/>
                  <a:pt x="3043" y="1269"/>
                </a:cubicBezTo>
                <a:cubicBezTo>
                  <a:pt x="3041" y="1268"/>
                  <a:pt x="3041" y="1268"/>
                  <a:pt x="3041" y="1268"/>
                </a:cubicBezTo>
                <a:cubicBezTo>
                  <a:pt x="3037" y="1265"/>
                  <a:pt x="3037" y="1265"/>
                  <a:pt x="3037" y="1265"/>
                </a:cubicBezTo>
                <a:cubicBezTo>
                  <a:pt x="3039" y="1263"/>
                  <a:pt x="3039" y="1263"/>
                  <a:pt x="3039" y="1263"/>
                </a:cubicBezTo>
                <a:cubicBezTo>
                  <a:pt x="3035" y="1266"/>
                  <a:pt x="3035" y="1266"/>
                  <a:pt x="3035" y="1266"/>
                </a:cubicBezTo>
                <a:cubicBezTo>
                  <a:pt x="3037" y="1270"/>
                  <a:pt x="3037" y="1270"/>
                  <a:pt x="3037" y="1270"/>
                </a:cubicBezTo>
                <a:cubicBezTo>
                  <a:pt x="3036" y="1276"/>
                  <a:pt x="3036" y="1276"/>
                  <a:pt x="3036" y="1276"/>
                </a:cubicBezTo>
                <a:cubicBezTo>
                  <a:pt x="3039" y="1277"/>
                  <a:pt x="3039" y="1277"/>
                  <a:pt x="3039" y="1277"/>
                </a:cubicBezTo>
                <a:cubicBezTo>
                  <a:pt x="3037" y="1278"/>
                  <a:pt x="3037" y="1278"/>
                  <a:pt x="3037" y="1278"/>
                </a:cubicBezTo>
                <a:cubicBezTo>
                  <a:pt x="3038" y="1281"/>
                  <a:pt x="3038" y="1281"/>
                  <a:pt x="3038" y="1281"/>
                </a:cubicBezTo>
                <a:cubicBezTo>
                  <a:pt x="3042" y="1282"/>
                  <a:pt x="3042" y="1282"/>
                  <a:pt x="3042" y="1282"/>
                </a:cubicBezTo>
                <a:cubicBezTo>
                  <a:pt x="3038" y="1283"/>
                  <a:pt x="3038" y="1283"/>
                  <a:pt x="3038" y="1283"/>
                </a:cubicBezTo>
                <a:cubicBezTo>
                  <a:pt x="3040" y="1284"/>
                  <a:pt x="3040" y="1284"/>
                  <a:pt x="3040" y="1284"/>
                </a:cubicBezTo>
                <a:cubicBezTo>
                  <a:pt x="3040" y="1284"/>
                  <a:pt x="3039" y="1287"/>
                  <a:pt x="3039" y="1289"/>
                </a:cubicBezTo>
                <a:cubicBezTo>
                  <a:pt x="3039" y="1290"/>
                  <a:pt x="3042" y="1292"/>
                  <a:pt x="3042" y="1292"/>
                </a:cubicBezTo>
                <a:cubicBezTo>
                  <a:pt x="3039" y="1292"/>
                  <a:pt x="3039" y="1292"/>
                  <a:pt x="3039" y="1292"/>
                </a:cubicBezTo>
                <a:cubicBezTo>
                  <a:pt x="3038" y="1294"/>
                  <a:pt x="3038" y="1294"/>
                  <a:pt x="3038" y="1294"/>
                </a:cubicBezTo>
                <a:cubicBezTo>
                  <a:pt x="3040" y="1295"/>
                  <a:pt x="3040" y="1295"/>
                  <a:pt x="3040" y="1295"/>
                </a:cubicBezTo>
                <a:cubicBezTo>
                  <a:pt x="3040" y="1295"/>
                  <a:pt x="3036" y="1300"/>
                  <a:pt x="3035" y="1302"/>
                </a:cubicBezTo>
                <a:cubicBezTo>
                  <a:pt x="3035" y="1304"/>
                  <a:pt x="3037" y="1305"/>
                  <a:pt x="3037" y="1305"/>
                </a:cubicBezTo>
                <a:cubicBezTo>
                  <a:pt x="3037" y="1305"/>
                  <a:pt x="3033" y="1306"/>
                  <a:pt x="3030" y="1307"/>
                </a:cubicBezTo>
                <a:cubicBezTo>
                  <a:pt x="3027" y="1308"/>
                  <a:pt x="3028" y="1309"/>
                  <a:pt x="3024" y="1311"/>
                </a:cubicBezTo>
                <a:cubicBezTo>
                  <a:pt x="3021" y="1314"/>
                  <a:pt x="3018" y="1314"/>
                  <a:pt x="3014" y="1316"/>
                </a:cubicBezTo>
                <a:cubicBezTo>
                  <a:pt x="3009" y="1319"/>
                  <a:pt x="3013" y="1326"/>
                  <a:pt x="3013" y="1326"/>
                </a:cubicBezTo>
                <a:cubicBezTo>
                  <a:pt x="3013" y="1326"/>
                  <a:pt x="3018" y="1326"/>
                  <a:pt x="3020" y="1326"/>
                </a:cubicBezTo>
                <a:cubicBezTo>
                  <a:pt x="3022" y="1327"/>
                  <a:pt x="3020" y="1331"/>
                  <a:pt x="3020" y="1334"/>
                </a:cubicBezTo>
                <a:cubicBezTo>
                  <a:pt x="3020" y="1337"/>
                  <a:pt x="3017" y="1337"/>
                  <a:pt x="3013" y="1338"/>
                </a:cubicBezTo>
                <a:cubicBezTo>
                  <a:pt x="3010" y="1340"/>
                  <a:pt x="3011" y="1341"/>
                  <a:pt x="3011" y="1341"/>
                </a:cubicBezTo>
                <a:cubicBezTo>
                  <a:pt x="3009" y="1343"/>
                  <a:pt x="3009" y="1343"/>
                  <a:pt x="3009" y="1343"/>
                </a:cubicBezTo>
                <a:cubicBezTo>
                  <a:pt x="3009" y="1343"/>
                  <a:pt x="3013" y="1346"/>
                  <a:pt x="3016" y="1345"/>
                </a:cubicBezTo>
                <a:cubicBezTo>
                  <a:pt x="3019" y="1344"/>
                  <a:pt x="3025" y="1337"/>
                  <a:pt x="3027" y="1334"/>
                </a:cubicBezTo>
                <a:cubicBezTo>
                  <a:pt x="3030" y="1332"/>
                  <a:pt x="3035" y="1330"/>
                  <a:pt x="3036" y="1330"/>
                </a:cubicBezTo>
                <a:cubicBezTo>
                  <a:pt x="3037" y="1330"/>
                  <a:pt x="3038" y="1328"/>
                  <a:pt x="3038" y="1328"/>
                </a:cubicBezTo>
                <a:cubicBezTo>
                  <a:pt x="3038" y="1328"/>
                  <a:pt x="3040" y="1327"/>
                  <a:pt x="3042" y="1326"/>
                </a:cubicBezTo>
                <a:cubicBezTo>
                  <a:pt x="3044" y="1325"/>
                  <a:pt x="3042" y="1321"/>
                  <a:pt x="3042" y="1321"/>
                </a:cubicBezTo>
                <a:cubicBezTo>
                  <a:pt x="3042" y="1321"/>
                  <a:pt x="3044" y="1319"/>
                  <a:pt x="3047" y="1318"/>
                </a:cubicBezTo>
                <a:cubicBezTo>
                  <a:pt x="3050" y="1317"/>
                  <a:pt x="3052" y="1319"/>
                  <a:pt x="3055" y="1319"/>
                </a:cubicBezTo>
                <a:cubicBezTo>
                  <a:pt x="3057" y="1318"/>
                  <a:pt x="3056" y="1313"/>
                  <a:pt x="3056" y="1313"/>
                </a:cubicBezTo>
                <a:cubicBezTo>
                  <a:pt x="3056" y="1313"/>
                  <a:pt x="3058" y="1313"/>
                  <a:pt x="3061" y="1313"/>
                </a:cubicBezTo>
                <a:cubicBezTo>
                  <a:pt x="3063" y="1312"/>
                  <a:pt x="3062" y="1309"/>
                  <a:pt x="3063" y="1308"/>
                </a:cubicBezTo>
                <a:cubicBezTo>
                  <a:pt x="3065" y="1307"/>
                  <a:pt x="3066" y="1308"/>
                  <a:pt x="3069" y="1306"/>
                </a:cubicBezTo>
                <a:cubicBezTo>
                  <a:pt x="3071" y="1304"/>
                  <a:pt x="3070" y="1301"/>
                  <a:pt x="3068" y="1300"/>
                </a:cubicBezTo>
                <a:close/>
                <a:moveTo>
                  <a:pt x="2873" y="898"/>
                </a:moveTo>
                <a:cubicBezTo>
                  <a:pt x="2870" y="897"/>
                  <a:pt x="2866" y="900"/>
                  <a:pt x="2866" y="900"/>
                </a:cubicBezTo>
                <a:cubicBezTo>
                  <a:pt x="2870" y="903"/>
                  <a:pt x="2870" y="903"/>
                  <a:pt x="2870" y="903"/>
                </a:cubicBezTo>
                <a:cubicBezTo>
                  <a:pt x="2874" y="904"/>
                  <a:pt x="2876" y="899"/>
                  <a:pt x="2873" y="898"/>
                </a:cubicBezTo>
                <a:close/>
                <a:moveTo>
                  <a:pt x="2972" y="979"/>
                </a:moveTo>
                <a:cubicBezTo>
                  <a:pt x="2977" y="978"/>
                  <a:pt x="2977" y="978"/>
                  <a:pt x="2977" y="978"/>
                </a:cubicBezTo>
                <a:cubicBezTo>
                  <a:pt x="2970" y="974"/>
                  <a:pt x="2970" y="974"/>
                  <a:pt x="2970" y="974"/>
                </a:cubicBezTo>
                <a:cubicBezTo>
                  <a:pt x="2972" y="979"/>
                  <a:pt x="2972" y="979"/>
                  <a:pt x="2972" y="979"/>
                </a:cubicBezTo>
                <a:cubicBezTo>
                  <a:pt x="2972" y="979"/>
                  <a:pt x="2972" y="979"/>
                  <a:pt x="2972" y="979"/>
                </a:cubicBezTo>
                <a:close/>
                <a:moveTo>
                  <a:pt x="2918" y="918"/>
                </a:moveTo>
                <a:cubicBezTo>
                  <a:pt x="2919" y="919"/>
                  <a:pt x="2923" y="919"/>
                  <a:pt x="2924" y="922"/>
                </a:cubicBezTo>
                <a:cubicBezTo>
                  <a:pt x="2925" y="925"/>
                  <a:pt x="2921" y="934"/>
                  <a:pt x="2927" y="934"/>
                </a:cubicBezTo>
                <a:cubicBezTo>
                  <a:pt x="2930" y="935"/>
                  <a:pt x="2932" y="928"/>
                  <a:pt x="2929" y="924"/>
                </a:cubicBezTo>
                <a:cubicBezTo>
                  <a:pt x="2926" y="920"/>
                  <a:pt x="2922" y="916"/>
                  <a:pt x="2922" y="916"/>
                </a:cubicBezTo>
                <a:cubicBezTo>
                  <a:pt x="2920" y="916"/>
                  <a:pt x="2920" y="916"/>
                  <a:pt x="2920" y="916"/>
                </a:cubicBezTo>
                <a:cubicBezTo>
                  <a:pt x="2920" y="916"/>
                  <a:pt x="2914" y="909"/>
                  <a:pt x="2913" y="909"/>
                </a:cubicBezTo>
                <a:cubicBezTo>
                  <a:pt x="2912" y="908"/>
                  <a:pt x="2910" y="908"/>
                  <a:pt x="2910" y="908"/>
                </a:cubicBezTo>
                <a:cubicBezTo>
                  <a:pt x="2907" y="903"/>
                  <a:pt x="2907" y="903"/>
                  <a:pt x="2907" y="903"/>
                </a:cubicBezTo>
                <a:cubicBezTo>
                  <a:pt x="2906" y="910"/>
                  <a:pt x="2906" y="910"/>
                  <a:pt x="2906" y="910"/>
                </a:cubicBezTo>
                <a:cubicBezTo>
                  <a:pt x="2912" y="911"/>
                  <a:pt x="2912" y="911"/>
                  <a:pt x="2912" y="911"/>
                </a:cubicBezTo>
                <a:cubicBezTo>
                  <a:pt x="2912" y="911"/>
                  <a:pt x="2917" y="917"/>
                  <a:pt x="2918" y="918"/>
                </a:cubicBezTo>
                <a:close/>
                <a:moveTo>
                  <a:pt x="2901" y="951"/>
                </a:moveTo>
                <a:cubicBezTo>
                  <a:pt x="2903" y="949"/>
                  <a:pt x="2903" y="949"/>
                  <a:pt x="2903" y="949"/>
                </a:cubicBezTo>
                <a:cubicBezTo>
                  <a:pt x="2903" y="949"/>
                  <a:pt x="2906" y="949"/>
                  <a:pt x="2908" y="949"/>
                </a:cubicBezTo>
                <a:cubicBezTo>
                  <a:pt x="2911" y="948"/>
                  <a:pt x="2913" y="944"/>
                  <a:pt x="2913" y="944"/>
                </a:cubicBezTo>
                <a:cubicBezTo>
                  <a:pt x="2917" y="943"/>
                  <a:pt x="2917" y="943"/>
                  <a:pt x="2917" y="943"/>
                </a:cubicBezTo>
                <a:cubicBezTo>
                  <a:pt x="2916" y="940"/>
                  <a:pt x="2916" y="940"/>
                  <a:pt x="2916" y="940"/>
                </a:cubicBezTo>
                <a:cubicBezTo>
                  <a:pt x="2920" y="940"/>
                  <a:pt x="2920" y="940"/>
                  <a:pt x="2920" y="940"/>
                </a:cubicBezTo>
                <a:cubicBezTo>
                  <a:pt x="2920" y="940"/>
                  <a:pt x="2921" y="929"/>
                  <a:pt x="2920" y="926"/>
                </a:cubicBezTo>
                <a:cubicBezTo>
                  <a:pt x="2919" y="922"/>
                  <a:pt x="2912" y="926"/>
                  <a:pt x="2910" y="928"/>
                </a:cubicBezTo>
                <a:cubicBezTo>
                  <a:pt x="2908" y="930"/>
                  <a:pt x="2913" y="932"/>
                  <a:pt x="2913" y="932"/>
                </a:cubicBezTo>
                <a:cubicBezTo>
                  <a:pt x="2913" y="935"/>
                  <a:pt x="2913" y="935"/>
                  <a:pt x="2913" y="935"/>
                </a:cubicBezTo>
                <a:cubicBezTo>
                  <a:pt x="2903" y="940"/>
                  <a:pt x="2903" y="940"/>
                  <a:pt x="2903" y="940"/>
                </a:cubicBezTo>
                <a:cubicBezTo>
                  <a:pt x="2903" y="940"/>
                  <a:pt x="2898" y="940"/>
                  <a:pt x="2895" y="940"/>
                </a:cubicBezTo>
                <a:cubicBezTo>
                  <a:pt x="2892" y="941"/>
                  <a:pt x="2890" y="943"/>
                  <a:pt x="2888" y="944"/>
                </a:cubicBezTo>
                <a:cubicBezTo>
                  <a:pt x="2886" y="945"/>
                  <a:pt x="2885" y="943"/>
                  <a:pt x="2884" y="945"/>
                </a:cubicBezTo>
                <a:cubicBezTo>
                  <a:pt x="2887" y="950"/>
                  <a:pt x="2887" y="950"/>
                  <a:pt x="2887" y="950"/>
                </a:cubicBezTo>
                <a:cubicBezTo>
                  <a:pt x="2901" y="951"/>
                  <a:pt x="2901" y="951"/>
                  <a:pt x="2901" y="951"/>
                </a:cubicBezTo>
                <a:cubicBezTo>
                  <a:pt x="2901" y="951"/>
                  <a:pt x="2901" y="951"/>
                  <a:pt x="2901" y="951"/>
                </a:cubicBezTo>
                <a:close/>
                <a:moveTo>
                  <a:pt x="2535" y="955"/>
                </a:moveTo>
                <a:cubicBezTo>
                  <a:pt x="2534" y="960"/>
                  <a:pt x="2539" y="959"/>
                  <a:pt x="2539" y="959"/>
                </a:cubicBezTo>
                <a:cubicBezTo>
                  <a:pt x="2547" y="953"/>
                  <a:pt x="2547" y="953"/>
                  <a:pt x="2547" y="953"/>
                </a:cubicBezTo>
                <a:cubicBezTo>
                  <a:pt x="2546" y="952"/>
                  <a:pt x="2546" y="952"/>
                  <a:pt x="2546" y="952"/>
                </a:cubicBezTo>
                <a:cubicBezTo>
                  <a:pt x="2546" y="952"/>
                  <a:pt x="2535" y="953"/>
                  <a:pt x="2535" y="955"/>
                </a:cubicBezTo>
                <a:close/>
                <a:moveTo>
                  <a:pt x="2975" y="971"/>
                </a:moveTo>
                <a:cubicBezTo>
                  <a:pt x="2974" y="969"/>
                  <a:pt x="2974" y="969"/>
                  <a:pt x="2974" y="969"/>
                </a:cubicBezTo>
                <a:cubicBezTo>
                  <a:pt x="2969" y="969"/>
                  <a:pt x="2969" y="969"/>
                  <a:pt x="2969" y="969"/>
                </a:cubicBezTo>
                <a:cubicBezTo>
                  <a:pt x="2969" y="972"/>
                  <a:pt x="2969" y="972"/>
                  <a:pt x="2969" y="972"/>
                </a:cubicBezTo>
                <a:cubicBezTo>
                  <a:pt x="2975" y="971"/>
                  <a:pt x="2975" y="971"/>
                  <a:pt x="2975" y="971"/>
                </a:cubicBezTo>
                <a:cubicBezTo>
                  <a:pt x="2975" y="971"/>
                  <a:pt x="2975" y="971"/>
                  <a:pt x="2975" y="971"/>
                </a:cubicBezTo>
                <a:close/>
                <a:moveTo>
                  <a:pt x="2992" y="974"/>
                </a:moveTo>
                <a:cubicBezTo>
                  <a:pt x="2996" y="973"/>
                  <a:pt x="2982" y="958"/>
                  <a:pt x="2980" y="961"/>
                </a:cubicBezTo>
                <a:cubicBezTo>
                  <a:pt x="2979" y="963"/>
                  <a:pt x="2991" y="974"/>
                  <a:pt x="2992" y="974"/>
                </a:cubicBezTo>
                <a:close/>
                <a:moveTo>
                  <a:pt x="3015" y="997"/>
                </a:moveTo>
                <a:cubicBezTo>
                  <a:pt x="3006" y="993"/>
                  <a:pt x="3006" y="993"/>
                  <a:pt x="3006" y="993"/>
                </a:cubicBezTo>
                <a:cubicBezTo>
                  <a:pt x="3013" y="1001"/>
                  <a:pt x="3013" y="1001"/>
                  <a:pt x="3013" y="1001"/>
                </a:cubicBezTo>
                <a:cubicBezTo>
                  <a:pt x="3015" y="997"/>
                  <a:pt x="3015" y="997"/>
                  <a:pt x="3015" y="997"/>
                </a:cubicBezTo>
                <a:cubicBezTo>
                  <a:pt x="3015" y="997"/>
                  <a:pt x="3015" y="997"/>
                  <a:pt x="3015" y="997"/>
                </a:cubicBezTo>
                <a:close/>
                <a:moveTo>
                  <a:pt x="2990" y="982"/>
                </a:moveTo>
                <a:cubicBezTo>
                  <a:pt x="2990" y="982"/>
                  <a:pt x="2989" y="986"/>
                  <a:pt x="2993" y="988"/>
                </a:cubicBezTo>
                <a:cubicBezTo>
                  <a:pt x="2999" y="990"/>
                  <a:pt x="3002" y="988"/>
                  <a:pt x="3002" y="988"/>
                </a:cubicBezTo>
                <a:cubicBezTo>
                  <a:pt x="3002" y="988"/>
                  <a:pt x="3002" y="986"/>
                  <a:pt x="2998" y="983"/>
                </a:cubicBezTo>
                <a:cubicBezTo>
                  <a:pt x="2994" y="981"/>
                  <a:pt x="2990" y="982"/>
                  <a:pt x="2990" y="982"/>
                </a:cubicBezTo>
                <a:close/>
                <a:moveTo>
                  <a:pt x="2570" y="909"/>
                </a:moveTo>
                <a:cubicBezTo>
                  <a:pt x="2571" y="908"/>
                  <a:pt x="2575" y="897"/>
                  <a:pt x="2575" y="897"/>
                </a:cubicBezTo>
                <a:cubicBezTo>
                  <a:pt x="2575" y="897"/>
                  <a:pt x="2572" y="897"/>
                  <a:pt x="2571" y="894"/>
                </a:cubicBezTo>
                <a:cubicBezTo>
                  <a:pt x="2570" y="892"/>
                  <a:pt x="2572" y="889"/>
                  <a:pt x="2573" y="886"/>
                </a:cubicBezTo>
                <a:cubicBezTo>
                  <a:pt x="2574" y="883"/>
                  <a:pt x="2579" y="883"/>
                  <a:pt x="2581" y="883"/>
                </a:cubicBezTo>
                <a:cubicBezTo>
                  <a:pt x="2584" y="883"/>
                  <a:pt x="2585" y="878"/>
                  <a:pt x="2585" y="876"/>
                </a:cubicBezTo>
                <a:cubicBezTo>
                  <a:pt x="2585" y="874"/>
                  <a:pt x="2580" y="876"/>
                  <a:pt x="2580" y="876"/>
                </a:cubicBezTo>
                <a:cubicBezTo>
                  <a:pt x="2580" y="876"/>
                  <a:pt x="2580" y="873"/>
                  <a:pt x="2582" y="871"/>
                </a:cubicBezTo>
                <a:cubicBezTo>
                  <a:pt x="2585" y="868"/>
                  <a:pt x="2591" y="869"/>
                  <a:pt x="2593" y="870"/>
                </a:cubicBezTo>
                <a:cubicBezTo>
                  <a:pt x="2595" y="870"/>
                  <a:pt x="2595" y="867"/>
                  <a:pt x="2595" y="867"/>
                </a:cubicBezTo>
                <a:cubicBezTo>
                  <a:pt x="2590" y="862"/>
                  <a:pt x="2590" y="862"/>
                  <a:pt x="2590" y="862"/>
                </a:cubicBezTo>
                <a:cubicBezTo>
                  <a:pt x="2590" y="857"/>
                  <a:pt x="2590" y="857"/>
                  <a:pt x="2590" y="857"/>
                </a:cubicBezTo>
                <a:cubicBezTo>
                  <a:pt x="2590" y="857"/>
                  <a:pt x="2586" y="856"/>
                  <a:pt x="2586" y="855"/>
                </a:cubicBezTo>
                <a:cubicBezTo>
                  <a:pt x="2586" y="853"/>
                  <a:pt x="2588" y="850"/>
                  <a:pt x="2588" y="848"/>
                </a:cubicBezTo>
                <a:cubicBezTo>
                  <a:pt x="2588" y="846"/>
                  <a:pt x="2581" y="845"/>
                  <a:pt x="2581" y="845"/>
                </a:cubicBezTo>
                <a:cubicBezTo>
                  <a:pt x="2583" y="841"/>
                  <a:pt x="2583" y="841"/>
                  <a:pt x="2583" y="841"/>
                </a:cubicBezTo>
                <a:cubicBezTo>
                  <a:pt x="2581" y="840"/>
                  <a:pt x="2581" y="840"/>
                  <a:pt x="2581" y="840"/>
                </a:cubicBezTo>
                <a:cubicBezTo>
                  <a:pt x="2582" y="836"/>
                  <a:pt x="2582" y="836"/>
                  <a:pt x="2582" y="836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3" y="833"/>
                  <a:pt x="2583" y="833"/>
                  <a:pt x="2583" y="833"/>
                </a:cubicBezTo>
                <a:cubicBezTo>
                  <a:pt x="2581" y="824"/>
                  <a:pt x="2581" y="824"/>
                  <a:pt x="2581" y="824"/>
                </a:cubicBezTo>
                <a:cubicBezTo>
                  <a:pt x="2581" y="824"/>
                  <a:pt x="2584" y="827"/>
                  <a:pt x="2586" y="828"/>
                </a:cubicBezTo>
                <a:cubicBezTo>
                  <a:pt x="2588" y="828"/>
                  <a:pt x="2591" y="827"/>
                  <a:pt x="2591" y="827"/>
                </a:cubicBezTo>
                <a:cubicBezTo>
                  <a:pt x="2591" y="827"/>
                  <a:pt x="2586" y="822"/>
                  <a:pt x="2587" y="820"/>
                </a:cubicBezTo>
                <a:cubicBezTo>
                  <a:pt x="2588" y="818"/>
                  <a:pt x="2595" y="821"/>
                  <a:pt x="2595" y="821"/>
                </a:cubicBezTo>
                <a:cubicBezTo>
                  <a:pt x="2598" y="817"/>
                  <a:pt x="2598" y="817"/>
                  <a:pt x="2598" y="817"/>
                </a:cubicBezTo>
                <a:cubicBezTo>
                  <a:pt x="2595" y="816"/>
                  <a:pt x="2595" y="816"/>
                  <a:pt x="2595" y="816"/>
                </a:cubicBezTo>
                <a:cubicBezTo>
                  <a:pt x="2595" y="816"/>
                  <a:pt x="2594" y="813"/>
                  <a:pt x="2592" y="812"/>
                </a:cubicBezTo>
                <a:cubicBezTo>
                  <a:pt x="2591" y="811"/>
                  <a:pt x="2584" y="810"/>
                  <a:pt x="2584" y="810"/>
                </a:cubicBezTo>
                <a:cubicBezTo>
                  <a:pt x="2584" y="810"/>
                  <a:pt x="2584" y="806"/>
                  <a:pt x="2581" y="804"/>
                </a:cubicBezTo>
                <a:cubicBezTo>
                  <a:pt x="2579" y="801"/>
                  <a:pt x="2576" y="803"/>
                  <a:pt x="2576" y="803"/>
                </a:cubicBezTo>
                <a:cubicBezTo>
                  <a:pt x="2574" y="794"/>
                  <a:pt x="2574" y="794"/>
                  <a:pt x="2574" y="794"/>
                </a:cubicBezTo>
                <a:cubicBezTo>
                  <a:pt x="2573" y="797"/>
                  <a:pt x="2573" y="797"/>
                  <a:pt x="2573" y="797"/>
                </a:cubicBezTo>
                <a:cubicBezTo>
                  <a:pt x="2571" y="794"/>
                  <a:pt x="2571" y="794"/>
                  <a:pt x="2571" y="794"/>
                </a:cubicBezTo>
                <a:cubicBezTo>
                  <a:pt x="2569" y="803"/>
                  <a:pt x="2569" y="803"/>
                  <a:pt x="2569" y="803"/>
                </a:cubicBezTo>
                <a:cubicBezTo>
                  <a:pt x="2569" y="803"/>
                  <a:pt x="2566" y="803"/>
                  <a:pt x="2565" y="804"/>
                </a:cubicBezTo>
                <a:cubicBezTo>
                  <a:pt x="2563" y="805"/>
                  <a:pt x="2563" y="810"/>
                  <a:pt x="2563" y="810"/>
                </a:cubicBezTo>
                <a:cubicBezTo>
                  <a:pt x="2560" y="811"/>
                  <a:pt x="2560" y="811"/>
                  <a:pt x="2560" y="811"/>
                </a:cubicBezTo>
                <a:cubicBezTo>
                  <a:pt x="2561" y="816"/>
                  <a:pt x="2561" y="816"/>
                  <a:pt x="2561" y="816"/>
                </a:cubicBezTo>
                <a:cubicBezTo>
                  <a:pt x="2561" y="816"/>
                  <a:pt x="2556" y="816"/>
                  <a:pt x="2553" y="815"/>
                </a:cubicBezTo>
                <a:cubicBezTo>
                  <a:pt x="2549" y="814"/>
                  <a:pt x="2549" y="822"/>
                  <a:pt x="2549" y="822"/>
                </a:cubicBezTo>
                <a:cubicBezTo>
                  <a:pt x="2544" y="829"/>
                  <a:pt x="2544" y="829"/>
                  <a:pt x="2544" y="829"/>
                </a:cubicBezTo>
                <a:cubicBezTo>
                  <a:pt x="2544" y="829"/>
                  <a:pt x="2542" y="836"/>
                  <a:pt x="2539" y="839"/>
                </a:cubicBezTo>
                <a:cubicBezTo>
                  <a:pt x="2535" y="841"/>
                  <a:pt x="2527" y="843"/>
                  <a:pt x="2525" y="843"/>
                </a:cubicBezTo>
                <a:cubicBezTo>
                  <a:pt x="2523" y="844"/>
                  <a:pt x="2516" y="849"/>
                  <a:pt x="2516" y="849"/>
                </a:cubicBezTo>
                <a:cubicBezTo>
                  <a:pt x="2514" y="854"/>
                  <a:pt x="2514" y="854"/>
                  <a:pt x="2514" y="854"/>
                </a:cubicBezTo>
                <a:cubicBezTo>
                  <a:pt x="2514" y="854"/>
                  <a:pt x="2519" y="857"/>
                  <a:pt x="2515" y="860"/>
                </a:cubicBezTo>
                <a:cubicBezTo>
                  <a:pt x="2512" y="863"/>
                  <a:pt x="2509" y="858"/>
                  <a:pt x="2507" y="858"/>
                </a:cubicBezTo>
                <a:cubicBezTo>
                  <a:pt x="2504" y="857"/>
                  <a:pt x="2502" y="861"/>
                  <a:pt x="2502" y="861"/>
                </a:cubicBezTo>
                <a:cubicBezTo>
                  <a:pt x="2502" y="861"/>
                  <a:pt x="2498" y="858"/>
                  <a:pt x="2495" y="861"/>
                </a:cubicBezTo>
                <a:cubicBezTo>
                  <a:pt x="2492" y="864"/>
                  <a:pt x="2491" y="871"/>
                  <a:pt x="2491" y="871"/>
                </a:cubicBezTo>
                <a:cubicBezTo>
                  <a:pt x="2494" y="876"/>
                  <a:pt x="2494" y="876"/>
                  <a:pt x="2494" y="876"/>
                </a:cubicBezTo>
                <a:cubicBezTo>
                  <a:pt x="2496" y="883"/>
                  <a:pt x="2496" y="883"/>
                  <a:pt x="2496" y="883"/>
                </a:cubicBezTo>
                <a:cubicBezTo>
                  <a:pt x="2502" y="887"/>
                  <a:pt x="2502" y="887"/>
                  <a:pt x="2502" y="887"/>
                </a:cubicBezTo>
                <a:cubicBezTo>
                  <a:pt x="2501" y="892"/>
                  <a:pt x="2501" y="892"/>
                  <a:pt x="2501" y="892"/>
                </a:cubicBezTo>
                <a:cubicBezTo>
                  <a:pt x="2504" y="894"/>
                  <a:pt x="2504" y="894"/>
                  <a:pt x="2504" y="894"/>
                </a:cubicBezTo>
                <a:cubicBezTo>
                  <a:pt x="2502" y="898"/>
                  <a:pt x="2502" y="898"/>
                  <a:pt x="2502" y="898"/>
                </a:cubicBezTo>
                <a:cubicBezTo>
                  <a:pt x="2505" y="902"/>
                  <a:pt x="2505" y="902"/>
                  <a:pt x="2505" y="902"/>
                </a:cubicBezTo>
                <a:cubicBezTo>
                  <a:pt x="2503" y="903"/>
                  <a:pt x="2503" y="903"/>
                  <a:pt x="2503" y="903"/>
                </a:cubicBezTo>
                <a:cubicBezTo>
                  <a:pt x="2505" y="911"/>
                  <a:pt x="2505" y="911"/>
                  <a:pt x="2505" y="911"/>
                </a:cubicBezTo>
                <a:cubicBezTo>
                  <a:pt x="2511" y="911"/>
                  <a:pt x="2511" y="911"/>
                  <a:pt x="2511" y="911"/>
                </a:cubicBezTo>
                <a:cubicBezTo>
                  <a:pt x="2515" y="912"/>
                  <a:pt x="2515" y="912"/>
                  <a:pt x="2515" y="912"/>
                </a:cubicBezTo>
                <a:cubicBezTo>
                  <a:pt x="2515" y="912"/>
                  <a:pt x="2517" y="907"/>
                  <a:pt x="2520" y="907"/>
                </a:cubicBezTo>
                <a:cubicBezTo>
                  <a:pt x="2522" y="907"/>
                  <a:pt x="2520" y="914"/>
                  <a:pt x="2522" y="916"/>
                </a:cubicBezTo>
                <a:cubicBezTo>
                  <a:pt x="2525" y="918"/>
                  <a:pt x="2527" y="912"/>
                  <a:pt x="2527" y="912"/>
                </a:cubicBezTo>
                <a:cubicBezTo>
                  <a:pt x="2530" y="914"/>
                  <a:pt x="2530" y="914"/>
                  <a:pt x="2530" y="914"/>
                </a:cubicBezTo>
                <a:cubicBezTo>
                  <a:pt x="2530" y="914"/>
                  <a:pt x="2534" y="911"/>
                  <a:pt x="2536" y="911"/>
                </a:cubicBezTo>
                <a:cubicBezTo>
                  <a:pt x="2538" y="911"/>
                  <a:pt x="2536" y="917"/>
                  <a:pt x="2538" y="917"/>
                </a:cubicBezTo>
                <a:cubicBezTo>
                  <a:pt x="2540" y="918"/>
                  <a:pt x="2547" y="915"/>
                  <a:pt x="2550" y="915"/>
                </a:cubicBezTo>
                <a:cubicBezTo>
                  <a:pt x="2554" y="916"/>
                  <a:pt x="2551" y="926"/>
                  <a:pt x="2551" y="926"/>
                </a:cubicBezTo>
                <a:cubicBezTo>
                  <a:pt x="2551" y="926"/>
                  <a:pt x="2553" y="926"/>
                  <a:pt x="2557" y="924"/>
                </a:cubicBezTo>
                <a:cubicBezTo>
                  <a:pt x="2560" y="922"/>
                  <a:pt x="2565" y="914"/>
                  <a:pt x="2565" y="914"/>
                </a:cubicBezTo>
                <a:cubicBezTo>
                  <a:pt x="2565" y="914"/>
                  <a:pt x="2569" y="911"/>
                  <a:pt x="2570" y="909"/>
                </a:cubicBezTo>
                <a:close/>
                <a:moveTo>
                  <a:pt x="2711" y="969"/>
                </a:moveTo>
                <a:cubicBezTo>
                  <a:pt x="2715" y="966"/>
                  <a:pt x="2715" y="966"/>
                  <a:pt x="2715" y="966"/>
                </a:cubicBezTo>
                <a:cubicBezTo>
                  <a:pt x="2715" y="966"/>
                  <a:pt x="2719" y="967"/>
                  <a:pt x="2719" y="963"/>
                </a:cubicBezTo>
                <a:cubicBezTo>
                  <a:pt x="2719" y="958"/>
                  <a:pt x="2708" y="964"/>
                  <a:pt x="2708" y="968"/>
                </a:cubicBezTo>
                <a:cubicBezTo>
                  <a:pt x="2711" y="969"/>
                  <a:pt x="2711" y="969"/>
                  <a:pt x="2711" y="969"/>
                </a:cubicBezTo>
                <a:cubicBezTo>
                  <a:pt x="2711" y="969"/>
                  <a:pt x="2711" y="969"/>
                  <a:pt x="2711" y="969"/>
                </a:cubicBezTo>
                <a:close/>
                <a:moveTo>
                  <a:pt x="2550" y="969"/>
                </a:moveTo>
                <a:cubicBezTo>
                  <a:pt x="2549" y="973"/>
                  <a:pt x="2549" y="973"/>
                  <a:pt x="2549" y="973"/>
                </a:cubicBezTo>
                <a:cubicBezTo>
                  <a:pt x="2549" y="973"/>
                  <a:pt x="2551" y="979"/>
                  <a:pt x="2554" y="977"/>
                </a:cubicBezTo>
                <a:cubicBezTo>
                  <a:pt x="2557" y="975"/>
                  <a:pt x="2557" y="969"/>
                  <a:pt x="2555" y="969"/>
                </a:cubicBezTo>
                <a:cubicBezTo>
                  <a:pt x="2553" y="969"/>
                  <a:pt x="2550" y="969"/>
                  <a:pt x="2550" y="969"/>
                </a:cubicBezTo>
                <a:close/>
                <a:moveTo>
                  <a:pt x="2700" y="1011"/>
                </a:moveTo>
                <a:cubicBezTo>
                  <a:pt x="2702" y="1013"/>
                  <a:pt x="2705" y="1006"/>
                  <a:pt x="2705" y="1006"/>
                </a:cubicBezTo>
                <a:cubicBezTo>
                  <a:pt x="2703" y="1003"/>
                  <a:pt x="2698" y="1008"/>
                  <a:pt x="2700" y="1011"/>
                </a:cubicBezTo>
                <a:close/>
                <a:moveTo>
                  <a:pt x="2562" y="969"/>
                </a:moveTo>
                <a:cubicBezTo>
                  <a:pt x="2560" y="969"/>
                  <a:pt x="2558" y="971"/>
                  <a:pt x="2558" y="971"/>
                </a:cubicBezTo>
                <a:cubicBezTo>
                  <a:pt x="2558" y="971"/>
                  <a:pt x="2562" y="974"/>
                  <a:pt x="2564" y="973"/>
                </a:cubicBezTo>
                <a:cubicBezTo>
                  <a:pt x="2566" y="971"/>
                  <a:pt x="2564" y="969"/>
                  <a:pt x="2562" y="969"/>
                </a:cubicBezTo>
                <a:close/>
                <a:moveTo>
                  <a:pt x="2748" y="940"/>
                </a:moveTo>
                <a:cubicBezTo>
                  <a:pt x="2744" y="941"/>
                  <a:pt x="2744" y="941"/>
                  <a:pt x="2744" y="941"/>
                </a:cubicBezTo>
                <a:cubicBezTo>
                  <a:pt x="2743" y="945"/>
                  <a:pt x="2743" y="945"/>
                  <a:pt x="2743" y="945"/>
                </a:cubicBezTo>
                <a:cubicBezTo>
                  <a:pt x="2741" y="947"/>
                  <a:pt x="2741" y="947"/>
                  <a:pt x="2741" y="947"/>
                </a:cubicBezTo>
                <a:cubicBezTo>
                  <a:pt x="2742" y="954"/>
                  <a:pt x="2742" y="954"/>
                  <a:pt x="2742" y="954"/>
                </a:cubicBezTo>
                <a:cubicBezTo>
                  <a:pt x="2744" y="955"/>
                  <a:pt x="2744" y="955"/>
                  <a:pt x="2744" y="955"/>
                </a:cubicBezTo>
                <a:cubicBezTo>
                  <a:pt x="2744" y="952"/>
                  <a:pt x="2744" y="952"/>
                  <a:pt x="2744" y="952"/>
                </a:cubicBezTo>
                <a:cubicBezTo>
                  <a:pt x="2745" y="952"/>
                  <a:pt x="2745" y="952"/>
                  <a:pt x="2745" y="952"/>
                </a:cubicBezTo>
                <a:cubicBezTo>
                  <a:pt x="2745" y="949"/>
                  <a:pt x="2745" y="949"/>
                  <a:pt x="2745" y="949"/>
                </a:cubicBezTo>
                <a:cubicBezTo>
                  <a:pt x="2743" y="949"/>
                  <a:pt x="2743" y="949"/>
                  <a:pt x="2743" y="949"/>
                </a:cubicBezTo>
                <a:cubicBezTo>
                  <a:pt x="2746" y="944"/>
                  <a:pt x="2746" y="944"/>
                  <a:pt x="2746" y="944"/>
                </a:cubicBezTo>
                <a:cubicBezTo>
                  <a:pt x="2748" y="940"/>
                  <a:pt x="2748" y="940"/>
                  <a:pt x="2748" y="940"/>
                </a:cubicBezTo>
                <a:cubicBezTo>
                  <a:pt x="2748" y="940"/>
                  <a:pt x="2748" y="940"/>
                  <a:pt x="2748" y="940"/>
                </a:cubicBezTo>
                <a:close/>
                <a:moveTo>
                  <a:pt x="3003" y="970"/>
                </a:moveTo>
                <a:cubicBezTo>
                  <a:pt x="3003" y="970"/>
                  <a:pt x="3001" y="977"/>
                  <a:pt x="3002" y="979"/>
                </a:cubicBezTo>
                <a:cubicBezTo>
                  <a:pt x="3003" y="981"/>
                  <a:pt x="3009" y="986"/>
                  <a:pt x="3009" y="986"/>
                </a:cubicBezTo>
                <a:cubicBezTo>
                  <a:pt x="3003" y="970"/>
                  <a:pt x="3003" y="970"/>
                  <a:pt x="3003" y="970"/>
                </a:cubicBezTo>
                <a:cubicBezTo>
                  <a:pt x="3003" y="970"/>
                  <a:pt x="3003" y="970"/>
                  <a:pt x="3003" y="970"/>
                </a:cubicBezTo>
                <a:close/>
                <a:moveTo>
                  <a:pt x="2454" y="943"/>
                </a:moveTo>
                <a:cubicBezTo>
                  <a:pt x="2455" y="942"/>
                  <a:pt x="2455" y="939"/>
                  <a:pt x="2455" y="939"/>
                </a:cubicBezTo>
                <a:cubicBezTo>
                  <a:pt x="2459" y="943"/>
                  <a:pt x="2459" y="943"/>
                  <a:pt x="2459" y="943"/>
                </a:cubicBezTo>
                <a:cubicBezTo>
                  <a:pt x="2459" y="943"/>
                  <a:pt x="2461" y="938"/>
                  <a:pt x="2461" y="935"/>
                </a:cubicBezTo>
                <a:cubicBezTo>
                  <a:pt x="2461" y="931"/>
                  <a:pt x="2463" y="922"/>
                  <a:pt x="2463" y="922"/>
                </a:cubicBezTo>
                <a:cubicBezTo>
                  <a:pt x="2463" y="922"/>
                  <a:pt x="2461" y="921"/>
                  <a:pt x="2461" y="919"/>
                </a:cubicBezTo>
                <a:cubicBezTo>
                  <a:pt x="2461" y="917"/>
                  <a:pt x="2465" y="914"/>
                  <a:pt x="2463" y="913"/>
                </a:cubicBezTo>
                <a:cubicBezTo>
                  <a:pt x="2462" y="912"/>
                  <a:pt x="2461" y="911"/>
                  <a:pt x="2461" y="911"/>
                </a:cubicBezTo>
                <a:cubicBezTo>
                  <a:pt x="2460" y="904"/>
                  <a:pt x="2460" y="904"/>
                  <a:pt x="2460" y="904"/>
                </a:cubicBezTo>
                <a:cubicBezTo>
                  <a:pt x="2454" y="905"/>
                  <a:pt x="2454" y="905"/>
                  <a:pt x="2454" y="905"/>
                </a:cubicBezTo>
                <a:cubicBezTo>
                  <a:pt x="2454" y="905"/>
                  <a:pt x="2455" y="901"/>
                  <a:pt x="2453" y="900"/>
                </a:cubicBezTo>
                <a:cubicBezTo>
                  <a:pt x="2452" y="899"/>
                  <a:pt x="2449" y="899"/>
                  <a:pt x="2449" y="899"/>
                </a:cubicBezTo>
                <a:cubicBezTo>
                  <a:pt x="2448" y="890"/>
                  <a:pt x="2448" y="890"/>
                  <a:pt x="2448" y="890"/>
                </a:cubicBezTo>
                <a:cubicBezTo>
                  <a:pt x="2448" y="890"/>
                  <a:pt x="2439" y="890"/>
                  <a:pt x="2438" y="888"/>
                </a:cubicBezTo>
                <a:cubicBezTo>
                  <a:pt x="2438" y="885"/>
                  <a:pt x="2440" y="882"/>
                  <a:pt x="2440" y="882"/>
                </a:cubicBezTo>
                <a:cubicBezTo>
                  <a:pt x="2437" y="881"/>
                  <a:pt x="2437" y="881"/>
                  <a:pt x="2437" y="881"/>
                </a:cubicBezTo>
                <a:cubicBezTo>
                  <a:pt x="2437" y="881"/>
                  <a:pt x="2442" y="875"/>
                  <a:pt x="2440" y="874"/>
                </a:cubicBezTo>
                <a:cubicBezTo>
                  <a:pt x="2438" y="872"/>
                  <a:pt x="2430" y="876"/>
                  <a:pt x="2430" y="876"/>
                </a:cubicBezTo>
                <a:cubicBezTo>
                  <a:pt x="2430" y="876"/>
                  <a:pt x="2435" y="871"/>
                  <a:pt x="2433" y="870"/>
                </a:cubicBezTo>
                <a:cubicBezTo>
                  <a:pt x="2431" y="869"/>
                  <a:pt x="2426" y="868"/>
                  <a:pt x="2426" y="868"/>
                </a:cubicBezTo>
                <a:cubicBezTo>
                  <a:pt x="2426" y="868"/>
                  <a:pt x="2429" y="867"/>
                  <a:pt x="2426" y="863"/>
                </a:cubicBezTo>
                <a:cubicBezTo>
                  <a:pt x="2423" y="859"/>
                  <a:pt x="2418" y="859"/>
                  <a:pt x="2418" y="859"/>
                </a:cubicBezTo>
                <a:cubicBezTo>
                  <a:pt x="2418" y="859"/>
                  <a:pt x="2417" y="855"/>
                  <a:pt x="2416" y="853"/>
                </a:cubicBezTo>
                <a:cubicBezTo>
                  <a:pt x="2414" y="852"/>
                  <a:pt x="2412" y="853"/>
                  <a:pt x="2412" y="853"/>
                </a:cubicBezTo>
                <a:cubicBezTo>
                  <a:pt x="2413" y="856"/>
                  <a:pt x="2413" y="856"/>
                  <a:pt x="2413" y="856"/>
                </a:cubicBezTo>
                <a:cubicBezTo>
                  <a:pt x="2413" y="856"/>
                  <a:pt x="2408" y="852"/>
                  <a:pt x="2407" y="851"/>
                </a:cubicBezTo>
                <a:cubicBezTo>
                  <a:pt x="2406" y="849"/>
                  <a:pt x="2403" y="844"/>
                  <a:pt x="2403" y="844"/>
                </a:cubicBezTo>
                <a:cubicBezTo>
                  <a:pt x="2403" y="844"/>
                  <a:pt x="2397" y="839"/>
                  <a:pt x="2394" y="837"/>
                </a:cubicBezTo>
                <a:cubicBezTo>
                  <a:pt x="2391" y="834"/>
                  <a:pt x="2387" y="830"/>
                  <a:pt x="2387" y="830"/>
                </a:cubicBezTo>
                <a:cubicBezTo>
                  <a:pt x="2387" y="830"/>
                  <a:pt x="2387" y="829"/>
                  <a:pt x="2386" y="828"/>
                </a:cubicBezTo>
                <a:cubicBezTo>
                  <a:pt x="2385" y="827"/>
                  <a:pt x="2384" y="826"/>
                  <a:pt x="2384" y="826"/>
                </a:cubicBezTo>
                <a:cubicBezTo>
                  <a:pt x="2384" y="826"/>
                  <a:pt x="2381" y="822"/>
                  <a:pt x="2380" y="820"/>
                </a:cubicBezTo>
                <a:cubicBezTo>
                  <a:pt x="2378" y="819"/>
                  <a:pt x="2376" y="819"/>
                  <a:pt x="2376" y="819"/>
                </a:cubicBezTo>
                <a:cubicBezTo>
                  <a:pt x="2365" y="818"/>
                  <a:pt x="2365" y="818"/>
                  <a:pt x="2365" y="818"/>
                </a:cubicBezTo>
                <a:cubicBezTo>
                  <a:pt x="2365" y="818"/>
                  <a:pt x="2360" y="813"/>
                  <a:pt x="2358" y="813"/>
                </a:cubicBezTo>
                <a:cubicBezTo>
                  <a:pt x="2356" y="814"/>
                  <a:pt x="2355" y="819"/>
                  <a:pt x="2356" y="822"/>
                </a:cubicBezTo>
                <a:cubicBezTo>
                  <a:pt x="2358" y="824"/>
                  <a:pt x="2373" y="838"/>
                  <a:pt x="2373" y="838"/>
                </a:cubicBezTo>
                <a:cubicBezTo>
                  <a:pt x="2378" y="846"/>
                  <a:pt x="2378" y="846"/>
                  <a:pt x="2378" y="846"/>
                </a:cubicBezTo>
                <a:cubicBezTo>
                  <a:pt x="2380" y="845"/>
                  <a:pt x="2380" y="845"/>
                  <a:pt x="2380" y="845"/>
                </a:cubicBezTo>
                <a:cubicBezTo>
                  <a:pt x="2380" y="845"/>
                  <a:pt x="2380" y="850"/>
                  <a:pt x="2381" y="852"/>
                </a:cubicBezTo>
                <a:cubicBezTo>
                  <a:pt x="2383" y="853"/>
                  <a:pt x="2390" y="855"/>
                  <a:pt x="2392" y="859"/>
                </a:cubicBezTo>
                <a:cubicBezTo>
                  <a:pt x="2394" y="862"/>
                  <a:pt x="2395" y="869"/>
                  <a:pt x="2395" y="869"/>
                </a:cubicBezTo>
                <a:cubicBezTo>
                  <a:pt x="2395" y="869"/>
                  <a:pt x="2395" y="876"/>
                  <a:pt x="2396" y="876"/>
                </a:cubicBezTo>
                <a:cubicBezTo>
                  <a:pt x="2398" y="876"/>
                  <a:pt x="2401" y="874"/>
                  <a:pt x="2401" y="876"/>
                </a:cubicBezTo>
                <a:cubicBezTo>
                  <a:pt x="2402" y="878"/>
                  <a:pt x="2403" y="882"/>
                  <a:pt x="2403" y="882"/>
                </a:cubicBezTo>
                <a:cubicBezTo>
                  <a:pt x="2408" y="886"/>
                  <a:pt x="2408" y="886"/>
                  <a:pt x="2408" y="886"/>
                </a:cubicBezTo>
                <a:cubicBezTo>
                  <a:pt x="2408" y="889"/>
                  <a:pt x="2408" y="889"/>
                  <a:pt x="2408" y="889"/>
                </a:cubicBezTo>
                <a:cubicBezTo>
                  <a:pt x="2412" y="898"/>
                  <a:pt x="2412" y="898"/>
                  <a:pt x="2412" y="898"/>
                </a:cubicBezTo>
                <a:cubicBezTo>
                  <a:pt x="2412" y="898"/>
                  <a:pt x="2411" y="901"/>
                  <a:pt x="2413" y="904"/>
                </a:cubicBezTo>
                <a:cubicBezTo>
                  <a:pt x="2415" y="907"/>
                  <a:pt x="2417" y="908"/>
                  <a:pt x="2417" y="908"/>
                </a:cubicBezTo>
                <a:cubicBezTo>
                  <a:pt x="2417" y="908"/>
                  <a:pt x="2419" y="913"/>
                  <a:pt x="2420" y="915"/>
                </a:cubicBezTo>
                <a:cubicBezTo>
                  <a:pt x="2422" y="916"/>
                  <a:pt x="2426" y="918"/>
                  <a:pt x="2426" y="918"/>
                </a:cubicBezTo>
                <a:cubicBezTo>
                  <a:pt x="2426" y="923"/>
                  <a:pt x="2426" y="923"/>
                  <a:pt x="2426" y="923"/>
                </a:cubicBezTo>
                <a:cubicBezTo>
                  <a:pt x="2426" y="923"/>
                  <a:pt x="2437" y="932"/>
                  <a:pt x="2437" y="933"/>
                </a:cubicBezTo>
                <a:cubicBezTo>
                  <a:pt x="2438" y="934"/>
                  <a:pt x="2441" y="934"/>
                  <a:pt x="2441" y="934"/>
                </a:cubicBezTo>
                <a:cubicBezTo>
                  <a:pt x="2441" y="934"/>
                  <a:pt x="2443" y="939"/>
                  <a:pt x="2445" y="940"/>
                </a:cubicBezTo>
                <a:cubicBezTo>
                  <a:pt x="2446" y="941"/>
                  <a:pt x="2447" y="945"/>
                  <a:pt x="2448" y="945"/>
                </a:cubicBezTo>
                <a:cubicBezTo>
                  <a:pt x="2448" y="945"/>
                  <a:pt x="2447" y="940"/>
                  <a:pt x="2448" y="940"/>
                </a:cubicBezTo>
                <a:cubicBezTo>
                  <a:pt x="2449" y="939"/>
                  <a:pt x="2453" y="944"/>
                  <a:pt x="2454" y="943"/>
                </a:cubicBezTo>
                <a:close/>
                <a:moveTo>
                  <a:pt x="2770" y="1339"/>
                </a:moveTo>
                <a:cubicBezTo>
                  <a:pt x="2768" y="1337"/>
                  <a:pt x="2765" y="1342"/>
                  <a:pt x="2765" y="1342"/>
                </a:cubicBezTo>
                <a:cubicBezTo>
                  <a:pt x="2765" y="1342"/>
                  <a:pt x="2765" y="1340"/>
                  <a:pt x="2764" y="1340"/>
                </a:cubicBezTo>
                <a:cubicBezTo>
                  <a:pt x="2763" y="1340"/>
                  <a:pt x="2758" y="1341"/>
                  <a:pt x="2758" y="1341"/>
                </a:cubicBezTo>
                <a:cubicBezTo>
                  <a:pt x="2757" y="1343"/>
                  <a:pt x="2757" y="1343"/>
                  <a:pt x="2757" y="1343"/>
                </a:cubicBezTo>
                <a:cubicBezTo>
                  <a:pt x="2755" y="1340"/>
                  <a:pt x="2755" y="1340"/>
                  <a:pt x="2755" y="1340"/>
                </a:cubicBezTo>
                <a:cubicBezTo>
                  <a:pt x="2749" y="1340"/>
                  <a:pt x="2749" y="1340"/>
                  <a:pt x="2749" y="1340"/>
                </a:cubicBezTo>
                <a:cubicBezTo>
                  <a:pt x="2746" y="1336"/>
                  <a:pt x="2746" y="1336"/>
                  <a:pt x="2746" y="1336"/>
                </a:cubicBezTo>
                <a:cubicBezTo>
                  <a:pt x="2746" y="1336"/>
                  <a:pt x="2745" y="1337"/>
                  <a:pt x="2744" y="1337"/>
                </a:cubicBezTo>
                <a:cubicBezTo>
                  <a:pt x="2743" y="1337"/>
                  <a:pt x="2739" y="1333"/>
                  <a:pt x="2739" y="1333"/>
                </a:cubicBezTo>
                <a:cubicBezTo>
                  <a:pt x="2739" y="1335"/>
                  <a:pt x="2739" y="1335"/>
                  <a:pt x="2739" y="1335"/>
                </a:cubicBezTo>
                <a:cubicBezTo>
                  <a:pt x="2739" y="1338"/>
                  <a:pt x="2739" y="1338"/>
                  <a:pt x="2739" y="1338"/>
                </a:cubicBezTo>
                <a:cubicBezTo>
                  <a:pt x="2739" y="1338"/>
                  <a:pt x="2740" y="1341"/>
                  <a:pt x="2739" y="1342"/>
                </a:cubicBezTo>
                <a:cubicBezTo>
                  <a:pt x="2739" y="1343"/>
                  <a:pt x="2738" y="1345"/>
                  <a:pt x="2739" y="1347"/>
                </a:cubicBezTo>
                <a:cubicBezTo>
                  <a:pt x="2740" y="1350"/>
                  <a:pt x="2739" y="1351"/>
                  <a:pt x="2737" y="1352"/>
                </a:cubicBezTo>
                <a:cubicBezTo>
                  <a:pt x="2735" y="1352"/>
                  <a:pt x="2734" y="1350"/>
                  <a:pt x="2734" y="1350"/>
                </a:cubicBezTo>
                <a:cubicBezTo>
                  <a:pt x="2734" y="1350"/>
                  <a:pt x="2733" y="1353"/>
                  <a:pt x="2733" y="1356"/>
                </a:cubicBezTo>
                <a:cubicBezTo>
                  <a:pt x="2732" y="1359"/>
                  <a:pt x="2735" y="1363"/>
                  <a:pt x="2735" y="1363"/>
                </a:cubicBezTo>
                <a:cubicBezTo>
                  <a:pt x="2738" y="1363"/>
                  <a:pt x="2738" y="1363"/>
                  <a:pt x="2738" y="1363"/>
                </a:cubicBezTo>
                <a:cubicBezTo>
                  <a:pt x="2735" y="1365"/>
                  <a:pt x="2735" y="1365"/>
                  <a:pt x="2735" y="1365"/>
                </a:cubicBezTo>
                <a:cubicBezTo>
                  <a:pt x="2736" y="1368"/>
                  <a:pt x="2736" y="1368"/>
                  <a:pt x="2736" y="1368"/>
                </a:cubicBezTo>
                <a:cubicBezTo>
                  <a:pt x="2736" y="1368"/>
                  <a:pt x="2739" y="1367"/>
                  <a:pt x="2740" y="1367"/>
                </a:cubicBezTo>
                <a:cubicBezTo>
                  <a:pt x="2742" y="1366"/>
                  <a:pt x="2743" y="1368"/>
                  <a:pt x="2745" y="1367"/>
                </a:cubicBezTo>
                <a:cubicBezTo>
                  <a:pt x="2747" y="1366"/>
                  <a:pt x="2749" y="1363"/>
                  <a:pt x="2750" y="1364"/>
                </a:cubicBezTo>
                <a:cubicBezTo>
                  <a:pt x="2752" y="1365"/>
                  <a:pt x="2749" y="1367"/>
                  <a:pt x="2749" y="1367"/>
                </a:cubicBezTo>
                <a:cubicBezTo>
                  <a:pt x="2752" y="1368"/>
                  <a:pt x="2752" y="1368"/>
                  <a:pt x="2752" y="1368"/>
                </a:cubicBezTo>
                <a:cubicBezTo>
                  <a:pt x="2752" y="1368"/>
                  <a:pt x="2756" y="1362"/>
                  <a:pt x="2758" y="1361"/>
                </a:cubicBezTo>
                <a:cubicBezTo>
                  <a:pt x="2760" y="1360"/>
                  <a:pt x="2756" y="1358"/>
                  <a:pt x="2756" y="1358"/>
                </a:cubicBezTo>
                <a:cubicBezTo>
                  <a:pt x="2759" y="1354"/>
                  <a:pt x="2759" y="1354"/>
                  <a:pt x="2759" y="1354"/>
                </a:cubicBezTo>
                <a:cubicBezTo>
                  <a:pt x="2759" y="1354"/>
                  <a:pt x="2761" y="1355"/>
                  <a:pt x="2764" y="1354"/>
                </a:cubicBezTo>
                <a:cubicBezTo>
                  <a:pt x="2766" y="1353"/>
                  <a:pt x="2764" y="1348"/>
                  <a:pt x="2766" y="1346"/>
                </a:cubicBezTo>
                <a:cubicBezTo>
                  <a:pt x="2768" y="1344"/>
                  <a:pt x="2771" y="1340"/>
                  <a:pt x="2770" y="1339"/>
                </a:cubicBezTo>
                <a:close/>
                <a:moveTo>
                  <a:pt x="2402" y="906"/>
                </a:moveTo>
                <a:cubicBezTo>
                  <a:pt x="2401" y="908"/>
                  <a:pt x="2404" y="910"/>
                  <a:pt x="2404" y="910"/>
                </a:cubicBezTo>
                <a:cubicBezTo>
                  <a:pt x="2404" y="910"/>
                  <a:pt x="2407" y="915"/>
                  <a:pt x="2409" y="913"/>
                </a:cubicBezTo>
                <a:cubicBezTo>
                  <a:pt x="2410" y="911"/>
                  <a:pt x="2404" y="906"/>
                  <a:pt x="2402" y="906"/>
                </a:cubicBezTo>
                <a:close/>
                <a:moveTo>
                  <a:pt x="2882" y="1159"/>
                </a:moveTo>
                <a:cubicBezTo>
                  <a:pt x="2882" y="1159"/>
                  <a:pt x="2881" y="1151"/>
                  <a:pt x="2881" y="1149"/>
                </a:cubicBezTo>
                <a:cubicBezTo>
                  <a:pt x="2881" y="1148"/>
                  <a:pt x="2876" y="1148"/>
                  <a:pt x="2876" y="1148"/>
                </a:cubicBezTo>
                <a:cubicBezTo>
                  <a:pt x="2876" y="1145"/>
                  <a:pt x="2876" y="1145"/>
                  <a:pt x="2876" y="1145"/>
                </a:cubicBezTo>
                <a:cubicBezTo>
                  <a:pt x="2874" y="1143"/>
                  <a:pt x="2874" y="1143"/>
                  <a:pt x="2874" y="1143"/>
                </a:cubicBezTo>
                <a:cubicBezTo>
                  <a:pt x="2874" y="1143"/>
                  <a:pt x="2875" y="1140"/>
                  <a:pt x="2874" y="1138"/>
                </a:cubicBezTo>
                <a:cubicBezTo>
                  <a:pt x="2873" y="1137"/>
                  <a:pt x="2869" y="1135"/>
                  <a:pt x="2869" y="1135"/>
                </a:cubicBezTo>
                <a:cubicBezTo>
                  <a:pt x="2869" y="1135"/>
                  <a:pt x="2876" y="1134"/>
                  <a:pt x="2876" y="1131"/>
                </a:cubicBezTo>
                <a:cubicBezTo>
                  <a:pt x="2877" y="1128"/>
                  <a:pt x="2872" y="1128"/>
                  <a:pt x="2872" y="1128"/>
                </a:cubicBezTo>
                <a:cubicBezTo>
                  <a:pt x="2872" y="1128"/>
                  <a:pt x="2871" y="1123"/>
                  <a:pt x="2868" y="1123"/>
                </a:cubicBezTo>
                <a:cubicBezTo>
                  <a:pt x="2866" y="1124"/>
                  <a:pt x="2867" y="1127"/>
                  <a:pt x="2867" y="1127"/>
                </a:cubicBezTo>
                <a:cubicBezTo>
                  <a:pt x="2864" y="1127"/>
                  <a:pt x="2864" y="1127"/>
                  <a:pt x="2864" y="1127"/>
                </a:cubicBezTo>
                <a:cubicBezTo>
                  <a:pt x="2864" y="1127"/>
                  <a:pt x="2867" y="1118"/>
                  <a:pt x="2867" y="1116"/>
                </a:cubicBezTo>
                <a:cubicBezTo>
                  <a:pt x="2866" y="1114"/>
                  <a:pt x="2862" y="1114"/>
                  <a:pt x="2861" y="1112"/>
                </a:cubicBezTo>
                <a:cubicBezTo>
                  <a:pt x="2861" y="1110"/>
                  <a:pt x="2864" y="1106"/>
                  <a:pt x="2863" y="1103"/>
                </a:cubicBezTo>
                <a:cubicBezTo>
                  <a:pt x="2862" y="1101"/>
                  <a:pt x="2849" y="1094"/>
                  <a:pt x="2849" y="1094"/>
                </a:cubicBezTo>
                <a:cubicBezTo>
                  <a:pt x="2848" y="1096"/>
                  <a:pt x="2848" y="1096"/>
                  <a:pt x="2848" y="1096"/>
                </a:cubicBezTo>
                <a:cubicBezTo>
                  <a:pt x="2848" y="1096"/>
                  <a:pt x="2842" y="1089"/>
                  <a:pt x="2842" y="1084"/>
                </a:cubicBezTo>
                <a:cubicBezTo>
                  <a:pt x="2842" y="1080"/>
                  <a:pt x="2843" y="1077"/>
                  <a:pt x="2843" y="1073"/>
                </a:cubicBezTo>
                <a:cubicBezTo>
                  <a:pt x="2843" y="1069"/>
                  <a:pt x="2839" y="1060"/>
                  <a:pt x="2839" y="1056"/>
                </a:cubicBezTo>
                <a:cubicBezTo>
                  <a:pt x="2838" y="1053"/>
                  <a:pt x="2840" y="1051"/>
                  <a:pt x="2840" y="1049"/>
                </a:cubicBezTo>
                <a:cubicBezTo>
                  <a:pt x="2841" y="1047"/>
                  <a:pt x="2839" y="1039"/>
                  <a:pt x="2839" y="1039"/>
                </a:cubicBezTo>
                <a:cubicBezTo>
                  <a:pt x="2836" y="1037"/>
                  <a:pt x="2836" y="1037"/>
                  <a:pt x="2836" y="1037"/>
                </a:cubicBezTo>
                <a:cubicBezTo>
                  <a:pt x="2836" y="1037"/>
                  <a:pt x="2833" y="1034"/>
                  <a:pt x="2831" y="1034"/>
                </a:cubicBezTo>
                <a:cubicBezTo>
                  <a:pt x="2829" y="1034"/>
                  <a:pt x="2828" y="1037"/>
                  <a:pt x="2828" y="1037"/>
                </a:cubicBezTo>
                <a:cubicBezTo>
                  <a:pt x="2828" y="1037"/>
                  <a:pt x="2826" y="1034"/>
                  <a:pt x="2826" y="1032"/>
                </a:cubicBezTo>
                <a:cubicBezTo>
                  <a:pt x="2826" y="1030"/>
                  <a:pt x="2827" y="1025"/>
                  <a:pt x="2827" y="1025"/>
                </a:cubicBezTo>
                <a:cubicBezTo>
                  <a:pt x="2825" y="1022"/>
                  <a:pt x="2825" y="1022"/>
                  <a:pt x="2825" y="1022"/>
                </a:cubicBezTo>
                <a:cubicBezTo>
                  <a:pt x="2825" y="1011"/>
                  <a:pt x="2825" y="1011"/>
                  <a:pt x="2825" y="1011"/>
                </a:cubicBezTo>
                <a:cubicBezTo>
                  <a:pt x="2825" y="1011"/>
                  <a:pt x="2820" y="1008"/>
                  <a:pt x="2821" y="1006"/>
                </a:cubicBezTo>
                <a:cubicBezTo>
                  <a:pt x="2822" y="1004"/>
                  <a:pt x="2823" y="1001"/>
                  <a:pt x="2822" y="1000"/>
                </a:cubicBezTo>
                <a:cubicBezTo>
                  <a:pt x="2821" y="999"/>
                  <a:pt x="2818" y="999"/>
                  <a:pt x="2818" y="999"/>
                </a:cubicBezTo>
                <a:cubicBezTo>
                  <a:pt x="2818" y="997"/>
                  <a:pt x="2818" y="997"/>
                  <a:pt x="2818" y="997"/>
                </a:cubicBezTo>
                <a:cubicBezTo>
                  <a:pt x="2814" y="998"/>
                  <a:pt x="2814" y="998"/>
                  <a:pt x="2814" y="998"/>
                </a:cubicBezTo>
                <a:cubicBezTo>
                  <a:pt x="2813" y="1001"/>
                  <a:pt x="2813" y="1001"/>
                  <a:pt x="2813" y="1001"/>
                </a:cubicBezTo>
                <a:cubicBezTo>
                  <a:pt x="2813" y="1001"/>
                  <a:pt x="2811" y="1003"/>
                  <a:pt x="2810" y="1003"/>
                </a:cubicBezTo>
                <a:cubicBezTo>
                  <a:pt x="2808" y="1004"/>
                  <a:pt x="2811" y="1010"/>
                  <a:pt x="2811" y="1012"/>
                </a:cubicBezTo>
                <a:cubicBezTo>
                  <a:pt x="2811" y="1014"/>
                  <a:pt x="2804" y="1022"/>
                  <a:pt x="2804" y="1022"/>
                </a:cubicBezTo>
                <a:cubicBezTo>
                  <a:pt x="2806" y="1024"/>
                  <a:pt x="2806" y="1024"/>
                  <a:pt x="2806" y="1024"/>
                </a:cubicBezTo>
                <a:cubicBezTo>
                  <a:pt x="2806" y="1024"/>
                  <a:pt x="2803" y="1028"/>
                  <a:pt x="2803" y="1030"/>
                </a:cubicBezTo>
                <a:cubicBezTo>
                  <a:pt x="2802" y="1031"/>
                  <a:pt x="2803" y="1037"/>
                  <a:pt x="2803" y="1037"/>
                </a:cubicBezTo>
                <a:cubicBezTo>
                  <a:pt x="2803" y="1037"/>
                  <a:pt x="2799" y="1054"/>
                  <a:pt x="2799" y="1057"/>
                </a:cubicBezTo>
                <a:cubicBezTo>
                  <a:pt x="2799" y="1059"/>
                  <a:pt x="2793" y="1065"/>
                  <a:pt x="2793" y="1065"/>
                </a:cubicBezTo>
                <a:cubicBezTo>
                  <a:pt x="2793" y="1065"/>
                  <a:pt x="2793" y="1072"/>
                  <a:pt x="2790" y="1074"/>
                </a:cubicBezTo>
                <a:cubicBezTo>
                  <a:pt x="2786" y="1075"/>
                  <a:pt x="2779" y="1077"/>
                  <a:pt x="2779" y="1077"/>
                </a:cubicBezTo>
                <a:cubicBezTo>
                  <a:pt x="2779" y="1077"/>
                  <a:pt x="2774" y="1070"/>
                  <a:pt x="2773" y="1068"/>
                </a:cubicBezTo>
                <a:cubicBezTo>
                  <a:pt x="2772" y="1066"/>
                  <a:pt x="2764" y="1063"/>
                  <a:pt x="2759" y="1061"/>
                </a:cubicBezTo>
                <a:cubicBezTo>
                  <a:pt x="2755" y="1060"/>
                  <a:pt x="2752" y="1053"/>
                  <a:pt x="2752" y="1052"/>
                </a:cubicBezTo>
                <a:cubicBezTo>
                  <a:pt x="2751" y="1051"/>
                  <a:pt x="2747" y="1052"/>
                  <a:pt x="2747" y="1052"/>
                </a:cubicBezTo>
                <a:cubicBezTo>
                  <a:pt x="2743" y="1046"/>
                  <a:pt x="2743" y="1046"/>
                  <a:pt x="2743" y="1046"/>
                </a:cubicBezTo>
                <a:cubicBezTo>
                  <a:pt x="2746" y="1043"/>
                  <a:pt x="2746" y="1043"/>
                  <a:pt x="2746" y="1043"/>
                </a:cubicBezTo>
                <a:cubicBezTo>
                  <a:pt x="2746" y="1043"/>
                  <a:pt x="2745" y="1040"/>
                  <a:pt x="2746" y="1038"/>
                </a:cubicBezTo>
                <a:cubicBezTo>
                  <a:pt x="2748" y="1036"/>
                  <a:pt x="2750" y="1035"/>
                  <a:pt x="2750" y="1035"/>
                </a:cubicBezTo>
                <a:cubicBezTo>
                  <a:pt x="2749" y="1029"/>
                  <a:pt x="2749" y="1029"/>
                  <a:pt x="2749" y="1029"/>
                </a:cubicBezTo>
                <a:cubicBezTo>
                  <a:pt x="2752" y="1026"/>
                  <a:pt x="2752" y="1026"/>
                  <a:pt x="2752" y="1026"/>
                </a:cubicBezTo>
                <a:cubicBezTo>
                  <a:pt x="2752" y="1026"/>
                  <a:pt x="2755" y="1028"/>
                  <a:pt x="2756" y="1027"/>
                </a:cubicBezTo>
                <a:cubicBezTo>
                  <a:pt x="2757" y="1027"/>
                  <a:pt x="2757" y="1022"/>
                  <a:pt x="2757" y="1022"/>
                </a:cubicBezTo>
                <a:cubicBezTo>
                  <a:pt x="2763" y="1017"/>
                  <a:pt x="2763" y="1017"/>
                  <a:pt x="2763" y="1017"/>
                </a:cubicBezTo>
                <a:cubicBezTo>
                  <a:pt x="2763" y="1017"/>
                  <a:pt x="2760" y="1012"/>
                  <a:pt x="2756" y="1012"/>
                </a:cubicBezTo>
                <a:cubicBezTo>
                  <a:pt x="2753" y="1011"/>
                  <a:pt x="2748" y="1016"/>
                  <a:pt x="2748" y="1016"/>
                </a:cubicBezTo>
                <a:cubicBezTo>
                  <a:pt x="2748" y="1013"/>
                  <a:pt x="2748" y="1013"/>
                  <a:pt x="2748" y="1013"/>
                </a:cubicBezTo>
                <a:cubicBezTo>
                  <a:pt x="2744" y="1014"/>
                  <a:pt x="2744" y="1014"/>
                  <a:pt x="2744" y="1014"/>
                </a:cubicBezTo>
                <a:cubicBezTo>
                  <a:pt x="2742" y="1016"/>
                  <a:pt x="2742" y="1016"/>
                  <a:pt x="2742" y="1016"/>
                </a:cubicBezTo>
                <a:cubicBezTo>
                  <a:pt x="2741" y="1013"/>
                  <a:pt x="2741" y="1013"/>
                  <a:pt x="2741" y="1013"/>
                </a:cubicBezTo>
                <a:cubicBezTo>
                  <a:pt x="2736" y="1013"/>
                  <a:pt x="2736" y="1013"/>
                  <a:pt x="2736" y="1013"/>
                </a:cubicBezTo>
                <a:cubicBezTo>
                  <a:pt x="2736" y="1013"/>
                  <a:pt x="2730" y="1009"/>
                  <a:pt x="2729" y="1009"/>
                </a:cubicBezTo>
                <a:cubicBezTo>
                  <a:pt x="2728" y="1009"/>
                  <a:pt x="2721" y="1008"/>
                  <a:pt x="2721" y="1008"/>
                </a:cubicBezTo>
                <a:cubicBezTo>
                  <a:pt x="2721" y="1008"/>
                  <a:pt x="2720" y="1004"/>
                  <a:pt x="2718" y="1003"/>
                </a:cubicBezTo>
                <a:cubicBezTo>
                  <a:pt x="2717" y="1002"/>
                  <a:pt x="2716" y="1005"/>
                  <a:pt x="2716" y="1005"/>
                </a:cubicBezTo>
                <a:cubicBezTo>
                  <a:pt x="2716" y="1005"/>
                  <a:pt x="2711" y="1002"/>
                  <a:pt x="2710" y="1003"/>
                </a:cubicBezTo>
                <a:cubicBezTo>
                  <a:pt x="2709" y="1004"/>
                  <a:pt x="2711" y="1006"/>
                  <a:pt x="2711" y="1006"/>
                </a:cubicBezTo>
                <a:cubicBezTo>
                  <a:pt x="2711" y="1006"/>
                  <a:pt x="2708" y="1006"/>
                  <a:pt x="2707" y="1007"/>
                </a:cubicBezTo>
                <a:cubicBezTo>
                  <a:pt x="2707" y="1008"/>
                  <a:pt x="2710" y="1009"/>
                  <a:pt x="2713" y="1010"/>
                </a:cubicBezTo>
                <a:cubicBezTo>
                  <a:pt x="2715" y="1011"/>
                  <a:pt x="2716" y="1009"/>
                  <a:pt x="2716" y="1009"/>
                </a:cubicBezTo>
                <a:cubicBezTo>
                  <a:pt x="2721" y="1011"/>
                  <a:pt x="2721" y="1011"/>
                  <a:pt x="2721" y="1011"/>
                </a:cubicBezTo>
                <a:cubicBezTo>
                  <a:pt x="2721" y="1011"/>
                  <a:pt x="2716" y="1013"/>
                  <a:pt x="2714" y="1015"/>
                </a:cubicBezTo>
                <a:cubicBezTo>
                  <a:pt x="2711" y="1016"/>
                  <a:pt x="2704" y="1015"/>
                  <a:pt x="2703" y="1015"/>
                </a:cubicBezTo>
                <a:cubicBezTo>
                  <a:pt x="2701" y="1016"/>
                  <a:pt x="2691" y="1021"/>
                  <a:pt x="2691" y="1021"/>
                </a:cubicBezTo>
                <a:cubicBezTo>
                  <a:pt x="2691" y="1021"/>
                  <a:pt x="2689" y="1025"/>
                  <a:pt x="2689" y="1027"/>
                </a:cubicBezTo>
                <a:cubicBezTo>
                  <a:pt x="2689" y="1029"/>
                  <a:pt x="2693" y="1031"/>
                  <a:pt x="2693" y="1031"/>
                </a:cubicBezTo>
                <a:cubicBezTo>
                  <a:pt x="2687" y="1031"/>
                  <a:pt x="2687" y="1031"/>
                  <a:pt x="2687" y="1031"/>
                </a:cubicBezTo>
                <a:cubicBezTo>
                  <a:pt x="2682" y="1036"/>
                  <a:pt x="2682" y="1036"/>
                  <a:pt x="2682" y="1036"/>
                </a:cubicBezTo>
                <a:cubicBezTo>
                  <a:pt x="2682" y="1036"/>
                  <a:pt x="2683" y="1040"/>
                  <a:pt x="2681" y="1042"/>
                </a:cubicBezTo>
                <a:cubicBezTo>
                  <a:pt x="2680" y="1043"/>
                  <a:pt x="2685" y="1044"/>
                  <a:pt x="2687" y="1046"/>
                </a:cubicBezTo>
                <a:cubicBezTo>
                  <a:pt x="2689" y="1046"/>
                  <a:pt x="2688" y="1051"/>
                  <a:pt x="2688" y="1051"/>
                </a:cubicBezTo>
                <a:cubicBezTo>
                  <a:pt x="2685" y="1048"/>
                  <a:pt x="2685" y="1048"/>
                  <a:pt x="2685" y="1048"/>
                </a:cubicBezTo>
                <a:cubicBezTo>
                  <a:pt x="2681" y="1048"/>
                  <a:pt x="2681" y="1048"/>
                  <a:pt x="2681" y="1048"/>
                </a:cubicBezTo>
                <a:cubicBezTo>
                  <a:pt x="2679" y="1051"/>
                  <a:pt x="2679" y="1051"/>
                  <a:pt x="2679" y="1051"/>
                </a:cubicBezTo>
                <a:cubicBezTo>
                  <a:pt x="2673" y="1046"/>
                  <a:pt x="2673" y="1046"/>
                  <a:pt x="2673" y="1046"/>
                </a:cubicBezTo>
                <a:cubicBezTo>
                  <a:pt x="2673" y="1051"/>
                  <a:pt x="2673" y="1051"/>
                  <a:pt x="2673" y="1051"/>
                </a:cubicBezTo>
                <a:cubicBezTo>
                  <a:pt x="2669" y="1052"/>
                  <a:pt x="2669" y="1052"/>
                  <a:pt x="2669" y="1052"/>
                </a:cubicBezTo>
                <a:cubicBezTo>
                  <a:pt x="2670" y="1056"/>
                  <a:pt x="2670" y="1056"/>
                  <a:pt x="2670" y="1056"/>
                </a:cubicBezTo>
                <a:cubicBezTo>
                  <a:pt x="2666" y="1055"/>
                  <a:pt x="2666" y="1055"/>
                  <a:pt x="2666" y="1055"/>
                </a:cubicBezTo>
                <a:cubicBezTo>
                  <a:pt x="2670" y="1046"/>
                  <a:pt x="2670" y="1046"/>
                  <a:pt x="2670" y="1046"/>
                </a:cubicBezTo>
                <a:cubicBezTo>
                  <a:pt x="2670" y="1046"/>
                  <a:pt x="2669" y="1044"/>
                  <a:pt x="2668" y="1042"/>
                </a:cubicBezTo>
                <a:cubicBezTo>
                  <a:pt x="2668" y="1040"/>
                  <a:pt x="2664" y="1040"/>
                  <a:pt x="2664" y="1040"/>
                </a:cubicBezTo>
                <a:cubicBezTo>
                  <a:pt x="2662" y="1036"/>
                  <a:pt x="2662" y="1036"/>
                  <a:pt x="2662" y="1036"/>
                </a:cubicBezTo>
                <a:cubicBezTo>
                  <a:pt x="2662" y="1036"/>
                  <a:pt x="2663" y="1032"/>
                  <a:pt x="2661" y="1030"/>
                </a:cubicBezTo>
                <a:cubicBezTo>
                  <a:pt x="2659" y="1029"/>
                  <a:pt x="2656" y="1031"/>
                  <a:pt x="2656" y="1033"/>
                </a:cubicBezTo>
                <a:cubicBezTo>
                  <a:pt x="2655" y="1034"/>
                  <a:pt x="2657" y="1034"/>
                  <a:pt x="2657" y="1034"/>
                </a:cubicBezTo>
                <a:cubicBezTo>
                  <a:pt x="2656" y="1036"/>
                  <a:pt x="2656" y="1036"/>
                  <a:pt x="2656" y="1036"/>
                </a:cubicBezTo>
                <a:cubicBezTo>
                  <a:pt x="2652" y="1036"/>
                  <a:pt x="2652" y="1036"/>
                  <a:pt x="2652" y="1036"/>
                </a:cubicBezTo>
                <a:cubicBezTo>
                  <a:pt x="2652" y="1039"/>
                  <a:pt x="2652" y="1039"/>
                  <a:pt x="2652" y="1039"/>
                </a:cubicBezTo>
                <a:cubicBezTo>
                  <a:pt x="2649" y="1038"/>
                  <a:pt x="2649" y="1038"/>
                  <a:pt x="2649" y="1038"/>
                </a:cubicBezTo>
                <a:cubicBezTo>
                  <a:pt x="2647" y="1039"/>
                  <a:pt x="2647" y="1039"/>
                  <a:pt x="2647" y="1039"/>
                </a:cubicBezTo>
                <a:cubicBezTo>
                  <a:pt x="2647" y="1039"/>
                  <a:pt x="2648" y="1041"/>
                  <a:pt x="2648" y="1043"/>
                </a:cubicBezTo>
                <a:cubicBezTo>
                  <a:pt x="2647" y="1045"/>
                  <a:pt x="2644" y="1047"/>
                  <a:pt x="2644" y="1047"/>
                </a:cubicBezTo>
                <a:cubicBezTo>
                  <a:pt x="2645" y="1042"/>
                  <a:pt x="2645" y="1042"/>
                  <a:pt x="2645" y="1042"/>
                </a:cubicBezTo>
                <a:cubicBezTo>
                  <a:pt x="2642" y="1045"/>
                  <a:pt x="2642" y="1045"/>
                  <a:pt x="2642" y="1045"/>
                </a:cubicBezTo>
                <a:cubicBezTo>
                  <a:pt x="2642" y="1045"/>
                  <a:pt x="2640" y="1045"/>
                  <a:pt x="2639" y="1047"/>
                </a:cubicBezTo>
                <a:cubicBezTo>
                  <a:pt x="2637" y="1049"/>
                  <a:pt x="2639" y="1053"/>
                  <a:pt x="2639" y="1053"/>
                </a:cubicBezTo>
                <a:cubicBezTo>
                  <a:pt x="2633" y="1051"/>
                  <a:pt x="2633" y="1051"/>
                  <a:pt x="2633" y="1051"/>
                </a:cubicBezTo>
                <a:cubicBezTo>
                  <a:pt x="2632" y="1056"/>
                  <a:pt x="2632" y="1056"/>
                  <a:pt x="2632" y="1056"/>
                </a:cubicBezTo>
                <a:cubicBezTo>
                  <a:pt x="2630" y="1056"/>
                  <a:pt x="2630" y="1056"/>
                  <a:pt x="2630" y="1056"/>
                </a:cubicBezTo>
                <a:cubicBezTo>
                  <a:pt x="2632" y="1060"/>
                  <a:pt x="2632" y="1060"/>
                  <a:pt x="2632" y="1060"/>
                </a:cubicBezTo>
                <a:cubicBezTo>
                  <a:pt x="2635" y="1059"/>
                  <a:pt x="2635" y="1059"/>
                  <a:pt x="2635" y="1059"/>
                </a:cubicBezTo>
                <a:cubicBezTo>
                  <a:pt x="2634" y="1062"/>
                  <a:pt x="2634" y="1062"/>
                  <a:pt x="2634" y="1062"/>
                </a:cubicBezTo>
                <a:cubicBezTo>
                  <a:pt x="2624" y="1062"/>
                  <a:pt x="2624" y="1062"/>
                  <a:pt x="2624" y="1062"/>
                </a:cubicBezTo>
                <a:cubicBezTo>
                  <a:pt x="2624" y="1062"/>
                  <a:pt x="2621" y="1060"/>
                  <a:pt x="2619" y="1062"/>
                </a:cubicBezTo>
                <a:cubicBezTo>
                  <a:pt x="2617" y="1064"/>
                  <a:pt x="2621" y="1068"/>
                  <a:pt x="2621" y="1068"/>
                </a:cubicBezTo>
                <a:cubicBezTo>
                  <a:pt x="2621" y="1072"/>
                  <a:pt x="2621" y="1072"/>
                  <a:pt x="2621" y="1072"/>
                </a:cubicBezTo>
                <a:cubicBezTo>
                  <a:pt x="2620" y="1075"/>
                  <a:pt x="2620" y="1075"/>
                  <a:pt x="2620" y="1075"/>
                </a:cubicBezTo>
                <a:cubicBezTo>
                  <a:pt x="2621" y="1081"/>
                  <a:pt x="2621" y="1081"/>
                  <a:pt x="2621" y="1081"/>
                </a:cubicBezTo>
                <a:cubicBezTo>
                  <a:pt x="2618" y="1081"/>
                  <a:pt x="2618" y="1081"/>
                  <a:pt x="2618" y="1081"/>
                </a:cubicBezTo>
                <a:cubicBezTo>
                  <a:pt x="2618" y="1070"/>
                  <a:pt x="2618" y="1070"/>
                  <a:pt x="2618" y="1070"/>
                </a:cubicBezTo>
                <a:cubicBezTo>
                  <a:pt x="2615" y="1068"/>
                  <a:pt x="2615" y="1068"/>
                  <a:pt x="2615" y="1068"/>
                </a:cubicBezTo>
                <a:cubicBezTo>
                  <a:pt x="2615" y="1063"/>
                  <a:pt x="2615" y="1063"/>
                  <a:pt x="2615" y="1063"/>
                </a:cubicBezTo>
                <a:cubicBezTo>
                  <a:pt x="2612" y="1064"/>
                  <a:pt x="2612" y="1064"/>
                  <a:pt x="2612" y="1064"/>
                </a:cubicBezTo>
                <a:cubicBezTo>
                  <a:pt x="2610" y="1067"/>
                  <a:pt x="2610" y="1067"/>
                  <a:pt x="2610" y="1067"/>
                </a:cubicBezTo>
                <a:cubicBezTo>
                  <a:pt x="2610" y="1067"/>
                  <a:pt x="2607" y="1069"/>
                  <a:pt x="2603" y="1073"/>
                </a:cubicBezTo>
                <a:cubicBezTo>
                  <a:pt x="2599" y="1076"/>
                  <a:pt x="2602" y="1083"/>
                  <a:pt x="2602" y="1083"/>
                </a:cubicBezTo>
                <a:cubicBezTo>
                  <a:pt x="2602" y="1083"/>
                  <a:pt x="2606" y="1084"/>
                  <a:pt x="2605" y="1086"/>
                </a:cubicBezTo>
                <a:cubicBezTo>
                  <a:pt x="2605" y="1088"/>
                  <a:pt x="2598" y="1090"/>
                  <a:pt x="2596" y="1091"/>
                </a:cubicBezTo>
                <a:cubicBezTo>
                  <a:pt x="2595" y="1092"/>
                  <a:pt x="2596" y="1094"/>
                  <a:pt x="2596" y="1094"/>
                </a:cubicBezTo>
                <a:cubicBezTo>
                  <a:pt x="2596" y="1094"/>
                  <a:pt x="2591" y="1098"/>
                  <a:pt x="2588" y="1101"/>
                </a:cubicBezTo>
                <a:cubicBezTo>
                  <a:pt x="2584" y="1103"/>
                  <a:pt x="2573" y="1104"/>
                  <a:pt x="2573" y="1104"/>
                </a:cubicBezTo>
                <a:cubicBezTo>
                  <a:pt x="2566" y="1103"/>
                  <a:pt x="2566" y="1103"/>
                  <a:pt x="2566" y="1103"/>
                </a:cubicBezTo>
                <a:cubicBezTo>
                  <a:pt x="2560" y="1106"/>
                  <a:pt x="2560" y="1106"/>
                  <a:pt x="2560" y="1106"/>
                </a:cubicBezTo>
                <a:cubicBezTo>
                  <a:pt x="2553" y="1107"/>
                  <a:pt x="2553" y="1107"/>
                  <a:pt x="2553" y="1107"/>
                </a:cubicBezTo>
                <a:cubicBezTo>
                  <a:pt x="2552" y="1108"/>
                  <a:pt x="2552" y="1108"/>
                  <a:pt x="2552" y="1108"/>
                </a:cubicBezTo>
                <a:cubicBezTo>
                  <a:pt x="2552" y="1108"/>
                  <a:pt x="2549" y="1108"/>
                  <a:pt x="2548" y="1109"/>
                </a:cubicBezTo>
                <a:cubicBezTo>
                  <a:pt x="2546" y="1110"/>
                  <a:pt x="2543" y="1112"/>
                  <a:pt x="2543" y="1112"/>
                </a:cubicBezTo>
                <a:cubicBezTo>
                  <a:pt x="2543" y="1112"/>
                  <a:pt x="2539" y="1112"/>
                  <a:pt x="2537" y="1113"/>
                </a:cubicBezTo>
                <a:cubicBezTo>
                  <a:pt x="2534" y="1114"/>
                  <a:pt x="2530" y="1120"/>
                  <a:pt x="2530" y="1120"/>
                </a:cubicBezTo>
                <a:cubicBezTo>
                  <a:pt x="2530" y="1120"/>
                  <a:pt x="2523" y="1122"/>
                  <a:pt x="2521" y="1123"/>
                </a:cubicBezTo>
                <a:cubicBezTo>
                  <a:pt x="2520" y="1124"/>
                  <a:pt x="2512" y="1133"/>
                  <a:pt x="2512" y="1133"/>
                </a:cubicBezTo>
                <a:cubicBezTo>
                  <a:pt x="2514" y="1124"/>
                  <a:pt x="2514" y="1124"/>
                  <a:pt x="2514" y="1124"/>
                </a:cubicBezTo>
                <a:cubicBezTo>
                  <a:pt x="2511" y="1125"/>
                  <a:pt x="2511" y="1125"/>
                  <a:pt x="2511" y="1125"/>
                </a:cubicBezTo>
                <a:cubicBezTo>
                  <a:pt x="2508" y="1133"/>
                  <a:pt x="2508" y="1133"/>
                  <a:pt x="2508" y="1133"/>
                </a:cubicBezTo>
                <a:cubicBezTo>
                  <a:pt x="2508" y="1133"/>
                  <a:pt x="2505" y="1138"/>
                  <a:pt x="2504" y="1142"/>
                </a:cubicBezTo>
                <a:cubicBezTo>
                  <a:pt x="2503" y="1145"/>
                  <a:pt x="2507" y="1146"/>
                  <a:pt x="2507" y="1146"/>
                </a:cubicBezTo>
                <a:cubicBezTo>
                  <a:pt x="2507" y="1146"/>
                  <a:pt x="2503" y="1150"/>
                  <a:pt x="2501" y="1152"/>
                </a:cubicBezTo>
                <a:cubicBezTo>
                  <a:pt x="2499" y="1154"/>
                  <a:pt x="2503" y="1162"/>
                  <a:pt x="2503" y="1164"/>
                </a:cubicBezTo>
                <a:cubicBezTo>
                  <a:pt x="2503" y="1165"/>
                  <a:pt x="2508" y="1174"/>
                  <a:pt x="2507" y="1175"/>
                </a:cubicBezTo>
                <a:cubicBezTo>
                  <a:pt x="2506" y="1176"/>
                  <a:pt x="2501" y="1167"/>
                  <a:pt x="2501" y="1167"/>
                </a:cubicBezTo>
                <a:cubicBezTo>
                  <a:pt x="2498" y="1167"/>
                  <a:pt x="2498" y="1167"/>
                  <a:pt x="2498" y="1167"/>
                </a:cubicBezTo>
                <a:cubicBezTo>
                  <a:pt x="2501" y="1173"/>
                  <a:pt x="2501" y="1173"/>
                  <a:pt x="2501" y="1173"/>
                </a:cubicBezTo>
                <a:cubicBezTo>
                  <a:pt x="2496" y="1169"/>
                  <a:pt x="2496" y="1169"/>
                  <a:pt x="2496" y="1169"/>
                </a:cubicBezTo>
                <a:cubicBezTo>
                  <a:pt x="2496" y="1169"/>
                  <a:pt x="2495" y="1174"/>
                  <a:pt x="2496" y="1177"/>
                </a:cubicBezTo>
                <a:cubicBezTo>
                  <a:pt x="2496" y="1180"/>
                  <a:pt x="2501" y="1187"/>
                  <a:pt x="2501" y="1187"/>
                </a:cubicBezTo>
                <a:cubicBezTo>
                  <a:pt x="2501" y="1187"/>
                  <a:pt x="2499" y="1192"/>
                  <a:pt x="2498" y="1193"/>
                </a:cubicBezTo>
                <a:cubicBezTo>
                  <a:pt x="2498" y="1195"/>
                  <a:pt x="2504" y="1200"/>
                  <a:pt x="2504" y="1201"/>
                </a:cubicBezTo>
                <a:cubicBezTo>
                  <a:pt x="2504" y="1202"/>
                  <a:pt x="2505" y="1207"/>
                  <a:pt x="2503" y="1209"/>
                </a:cubicBezTo>
                <a:cubicBezTo>
                  <a:pt x="2502" y="1210"/>
                  <a:pt x="2505" y="1220"/>
                  <a:pt x="2505" y="1220"/>
                </a:cubicBezTo>
                <a:cubicBezTo>
                  <a:pt x="2505" y="1220"/>
                  <a:pt x="2504" y="1220"/>
                  <a:pt x="2503" y="1222"/>
                </a:cubicBezTo>
                <a:cubicBezTo>
                  <a:pt x="2501" y="1223"/>
                  <a:pt x="2504" y="1230"/>
                  <a:pt x="2504" y="1230"/>
                </a:cubicBezTo>
                <a:cubicBezTo>
                  <a:pt x="2504" y="1230"/>
                  <a:pt x="2509" y="1232"/>
                  <a:pt x="2509" y="1236"/>
                </a:cubicBezTo>
                <a:cubicBezTo>
                  <a:pt x="2510" y="1239"/>
                  <a:pt x="2503" y="1245"/>
                  <a:pt x="2503" y="1245"/>
                </a:cubicBezTo>
                <a:cubicBezTo>
                  <a:pt x="2503" y="1245"/>
                  <a:pt x="2505" y="1252"/>
                  <a:pt x="2502" y="1256"/>
                </a:cubicBezTo>
                <a:cubicBezTo>
                  <a:pt x="2498" y="1259"/>
                  <a:pt x="2492" y="1257"/>
                  <a:pt x="2492" y="1257"/>
                </a:cubicBezTo>
                <a:cubicBezTo>
                  <a:pt x="2491" y="1264"/>
                  <a:pt x="2491" y="1264"/>
                  <a:pt x="2491" y="1264"/>
                </a:cubicBezTo>
                <a:cubicBezTo>
                  <a:pt x="2491" y="1264"/>
                  <a:pt x="2498" y="1266"/>
                  <a:pt x="2499" y="1267"/>
                </a:cubicBezTo>
                <a:cubicBezTo>
                  <a:pt x="2501" y="1268"/>
                  <a:pt x="2503" y="1270"/>
                  <a:pt x="2503" y="1270"/>
                </a:cubicBezTo>
                <a:cubicBezTo>
                  <a:pt x="2506" y="1270"/>
                  <a:pt x="2506" y="1270"/>
                  <a:pt x="2506" y="1270"/>
                </a:cubicBezTo>
                <a:cubicBezTo>
                  <a:pt x="2506" y="1270"/>
                  <a:pt x="2508" y="1272"/>
                  <a:pt x="2511" y="1273"/>
                </a:cubicBezTo>
                <a:cubicBezTo>
                  <a:pt x="2514" y="1274"/>
                  <a:pt x="2520" y="1272"/>
                  <a:pt x="2523" y="1272"/>
                </a:cubicBezTo>
                <a:cubicBezTo>
                  <a:pt x="2525" y="1272"/>
                  <a:pt x="2523" y="1268"/>
                  <a:pt x="2523" y="1268"/>
                </a:cubicBezTo>
                <a:cubicBezTo>
                  <a:pt x="2529" y="1269"/>
                  <a:pt x="2529" y="1269"/>
                  <a:pt x="2529" y="1269"/>
                </a:cubicBezTo>
                <a:cubicBezTo>
                  <a:pt x="2530" y="1266"/>
                  <a:pt x="2530" y="1266"/>
                  <a:pt x="2530" y="1266"/>
                </a:cubicBezTo>
                <a:cubicBezTo>
                  <a:pt x="2535" y="1265"/>
                  <a:pt x="2535" y="1265"/>
                  <a:pt x="2535" y="1265"/>
                </a:cubicBezTo>
                <a:cubicBezTo>
                  <a:pt x="2535" y="1265"/>
                  <a:pt x="2540" y="1260"/>
                  <a:pt x="2543" y="1260"/>
                </a:cubicBezTo>
                <a:cubicBezTo>
                  <a:pt x="2546" y="1260"/>
                  <a:pt x="2548" y="1263"/>
                  <a:pt x="2550" y="1263"/>
                </a:cubicBezTo>
                <a:cubicBezTo>
                  <a:pt x="2551" y="1262"/>
                  <a:pt x="2559" y="1258"/>
                  <a:pt x="2559" y="1258"/>
                </a:cubicBezTo>
                <a:cubicBezTo>
                  <a:pt x="2559" y="1258"/>
                  <a:pt x="2564" y="1260"/>
                  <a:pt x="2566" y="1260"/>
                </a:cubicBezTo>
                <a:cubicBezTo>
                  <a:pt x="2568" y="1260"/>
                  <a:pt x="2570" y="1258"/>
                  <a:pt x="2571" y="1257"/>
                </a:cubicBezTo>
                <a:cubicBezTo>
                  <a:pt x="2573" y="1257"/>
                  <a:pt x="2577" y="1260"/>
                  <a:pt x="2580" y="1259"/>
                </a:cubicBezTo>
                <a:cubicBezTo>
                  <a:pt x="2583" y="1259"/>
                  <a:pt x="2583" y="1255"/>
                  <a:pt x="2583" y="1255"/>
                </a:cubicBezTo>
                <a:cubicBezTo>
                  <a:pt x="2583" y="1255"/>
                  <a:pt x="2585" y="1254"/>
                  <a:pt x="2586" y="1254"/>
                </a:cubicBezTo>
                <a:cubicBezTo>
                  <a:pt x="2587" y="1253"/>
                  <a:pt x="2588" y="1247"/>
                  <a:pt x="2591" y="1245"/>
                </a:cubicBezTo>
                <a:cubicBezTo>
                  <a:pt x="2594" y="1242"/>
                  <a:pt x="2601" y="1244"/>
                  <a:pt x="2603" y="1243"/>
                </a:cubicBezTo>
                <a:cubicBezTo>
                  <a:pt x="2605" y="1243"/>
                  <a:pt x="2612" y="1239"/>
                  <a:pt x="2615" y="1238"/>
                </a:cubicBezTo>
                <a:cubicBezTo>
                  <a:pt x="2619" y="1238"/>
                  <a:pt x="2619" y="1239"/>
                  <a:pt x="2623" y="1240"/>
                </a:cubicBezTo>
                <a:cubicBezTo>
                  <a:pt x="2627" y="1241"/>
                  <a:pt x="2637" y="1234"/>
                  <a:pt x="2641" y="1233"/>
                </a:cubicBezTo>
                <a:cubicBezTo>
                  <a:pt x="2645" y="1231"/>
                  <a:pt x="2662" y="1230"/>
                  <a:pt x="2662" y="1230"/>
                </a:cubicBezTo>
                <a:cubicBezTo>
                  <a:pt x="2664" y="1229"/>
                  <a:pt x="2664" y="1229"/>
                  <a:pt x="2664" y="1229"/>
                </a:cubicBezTo>
                <a:cubicBezTo>
                  <a:pt x="2664" y="1229"/>
                  <a:pt x="2670" y="1234"/>
                  <a:pt x="2673" y="1235"/>
                </a:cubicBezTo>
                <a:cubicBezTo>
                  <a:pt x="2677" y="1237"/>
                  <a:pt x="2678" y="1235"/>
                  <a:pt x="2678" y="1235"/>
                </a:cubicBezTo>
                <a:cubicBezTo>
                  <a:pt x="2678" y="1235"/>
                  <a:pt x="2679" y="1238"/>
                  <a:pt x="2681" y="1239"/>
                </a:cubicBezTo>
                <a:cubicBezTo>
                  <a:pt x="2682" y="1240"/>
                  <a:pt x="2683" y="1238"/>
                  <a:pt x="2683" y="1238"/>
                </a:cubicBezTo>
                <a:cubicBezTo>
                  <a:pt x="2684" y="1241"/>
                  <a:pt x="2684" y="1241"/>
                  <a:pt x="2684" y="1241"/>
                </a:cubicBezTo>
                <a:cubicBezTo>
                  <a:pt x="2684" y="1241"/>
                  <a:pt x="2687" y="1241"/>
                  <a:pt x="2687" y="1243"/>
                </a:cubicBezTo>
                <a:cubicBezTo>
                  <a:pt x="2687" y="1245"/>
                  <a:pt x="2683" y="1250"/>
                  <a:pt x="2683" y="1250"/>
                </a:cubicBezTo>
                <a:cubicBezTo>
                  <a:pt x="2686" y="1254"/>
                  <a:pt x="2686" y="1254"/>
                  <a:pt x="2686" y="1254"/>
                </a:cubicBezTo>
                <a:cubicBezTo>
                  <a:pt x="2688" y="1252"/>
                  <a:pt x="2688" y="1252"/>
                  <a:pt x="2688" y="1252"/>
                </a:cubicBezTo>
                <a:cubicBezTo>
                  <a:pt x="2690" y="1257"/>
                  <a:pt x="2690" y="1257"/>
                  <a:pt x="2690" y="1257"/>
                </a:cubicBezTo>
                <a:cubicBezTo>
                  <a:pt x="2690" y="1257"/>
                  <a:pt x="2692" y="1263"/>
                  <a:pt x="2693" y="1265"/>
                </a:cubicBezTo>
                <a:cubicBezTo>
                  <a:pt x="2693" y="1266"/>
                  <a:pt x="2687" y="1265"/>
                  <a:pt x="2687" y="1265"/>
                </a:cubicBezTo>
                <a:cubicBezTo>
                  <a:pt x="2688" y="1270"/>
                  <a:pt x="2688" y="1270"/>
                  <a:pt x="2688" y="1270"/>
                </a:cubicBezTo>
                <a:cubicBezTo>
                  <a:pt x="2688" y="1270"/>
                  <a:pt x="2690" y="1270"/>
                  <a:pt x="2692" y="1270"/>
                </a:cubicBezTo>
                <a:cubicBezTo>
                  <a:pt x="2694" y="1270"/>
                  <a:pt x="2694" y="1272"/>
                  <a:pt x="2694" y="1272"/>
                </a:cubicBezTo>
                <a:cubicBezTo>
                  <a:pt x="2697" y="1271"/>
                  <a:pt x="2697" y="1271"/>
                  <a:pt x="2697" y="1271"/>
                </a:cubicBezTo>
                <a:cubicBezTo>
                  <a:pt x="2697" y="1271"/>
                  <a:pt x="2696" y="1268"/>
                  <a:pt x="2696" y="1266"/>
                </a:cubicBezTo>
                <a:cubicBezTo>
                  <a:pt x="2696" y="1263"/>
                  <a:pt x="2700" y="1261"/>
                  <a:pt x="2702" y="1261"/>
                </a:cubicBezTo>
                <a:cubicBezTo>
                  <a:pt x="2705" y="1260"/>
                  <a:pt x="2710" y="1253"/>
                  <a:pt x="2710" y="1253"/>
                </a:cubicBezTo>
                <a:cubicBezTo>
                  <a:pt x="2713" y="1253"/>
                  <a:pt x="2713" y="1253"/>
                  <a:pt x="2713" y="1253"/>
                </a:cubicBezTo>
                <a:cubicBezTo>
                  <a:pt x="2716" y="1246"/>
                  <a:pt x="2716" y="1246"/>
                  <a:pt x="2716" y="1246"/>
                </a:cubicBezTo>
                <a:cubicBezTo>
                  <a:pt x="2716" y="1246"/>
                  <a:pt x="2720" y="1246"/>
                  <a:pt x="2721" y="1246"/>
                </a:cubicBezTo>
                <a:cubicBezTo>
                  <a:pt x="2723" y="1245"/>
                  <a:pt x="2724" y="1239"/>
                  <a:pt x="2724" y="1239"/>
                </a:cubicBezTo>
                <a:cubicBezTo>
                  <a:pt x="2724" y="1239"/>
                  <a:pt x="2725" y="1244"/>
                  <a:pt x="2725" y="1246"/>
                </a:cubicBezTo>
                <a:cubicBezTo>
                  <a:pt x="2726" y="1247"/>
                  <a:pt x="2720" y="1250"/>
                  <a:pt x="2720" y="1250"/>
                </a:cubicBezTo>
                <a:cubicBezTo>
                  <a:pt x="2717" y="1250"/>
                  <a:pt x="2717" y="1250"/>
                  <a:pt x="2717" y="1250"/>
                </a:cubicBezTo>
                <a:cubicBezTo>
                  <a:pt x="2716" y="1252"/>
                  <a:pt x="2716" y="1252"/>
                  <a:pt x="2716" y="1252"/>
                </a:cubicBezTo>
                <a:cubicBezTo>
                  <a:pt x="2719" y="1257"/>
                  <a:pt x="2719" y="1257"/>
                  <a:pt x="2719" y="1257"/>
                </a:cubicBezTo>
                <a:cubicBezTo>
                  <a:pt x="2719" y="1257"/>
                  <a:pt x="2717" y="1257"/>
                  <a:pt x="2715" y="1258"/>
                </a:cubicBezTo>
                <a:cubicBezTo>
                  <a:pt x="2714" y="1259"/>
                  <a:pt x="2710" y="1264"/>
                  <a:pt x="2710" y="1264"/>
                </a:cubicBezTo>
                <a:cubicBezTo>
                  <a:pt x="2710" y="1264"/>
                  <a:pt x="2709" y="1268"/>
                  <a:pt x="2707" y="1269"/>
                </a:cubicBezTo>
                <a:cubicBezTo>
                  <a:pt x="2706" y="1270"/>
                  <a:pt x="2701" y="1272"/>
                  <a:pt x="2702" y="1273"/>
                </a:cubicBezTo>
                <a:cubicBezTo>
                  <a:pt x="2704" y="1275"/>
                  <a:pt x="2710" y="1273"/>
                  <a:pt x="2711" y="1272"/>
                </a:cubicBezTo>
                <a:cubicBezTo>
                  <a:pt x="2713" y="1271"/>
                  <a:pt x="2713" y="1268"/>
                  <a:pt x="2715" y="1266"/>
                </a:cubicBezTo>
                <a:cubicBezTo>
                  <a:pt x="2716" y="1264"/>
                  <a:pt x="2719" y="1262"/>
                  <a:pt x="2719" y="1262"/>
                </a:cubicBezTo>
                <a:cubicBezTo>
                  <a:pt x="2719" y="1262"/>
                  <a:pt x="2720" y="1268"/>
                  <a:pt x="2720" y="1269"/>
                </a:cubicBezTo>
                <a:cubicBezTo>
                  <a:pt x="2720" y="1270"/>
                  <a:pt x="2718" y="1272"/>
                  <a:pt x="2716" y="1273"/>
                </a:cubicBezTo>
                <a:cubicBezTo>
                  <a:pt x="2714" y="1274"/>
                  <a:pt x="2714" y="1276"/>
                  <a:pt x="2715" y="1277"/>
                </a:cubicBezTo>
                <a:cubicBezTo>
                  <a:pt x="2717" y="1278"/>
                  <a:pt x="2723" y="1278"/>
                  <a:pt x="2723" y="1278"/>
                </a:cubicBezTo>
                <a:cubicBezTo>
                  <a:pt x="2724" y="1280"/>
                  <a:pt x="2724" y="1280"/>
                  <a:pt x="2724" y="1280"/>
                </a:cubicBezTo>
                <a:cubicBezTo>
                  <a:pt x="2721" y="1283"/>
                  <a:pt x="2721" y="1283"/>
                  <a:pt x="2721" y="1283"/>
                </a:cubicBezTo>
                <a:cubicBezTo>
                  <a:pt x="2721" y="1283"/>
                  <a:pt x="2724" y="1289"/>
                  <a:pt x="2725" y="1291"/>
                </a:cubicBezTo>
                <a:cubicBezTo>
                  <a:pt x="2725" y="1293"/>
                  <a:pt x="2720" y="1296"/>
                  <a:pt x="2719" y="1299"/>
                </a:cubicBezTo>
                <a:cubicBezTo>
                  <a:pt x="2716" y="1301"/>
                  <a:pt x="2723" y="1306"/>
                  <a:pt x="2725" y="1306"/>
                </a:cubicBezTo>
                <a:cubicBezTo>
                  <a:pt x="2726" y="1307"/>
                  <a:pt x="2729" y="1311"/>
                  <a:pt x="2732" y="1312"/>
                </a:cubicBezTo>
                <a:cubicBezTo>
                  <a:pt x="2735" y="1313"/>
                  <a:pt x="2738" y="1311"/>
                  <a:pt x="2741" y="1312"/>
                </a:cubicBezTo>
                <a:cubicBezTo>
                  <a:pt x="2743" y="1313"/>
                  <a:pt x="2744" y="1316"/>
                  <a:pt x="2748" y="1317"/>
                </a:cubicBezTo>
                <a:cubicBezTo>
                  <a:pt x="2752" y="1318"/>
                  <a:pt x="2762" y="1311"/>
                  <a:pt x="2762" y="1311"/>
                </a:cubicBezTo>
                <a:cubicBezTo>
                  <a:pt x="2762" y="1311"/>
                  <a:pt x="2761" y="1308"/>
                  <a:pt x="2764" y="1306"/>
                </a:cubicBezTo>
                <a:cubicBezTo>
                  <a:pt x="2767" y="1304"/>
                  <a:pt x="2767" y="1311"/>
                  <a:pt x="2767" y="1311"/>
                </a:cubicBezTo>
                <a:cubicBezTo>
                  <a:pt x="2769" y="1311"/>
                  <a:pt x="2769" y="1311"/>
                  <a:pt x="2769" y="1311"/>
                </a:cubicBezTo>
                <a:cubicBezTo>
                  <a:pt x="2767" y="1315"/>
                  <a:pt x="2767" y="1315"/>
                  <a:pt x="2767" y="1315"/>
                </a:cubicBezTo>
                <a:cubicBezTo>
                  <a:pt x="2770" y="1315"/>
                  <a:pt x="2770" y="1315"/>
                  <a:pt x="2770" y="1315"/>
                </a:cubicBezTo>
                <a:cubicBezTo>
                  <a:pt x="2770" y="1315"/>
                  <a:pt x="2770" y="1317"/>
                  <a:pt x="2771" y="1319"/>
                </a:cubicBezTo>
                <a:cubicBezTo>
                  <a:pt x="2773" y="1321"/>
                  <a:pt x="2774" y="1320"/>
                  <a:pt x="2774" y="1320"/>
                </a:cubicBezTo>
                <a:cubicBezTo>
                  <a:pt x="2775" y="1318"/>
                  <a:pt x="2775" y="1318"/>
                  <a:pt x="2775" y="1318"/>
                </a:cubicBezTo>
                <a:cubicBezTo>
                  <a:pt x="2775" y="1318"/>
                  <a:pt x="2779" y="1317"/>
                  <a:pt x="2781" y="1315"/>
                </a:cubicBezTo>
                <a:cubicBezTo>
                  <a:pt x="2784" y="1314"/>
                  <a:pt x="2793" y="1307"/>
                  <a:pt x="2793" y="1307"/>
                </a:cubicBezTo>
                <a:cubicBezTo>
                  <a:pt x="2792" y="1305"/>
                  <a:pt x="2792" y="1305"/>
                  <a:pt x="2792" y="1305"/>
                </a:cubicBezTo>
                <a:cubicBezTo>
                  <a:pt x="2797" y="1304"/>
                  <a:pt x="2797" y="1304"/>
                  <a:pt x="2797" y="1304"/>
                </a:cubicBezTo>
                <a:cubicBezTo>
                  <a:pt x="2799" y="1306"/>
                  <a:pt x="2799" y="1306"/>
                  <a:pt x="2799" y="1306"/>
                </a:cubicBezTo>
                <a:cubicBezTo>
                  <a:pt x="2799" y="1306"/>
                  <a:pt x="2807" y="1305"/>
                  <a:pt x="2812" y="1303"/>
                </a:cubicBezTo>
                <a:cubicBezTo>
                  <a:pt x="2816" y="1301"/>
                  <a:pt x="2817" y="1292"/>
                  <a:pt x="2817" y="1289"/>
                </a:cubicBezTo>
                <a:cubicBezTo>
                  <a:pt x="2818" y="1287"/>
                  <a:pt x="2824" y="1284"/>
                  <a:pt x="2824" y="1284"/>
                </a:cubicBezTo>
                <a:cubicBezTo>
                  <a:pt x="2824" y="1281"/>
                  <a:pt x="2824" y="1281"/>
                  <a:pt x="2824" y="1281"/>
                </a:cubicBezTo>
                <a:cubicBezTo>
                  <a:pt x="2824" y="1281"/>
                  <a:pt x="2827" y="1279"/>
                  <a:pt x="2828" y="1277"/>
                </a:cubicBezTo>
                <a:cubicBezTo>
                  <a:pt x="2830" y="1275"/>
                  <a:pt x="2832" y="1272"/>
                  <a:pt x="2832" y="1272"/>
                </a:cubicBezTo>
                <a:cubicBezTo>
                  <a:pt x="2832" y="1272"/>
                  <a:pt x="2833" y="1266"/>
                  <a:pt x="2834" y="1264"/>
                </a:cubicBezTo>
                <a:cubicBezTo>
                  <a:pt x="2836" y="1262"/>
                  <a:pt x="2843" y="1254"/>
                  <a:pt x="2846" y="1253"/>
                </a:cubicBezTo>
                <a:cubicBezTo>
                  <a:pt x="2848" y="1252"/>
                  <a:pt x="2848" y="1245"/>
                  <a:pt x="2848" y="1245"/>
                </a:cubicBezTo>
                <a:cubicBezTo>
                  <a:pt x="2848" y="1245"/>
                  <a:pt x="2853" y="1246"/>
                  <a:pt x="2855" y="1244"/>
                </a:cubicBezTo>
                <a:cubicBezTo>
                  <a:pt x="2857" y="1242"/>
                  <a:pt x="2867" y="1230"/>
                  <a:pt x="2867" y="1228"/>
                </a:cubicBezTo>
                <a:cubicBezTo>
                  <a:pt x="2868" y="1227"/>
                  <a:pt x="2868" y="1220"/>
                  <a:pt x="2870" y="1219"/>
                </a:cubicBezTo>
                <a:cubicBezTo>
                  <a:pt x="2872" y="1218"/>
                  <a:pt x="2881" y="1200"/>
                  <a:pt x="2883" y="1196"/>
                </a:cubicBezTo>
                <a:cubicBezTo>
                  <a:pt x="2885" y="1192"/>
                  <a:pt x="2883" y="1190"/>
                  <a:pt x="2882" y="1187"/>
                </a:cubicBezTo>
                <a:cubicBezTo>
                  <a:pt x="2882" y="1184"/>
                  <a:pt x="2884" y="1180"/>
                  <a:pt x="2886" y="1177"/>
                </a:cubicBezTo>
                <a:cubicBezTo>
                  <a:pt x="2888" y="1174"/>
                  <a:pt x="2886" y="1161"/>
                  <a:pt x="2886" y="1161"/>
                </a:cubicBezTo>
                <a:cubicBezTo>
                  <a:pt x="2882" y="1159"/>
                  <a:pt x="2882" y="1159"/>
                  <a:pt x="2882" y="1159"/>
                </a:cubicBezTo>
                <a:cubicBezTo>
                  <a:pt x="2882" y="1159"/>
                  <a:pt x="2882" y="1159"/>
                  <a:pt x="2882" y="1159"/>
                </a:cubicBezTo>
                <a:close/>
                <a:moveTo>
                  <a:pt x="2509" y="971"/>
                </a:moveTo>
                <a:cubicBezTo>
                  <a:pt x="2511" y="973"/>
                  <a:pt x="2518" y="974"/>
                  <a:pt x="2521" y="975"/>
                </a:cubicBezTo>
                <a:cubicBezTo>
                  <a:pt x="2524" y="975"/>
                  <a:pt x="2525" y="974"/>
                  <a:pt x="2530" y="975"/>
                </a:cubicBezTo>
                <a:cubicBezTo>
                  <a:pt x="2534" y="975"/>
                  <a:pt x="2538" y="981"/>
                  <a:pt x="2540" y="982"/>
                </a:cubicBezTo>
                <a:cubicBezTo>
                  <a:pt x="2542" y="983"/>
                  <a:pt x="2544" y="981"/>
                  <a:pt x="2544" y="981"/>
                </a:cubicBezTo>
                <a:cubicBezTo>
                  <a:pt x="2544" y="981"/>
                  <a:pt x="2547" y="983"/>
                  <a:pt x="2547" y="981"/>
                </a:cubicBezTo>
                <a:cubicBezTo>
                  <a:pt x="2547" y="979"/>
                  <a:pt x="2545" y="976"/>
                  <a:pt x="2545" y="976"/>
                </a:cubicBezTo>
                <a:cubicBezTo>
                  <a:pt x="2545" y="976"/>
                  <a:pt x="2547" y="975"/>
                  <a:pt x="2547" y="971"/>
                </a:cubicBezTo>
                <a:cubicBezTo>
                  <a:pt x="2547" y="967"/>
                  <a:pt x="2542" y="967"/>
                  <a:pt x="2539" y="966"/>
                </a:cubicBezTo>
                <a:cubicBezTo>
                  <a:pt x="2536" y="965"/>
                  <a:pt x="2536" y="972"/>
                  <a:pt x="2536" y="972"/>
                </a:cubicBezTo>
                <a:cubicBezTo>
                  <a:pt x="2531" y="968"/>
                  <a:pt x="2531" y="968"/>
                  <a:pt x="2531" y="968"/>
                </a:cubicBezTo>
                <a:cubicBezTo>
                  <a:pt x="2531" y="968"/>
                  <a:pt x="2532" y="965"/>
                  <a:pt x="2532" y="960"/>
                </a:cubicBezTo>
                <a:cubicBezTo>
                  <a:pt x="2532" y="955"/>
                  <a:pt x="2522" y="957"/>
                  <a:pt x="2522" y="957"/>
                </a:cubicBezTo>
                <a:cubicBezTo>
                  <a:pt x="2517" y="954"/>
                  <a:pt x="2517" y="954"/>
                  <a:pt x="2517" y="954"/>
                </a:cubicBezTo>
                <a:cubicBezTo>
                  <a:pt x="2517" y="951"/>
                  <a:pt x="2517" y="951"/>
                  <a:pt x="2517" y="951"/>
                </a:cubicBezTo>
                <a:cubicBezTo>
                  <a:pt x="2511" y="951"/>
                  <a:pt x="2511" y="951"/>
                  <a:pt x="2511" y="951"/>
                </a:cubicBezTo>
                <a:cubicBezTo>
                  <a:pt x="2511" y="951"/>
                  <a:pt x="2510" y="955"/>
                  <a:pt x="2510" y="956"/>
                </a:cubicBezTo>
                <a:cubicBezTo>
                  <a:pt x="2510" y="957"/>
                  <a:pt x="2503" y="955"/>
                  <a:pt x="2500" y="954"/>
                </a:cubicBezTo>
                <a:cubicBezTo>
                  <a:pt x="2496" y="953"/>
                  <a:pt x="2490" y="954"/>
                  <a:pt x="2490" y="954"/>
                </a:cubicBezTo>
                <a:cubicBezTo>
                  <a:pt x="2490" y="954"/>
                  <a:pt x="2487" y="949"/>
                  <a:pt x="2485" y="947"/>
                </a:cubicBezTo>
                <a:cubicBezTo>
                  <a:pt x="2483" y="945"/>
                  <a:pt x="2480" y="947"/>
                  <a:pt x="2480" y="947"/>
                </a:cubicBezTo>
                <a:cubicBezTo>
                  <a:pt x="2480" y="947"/>
                  <a:pt x="2475" y="944"/>
                  <a:pt x="2473" y="944"/>
                </a:cubicBezTo>
                <a:cubicBezTo>
                  <a:pt x="2472" y="944"/>
                  <a:pt x="2467" y="944"/>
                  <a:pt x="2467" y="944"/>
                </a:cubicBezTo>
                <a:cubicBezTo>
                  <a:pt x="2467" y="944"/>
                  <a:pt x="2464" y="942"/>
                  <a:pt x="2462" y="943"/>
                </a:cubicBezTo>
                <a:cubicBezTo>
                  <a:pt x="2459" y="944"/>
                  <a:pt x="2459" y="949"/>
                  <a:pt x="2457" y="950"/>
                </a:cubicBezTo>
                <a:cubicBezTo>
                  <a:pt x="2456" y="951"/>
                  <a:pt x="2453" y="952"/>
                  <a:pt x="2453" y="955"/>
                </a:cubicBezTo>
                <a:cubicBezTo>
                  <a:pt x="2458" y="954"/>
                  <a:pt x="2458" y="954"/>
                  <a:pt x="2458" y="954"/>
                </a:cubicBezTo>
                <a:cubicBezTo>
                  <a:pt x="2465" y="954"/>
                  <a:pt x="2465" y="954"/>
                  <a:pt x="2465" y="954"/>
                </a:cubicBezTo>
                <a:cubicBezTo>
                  <a:pt x="2465" y="954"/>
                  <a:pt x="2460" y="957"/>
                  <a:pt x="2462" y="959"/>
                </a:cubicBezTo>
                <a:cubicBezTo>
                  <a:pt x="2464" y="961"/>
                  <a:pt x="2471" y="958"/>
                  <a:pt x="2471" y="958"/>
                </a:cubicBezTo>
                <a:cubicBezTo>
                  <a:pt x="2471" y="958"/>
                  <a:pt x="2482" y="963"/>
                  <a:pt x="2485" y="964"/>
                </a:cubicBezTo>
                <a:cubicBezTo>
                  <a:pt x="2488" y="965"/>
                  <a:pt x="2498" y="965"/>
                  <a:pt x="2502" y="965"/>
                </a:cubicBezTo>
                <a:cubicBezTo>
                  <a:pt x="2506" y="965"/>
                  <a:pt x="2507" y="969"/>
                  <a:pt x="2509" y="971"/>
                </a:cubicBezTo>
                <a:close/>
                <a:moveTo>
                  <a:pt x="2697" y="1278"/>
                </a:moveTo>
                <a:cubicBezTo>
                  <a:pt x="2694" y="1278"/>
                  <a:pt x="2690" y="1279"/>
                  <a:pt x="2692" y="1281"/>
                </a:cubicBezTo>
                <a:cubicBezTo>
                  <a:pt x="2693" y="1282"/>
                  <a:pt x="2694" y="1283"/>
                  <a:pt x="2694" y="1283"/>
                </a:cubicBezTo>
                <a:cubicBezTo>
                  <a:pt x="2697" y="1283"/>
                  <a:pt x="2700" y="1282"/>
                  <a:pt x="2700" y="1282"/>
                </a:cubicBezTo>
                <a:cubicBezTo>
                  <a:pt x="2702" y="1282"/>
                  <a:pt x="2702" y="1282"/>
                  <a:pt x="2702" y="1282"/>
                </a:cubicBezTo>
                <a:cubicBezTo>
                  <a:pt x="2702" y="1281"/>
                  <a:pt x="2702" y="1281"/>
                  <a:pt x="2702" y="1281"/>
                </a:cubicBezTo>
                <a:cubicBezTo>
                  <a:pt x="2705" y="1281"/>
                  <a:pt x="2705" y="1281"/>
                  <a:pt x="2705" y="1281"/>
                </a:cubicBezTo>
                <a:cubicBezTo>
                  <a:pt x="2706" y="1280"/>
                  <a:pt x="2706" y="1280"/>
                  <a:pt x="2706" y="1280"/>
                </a:cubicBezTo>
                <a:cubicBezTo>
                  <a:pt x="2702" y="1279"/>
                  <a:pt x="2702" y="1279"/>
                  <a:pt x="2702" y="1279"/>
                </a:cubicBezTo>
                <a:cubicBezTo>
                  <a:pt x="2702" y="1279"/>
                  <a:pt x="2700" y="1278"/>
                  <a:pt x="2697" y="1278"/>
                </a:cubicBezTo>
                <a:close/>
                <a:moveTo>
                  <a:pt x="2403" y="904"/>
                </a:moveTo>
                <a:cubicBezTo>
                  <a:pt x="2405" y="904"/>
                  <a:pt x="2402" y="899"/>
                  <a:pt x="2400" y="900"/>
                </a:cubicBezTo>
                <a:cubicBezTo>
                  <a:pt x="2399" y="901"/>
                  <a:pt x="2401" y="904"/>
                  <a:pt x="2403" y="904"/>
                </a:cubicBezTo>
                <a:close/>
                <a:moveTo>
                  <a:pt x="2773" y="1337"/>
                </a:moveTo>
                <a:cubicBezTo>
                  <a:pt x="2773" y="1338"/>
                  <a:pt x="2778" y="1336"/>
                  <a:pt x="2776" y="1334"/>
                </a:cubicBezTo>
                <a:cubicBezTo>
                  <a:pt x="2774" y="1333"/>
                  <a:pt x="2773" y="1337"/>
                  <a:pt x="2773" y="1337"/>
                </a:cubicBezTo>
                <a:close/>
                <a:moveTo>
                  <a:pt x="2390" y="875"/>
                </a:moveTo>
                <a:cubicBezTo>
                  <a:pt x="2387" y="878"/>
                  <a:pt x="2387" y="878"/>
                  <a:pt x="2387" y="878"/>
                </a:cubicBezTo>
                <a:cubicBezTo>
                  <a:pt x="2389" y="882"/>
                  <a:pt x="2389" y="882"/>
                  <a:pt x="2389" y="882"/>
                </a:cubicBezTo>
                <a:cubicBezTo>
                  <a:pt x="2389" y="882"/>
                  <a:pt x="2387" y="886"/>
                  <a:pt x="2389" y="885"/>
                </a:cubicBezTo>
                <a:cubicBezTo>
                  <a:pt x="2390" y="884"/>
                  <a:pt x="2390" y="879"/>
                  <a:pt x="2390" y="879"/>
                </a:cubicBezTo>
                <a:cubicBezTo>
                  <a:pt x="2391" y="877"/>
                  <a:pt x="2391" y="877"/>
                  <a:pt x="2391" y="877"/>
                </a:cubicBezTo>
                <a:cubicBezTo>
                  <a:pt x="2390" y="875"/>
                  <a:pt x="2390" y="875"/>
                  <a:pt x="2390" y="875"/>
                </a:cubicBezTo>
                <a:cubicBezTo>
                  <a:pt x="2390" y="875"/>
                  <a:pt x="2390" y="875"/>
                  <a:pt x="2390" y="875"/>
                </a:cubicBezTo>
                <a:close/>
                <a:moveTo>
                  <a:pt x="2898" y="994"/>
                </a:moveTo>
                <a:cubicBezTo>
                  <a:pt x="2898" y="991"/>
                  <a:pt x="2898" y="991"/>
                  <a:pt x="2898" y="991"/>
                </a:cubicBezTo>
                <a:cubicBezTo>
                  <a:pt x="2893" y="988"/>
                  <a:pt x="2893" y="988"/>
                  <a:pt x="2893" y="988"/>
                </a:cubicBezTo>
                <a:cubicBezTo>
                  <a:pt x="2895" y="986"/>
                  <a:pt x="2895" y="986"/>
                  <a:pt x="2895" y="986"/>
                </a:cubicBezTo>
                <a:cubicBezTo>
                  <a:pt x="2895" y="986"/>
                  <a:pt x="2890" y="985"/>
                  <a:pt x="2889" y="984"/>
                </a:cubicBezTo>
                <a:cubicBezTo>
                  <a:pt x="2888" y="983"/>
                  <a:pt x="2889" y="980"/>
                  <a:pt x="2889" y="978"/>
                </a:cubicBezTo>
                <a:cubicBezTo>
                  <a:pt x="2889" y="976"/>
                  <a:pt x="2882" y="979"/>
                  <a:pt x="2882" y="979"/>
                </a:cubicBezTo>
                <a:cubicBezTo>
                  <a:pt x="2882" y="975"/>
                  <a:pt x="2882" y="975"/>
                  <a:pt x="2882" y="975"/>
                </a:cubicBezTo>
                <a:cubicBezTo>
                  <a:pt x="2879" y="973"/>
                  <a:pt x="2879" y="973"/>
                  <a:pt x="2879" y="973"/>
                </a:cubicBezTo>
                <a:cubicBezTo>
                  <a:pt x="2879" y="967"/>
                  <a:pt x="2879" y="967"/>
                  <a:pt x="2879" y="967"/>
                </a:cubicBezTo>
                <a:cubicBezTo>
                  <a:pt x="2871" y="962"/>
                  <a:pt x="2871" y="962"/>
                  <a:pt x="2871" y="962"/>
                </a:cubicBezTo>
                <a:cubicBezTo>
                  <a:pt x="2867" y="954"/>
                  <a:pt x="2867" y="954"/>
                  <a:pt x="2867" y="954"/>
                </a:cubicBezTo>
                <a:cubicBezTo>
                  <a:pt x="2867" y="954"/>
                  <a:pt x="2875" y="951"/>
                  <a:pt x="2875" y="948"/>
                </a:cubicBezTo>
                <a:cubicBezTo>
                  <a:pt x="2875" y="944"/>
                  <a:pt x="2868" y="943"/>
                  <a:pt x="2868" y="943"/>
                </a:cubicBezTo>
                <a:cubicBezTo>
                  <a:pt x="2868" y="942"/>
                  <a:pt x="2857" y="939"/>
                  <a:pt x="2857" y="939"/>
                </a:cubicBezTo>
                <a:cubicBezTo>
                  <a:pt x="2857" y="939"/>
                  <a:pt x="2857" y="936"/>
                  <a:pt x="2857" y="932"/>
                </a:cubicBezTo>
                <a:cubicBezTo>
                  <a:pt x="2858" y="928"/>
                  <a:pt x="2852" y="927"/>
                  <a:pt x="2852" y="927"/>
                </a:cubicBezTo>
                <a:cubicBezTo>
                  <a:pt x="2846" y="920"/>
                  <a:pt x="2846" y="920"/>
                  <a:pt x="2846" y="920"/>
                </a:cubicBezTo>
                <a:cubicBezTo>
                  <a:pt x="2840" y="920"/>
                  <a:pt x="2840" y="920"/>
                  <a:pt x="2840" y="920"/>
                </a:cubicBezTo>
                <a:cubicBezTo>
                  <a:pt x="2835" y="916"/>
                  <a:pt x="2835" y="916"/>
                  <a:pt x="2835" y="916"/>
                </a:cubicBezTo>
                <a:cubicBezTo>
                  <a:pt x="2831" y="915"/>
                  <a:pt x="2831" y="915"/>
                  <a:pt x="2831" y="915"/>
                </a:cubicBezTo>
                <a:cubicBezTo>
                  <a:pt x="2814" y="907"/>
                  <a:pt x="2814" y="907"/>
                  <a:pt x="2814" y="907"/>
                </a:cubicBezTo>
                <a:cubicBezTo>
                  <a:pt x="2811" y="908"/>
                  <a:pt x="2811" y="908"/>
                  <a:pt x="2811" y="908"/>
                </a:cubicBezTo>
                <a:cubicBezTo>
                  <a:pt x="2805" y="904"/>
                  <a:pt x="2805" y="904"/>
                  <a:pt x="2805" y="904"/>
                </a:cubicBezTo>
                <a:cubicBezTo>
                  <a:pt x="2805" y="904"/>
                  <a:pt x="2801" y="904"/>
                  <a:pt x="2799" y="904"/>
                </a:cubicBezTo>
                <a:cubicBezTo>
                  <a:pt x="2797" y="904"/>
                  <a:pt x="2783" y="895"/>
                  <a:pt x="2780" y="895"/>
                </a:cubicBezTo>
                <a:cubicBezTo>
                  <a:pt x="2777" y="894"/>
                  <a:pt x="2773" y="898"/>
                  <a:pt x="2773" y="898"/>
                </a:cubicBezTo>
                <a:cubicBezTo>
                  <a:pt x="2775" y="902"/>
                  <a:pt x="2775" y="902"/>
                  <a:pt x="2775" y="902"/>
                </a:cubicBezTo>
                <a:cubicBezTo>
                  <a:pt x="2764" y="903"/>
                  <a:pt x="2764" y="903"/>
                  <a:pt x="2764" y="903"/>
                </a:cubicBezTo>
                <a:cubicBezTo>
                  <a:pt x="2765" y="906"/>
                  <a:pt x="2765" y="906"/>
                  <a:pt x="2765" y="906"/>
                </a:cubicBezTo>
                <a:cubicBezTo>
                  <a:pt x="2765" y="906"/>
                  <a:pt x="2763" y="913"/>
                  <a:pt x="2755" y="914"/>
                </a:cubicBezTo>
                <a:cubicBezTo>
                  <a:pt x="2747" y="916"/>
                  <a:pt x="2749" y="906"/>
                  <a:pt x="2748" y="906"/>
                </a:cubicBezTo>
                <a:cubicBezTo>
                  <a:pt x="2747" y="906"/>
                  <a:pt x="2746" y="910"/>
                  <a:pt x="2746" y="910"/>
                </a:cubicBezTo>
                <a:cubicBezTo>
                  <a:pt x="2746" y="910"/>
                  <a:pt x="2744" y="907"/>
                  <a:pt x="2744" y="905"/>
                </a:cubicBezTo>
                <a:cubicBezTo>
                  <a:pt x="2744" y="903"/>
                  <a:pt x="2744" y="897"/>
                  <a:pt x="2744" y="894"/>
                </a:cubicBezTo>
                <a:cubicBezTo>
                  <a:pt x="2743" y="890"/>
                  <a:pt x="2741" y="886"/>
                  <a:pt x="2741" y="886"/>
                </a:cubicBezTo>
                <a:cubicBezTo>
                  <a:pt x="2735" y="886"/>
                  <a:pt x="2735" y="886"/>
                  <a:pt x="2735" y="886"/>
                </a:cubicBezTo>
                <a:cubicBezTo>
                  <a:pt x="2735" y="886"/>
                  <a:pt x="2731" y="881"/>
                  <a:pt x="2727" y="881"/>
                </a:cubicBezTo>
                <a:cubicBezTo>
                  <a:pt x="2724" y="881"/>
                  <a:pt x="2720" y="886"/>
                  <a:pt x="2720" y="886"/>
                </a:cubicBezTo>
                <a:cubicBezTo>
                  <a:pt x="2716" y="887"/>
                  <a:pt x="2716" y="887"/>
                  <a:pt x="2716" y="887"/>
                </a:cubicBezTo>
                <a:cubicBezTo>
                  <a:pt x="2715" y="890"/>
                  <a:pt x="2715" y="890"/>
                  <a:pt x="2715" y="890"/>
                </a:cubicBezTo>
                <a:cubicBezTo>
                  <a:pt x="2713" y="891"/>
                  <a:pt x="2713" y="891"/>
                  <a:pt x="2713" y="891"/>
                </a:cubicBezTo>
                <a:cubicBezTo>
                  <a:pt x="2713" y="889"/>
                  <a:pt x="2713" y="889"/>
                  <a:pt x="2713" y="889"/>
                </a:cubicBezTo>
                <a:cubicBezTo>
                  <a:pt x="2713" y="889"/>
                  <a:pt x="2711" y="887"/>
                  <a:pt x="2709" y="888"/>
                </a:cubicBezTo>
                <a:cubicBezTo>
                  <a:pt x="2709" y="888"/>
                  <a:pt x="2709" y="890"/>
                  <a:pt x="2711" y="893"/>
                </a:cubicBezTo>
                <a:cubicBezTo>
                  <a:pt x="2713" y="896"/>
                  <a:pt x="2717" y="894"/>
                  <a:pt x="2721" y="895"/>
                </a:cubicBezTo>
                <a:cubicBezTo>
                  <a:pt x="2724" y="896"/>
                  <a:pt x="2721" y="898"/>
                  <a:pt x="2723" y="901"/>
                </a:cubicBezTo>
                <a:cubicBezTo>
                  <a:pt x="2725" y="904"/>
                  <a:pt x="2731" y="902"/>
                  <a:pt x="2736" y="902"/>
                </a:cubicBezTo>
                <a:cubicBezTo>
                  <a:pt x="2740" y="902"/>
                  <a:pt x="2741" y="903"/>
                  <a:pt x="2741" y="905"/>
                </a:cubicBezTo>
                <a:cubicBezTo>
                  <a:pt x="2741" y="907"/>
                  <a:pt x="2735" y="905"/>
                  <a:pt x="2734" y="905"/>
                </a:cubicBezTo>
                <a:cubicBezTo>
                  <a:pt x="2732" y="906"/>
                  <a:pt x="2728" y="908"/>
                  <a:pt x="2728" y="908"/>
                </a:cubicBezTo>
                <a:cubicBezTo>
                  <a:pt x="2728" y="908"/>
                  <a:pt x="2722" y="908"/>
                  <a:pt x="2721" y="909"/>
                </a:cubicBezTo>
                <a:cubicBezTo>
                  <a:pt x="2720" y="911"/>
                  <a:pt x="2726" y="912"/>
                  <a:pt x="2727" y="913"/>
                </a:cubicBezTo>
                <a:cubicBezTo>
                  <a:pt x="2729" y="914"/>
                  <a:pt x="2731" y="917"/>
                  <a:pt x="2731" y="917"/>
                </a:cubicBezTo>
                <a:cubicBezTo>
                  <a:pt x="2731" y="917"/>
                  <a:pt x="2727" y="921"/>
                  <a:pt x="2729" y="924"/>
                </a:cubicBezTo>
                <a:cubicBezTo>
                  <a:pt x="2731" y="927"/>
                  <a:pt x="2735" y="919"/>
                  <a:pt x="2735" y="918"/>
                </a:cubicBezTo>
                <a:cubicBezTo>
                  <a:pt x="2735" y="918"/>
                  <a:pt x="2739" y="912"/>
                  <a:pt x="2739" y="912"/>
                </a:cubicBezTo>
                <a:cubicBezTo>
                  <a:pt x="2739" y="917"/>
                  <a:pt x="2739" y="917"/>
                  <a:pt x="2739" y="917"/>
                </a:cubicBezTo>
                <a:cubicBezTo>
                  <a:pt x="2739" y="917"/>
                  <a:pt x="2742" y="920"/>
                  <a:pt x="2744" y="921"/>
                </a:cubicBezTo>
                <a:cubicBezTo>
                  <a:pt x="2746" y="924"/>
                  <a:pt x="2750" y="922"/>
                  <a:pt x="2750" y="922"/>
                </a:cubicBezTo>
                <a:cubicBezTo>
                  <a:pt x="2748" y="924"/>
                  <a:pt x="2748" y="924"/>
                  <a:pt x="2748" y="924"/>
                </a:cubicBezTo>
                <a:cubicBezTo>
                  <a:pt x="2753" y="928"/>
                  <a:pt x="2753" y="928"/>
                  <a:pt x="2753" y="928"/>
                </a:cubicBezTo>
                <a:cubicBezTo>
                  <a:pt x="2761" y="928"/>
                  <a:pt x="2761" y="928"/>
                  <a:pt x="2761" y="928"/>
                </a:cubicBezTo>
                <a:cubicBezTo>
                  <a:pt x="2766" y="932"/>
                  <a:pt x="2766" y="932"/>
                  <a:pt x="2766" y="932"/>
                </a:cubicBezTo>
                <a:cubicBezTo>
                  <a:pt x="2766" y="932"/>
                  <a:pt x="2774" y="935"/>
                  <a:pt x="2779" y="938"/>
                </a:cubicBezTo>
                <a:cubicBezTo>
                  <a:pt x="2784" y="942"/>
                  <a:pt x="2783" y="943"/>
                  <a:pt x="2783" y="947"/>
                </a:cubicBezTo>
                <a:cubicBezTo>
                  <a:pt x="2784" y="951"/>
                  <a:pt x="2788" y="953"/>
                  <a:pt x="2788" y="953"/>
                </a:cubicBezTo>
                <a:cubicBezTo>
                  <a:pt x="2788" y="953"/>
                  <a:pt x="2785" y="954"/>
                  <a:pt x="2785" y="956"/>
                </a:cubicBezTo>
                <a:cubicBezTo>
                  <a:pt x="2785" y="957"/>
                  <a:pt x="2790" y="958"/>
                  <a:pt x="2790" y="958"/>
                </a:cubicBezTo>
                <a:cubicBezTo>
                  <a:pt x="2787" y="959"/>
                  <a:pt x="2787" y="959"/>
                  <a:pt x="2787" y="959"/>
                </a:cubicBezTo>
                <a:cubicBezTo>
                  <a:pt x="2787" y="961"/>
                  <a:pt x="2787" y="961"/>
                  <a:pt x="2787" y="961"/>
                </a:cubicBezTo>
                <a:cubicBezTo>
                  <a:pt x="2788" y="961"/>
                  <a:pt x="2788" y="961"/>
                  <a:pt x="2788" y="961"/>
                </a:cubicBezTo>
                <a:cubicBezTo>
                  <a:pt x="2789" y="966"/>
                  <a:pt x="2789" y="966"/>
                  <a:pt x="2789" y="966"/>
                </a:cubicBezTo>
                <a:cubicBezTo>
                  <a:pt x="2787" y="970"/>
                  <a:pt x="2787" y="970"/>
                  <a:pt x="2787" y="970"/>
                </a:cubicBezTo>
                <a:cubicBezTo>
                  <a:pt x="2788" y="970"/>
                  <a:pt x="2789" y="970"/>
                  <a:pt x="2790" y="970"/>
                </a:cubicBezTo>
                <a:cubicBezTo>
                  <a:pt x="2791" y="970"/>
                  <a:pt x="2798" y="967"/>
                  <a:pt x="2798" y="967"/>
                </a:cubicBezTo>
                <a:cubicBezTo>
                  <a:pt x="2798" y="971"/>
                  <a:pt x="2798" y="971"/>
                  <a:pt x="2798" y="971"/>
                </a:cubicBezTo>
                <a:cubicBezTo>
                  <a:pt x="2798" y="971"/>
                  <a:pt x="2804" y="978"/>
                  <a:pt x="2806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11" y="981"/>
                  <a:pt x="2820" y="979"/>
                  <a:pt x="2820" y="979"/>
                </a:cubicBezTo>
                <a:cubicBezTo>
                  <a:pt x="2822" y="982"/>
                  <a:pt x="2822" y="982"/>
                  <a:pt x="2822" y="982"/>
                </a:cubicBezTo>
                <a:cubicBezTo>
                  <a:pt x="2822" y="982"/>
                  <a:pt x="2828" y="980"/>
                  <a:pt x="2830" y="978"/>
                </a:cubicBezTo>
                <a:cubicBezTo>
                  <a:pt x="2833" y="975"/>
                  <a:pt x="2819" y="969"/>
                  <a:pt x="2819" y="969"/>
                </a:cubicBezTo>
                <a:cubicBezTo>
                  <a:pt x="2819" y="969"/>
                  <a:pt x="2830" y="971"/>
                  <a:pt x="2833" y="970"/>
                </a:cubicBezTo>
                <a:cubicBezTo>
                  <a:pt x="2835" y="970"/>
                  <a:pt x="2831" y="965"/>
                  <a:pt x="2831" y="965"/>
                </a:cubicBezTo>
                <a:cubicBezTo>
                  <a:pt x="2831" y="965"/>
                  <a:pt x="2834" y="968"/>
                  <a:pt x="2835" y="967"/>
                </a:cubicBezTo>
                <a:cubicBezTo>
                  <a:pt x="2837" y="967"/>
                  <a:pt x="2834" y="962"/>
                  <a:pt x="2834" y="962"/>
                </a:cubicBezTo>
                <a:cubicBezTo>
                  <a:pt x="2834" y="962"/>
                  <a:pt x="2837" y="964"/>
                  <a:pt x="2838" y="964"/>
                </a:cubicBezTo>
                <a:cubicBezTo>
                  <a:pt x="2839" y="965"/>
                  <a:pt x="2841" y="962"/>
                  <a:pt x="2843" y="962"/>
                </a:cubicBezTo>
                <a:cubicBezTo>
                  <a:pt x="2844" y="961"/>
                  <a:pt x="2846" y="965"/>
                  <a:pt x="2848" y="966"/>
                </a:cubicBezTo>
                <a:cubicBezTo>
                  <a:pt x="2849" y="967"/>
                  <a:pt x="2854" y="966"/>
                  <a:pt x="2858" y="968"/>
                </a:cubicBezTo>
                <a:cubicBezTo>
                  <a:pt x="2862" y="970"/>
                  <a:pt x="2860" y="975"/>
                  <a:pt x="2862" y="978"/>
                </a:cubicBezTo>
                <a:cubicBezTo>
                  <a:pt x="2863" y="980"/>
                  <a:pt x="2866" y="979"/>
                  <a:pt x="2867" y="980"/>
                </a:cubicBezTo>
                <a:cubicBezTo>
                  <a:pt x="2868" y="981"/>
                  <a:pt x="2870" y="990"/>
                  <a:pt x="2873" y="992"/>
                </a:cubicBezTo>
                <a:cubicBezTo>
                  <a:pt x="2876" y="994"/>
                  <a:pt x="2889" y="993"/>
                  <a:pt x="2891" y="994"/>
                </a:cubicBezTo>
                <a:cubicBezTo>
                  <a:pt x="2893" y="994"/>
                  <a:pt x="2897" y="999"/>
                  <a:pt x="2900" y="999"/>
                </a:cubicBezTo>
                <a:cubicBezTo>
                  <a:pt x="2902" y="999"/>
                  <a:pt x="2898" y="994"/>
                  <a:pt x="2898" y="994"/>
                </a:cubicBezTo>
                <a:close/>
                <a:moveTo>
                  <a:pt x="2997" y="1342"/>
                </a:moveTo>
                <a:cubicBezTo>
                  <a:pt x="2995" y="1342"/>
                  <a:pt x="2995" y="1342"/>
                  <a:pt x="2995" y="1342"/>
                </a:cubicBezTo>
                <a:cubicBezTo>
                  <a:pt x="2996" y="1336"/>
                  <a:pt x="2996" y="1336"/>
                  <a:pt x="2996" y="1336"/>
                </a:cubicBezTo>
                <a:cubicBezTo>
                  <a:pt x="2992" y="1339"/>
                  <a:pt x="2992" y="1339"/>
                  <a:pt x="2992" y="1339"/>
                </a:cubicBezTo>
                <a:cubicBezTo>
                  <a:pt x="2992" y="1339"/>
                  <a:pt x="2995" y="1333"/>
                  <a:pt x="2993" y="1333"/>
                </a:cubicBezTo>
                <a:cubicBezTo>
                  <a:pt x="2990" y="1333"/>
                  <a:pt x="2988" y="1337"/>
                  <a:pt x="2988" y="1337"/>
                </a:cubicBezTo>
                <a:cubicBezTo>
                  <a:pt x="2986" y="1338"/>
                  <a:pt x="2986" y="1338"/>
                  <a:pt x="2986" y="1338"/>
                </a:cubicBezTo>
                <a:cubicBezTo>
                  <a:pt x="2986" y="1338"/>
                  <a:pt x="2983" y="1340"/>
                  <a:pt x="2982" y="1343"/>
                </a:cubicBezTo>
                <a:cubicBezTo>
                  <a:pt x="2980" y="1345"/>
                  <a:pt x="2975" y="1345"/>
                  <a:pt x="2972" y="1347"/>
                </a:cubicBezTo>
                <a:cubicBezTo>
                  <a:pt x="2969" y="1350"/>
                  <a:pt x="2968" y="1354"/>
                  <a:pt x="2968" y="1354"/>
                </a:cubicBezTo>
                <a:cubicBezTo>
                  <a:pt x="2968" y="1354"/>
                  <a:pt x="2958" y="1356"/>
                  <a:pt x="2955" y="1358"/>
                </a:cubicBezTo>
                <a:cubicBezTo>
                  <a:pt x="2952" y="1360"/>
                  <a:pt x="2947" y="1364"/>
                  <a:pt x="2947" y="1364"/>
                </a:cubicBezTo>
                <a:cubicBezTo>
                  <a:pt x="2947" y="1364"/>
                  <a:pt x="2942" y="1365"/>
                  <a:pt x="2938" y="1367"/>
                </a:cubicBezTo>
                <a:cubicBezTo>
                  <a:pt x="2935" y="1368"/>
                  <a:pt x="2933" y="1369"/>
                  <a:pt x="2930" y="1370"/>
                </a:cubicBezTo>
                <a:cubicBezTo>
                  <a:pt x="2926" y="1372"/>
                  <a:pt x="2920" y="1375"/>
                  <a:pt x="2917" y="1376"/>
                </a:cubicBezTo>
                <a:cubicBezTo>
                  <a:pt x="2915" y="1377"/>
                  <a:pt x="2916" y="1381"/>
                  <a:pt x="2916" y="1381"/>
                </a:cubicBezTo>
                <a:cubicBezTo>
                  <a:pt x="2914" y="1379"/>
                  <a:pt x="2914" y="1379"/>
                  <a:pt x="2914" y="1379"/>
                </a:cubicBezTo>
                <a:cubicBezTo>
                  <a:pt x="2914" y="1379"/>
                  <a:pt x="2907" y="1384"/>
                  <a:pt x="2904" y="1385"/>
                </a:cubicBezTo>
                <a:cubicBezTo>
                  <a:pt x="2902" y="1387"/>
                  <a:pt x="2901" y="1386"/>
                  <a:pt x="2897" y="1387"/>
                </a:cubicBezTo>
                <a:cubicBezTo>
                  <a:pt x="2894" y="1388"/>
                  <a:pt x="2893" y="1390"/>
                  <a:pt x="2893" y="1390"/>
                </a:cubicBezTo>
                <a:cubicBezTo>
                  <a:pt x="2893" y="1390"/>
                  <a:pt x="2897" y="1390"/>
                  <a:pt x="2896" y="1391"/>
                </a:cubicBezTo>
                <a:cubicBezTo>
                  <a:pt x="2896" y="1392"/>
                  <a:pt x="2894" y="1393"/>
                  <a:pt x="2895" y="1395"/>
                </a:cubicBezTo>
                <a:cubicBezTo>
                  <a:pt x="2896" y="1397"/>
                  <a:pt x="2901" y="1394"/>
                  <a:pt x="2901" y="1394"/>
                </a:cubicBezTo>
                <a:cubicBezTo>
                  <a:pt x="2902" y="1395"/>
                  <a:pt x="2902" y="1395"/>
                  <a:pt x="2902" y="1395"/>
                </a:cubicBezTo>
                <a:cubicBezTo>
                  <a:pt x="2906" y="1395"/>
                  <a:pt x="2906" y="1395"/>
                  <a:pt x="2906" y="1395"/>
                </a:cubicBezTo>
                <a:cubicBezTo>
                  <a:pt x="2906" y="1396"/>
                  <a:pt x="2906" y="1396"/>
                  <a:pt x="2906" y="1396"/>
                </a:cubicBezTo>
                <a:cubicBezTo>
                  <a:pt x="2911" y="1396"/>
                  <a:pt x="2911" y="1396"/>
                  <a:pt x="2911" y="1396"/>
                </a:cubicBezTo>
                <a:cubicBezTo>
                  <a:pt x="2913" y="1399"/>
                  <a:pt x="2913" y="1399"/>
                  <a:pt x="2913" y="1399"/>
                </a:cubicBezTo>
                <a:cubicBezTo>
                  <a:pt x="2917" y="1398"/>
                  <a:pt x="2917" y="1398"/>
                  <a:pt x="2917" y="1398"/>
                </a:cubicBezTo>
                <a:cubicBezTo>
                  <a:pt x="2917" y="1398"/>
                  <a:pt x="2921" y="1400"/>
                  <a:pt x="2924" y="1400"/>
                </a:cubicBezTo>
                <a:cubicBezTo>
                  <a:pt x="2928" y="1399"/>
                  <a:pt x="2929" y="1396"/>
                  <a:pt x="2931" y="1394"/>
                </a:cubicBezTo>
                <a:cubicBezTo>
                  <a:pt x="2933" y="1393"/>
                  <a:pt x="2934" y="1395"/>
                  <a:pt x="2938" y="1393"/>
                </a:cubicBezTo>
                <a:cubicBezTo>
                  <a:pt x="2941" y="1391"/>
                  <a:pt x="2939" y="1388"/>
                  <a:pt x="2941" y="1386"/>
                </a:cubicBezTo>
                <a:cubicBezTo>
                  <a:pt x="2943" y="1383"/>
                  <a:pt x="2946" y="1385"/>
                  <a:pt x="2948" y="1383"/>
                </a:cubicBezTo>
                <a:cubicBezTo>
                  <a:pt x="2950" y="1382"/>
                  <a:pt x="2948" y="1380"/>
                  <a:pt x="2948" y="1380"/>
                </a:cubicBezTo>
                <a:cubicBezTo>
                  <a:pt x="2951" y="1380"/>
                  <a:pt x="2951" y="1380"/>
                  <a:pt x="2951" y="1380"/>
                </a:cubicBezTo>
                <a:cubicBezTo>
                  <a:pt x="2959" y="1373"/>
                  <a:pt x="2959" y="1373"/>
                  <a:pt x="2959" y="1373"/>
                </a:cubicBezTo>
                <a:cubicBezTo>
                  <a:pt x="2957" y="1371"/>
                  <a:pt x="2957" y="1371"/>
                  <a:pt x="2957" y="1371"/>
                </a:cubicBezTo>
                <a:cubicBezTo>
                  <a:pt x="2962" y="1373"/>
                  <a:pt x="2962" y="1373"/>
                  <a:pt x="2962" y="1373"/>
                </a:cubicBezTo>
                <a:cubicBezTo>
                  <a:pt x="2962" y="1373"/>
                  <a:pt x="2962" y="1370"/>
                  <a:pt x="2964" y="1370"/>
                </a:cubicBezTo>
                <a:cubicBezTo>
                  <a:pt x="2966" y="1370"/>
                  <a:pt x="2968" y="1371"/>
                  <a:pt x="2970" y="1372"/>
                </a:cubicBezTo>
                <a:cubicBezTo>
                  <a:pt x="2973" y="1372"/>
                  <a:pt x="2974" y="1368"/>
                  <a:pt x="2974" y="1368"/>
                </a:cubicBezTo>
                <a:cubicBezTo>
                  <a:pt x="2972" y="1367"/>
                  <a:pt x="2972" y="1367"/>
                  <a:pt x="2972" y="1367"/>
                </a:cubicBezTo>
                <a:cubicBezTo>
                  <a:pt x="2975" y="1364"/>
                  <a:pt x="2975" y="1364"/>
                  <a:pt x="2975" y="1364"/>
                </a:cubicBezTo>
                <a:cubicBezTo>
                  <a:pt x="2978" y="1361"/>
                  <a:pt x="2978" y="1361"/>
                  <a:pt x="2978" y="1361"/>
                </a:cubicBezTo>
                <a:cubicBezTo>
                  <a:pt x="2978" y="1361"/>
                  <a:pt x="2980" y="1359"/>
                  <a:pt x="2983" y="1359"/>
                </a:cubicBezTo>
                <a:cubicBezTo>
                  <a:pt x="2985" y="1358"/>
                  <a:pt x="2986" y="1354"/>
                  <a:pt x="2986" y="1354"/>
                </a:cubicBezTo>
                <a:cubicBezTo>
                  <a:pt x="2986" y="1354"/>
                  <a:pt x="2988" y="1354"/>
                  <a:pt x="2990" y="1353"/>
                </a:cubicBezTo>
                <a:cubicBezTo>
                  <a:pt x="2993" y="1352"/>
                  <a:pt x="2995" y="1349"/>
                  <a:pt x="2995" y="1349"/>
                </a:cubicBezTo>
                <a:cubicBezTo>
                  <a:pt x="2995" y="1349"/>
                  <a:pt x="2999" y="1347"/>
                  <a:pt x="3001" y="1345"/>
                </a:cubicBezTo>
                <a:cubicBezTo>
                  <a:pt x="3003" y="1342"/>
                  <a:pt x="3001" y="1337"/>
                  <a:pt x="3001" y="1337"/>
                </a:cubicBezTo>
                <a:cubicBezTo>
                  <a:pt x="2997" y="1342"/>
                  <a:pt x="2997" y="1342"/>
                  <a:pt x="2997" y="1342"/>
                </a:cubicBezTo>
                <a:cubicBezTo>
                  <a:pt x="2997" y="1342"/>
                  <a:pt x="2997" y="1342"/>
                  <a:pt x="2997" y="1342"/>
                </a:cubicBezTo>
                <a:close/>
                <a:moveTo>
                  <a:pt x="2787" y="970"/>
                </a:moveTo>
                <a:cubicBezTo>
                  <a:pt x="2788" y="965"/>
                  <a:pt x="2788" y="965"/>
                  <a:pt x="2788" y="965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5" y="960"/>
                  <a:pt x="2781" y="962"/>
                </a:cubicBezTo>
                <a:cubicBezTo>
                  <a:pt x="2776" y="964"/>
                  <a:pt x="2775" y="972"/>
                  <a:pt x="2775" y="972"/>
                </a:cubicBezTo>
                <a:cubicBezTo>
                  <a:pt x="2784" y="971"/>
                  <a:pt x="2784" y="971"/>
                  <a:pt x="2784" y="971"/>
                </a:cubicBezTo>
                <a:cubicBezTo>
                  <a:pt x="2784" y="971"/>
                  <a:pt x="2785" y="970"/>
                  <a:pt x="2787" y="970"/>
                </a:cubicBezTo>
                <a:close/>
                <a:moveTo>
                  <a:pt x="2392" y="888"/>
                </a:moveTo>
                <a:cubicBezTo>
                  <a:pt x="2390" y="891"/>
                  <a:pt x="2392" y="900"/>
                  <a:pt x="2396" y="899"/>
                </a:cubicBezTo>
                <a:cubicBezTo>
                  <a:pt x="2398" y="898"/>
                  <a:pt x="2395" y="886"/>
                  <a:pt x="2392" y="888"/>
                </a:cubicBezTo>
                <a:close/>
                <a:moveTo>
                  <a:pt x="2756" y="1031"/>
                </a:moveTo>
                <a:cubicBezTo>
                  <a:pt x="2755" y="1031"/>
                  <a:pt x="2754" y="1038"/>
                  <a:pt x="2754" y="1038"/>
                </a:cubicBezTo>
                <a:cubicBezTo>
                  <a:pt x="2756" y="1040"/>
                  <a:pt x="2761" y="1038"/>
                  <a:pt x="2761" y="1038"/>
                </a:cubicBezTo>
                <a:cubicBezTo>
                  <a:pt x="2760" y="1036"/>
                  <a:pt x="2760" y="1036"/>
                  <a:pt x="2760" y="1036"/>
                </a:cubicBezTo>
                <a:cubicBezTo>
                  <a:pt x="2761" y="1032"/>
                  <a:pt x="2761" y="1032"/>
                  <a:pt x="2761" y="1032"/>
                </a:cubicBezTo>
                <a:cubicBezTo>
                  <a:pt x="2761" y="1032"/>
                  <a:pt x="2757" y="1031"/>
                  <a:pt x="2756" y="1031"/>
                </a:cubicBezTo>
                <a:close/>
                <a:moveTo>
                  <a:pt x="2775" y="1331"/>
                </a:moveTo>
                <a:cubicBezTo>
                  <a:pt x="2772" y="1326"/>
                  <a:pt x="2772" y="1326"/>
                  <a:pt x="2772" y="1326"/>
                </a:cubicBezTo>
                <a:cubicBezTo>
                  <a:pt x="2772" y="1326"/>
                  <a:pt x="2770" y="1328"/>
                  <a:pt x="2770" y="1329"/>
                </a:cubicBezTo>
                <a:cubicBezTo>
                  <a:pt x="2770" y="1331"/>
                  <a:pt x="2770" y="1331"/>
                  <a:pt x="2772" y="1332"/>
                </a:cubicBezTo>
                <a:cubicBezTo>
                  <a:pt x="2774" y="1333"/>
                  <a:pt x="2775" y="1331"/>
                  <a:pt x="2775" y="1331"/>
                </a:cubicBezTo>
                <a:close/>
                <a:moveTo>
                  <a:pt x="1371" y="240"/>
                </a:moveTo>
                <a:cubicBezTo>
                  <a:pt x="1370" y="238"/>
                  <a:pt x="1370" y="238"/>
                  <a:pt x="1370" y="238"/>
                </a:cubicBezTo>
                <a:cubicBezTo>
                  <a:pt x="1368" y="243"/>
                  <a:pt x="1368" y="243"/>
                  <a:pt x="1368" y="243"/>
                </a:cubicBezTo>
                <a:cubicBezTo>
                  <a:pt x="1371" y="240"/>
                  <a:pt x="1371" y="240"/>
                  <a:pt x="1371" y="240"/>
                </a:cubicBezTo>
                <a:cubicBezTo>
                  <a:pt x="1371" y="240"/>
                  <a:pt x="1371" y="240"/>
                  <a:pt x="1371" y="240"/>
                </a:cubicBezTo>
                <a:close/>
                <a:moveTo>
                  <a:pt x="1382" y="256"/>
                </a:moveTo>
                <a:cubicBezTo>
                  <a:pt x="1381" y="256"/>
                  <a:pt x="1381" y="257"/>
                  <a:pt x="1380" y="261"/>
                </a:cubicBezTo>
                <a:cubicBezTo>
                  <a:pt x="1380" y="263"/>
                  <a:pt x="1384" y="256"/>
                  <a:pt x="1382" y="256"/>
                </a:cubicBezTo>
                <a:close/>
                <a:moveTo>
                  <a:pt x="1378" y="236"/>
                </a:moveTo>
                <a:cubicBezTo>
                  <a:pt x="1376" y="236"/>
                  <a:pt x="1377" y="238"/>
                  <a:pt x="1377" y="238"/>
                </a:cubicBezTo>
                <a:cubicBezTo>
                  <a:pt x="1377" y="238"/>
                  <a:pt x="1376" y="237"/>
                  <a:pt x="1375" y="238"/>
                </a:cubicBezTo>
                <a:cubicBezTo>
                  <a:pt x="1374" y="239"/>
                  <a:pt x="1377" y="240"/>
                  <a:pt x="1377" y="241"/>
                </a:cubicBezTo>
                <a:cubicBezTo>
                  <a:pt x="1378" y="242"/>
                  <a:pt x="1381" y="241"/>
                  <a:pt x="1381" y="241"/>
                </a:cubicBezTo>
                <a:cubicBezTo>
                  <a:pt x="1379" y="239"/>
                  <a:pt x="1379" y="239"/>
                  <a:pt x="1379" y="239"/>
                </a:cubicBezTo>
                <a:cubicBezTo>
                  <a:pt x="1379" y="239"/>
                  <a:pt x="1380" y="236"/>
                  <a:pt x="1378" y="236"/>
                </a:cubicBezTo>
                <a:close/>
                <a:moveTo>
                  <a:pt x="1386" y="259"/>
                </a:moveTo>
                <a:cubicBezTo>
                  <a:pt x="1388" y="258"/>
                  <a:pt x="1386" y="255"/>
                  <a:pt x="1385" y="257"/>
                </a:cubicBezTo>
                <a:cubicBezTo>
                  <a:pt x="1383" y="258"/>
                  <a:pt x="1385" y="260"/>
                  <a:pt x="1386" y="259"/>
                </a:cubicBezTo>
                <a:close/>
                <a:moveTo>
                  <a:pt x="1391" y="271"/>
                </a:moveTo>
                <a:cubicBezTo>
                  <a:pt x="1390" y="267"/>
                  <a:pt x="1389" y="272"/>
                  <a:pt x="1387" y="273"/>
                </a:cubicBezTo>
                <a:cubicBezTo>
                  <a:pt x="1387" y="273"/>
                  <a:pt x="1392" y="274"/>
                  <a:pt x="1391" y="271"/>
                </a:cubicBezTo>
                <a:close/>
                <a:moveTo>
                  <a:pt x="1376" y="230"/>
                </a:moveTo>
                <a:cubicBezTo>
                  <a:pt x="1376" y="230"/>
                  <a:pt x="1374" y="229"/>
                  <a:pt x="1373" y="229"/>
                </a:cubicBezTo>
                <a:cubicBezTo>
                  <a:pt x="1372" y="230"/>
                  <a:pt x="1373" y="235"/>
                  <a:pt x="1373" y="235"/>
                </a:cubicBezTo>
                <a:cubicBezTo>
                  <a:pt x="1375" y="233"/>
                  <a:pt x="1375" y="233"/>
                  <a:pt x="1375" y="233"/>
                </a:cubicBezTo>
                <a:cubicBezTo>
                  <a:pt x="1375" y="233"/>
                  <a:pt x="1376" y="233"/>
                  <a:pt x="1377" y="233"/>
                </a:cubicBezTo>
                <a:cubicBezTo>
                  <a:pt x="1379" y="233"/>
                  <a:pt x="1380" y="227"/>
                  <a:pt x="1380" y="227"/>
                </a:cubicBezTo>
                <a:cubicBezTo>
                  <a:pt x="1380" y="227"/>
                  <a:pt x="1379" y="227"/>
                  <a:pt x="1377" y="228"/>
                </a:cubicBezTo>
                <a:cubicBezTo>
                  <a:pt x="1376" y="229"/>
                  <a:pt x="1376" y="230"/>
                  <a:pt x="1376" y="230"/>
                </a:cubicBezTo>
                <a:close/>
                <a:moveTo>
                  <a:pt x="1333" y="156"/>
                </a:moveTo>
                <a:cubicBezTo>
                  <a:pt x="1330" y="154"/>
                  <a:pt x="1327" y="156"/>
                  <a:pt x="1327" y="156"/>
                </a:cubicBezTo>
                <a:cubicBezTo>
                  <a:pt x="1328" y="154"/>
                  <a:pt x="1328" y="154"/>
                  <a:pt x="1328" y="154"/>
                </a:cubicBezTo>
                <a:cubicBezTo>
                  <a:pt x="1324" y="154"/>
                  <a:pt x="1324" y="154"/>
                  <a:pt x="1324" y="154"/>
                </a:cubicBezTo>
                <a:cubicBezTo>
                  <a:pt x="1326" y="151"/>
                  <a:pt x="1326" y="151"/>
                  <a:pt x="1326" y="151"/>
                </a:cubicBezTo>
                <a:cubicBezTo>
                  <a:pt x="1324" y="150"/>
                  <a:pt x="1324" y="150"/>
                  <a:pt x="1324" y="150"/>
                </a:cubicBezTo>
                <a:cubicBezTo>
                  <a:pt x="1325" y="148"/>
                  <a:pt x="1325" y="148"/>
                  <a:pt x="1325" y="148"/>
                </a:cubicBezTo>
                <a:cubicBezTo>
                  <a:pt x="1321" y="149"/>
                  <a:pt x="1321" y="149"/>
                  <a:pt x="1321" y="149"/>
                </a:cubicBezTo>
                <a:cubicBezTo>
                  <a:pt x="1321" y="149"/>
                  <a:pt x="1316" y="145"/>
                  <a:pt x="1315" y="145"/>
                </a:cubicBezTo>
                <a:cubicBezTo>
                  <a:pt x="1313" y="145"/>
                  <a:pt x="1314" y="149"/>
                  <a:pt x="1314" y="149"/>
                </a:cubicBezTo>
                <a:cubicBezTo>
                  <a:pt x="1311" y="150"/>
                  <a:pt x="1311" y="150"/>
                  <a:pt x="1311" y="150"/>
                </a:cubicBezTo>
                <a:cubicBezTo>
                  <a:pt x="1311" y="150"/>
                  <a:pt x="1309" y="149"/>
                  <a:pt x="1308" y="149"/>
                </a:cubicBezTo>
                <a:cubicBezTo>
                  <a:pt x="1306" y="149"/>
                  <a:pt x="1305" y="151"/>
                  <a:pt x="1305" y="151"/>
                </a:cubicBezTo>
                <a:cubicBezTo>
                  <a:pt x="1305" y="151"/>
                  <a:pt x="1302" y="149"/>
                  <a:pt x="1300" y="149"/>
                </a:cubicBezTo>
                <a:cubicBezTo>
                  <a:pt x="1299" y="150"/>
                  <a:pt x="1300" y="154"/>
                  <a:pt x="1300" y="154"/>
                </a:cubicBezTo>
                <a:cubicBezTo>
                  <a:pt x="1300" y="154"/>
                  <a:pt x="1296" y="149"/>
                  <a:pt x="1295" y="149"/>
                </a:cubicBezTo>
                <a:cubicBezTo>
                  <a:pt x="1293" y="149"/>
                  <a:pt x="1294" y="150"/>
                  <a:pt x="1294" y="150"/>
                </a:cubicBezTo>
                <a:cubicBezTo>
                  <a:pt x="1294" y="150"/>
                  <a:pt x="1291" y="150"/>
                  <a:pt x="1291" y="151"/>
                </a:cubicBezTo>
                <a:cubicBezTo>
                  <a:pt x="1291" y="151"/>
                  <a:pt x="1291" y="153"/>
                  <a:pt x="1291" y="153"/>
                </a:cubicBezTo>
                <a:cubicBezTo>
                  <a:pt x="1289" y="153"/>
                  <a:pt x="1289" y="153"/>
                  <a:pt x="1289" y="153"/>
                </a:cubicBezTo>
                <a:cubicBezTo>
                  <a:pt x="1289" y="153"/>
                  <a:pt x="1285" y="149"/>
                  <a:pt x="1284" y="150"/>
                </a:cubicBezTo>
                <a:cubicBezTo>
                  <a:pt x="1283" y="151"/>
                  <a:pt x="1284" y="156"/>
                  <a:pt x="1283" y="156"/>
                </a:cubicBezTo>
                <a:cubicBezTo>
                  <a:pt x="1282" y="156"/>
                  <a:pt x="1281" y="154"/>
                  <a:pt x="1280" y="154"/>
                </a:cubicBezTo>
                <a:cubicBezTo>
                  <a:pt x="1279" y="154"/>
                  <a:pt x="1276" y="158"/>
                  <a:pt x="1276" y="158"/>
                </a:cubicBezTo>
                <a:cubicBezTo>
                  <a:pt x="1276" y="157"/>
                  <a:pt x="1276" y="157"/>
                  <a:pt x="1276" y="157"/>
                </a:cubicBezTo>
                <a:cubicBezTo>
                  <a:pt x="1274" y="154"/>
                  <a:pt x="1274" y="154"/>
                  <a:pt x="1274" y="154"/>
                </a:cubicBezTo>
                <a:cubicBezTo>
                  <a:pt x="1274" y="154"/>
                  <a:pt x="1277" y="153"/>
                  <a:pt x="1276" y="151"/>
                </a:cubicBezTo>
                <a:cubicBezTo>
                  <a:pt x="1275" y="149"/>
                  <a:pt x="1268" y="146"/>
                  <a:pt x="1267" y="147"/>
                </a:cubicBezTo>
                <a:cubicBezTo>
                  <a:pt x="1266" y="148"/>
                  <a:pt x="1267" y="151"/>
                  <a:pt x="1267" y="151"/>
                </a:cubicBezTo>
                <a:cubicBezTo>
                  <a:pt x="1267" y="151"/>
                  <a:pt x="1263" y="149"/>
                  <a:pt x="1262" y="149"/>
                </a:cubicBezTo>
                <a:cubicBezTo>
                  <a:pt x="1261" y="149"/>
                  <a:pt x="1258" y="152"/>
                  <a:pt x="1258" y="152"/>
                </a:cubicBezTo>
                <a:cubicBezTo>
                  <a:pt x="1260" y="153"/>
                  <a:pt x="1260" y="153"/>
                  <a:pt x="1260" y="153"/>
                </a:cubicBezTo>
                <a:cubicBezTo>
                  <a:pt x="1260" y="153"/>
                  <a:pt x="1258" y="153"/>
                  <a:pt x="1256" y="154"/>
                </a:cubicBezTo>
                <a:cubicBezTo>
                  <a:pt x="1255" y="155"/>
                  <a:pt x="1254" y="155"/>
                  <a:pt x="1254" y="155"/>
                </a:cubicBezTo>
                <a:cubicBezTo>
                  <a:pt x="1254" y="155"/>
                  <a:pt x="1255" y="157"/>
                  <a:pt x="1257" y="157"/>
                </a:cubicBezTo>
                <a:cubicBezTo>
                  <a:pt x="1259" y="157"/>
                  <a:pt x="1264" y="154"/>
                  <a:pt x="1264" y="154"/>
                </a:cubicBezTo>
                <a:cubicBezTo>
                  <a:pt x="1272" y="156"/>
                  <a:pt x="1272" y="156"/>
                  <a:pt x="1272" y="156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6" y="158"/>
                  <a:pt x="1270" y="159"/>
                  <a:pt x="1270" y="160"/>
                </a:cubicBezTo>
                <a:cubicBezTo>
                  <a:pt x="1270" y="160"/>
                  <a:pt x="1261" y="160"/>
                  <a:pt x="1260" y="161"/>
                </a:cubicBezTo>
                <a:cubicBezTo>
                  <a:pt x="1259" y="161"/>
                  <a:pt x="1253" y="160"/>
                  <a:pt x="1254" y="162"/>
                </a:cubicBezTo>
                <a:cubicBezTo>
                  <a:pt x="1255" y="163"/>
                  <a:pt x="1258" y="162"/>
                  <a:pt x="1261" y="162"/>
                </a:cubicBezTo>
                <a:cubicBezTo>
                  <a:pt x="1263" y="163"/>
                  <a:pt x="1266" y="165"/>
                  <a:pt x="1266" y="165"/>
                </a:cubicBezTo>
                <a:cubicBezTo>
                  <a:pt x="1271" y="164"/>
                  <a:pt x="1271" y="164"/>
                  <a:pt x="1271" y="164"/>
                </a:cubicBezTo>
                <a:cubicBezTo>
                  <a:pt x="1268" y="166"/>
                  <a:pt x="1268" y="166"/>
                  <a:pt x="1268" y="166"/>
                </a:cubicBezTo>
                <a:cubicBezTo>
                  <a:pt x="1271" y="167"/>
                  <a:pt x="1271" y="167"/>
                  <a:pt x="1271" y="167"/>
                </a:cubicBezTo>
                <a:cubicBezTo>
                  <a:pt x="1271" y="167"/>
                  <a:pt x="1270" y="169"/>
                  <a:pt x="1268" y="170"/>
                </a:cubicBezTo>
                <a:cubicBezTo>
                  <a:pt x="1267" y="171"/>
                  <a:pt x="1260" y="170"/>
                  <a:pt x="1261" y="171"/>
                </a:cubicBezTo>
                <a:cubicBezTo>
                  <a:pt x="1263" y="173"/>
                  <a:pt x="1268" y="172"/>
                  <a:pt x="1270" y="172"/>
                </a:cubicBezTo>
                <a:cubicBezTo>
                  <a:pt x="1271" y="172"/>
                  <a:pt x="1273" y="171"/>
                  <a:pt x="1273" y="171"/>
                </a:cubicBezTo>
                <a:cubicBezTo>
                  <a:pt x="1277" y="173"/>
                  <a:pt x="1277" y="173"/>
                  <a:pt x="1277" y="173"/>
                </a:cubicBezTo>
                <a:cubicBezTo>
                  <a:pt x="1279" y="172"/>
                  <a:pt x="1279" y="172"/>
                  <a:pt x="1279" y="172"/>
                </a:cubicBezTo>
                <a:cubicBezTo>
                  <a:pt x="1279" y="172"/>
                  <a:pt x="1278" y="173"/>
                  <a:pt x="1280" y="174"/>
                </a:cubicBezTo>
                <a:cubicBezTo>
                  <a:pt x="1282" y="175"/>
                  <a:pt x="1287" y="177"/>
                  <a:pt x="1289" y="177"/>
                </a:cubicBezTo>
                <a:cubicBezTo>
                  <a:pt x="1295" y="175"/>
                  <a:pt x="1295" y="176"/>
                  <a:pt x="1296" y="175"/>
                </a:cubicBezTo>
                <a:cubicBezTo>
                  <a:pt x="1298" y="174"/>
                  <a:pt x="1297" y="173"/>
                  <a:pt x="1297" y="173"/>
                </a:cubicBezTo>
                <a:cubicBezTo>
                  <a:pt x="1297" y="173"/>
                  <a:pt x="1301" y="174"/>
                  <a:pt x="1303" y="174"/>
                </a:cubicBezTo>
                <a:cubicBezTo>
                  <a:pt x="1304" y="173"/>
                  <a:pt x="1304" y="172"/>
                  <a:pt x="1304" y="172"/>
                </a:cubicBezTo>
                <a:cubicBezTo>
                  <a:pt x="1304" y="172"/>
                  <a:pt x="1307" y="172"/>
                  <a:pt x="1308" y="172"/>
                </a:cubicBezTo>
                <a:cubicBezTo>
                  <a:pt x="1309" y="172"/>
                  <a:pt x="1317" y="168"/>
                  <a:pt x="1318" y="167"/>
                </a:cubicBezTo>
                <a:cubicBezTo>
                  <a:pt x="1320" y="167"/>
                  <a:pt x="1322" y="169"/>
                  <a:pt x="1324" y="167"/>
                </a:cubicBezTo>
                <a:cubicBezTo>
                  <a:pt x="1325" y="166"/>
                  <a:pt x="1325" y="163"/>
                  <a:pt x="1325" y="163"/>
                </a:cubicBezTo>
                <a:cubicBezTo>
                  <a:pt x="1325" y="163"/>
                  <a:pt x="1327" y="163"/>
                  <a:pt x="1329" y="163"/>
                </a:cubicBezTo>
                <a:cubicBezTo>
                  <a:pt x="1331" y="162"/>
                  <a:pt x="1333" y="160"/>
                  <a:pt x="1333" y="160"/>
                </a:cubicBezTo>
                <a:cubicBezTo>
                  <a:pt x="1331" y="160"/>
                  <a:pt x="1331" y="160"/>
                  <a:pt x="1331" y="160"/>
                </a:cubicBezTo>
                <a:cubicBezTo>
                  <a:pt x="1331" y="160"/>
                  <a:pt x="1336" y="157"/>
                  <a:pt x="1333" y="156"/>
                </a:cubicBezTo>
                <a:close/>
                <a:moveTo>
                  <a:pt x="1376" y="257"/>
                </a:moveTo>
                <a:cubicBezTo>
                  <a:pt x="1379" y="257"/>
                  <a:pt x="1381" y="255"/>
                  <a:pt x="1378" y="255"/>
                </a:cubicBezTo>
                <a:cubicBezTo>
                  <a:pt x="1376" y="254"/>
                  <a:pt x="1374" y="257"/>
                  <a:pt x="1376" y="257"/>
                </a:cubicBezTo>
                <a:close/>
                <a:moveTo>
                  <a:pt x="1371" y="235"/>
                </a:moveTo>
                <a:cubicBezTo>
                  <a:pt x="1370" y="235"/>
                  <a:pt x="1369" y="235"/>
                  <a:pt x="1369" y="237"/>
                </a:cubicBezTo>
                <a:cubicBezTo>
                  <a:pt x="1372" y="237"/>
                  <a:pt x="1372" y="237"/>
                  <a:pt x="1372" y="237"/>
                </a:cubicBezTo>
                <a:cubicBezTo>
                  <a:pt x="1372" y="237"/>
                  <a:pt x="1372" y="235"/>
                  <a:pt x="1371" y="235"/>
                </a:cubicBezTo>
                <a:close/>
                <a:moveTo>
                  <a:pt x="1376" y="282"/>
                </a:moveTo>
                <a:cubicBezTo>
                  <a:pt x="1376" y="280"/>
                  <a:pt x="1374" y="278"/>
                  <a:pt x="1374" y="278"/>
                </a:cubicBezTo>
                <a:cubicBezTo>
                  <a:pt x="1374" y="278"/>
                  <a:pt x="1374" y="276"/>
                  <a:pt x="1373" y="275"/>
                </a:cubicBezTo>
                <a:cubicBezTo>
                  <a:pt x="1373" y="274"/>
                  <a:pt x="1375" y="274"/>
                  <a:pt x="1376" y="274"/>
                </a:cubicBezTo>
                <a:cubicBezTo>
                  <a:pt x="1377" y="274"/>
                  <a:pt x="1377" y="274"/>
                  <a:pt x="1377" y="273"/>
                </a:cubicBezTo>
                <a:cubicBezTo>
                  <a:pt x="1378" y="273"/>
                  <a:pt x="1379" y="271"/>
                  <a:pt x="1379" y="271"/>
                </a:cubicBezTo>
                <a:cubicBezTo>
                  <a:pt x="1379" y="271"/>
                  <a:pt x="1380" y="273"/>
                  <a:pt x="1380" y="272"/>
                </a:cubicBezTo>
                <a:cubicBezTo>
                  <a:pt x="1381" y="270"/>
                  <a:pt x="1382" y="268"/>
                  <a:pt x="1381" y="267"/>
                </a:cubicBezTo>
                <a:cubicBezTo>
                  <a:pt x="1379" y="266"/>
                  <a:pt x="1379" y="264"/>
                  <a:pt x="1379" y="264"/>
                </a:cubicBezTo>
                <a:cubicBezTo>
                  <a:pt x="1378" y="264"/>
                  <a:pt x="1378" y="264"/>
                  <a:pt x="1378" y="264"/>
                </a:cubicBezTo>
                <a:cubicBezTo>
                  <a:pt x="1378" y="264"/>
                  <a:pt x="1377" y="262"/>
                  <a:pt x="1376" y="261"/>
                </a:cubicBezTo>
                <a:cubicBezTo>
                  <a:pt x="1374" y="261"/>
                  <a:pt x="1371" y="262"/>
                  <a:pt x="1371" y="262"/>
                </a:cubicBezTo>
                <a:cubicBezTo>
                  <a:pt x="1371" y="262"/>
                  <a:pt x="1371" y="262"/>
                  <a:pt x="1371" y="261"/>
                </a:cubicBezTo>
                <a:cubicBezTo>
                  <a:pt x="1370" y="261"/>
                  <a:pt x="1370" y="261"/>
                  <a:pt x="1369" y="260"/>
                </a:cubicBezTo>
                <a:cubicBezTo>
                  <a:pt x="1367" y="260"/>
                  <a:pt x="1366" y="263"/>
                  <a:pt x="1366" y="263"/>
                </a:cubicBezTo>
                <a:cubicBezTo>
                  <a:pt x="1365" y="261"/>
                  <a:pt x="1365" y="261"/>
                  <a:pt x="1365" y="261"/>
                </a:cubicBezTo>
                <a:cubicBezTo>
                  <a:pt x="1365" y="261"/>
                  <a:pt x="1360" y="261"/>
                  <a:pt x="1359" y="262"/>
                </a:cubicBezTo>
                <a:cubicBezTo>
                  <a:pt x="1358" y="263"/>
                  <a:pt x="1358" y="266"/>
                  <a:pt x="1358" y="266"/>
                </a:cubicBezTo>
                <a:cubicBezTo>
                  <a:pt x="1358" y="266"/>
                  <a:pt x="1354" y="266"/>
                  <a:pt x="1354" y="267"/>
                </a:cubicBezTo>
                <a:cubicBezTo>
                  <a:pt x="1354" y="269"/>
                  <a:pt x="1359" y="268"/>
                  <a:pt x="1358" y="269"/>
                </a:cubicBezTo>
                <a:cubicBezTo>
                  <a:pt x="1357" y="271"/>
                  <a:pt x="1357" y="270"/>
                  <a:pt x="1356" y="270"/>
                </a:cubicBezTo>
                <a:cubicBezTo>
                  <a:pt x="1356" y="271"/>
                  <a:pt x="1355" y="272"/>
                  <a:pt x="1355" y="272"/>
                </a:cubicBezTo>
                <a:cubicBezTo>
                  <a:pt x="1351" y="272"/>
                  <a:pt x="1351" y="272"/>
                  <a:pt x="1351" y="272"/>
                </a:cubicBezTo>
                <a:cubicBezTo>
                  <a:pt x="1351" y="273"/>
                  <a:pt x="1351" y="273"/>
                  <a:pt x="1351" y="273"/>
                </a:cubicBezTo>
                <a:cubicBezTo>
                  <a:pt x="1351" y="273"/>
                  <a:pt x="1349" y="270"/>
                  <a:pt x="1347" y="271"/>
                </a:cubicBezTo>
                <a:cubicBezTo>
                  <a:pt x="1345" y="271"/>
                  <a:pt x="1343" y="271"/>
                  <a:pt x="1343" y="271"/>
                </a:cubicBezTo>
                <a:cubicBezTo>
                  <a:pt x="1343" y="271"/>
                  <a:pt x="1343" y="275"/>
                  <a:pt x="1344" y="275"/>
                </a:cubicBezTo>
                <a:cubicBezTo>
                  <a:pt x="1345" y="275"/>
                  <a:pt x="1346" y="276"/>
                  <a:pt x="1346" y="276"/>
                </a:cubicBezTo>
                <a:cubicBezTo>
                  <a:pt x="1343" y="278"/>
                  <a:pt x="1343" y="278"/>
                  <a:pt x="1343" y="278"/>
                </a:cubicBezTo>
                <a:cubicBezTo>
                  <a:pt x="1343" y="278"/>
                  <a:pt x="1341" y="279"/>
                  <a:pt x="1342" y="280"/>
                </a:cubicBezTo>
                <a:cubicBezTo>
                  <a:pt x="1343" y="282"/>
                  <a:pt x="1347" y="282"/>
                  <a:pt x="1347" y="282"/>
                </a:cubicBezTo>
                <a:cubicBezTo>
                  <a:pt x="1347" y="282"/>
                  <a:pt x="1351" y="281"/>
                  <a:pt x="1351" y="282"/>
                </a:cubicBezTo>
                <a:cubicBezTo>
                  <a:pt x="1350" y="284"/>
                  <a:pt x="1347" y="284"/>
                  <a:pt x="1347" y="284"/>
                </a:cubicBezTo>
                <a:cubicBezTo>
                  <a:pt x="1347" y="287"/>
                  <a:pt x="1347" y="287"/>
                  <a:pt x="1347" y="287"/>
                </a:cubicBezTo>
                <a:cubicBezTo>
                  <a:pt x="1347" y="287"/>
                  <a:pt x="1345" y="286"/>
                  <a:pt x="1344" y="288"/>
                </a:cubicBezTo>
                <a:cubicBezTo>
                  <a:pt x="1344" y="290"/>
                  <a:pt x="1343" y="293"/>
                  <a:pt x="1343" y="293"/>
                </a:cubicBezTo>
                <a:cubicBezTo>
                  <a:pt x="1343" y="293"/>
                  <a:pt x="1338" y="293"/>
                  <a:pt x="1338" y="294"/>
                </a:cubicBezTo>
                <a:cubicBezTo>
                  <a:pt x="1338" y="295"/>
                  <a:pt x="1340" y="295"/>
                  <a:pt x="1340" y="295"/>
                </a:cubicBezTo>
                <a:cubicBezTo>
                  <a:pt x="1340" y="295"/>
                  <a:pt x="1337" y="295"/>
                  <a:pt x="1337" y="297"/>
                </a:cubicBezTo>
                <a:cubicBezTo>
                  <a:pt x="1337" y="298"/>
                  <a:pt x="1338" y="298"/>
                  <a:pt x="1338" y="298"/>
                </a:cubicBezTo>
                <a:cubicBezTo>
                  <a:pt x="1343" y="298"/>
                  <a:pt x="1343" y="298"/>
                  <a:pt x="1343" y="298"/>
                </a:cubicBezTo>
                <a:cubicBezTo>
                  <a:pt x="1341" y="300"/>
                  <a:pt x="1341" y="300"/>
                  <a:pt x="1341" y="300"/>
                </a:cubicBezTo>
                <a:cubicBezTo>
                  <a:pt x="1341" y="300"/>
                  <a:pt x="1344" y="299"/>
                  <a:pt x="1344" y="300"/>
                </a:cubicBezTo>
                <a:cubicBezTo>
                  <a:pt x="1344" y="300"/>
                  <a:pt x="1340" y="302"/>
                  <a:pt x="1343" y="302"/>
                </a:cubicBezTo>
                <a:cubicBezTo>
                  <a:pt x="1346" y="302"/>
                  <a:pt x="1350" y="301"/>
                  <a:pt x="1352" y="300"/>
                </a:cubicBezTo>
                <a:cubicBezTo>
                  <a:pt x="1354" y="299"/>
                  <a:pt x="1354" y="297"/>
                  <a:pt x="1354" y="297"/>
                </a:cubicBezTo>
                <a:cubicBezTo>
                  <a:pt x="1354" y="297"/>
                  <a:pt x="1356" y="298"/>
                  <a:pt x="1358" y="297"/>
                </a:cubicBezTo>
                <a:cubicBezTo>
                  <a:pt x="1360" y="296"/>
                  <a:pt x="1360" y="295"/>
                  <a:pt x="1363" y="295"/>
                </a:cubicBezTo>
                <a:cubicBezTo>
                  <a:pt x="1365" y="294"/>
                  <a:pt x="1366" y="294"/>
                  <a:pt x="1366" y="294"/>
                </a:cubicBezTo>
                <a:cubicBezTo>
                  <a:pt x="1367" y="293"/>
                  <a:pt x="1367" y="293"/>
                  <a:pt x="1367" y="293"/>
                </a:cubicBezTo>
                <a:cubicBezTo>
                  <a:pt x="1372" y="293"/>
                  <a:pt x="1372" y="293"/>
                  <a:pt x="1372" y="293"/>
                </a:cubicBezTo>
                <a:cubicBezTo>
                  <a:pt x="1372" y="291"/>
                  <a:pt x="1372" y="291"/>
                  <a:pt x="1372" y="291"/>
                </a:cubicBezTo>
                <a:cubicBezTo>
                  <a:pt x="1372" y="291"/>
                  <a:pt x="1374" y="291"/>
                  <a:pt x="1374" y="291"/>
                </a:cubicBezTo>
                <a:cubicBezTo>
                  <a:pt x="1374" y="290"/>
                  <a:pt x="1373" y="289"/>
                  <a:pt x="1374" y="288"/>
                </a:cubicBezTo>
                <a:cubicBezTo>
                  <a:pt x="1375" y="287"/>
                  <a:pt x="1376" y="284"/>
                  <a:pt x="1376" y="282"/>
                </a:cubicBezTo>
                <a:close/>
                <a:moveTo>
                  <a:pt x="1379" y="247"/>
                </a:moveTo>
                <a:cubicBezTo>
                  <a:pt x="1378" y="247"/>
                  <a:pt x="1377" y="249"/>
                  <a:pt x="1377" y="250"/>
                </a:cubicBezTo>
                <a:cubicBezTo>
                  <a:pt x="1378" y="250"/>
                  <a:pt x="1381" y="249"/>
                  <a:pt x="1381" y="249"/>
                </a:cubicBezTo>
                <a:cubicBezTo>
                  <a:pt x="1381" y="249"/>
                  <a:pt x="1380" y="247"/>
                  <a:pt x="1379" y="247"/>
                </a:cubicBezTo>
                <a:close/>
                <a:moveTo>
                  <a:pt x="1667" y="452"/>
                </a:moveTo>
                <a:cubicBezTo>
                  <a:pt x="1665" y="451"/>
                  <a:pt x="1665" y="454"/>
                  <a:pt x="1665" y="454"/>
                </a:cubicBezTo>
                <a:cubicBezTo>
                  <a:pt x="1668" y="456"/>
                  <a:pt x="1669" y="454"/>
                  <a:pt x="1667" y="452"/>
                </a:cubicBezTo>
                <a:close/>
                <a:moveTo>
                  <a:pt x="1661" y="435"/>
                </a:moveTo>
                <a:cubicBezTo>
                  <a:pt x="1657" y="436"/>
                  <a:pt x="1657" y="436"/>
                  <a:pt x="1657" y="436"/>
                </a:cubicBezTo>
                <a:cubicBezTo>
                  <a:pt x="1657" y="439"/>
                  <a:pt x="1659" y="438"/>
                  <a:pt x="1659" y="438"/>
                </a:cubicBezTo>
                <a:cubicBezTo>
                  <a:pt x="1659" y="438"/>
                  <a:pt x="1661" y="440"/>
                  <a:pt x="1662" y="439"/>
                </a:cubicBezTo>
                <a:cubicBezTo>
                  <a:pt x="1664" y="438"/>
                  <a:pt x="1661" y="435"/>
                  <a:pt x="1661" y="435"/>
                </a:cubicBezTo>
                <a:close/>
                <a:moveTo>
                  <a:pt x="1567" y="30"/>
                </a:moveTo>
                <a:cubicBezTo>
                  <a:pt x="1573" y="30"/>
                  <a:pt x="1573" y="30"/>
                  <a:pt x="1573" y="30"/>
                </a:cubicBezTo>
                <a:cubicBezTo>
                  <a:pt x="1573" y="30"/>
                  <a:pt x="1580" y="32"/>
                  <a:pt x="1580" y="31"/>
                </a:cubicBezTo>
                <a:cubicBezTo>
                  <a:pt x="1581" y="31"/>
                  <a:pt x="1586" y="30"/>
                  <a:pt x="1587" y="30"/>
                </a:cubicBezTo>
                <a:cubicBezTo>
                  <a:pt x="1588" y="30"/>
                  <a:pt x="1598" y="34"/>
                  <a:pt x="1598" y="34"/>
                </a:cubicBezTo>
                <a:cubicBezTo>
                  <a:pt x="1601" y="31"/>
                  <a:pt x="1601" y="31"/>
                  <a:pt x="1601" y="31"/>
                </a:cubicBezTo>
                <a:cubicBezTo>
                  <a:pt x="1609" y="31"/>
                  <a:pt x="1609" y="31"/>
                  <a:pt x="1609" y="31"/>
                </a:cubicBezTo>
                <a:cubicBezTo>
                  <a:pt x="1610" y="29"/>
                  <a:pt x="1610" y="29"/>
                  <a:pt x="1610" y="29"/>
                </a:cubicBezTo>
                <a:cubicBezTo>
                  <a:pt x="1610" y="29"/>
                  <a:pt x="1614" y="30"/>
                  <a:pt x="1616" y="26"/>
                </a:cubicBezTo>
                <a:cubicBezTo>
                  <a:pt x="1619" y="21"/>
                  <a:pt x="1609" y="25"/>
                  <a:pt x="1609" y="25"/>
                </a:cubicBezTo>
                <a:cubicBezTo>
                  <a:pt x="1609" y="25"/>
                  <a:pt x="1608" y="23"/>
                  <a:pt x="1603" y="23"/>
                </a:cubicBezTo>
                <a:cubicBezTo>
                  <a:pt x="1598" y="23"/>
                  <a:pt x="1595" y="25"/>
                  <a:pt x="1593" y="25"/>
                </a:cubicBezTo>
                <a:cubicBezTo>
                  <a:pt x="1592" y="25"/>
                  <a:pt x="1593" y="22"/>
                  <a:pt x="1589" y="22"/>
                </a:cubicBezTo>
                <a:cubicBezTo>
                  <a:pt x="1585" y="22"/>
                  <a:pt x="1584" y="25"/>
                  <a:pt x="1584" y="25"/>
                </a:cubicBezTo>
                <a:cubicBezTo>
                  <a:pt x="1575" y="22"/>
                  <a:pt x="1575" y="22"/>
                  <a:pt x="1575" y="22"/>
                </a:cubicBezTo>
                <a:cubicBezTo>
                  <a:pt x="1575" y="22"/>
                  <a:pt x="1571" y="24"/>
                  <a:pt x="1566" y="25"/>
                </a:cubicBezTo>
                <a:cubicBezTo>
                  <a:pt x="1561" y="25"/>
                  <a:pt x="1565" y="22"/>
                  <a:pt x="1565" y="22"/>
                </a:cubicBezTo>
                <a:cubicBezTo>
                  <a:pt x="1560" y="24"/>
                  <a:pt x="1560" y="24"/>
                  <a:pt x="1560" y="24"/>
                </a:cubicBezTo>
                <a:cubicBezTo>
                  <a:pt x="1562" y="27"/>
                  <a:pt x="1562" y="27"/>
                  <a:pt x="1562" y="27"/>
                </a:cubicBezTo>
                <a:cubicBezTo>
                  <a:pt x="1567" y="30"/>
                  <a:pt x="1567" y="30"/>
                  <a:pt x="1567" y="30"/>
                </a:cubicBezTo>
                <a:cubicBezTo>
                  <a:pt x="1567" y="30"/>
                  <a:pt x="1567" y="30"/>
                  <a:pt x="1567" y="30"/>
                </a:cubicBezTo>
                <a:close/>
                <a:moveTo>
                  <a:pt x="1662" y="467"/>
                </a:moveTo>
                <a:cubicBezTo>
                  <a:pt x="1664" y="468"/>
                  <a:pt x="1666" y="466"/>
                  <a:pt x="1664" y="465"/>
                </a:cubicBezTo>
                <a:cubicBezTo>
                  <a:pt x="1662" y="464"/>
                  <a:pt x="1661" y="466"/>
                  <a:pt x="1662" y="467"/>
                </a:cubicBezTo>
                <a:close/>
                <a:moveTo>
                  <a:pt x="1662" y="454"/>
                </a:moveTo>
                <a:cubicBezTo>
                  <a:pt x="1661" y="454"/>
                  <a:pt x="1658" y="454"/>
                  <a:pt x="1658" y="456"/>
                </a:cubicBezTo>
                <a:cubicBezTo>
                  <a:pt x="1658" y="457"/>
                  <a:pt x="1663" y="455"/>
                  <a:pt x="1662" y="454"/>
                </a:cubicBezTo>
                <a:close/>
                <a:moveTo>
                  <a:pt x="1652" y="460"/>
                </a:moveTo>
                <a:cubicBezTo>
                  <a:pt x="1653" y="463"/>
                  <a:pt x="1655" y="463"/>
                  <a:pt x="1656" y="461"/>
                </a:cubicBezTo>
                <a:cubicBezTo>
                  <a:pt x="1657" y="459"/>
                  <a:pt x="1652" y="457"/>
                  <a:pt x="1652" y="460"/>
                </a:cubicBezTo>
                <a:close/>
                <a:moveTo>
                  <a:pt x="1650" y="455"/>
                </a:moveTo>
                <a:cubicBezTo>
                  <a:pt x="1651" y="453"/>
                  <a:pt x="1651" y="453"/>
                  <a:pt x="1651" y="453"/>
                </a:cubicBezTo>
                <a:cubicBezTo>
                  <a:pt x="1646" y="449"/>
                  <a:pt x="1646" y="449"/>
                  <a:pt x="1646" y="449"/>
                </a:cubicBezTo>
                <a:cubicBezTo>
                  <a:pt x="1650" y="455"/>
                  <a:pt x="1650" y="455"/>
                  <a:pt x="1650" y="455"/>
                </a:cubicBezTo>
                <a:cubicBezTo>
                  <a:pt x="1650" y="455"/>
                  <a:pt x="1650" y="455"/>
                  <a:pt x="1650" y="455"/>
                </a:cubicBezTo>
                <a:close/>
                <a:moveTo>
                  <a:pt x="1789" y="125"/>
                </a:moveTo>
                <a:cubicBezTo>
                  <a:pt x="1794" y="126"/>
                  <a:pt x="1795" y="124"/>
                  <a:pt x="1797" y="124"/>
                </a:cubicBezTo>
                <a:cubicBezTo>
                  <a:pt x="1798" y="123"/>
                  <a:pt x="1799" y="121"/>
                  <a:pt x="1799" y="121"/>
                </a:cubicBezTo>
                <a:cubicBezTo>
                  <a:pt x="1801" y="121"/>
                  <a:pt x="1801" y="121"/>
                  <a:pt x="1801" y="121"/>
                </a:cubicBezTo>
                <a:cubicBezTo>
                  <a:pt x="1801" y="121"/>
                  <a:pt x="1800" y="119"/>
                  <a:pt x="1794" y="117"/>
                </a:cubicBezTo>
                <a:cubicBezTo>
                  <a:pt x="1789" y="116"/>
                  <a:pt x="1786" y="121"/>
                  <a:pt x="1786" y="121"/>
                </a:cubicBezTo>
                <a:cubicBezTo>
                  <a:pt x="1786" y="121"/>
                  <a:pt x="1784" y="124"/>
                  <a:pt x="1789" y="125"/>
                </a:cubicBezTo>
                <a:close/>
                <a:moveTo>
                  <a:pt x="1638" y="480"/>
                </a:moveTo>
                <a:cubicBezTo>
                  <a:pt x="1640" y="482"/>
                  <a:pt x="1641" y="481"/>
                  <a:pt x="1641" y="481"/>
                </a:cubicBezTo>
                <a:cubicBezTo>
                  <a:pt x="1642" y="482"/>
                  <a:pt x="1642" y="482"/>
                  <a:pt x="1642" y="482"/>
                </a:cubicBezTo>
                <a:cubicBezTo>
                  <a:pt x="1647" y="482"/>
                  <a:pt x="1647" y="482"/>
                  <a:pt x="1647" y="482"/>
                </a:cubicBezTo>
                <a:cubicBezTo>
                  <a:pt x="1649" y="485"/>
                  <a:pt x="1649" y="485"/>
                  <a:pt x="1649" y="485"/>
                </a:cubicBezTo>
                <a:cubicBezTo>
                  <a:pt x="1654" y="485"/>
                  <a:pt x="1654" y="485"/>
                  <a:pt x="1654" y="485"/>
                </a:cubicBezTo>
                <a:cubicBezTo>
                  <a:pt x="1655" y="484"/>
                  <a:pt x="1655" y="484"/>
                  <a:pt x="1655" y="484"/>
                </a:cubicBezTo>
                <a:cubicBezTo>
                  <a:pt x="1655" y="484"/>
                  <a:pt x="1663" y="485"/>
                  <a:pt x="1663" y="482"/>
                </a:cubicBezTo>
                <a:cubicBezTo>
                  <a:pt x="1663" y="479"/>
                  <a:pt x="1659" y="482"/>
                  <a:pt x="1658" y="482"/>
                </a:cubicBezTo>
                <a:cubicBezTo>
                  <a:pt x="1658" y="482"/>
                  <a:pt x="1657" y="480"/>
                  <a:pt x="1657" y="480"/>
                </a:cubicBezTo>
                <a:cubicBezTo>
                  <a:pt x="1652" y="480"/>
                  <a:pt x="1652" y="480"/>
                  <a:pt x="1652" y="480"/>
                </a:cubicBezTo>
                <a:cubicBezTo>
                  <a:pt x="1648" y="479"/>
                  <a:pt x="1648" y="479"/>
                  <a:pt x="1648" y="479"/>
                </a:cubicBezTo>
                <a:cubicBezTo>
                  <a:pt x="1644" y="479"/>
                  <a:pt x="1644" y="479"/>
                  <a:pt x="1644" y="479"/>
                </a:cubicBezTo>
                <a:cubicBezTo>
                  <a:pt x="1639" y="476"/>
                  <a:pt x="1639" y="476"/>
                  <a:pt x="1639" y="476"/>
                </a:cubicBezTo>
                <a:cubicBezTo>
                  <a:pt x="1639" y="476"/>
                  <a:pt x="1636" y="478"/>
                  <a:pt x="1638" y="480"/>
                </a:cubicBezTo>
                <a:close/>
                <a:moveTo>
                  <a:pt x="1643" y="426"/>
                </a:moveTo>
                <a:cubicBezTo>
                  <a:pt x="1644" y="425"/>
                  <a:pt x="1644" y="425"/>
                  <a:pt x="1644" y="425"/>
                </a:cubicBezTo>
                <a:cubicBezTo>
                  <a:pt x="1639" y="424"/>
                  <a:pt x="1639" y="424"/>
                  <a:pt x="1639" y="424"/>
                </a:cubicBezTo>
                <a:cubicBezTo>
                  <a:pt x="1643" y="426"/>
                  <a:pt x="1643" y="426"/>
                  <a:pt x="1643" y="426"/>
                </a:cubicBezTo>
                <a:cubicBezTo>
                  <a:pt x="1643" y="426"/>
                  <a:pt x="1643" y="426"/>
                  <a:pt x="1643" y="426"/>
                </a:cubicBezTo>
                <a:close/>
                <a:moveTo>
                  <a:pt x="1660" y="443"/>
                </a:moveTo>
                <a:cubicBezTo>
                  <a:pt x="1657" y="443"/>
                  <a:pt x="1657" y="443"/>
                  <a:pt x="1657" y="443"/>
                </a:cubicBezTo>
                <a:cubicBezTo>
                  <a:pt x="1657" y="446"/>
                  <a:pt x="1657" y="446"/>
                  <a:pt x="1657" y="446"/>
                </a:cubicBezTo>
                <a:cubicBezTo>
                  <a:pt x="1659" y="449"/>
                  <a:pt x="1659" y="449"/>
                  <a:pt x="1659" y="449"/>
                </a:cubicBezTo>
                <a:cubicBezTo>
                  <a:pt x="1660" y="443"/>
                  <a:pt x="1660" y="443"/>
                  <a:pt x="1660" y="443"/>
                </a:cubicBezTo>
                <a:cubicBezTo>
                  <a:pt x="1660" y="443"/>
                  <a:pt x="1660" y="443"/>
                  <a:pt x="1660" y="443"/>
                </a:cubicBezTo>
                <a:close/>
                <a:moveTo>
                  <a:pt x="1667" y="460"/>
                </a:moveTo>
                <a:cubicBezTo>
                  <a:pt x="1668" y="458"/>
                  <a:pt x="1668" y="458"/>
                  <a:pt x="1668" y="458"/>
                </a:cubicBezTo>
                <a:cubicBezTo>
                  <a:pt x="1666" y="458"/>
                  <a:pt x="1666" y="458"/>
                  <a:pt x="1666" y="458"/>
                </a:cubicBezTo>
                <a:cubicBezTo>
                  <a:pt x="1667" y="460"/>
                  <a:pt x="1667" y="460"/>
                  <a:pt x="1667" y="460"/>
                </a:cubicBezTo>
                <a:cubicBezTo>
                  <a:pt x="1667" y="460"/>
                  <a:pt x="1667" y="460"/>
                  <a:pt x="1667" y="460"/>
                </a:cubicBezTo>
                <a:close/>
                <a:moveTo>
                  <a:pt x="1649" y="466"/>
                </a:moveTo>
                <a:cubicBezTo>
                  <a:pt x="1648" y="467"/>
                  <a:pt x="1650" y="467"/>
                  <a:pt x="1650" y="466"/>
                </a:cubicBezTo>
                <a:cubicBezTo>
                  <a:pt x="1650" y="464"/>
                  <a:pt x="1649" y="465"/>
                  <a:pt x="1649" y="466"/>
                </a:cubicBezTo>
                <a:close/>
                <a:moveTo>
                  <a:pt x="1517" y="31"/>
                </a:moveTo>
                <a:cubicBezTo>
                  <a:pt x="1519" y="32"/>
                  <a:pt x="1522" y="32"/>
                  <a:pt x="1522" y="33"/>
                </a:cubicBezTo>
                <a:cubicBezTo>
                  <a:pt x="1523" y="34"/>
                  <a:pt x="1519" y="36"/>
                  <a:pt x="1519" y="36"/>
                </a:cubicBezTo>
                <a:cubicBezTo>
                  <a:pt x="1525" y="38"/>
                  <a:pt x="1525" y="38"/>
                  <a:pt x="1525" y="38"/>
                </a:cubicBezTo>
                <a:cubicBezTo>
                  <a:pt x="1525" y="38"/>
                  <a:pt x="1528" y="40"/>
                  <a:pt x="1531" y="41"/>
                </a:cubicBezTo>
                <a:cubicBezTo>
                  <a:pt x="1534" y="41"/>
                  <a:pt x="1536" y="37"/>
                  <a:pt x="1536" y="37"/>
                </a:cubicBezTo>
                <a:cubicBezTo>
                  <a:pt x="1542" y="36"/>
                  <a:pt x="1542" y="36"/>
                  <a:pt x="1542" y="36"/>
                </a:cubicBezTo>
                <a:cubicBezTo>
                  <a:pt x="1547" y="39"/>
                  <a:pt x="1547" y="39"/>
                  <a:pt x="1547" y="39"/>
                </a:cubicBezTo>
                <a:cubicBezTo>
                  <a:pt x="1547" y="39"/>
                  <a:pt x="1543" y="40"/>
                  <a:pt x="1539" y="41"/>
                </a:cubicBezTo>
                <a:cubicBezTo>
                  <a:pt x="1535" y="42"/>
                  <a:pt x="1536" y="43"/>
                  <a:pt x="1536" y="43"/>
                </a:cubicBezTo>
                <a:cubicBezTo>
                  <a:pt x="1536" y="43"/>
                  <a:pt x="1546" y="44"/>
                  <a:pt x="1545" y="44"/>
                </a:cubicBezTo>
                <a:cubicBezTo>
                  <a:pt x="1543" y="45"/>
                  <a:pt x="1537" y="47"/>
                  <a:pt x="1537" y="47"/>
                </a:cubicBezTo>
                <a:cubicBezTo>
                  <a:pt x="1544" y="50"/>
                  <a:pt x="1544" y="50"/>
                  <a:pt x="1544" y="50"/>
                </a:cubicBezTo>
                <a:cubicBezTo>
                  <a:pt x="1544" y="50"/>
                  <a:pt x="1550" y="53"/>
                  <a:pt x="1555" y="52"/>
                </a:cubicBezTo>
                <a:cubicBezTo>
                  <a:pt x="1561" y="51"/>
                  <a:pt x="1557" y="48"/>
                  <a:pt x="1557" y="47"/>
                </a:cubicBezTo>
                <a:cubicBezTo>
                  <a:pt x="1557" y="45"/>
                  <a:pt x="1563" y="45"/>
                  <a:pt x="1563" y="45"/>
                </a:cubicBezTo>
                <a:cubicBezTo>
                  <a:pt x="1563" y="42"/>
                  <a:pt x="1563" y="42"/>
                  <a:pt x="1563" y="42"/>
                </a:cubicBezTo>
                <a:cubicBezTo>
                  <a:pt x="1567" y="41"/>
                  <a:pt x="1567" y="41"/>
                  <a:pt x="1567" y="41"/>
                </a:cubicBezTo>
                <a:cubicBezTo>
                  <a:pt x="1569" y="37"/>
                  <a:pt x="1569" y="37"/>
                  <a:pt x="1569" y="37"/>
                </a:cubicBezTo>
                <a:cubicBezTo>
                  <a:pt x="1571" y="38"/>
                  <a:pt x="1571" y="38"/>
                  <a:pt x="1571" y="38"/>
                </a:cubicBezTo>
                <a:cubicBezTo>
                  <a:pt x="1575" y="36"/>
                  <a:pt x="1575" y="36"/>
                  <a:pt x="1575" y="36"/>
                </a:cubicBezTo>
                <a:cubicBezTo>
                  <a:pt x="1575" y="36"/>
                  <a:pt x="1577" y="39"/>
                  <a:pt x="1581" y="40"/>
                </a:cubicBezTo>
                <a:cubicBezTo>
                  <a:pt x="1585" y="41"/>
                  <a:pt x="1580" y="47"/>
                  <a:pt x="1580" y="47"/>
                </a:cubicBezTo>
                <a:cubicBezTo>
                  <a:pt x="1588" y="47"/>
                  <a:pt x="1588" y="47"/>
                  <a:pt x="1588" y="47"/>
                </a:cubicBezTo>
                <a:cubicBezTo>
                  <a:pt x="1588" y="47"/>
                  <a:pt x="1592" y="50"/>
                  <a:pt x="1592" y="49"/>
                </a:cubicBezTo>
                <a:cubicBezTo>
                  <a:pt x="1592" y="48"/>
                  <a:pt x="1603" y="45"/>
                  <a:pt x="1604" y="43"/>
                </a:cubicBezTo>
                <a:cubicBezTo>
                  <a:pt x="1605" y="41"/>
                  <a:pt x="1596" y="42"/>
                  <a:pt x="1596" y="42"/>
                </a:cubicBezTo>
                <a:cubicBezTo>
                  <a:pt x="1595" y="39"/>
                  <a:pt x="1595" y="39"/>
                  <a:pt x="1595" y="39"/>
                </a:cubicBezTo>
                <a:cubicBezTo>
                  <a:pt x="1588" y="38"/>
                  <a:pt x="1588" y="38"/>
                  <a:pt x="1588" y="38"/>
                </a:cubicBezTo>
                <a:cubicBezTo>
                  <a:pt x="1588" y="36"/>
                  <a:pt x="1588" y="36"/>
                  <a:pt x="1588" y="36"/>
                </a:cubicBezTo>
                <a:cubicBezTo>
                  <a:pt x="1583" y="36"/>
                  <a:pt x="1583" y="36"/>
                  <a:pt x="1583" y="36"/>
                </a:cubicBezTo>
                <a:cubicBezTo>
                  <a:pt x="1584" y="34"/>
                  <a:pt x="1584" y="34"/>
                  <a:pt x="1584" y="34"/>
                </a:cubicBezTo>
                <a:cubicBezTo>
                  <a:pt x="1573" y="34"/>
                  <a:pt x="1573" y="34"/>
                  <a:pt x="1573" y="34"/>
                </a:cubicBezTo>
                <a:cubicBezTo>
                  <a:pt x="1572" y="32"/>
                  <a:pt x="1572" y="32"/>
                  <a:pt x="1572" y="32"/>
                </a:cubicBezTo>
                <a:cubicBezTo>
                  <a:pt x="1567" y="32"/>
                  <a:pt x="1567" y="32"/>
                  <a:pt x="1567" y="32"/>
                </a:cubicBezTo>
                <a:cubicBezTo>
                  <a:pt x="1567" y="32"/>
                  <a:pt x="1567" y="30"/>
                  <a:pt x="1563" y="29"/>
                </a:cubicBezTo>
                <a:cubicBezTo>
                  <a:pt x="1560" y="28"/>
                  <a:pt x="1559" y="29"/>
                  <a:pt x="1559" y="29"/>
                </a:cubicBezTo>
                <a:cubicBezTo>
                  <a:pt x="1559" y="27"/>
                  <a:pt x="1559" y="27"/>
                  <a:pt x="1559" y="27"/>
                </a:cubicBezTo>
                <a:cubicBezTo>
                  <a:pt x="1559" y="27"/>
                  <a:pt x="1555" y="25"/>
                  <a:pt x="1549" y="26"/>
                </a:cubicBezTo>
                <a:cubicBezTo>
                  <a:pt x="1543" y="26"/>
                  <a:pt x="1551" y="33"/>
                  <a:pt x="1551" y="33"/>
                </a:cubicBezTo>
                <a:cubicBezTo>
                  <a:pt x="1551" y="33"/>
                  <a:pt x="1544" y="27"/>
                  <a:pt x="1541" y="27"/>
                </a:cubicBezTo>
                <a:cubicBezTo>
                  <a:pt x="1538" y="26"/>
                  <a:pt x="1537" y="30"/>
                  <a:pt x="1537" y="30"/>
                </a:cubicBezTo>
                <a:cubicBezTo>
                  <a:pt x="1537" y="30"/>
                  <a:pt x="1532" y="30"/>
                  <a:pt x="1531" y="29"/>
                </a:cubicBezTo>
                <a:cubicBezTo>
                  <a:pt x="1530" y="28"/>
                  <a:pt x="1533" y="26"/>
                  <a:pt x="1533" y="26"/>
                </a:cubicBezTo>
                <a:cubicBezTo>
                  <a:pt x="1526" y="27"/>
                  <a:pt x="1526" y="27"/>
                  <a:pt x="1526" y="27"/>
                </a:cubicBezTo>
                <a:cubicBezTo>
                  <a:pt x="1524" y="29"/>
                  <a:pt x="1524" y="29"/>
                  <a:pt x="1524" y="29"/>
                </a:cubicBezTo>
                <a:cubicBezTo>
                  <a:pt x="1523" y="26"/>
                  <a:pt x="1523" y="26"/>
                  <a:pt x="1523" y="26"/>
                </a:cubicBezTo>
                <a:cubicBezTo>
                  <a:pt x="1523" y="26"/>
                  <a:pt x="1518" y="28"/>
                  <a:pt x="1516" y="29"/>
                </a:cubicBezTo>
                <a:cubicBezTo>
                  <a:pt x="1516" y="29"/>
                  <a:pt x="1516" y="31"/>
                  <a:pt x="1517" y="31"/>
                </a:cubicBezTo>
                <a:close/>
                <a:moveTo>
                  <a:pt x="1658" y="463"/>
                </a:moveTo>
                <a:cubicBezTo>
                  <a:pt x="1658" y="465"/>
                  <a:pt x="1658" y="465"/>
                  <a:pt x="1658" y="465"/>
                </a:cubicBezTo>
                <a:cubicBezTo>
                  <a:pt x="1659" y="463"/>
                  <a:pt x="1659" y="463"/>
                  <a:pt x="1659" y="463"/>
                </a:cubicBezTo>
                <a:cubicBezTo>
                  <a:pt x="1658" y="463"/>
                  <a:pt x="1658" y="463"/>
                  <a:pt x="1658" y="463"/>
                </a:cubicBezTo>
                <a:cubicBezTo>
                  <a:pt x="1658" y="463"/>
                  <a:pt x="1658" y="463"/>
                  <a:pt x="1658" y="463"/>
                </a:cubicBezTo>
                <a:close/>
                <a:moveTo>
                  <a:pt x="1385" y="240"/>
                </a:moveTo>
                <a:cubicBezTo>
                  <a:pt x="1385" y="240"/>
                  <a:pt x="1384" y="241"/>
                  <a:pt x="1383" y="242"/>
                </a:cubicBezTo>
                <a:cubicBezTo>
                  <a:pt x="1382" y="243"/>
                  <a:pt x="1382" y="244"/>
                  <a:pt x="1382" y="244"/>
                </a:cubicBezTo>
                <a:cubicBezTo>
                  <a:pt x="1380" y="245"/>
                  <a:pt x="1380" y="245"/>
                  <a:pt x="1380" y="245"/>
                </a:cubicBezTo>
                <a:cubicBezTo>
                  <a:pt x="1380" y="245"/>
                  <a:pt x="1381" y="247"/>
                  <a:pt x="1383" y="247"/>
                </a:cubicBezTo>
                <a:cubicBezTo>
                  <a:pt x="1384" y="247"/>
                  <a:pt x="1386" y="245"/>
                  <a:pt x="1386" y="245"/>
                </a:cubicBezTo>
                <a:cubicBezTo>
                  <a:pt x="1386" y="247"/>
                  <a:pt x="1386" y="247"/>
                  <a:pt x="1386" y="247"/>
                </a:cubicBezTo>
                <a:cubicBezTo>
                  <a:pt x="1386" y="247"/>
                  <a:pt x="1383" y="249"/>
                  <a:pt x="1382" y="250"/>
                </a:cubicBezTo>
                <a:cubicBezTo>
                  <a:pt x="1381" y="252"/>
                  <a:pt x="1382" y="255"/>
                  <a:pt x="1382" y="255"/>
                </a:cubicBezTo>
                <a:cubicBezTo>
                  <a:pt x="1382" y="255"/>
                  <a:pt x="1384" y="253"/>
                  <a:pt x="1386" y="254"/>
                </a:cubicBezTo>
                <a:cubicBezTo>
                  <a:pt x="1387" y="255"/>
                  <a:pt x="1390" y="253"/>
                  <a:pt x="1390" y="253"/>
                </a:cubicBezTo>
                <a:cubicBezTo>
                  <a:pt x="1388" y="255"/>
                  <a:pt x="1388" y="255"/>
                  <a:pt x="1388" y="255"/>
                </a:cubicBezTo>
                <a:cubicBezTo>
                  <a:pt x="1389" y="259"/>
                  <a:pt x="1389" y="259"/>
                  <a:pt x="1389" y="259"/>
                </a:cubicBezTo>
                <a:cubicBezTo>
                  <a:pt x="1389" y="259"/>
                  <a:pt x="1387" y="262"/>
                  <a:pt x="1385" y="265"/>
                </a:cubicBezTo>
                <a:cubicBezTo>
                  <a:pt x="1384" y="267"/>
                  <a:pt x="1388" y="267"/>
                  <a:pt x="1388" y="267"/>
                </a:cubicBezTo>
                <a:cubicBezTo>
                  <a:pt x="1388" y="267"/>
                  <a:pt x="1391" y="265"/>
                  <a:pt x="1393" y="266"/>
                </a:cubicBezTo>
                <a:cubicBezTo>
                  <a:pt x="1394" y="267"/>
                  <a:pt x="1397" y="264"/>
                  <a:pt x="1397" y="264"/>
                </a:cubicBezTo>
                <a:cubicBezTo>
                  <a:pt x="1402" y="264"/>
                  <a:pt x="1402" y="264"/>
                  <a:pt x="1402" y="264"/>
                </a:cubicBezTo>
                <a:cubicBezTo>
                  <a:pt x="1402" y="264"/>
                  <a:pt x="1397" y="267"/>
                  <a:pt x="1397" y="269"/>
                </a:cubicBezTo>
                <a:cubicBezTo>
                  <a:pt x="1397" y="271"/>
                  <a:pt x="1403" y="273"/>
                  <a:pt x="1403" y="273"/>
                </a:cubicBezTo>
                <a:cubicBezTo>
                  <a:pt x="1403" y="276"/>
                  <a:pt x="1403" y="276"/>
                  <a:pt x="1403" y="276"/>
                </a:cubicBezTo>
                <a:cubicBezTo>
                  <a:pt x="1401" y="278"/>
                  <a:pt x="1401" y="278"/>
                  <a:pt x="1401" y="278"/>
                </a:cubicBezTo>
                <a:cubicBezTo>
                  <a:pt x="1401" y="278"/>
                  <a:pt x="1402" y="281"/>
                  <a:pt x="1401" y="282"/>
                </a:cubicBezTo>
                <a:cubicBezTo>
                  <a:pt x="1400" y="283"/>
                  <a:pt x="1392" y="282"/>
                  <a:pt x="1392" y="282"/>
                </a:cubicBezTo>
                <a:cubicBezTo>
                  <a:pt x="1392" y="282"/>
                  <a:pt x="1390" y="281"/>
                  <a:pt x="1388" y="281"/>
                </a:cubicBezTo>
                <a:cubicBezTo>
                  <a:pt x="1386" y="282"/>
                  <a:pt x="1389" y="284"/>
                  <a:pt x="1389" y="284"/>
                </a:cubicBezTo>
                <a:cubicBezTo>
                  <a:pt x="1386" y="287"/>
                  <a:pt x="1386" y="287"/>
                  <a:pt x="1386" y="287"/>
                </a:cubicBezTo>
                <a:cubicBezTo>
                  <a:pt x="1392" y="286"/>
                  <a:pt x="1392" y="286"/>
                  <a:pt x="1392" y="286"/>
                </a:cubicBezTo>
                <a:cubicBezTo>
                  <a:pt x="1392" y="286"/>
                  <a:pt x="1392" y="291"/>
                  <a:pt x="1390" y="293"/>
                </a:cubicBezTo>
                <a:cubicBezTo>
                  <a:pt x="1389" y="294"/>
                  <a:pt x="1383" y="296"/>
                  <a:pt x="1382" y="296"/>
                </a:cubicBezTo>
                <a:cubicBezTo>
                  <a:pt x="1381" y="297"/>
                  <a:pt x="1382" y="300"/>
                  <a:pt x="1383" y="301"/>
                </a:cubicBezTo>
                <a:cubicBezTo>
                  <a:pt x="1384" y="301"/>
                  <a:pt x="1388" y="298"/>
                  <a:pt x="1388" y="298"/>
                </a:cubicBezTo>
                <a:cubicBezTo>
                  <a:pt x="1388" y="298"/>
                  <a:pt x="1389" y="299"/>
                  <a:pt x="1389" y="300"/>
                </a:cubicBezTo>
                <a:cubicBezTo>
                  <a:pt x="1390" y="301"/>
                  <a:pt x="1392" y="300"/>
                  <a:pt x="1392" y="300"/>
                </a:cubicBezTo>
                <a:cubicBezTo>
                  <a:pt x="1392" y="300"/>
                  <a:pt x="1394" y="302"/>
                  <a:pt x="1396" y="302"/>
                </a:cubicBezTo>
                <a:cubicBezTo>
                  <a:pt x="1398" y="302"/>
                  <a:pt x="1399" y="301"/>
                  <a:pt x="1400" y="300"/>
                </a:cubicBezTo>
                <a:cubicBezTo>
                  <a:pt x="1401" y="299"/>
                  <a:pt x="1404" y="300"/>
                  <a:pt x="1404" y="300"/>
                </a:cubicBezTo>
                <a:cubicBezTo>
                  <a:pt x="1404" y="300"/>
                  <a:pt x="1400" y="303"/>
                  <a:pt x="1398" y="304"/>
                </a:cubicBezTo>
                <a:cubicBezTo>
                  <a:pt x="1396" y="306"/>
                  <a:pt x="1392" y="304"/>
                  <a:pt x="1390" y="304"/>
                </a:cubicBezTo>
                <a:cubicBezTo>
                  <a:pt x="1389" y="304"/>
                  <a:pt x="1389" y="306"/>
                  <a:pt x="1389" y="306"/>
                </a:cubicBezTo>
                <a:cubicBezTo>
                  <a:pt x="1389" y="306"/>
                  <a:pt x="1388" y="306"/>
                  <a:pt x="1386" y="307"/>
                </a:cubicBezTo>
                <a:cubicBezTo>
                  <a:pt x="1384" y="307"/>
                  <a:pt x="1386" y="309"/>
                  <a:pt x="1385" y="311"/>
                </a:cubicBezTo>
                <a:cubicBezTo>
                  <a:pt x="1384" y="312"/>
                  <a:pt x="1382" y="311"/>
                  <a:pt x="1381" y="311"/>
                </a:cubicBezTo>
                <a:cubicBezTo>
                  <a:pt x="1379" y="311"/>
                  <a:pt x="1380" y="314"/>
                  <a:pt x="1379" y="315"/>
                </a:cubicBezTo>
                <a:cubicBezTo>
                  <a:pt x="1377" y="316"/>
                  <a:pt x="1375" y="316"/>
                  <a:pt x="1375" y="317"/>
                </a:cubicBezTo>
                <a:cubicBezTo>
                  <a:pt x="1375" y="318"/>
                  <a:pt x="1379" y="318"/>
                  <a:pt x="1380" y="318"/>
                </a:cubicBezTo>
                <a:cubicBezTo>
                  <a:pt x="1380" y="318"/>
                  <a:pt x="1382" y="315"/>
                  <a:pt x="1383" y="314"/>
                </a:cubicBezTo>
                <a:cubicBezTo>
                  <a:pt x="1385" y="313"/>
                  <a:pt x="1387" y="314"/>
                  <a:pt x="1389" y="314"/>
                </a:cubicBezTo>
                <a:cubicBezTo>
                  <a:pt x="1390" y="314"/>
                  <a:pt x="1391" y="316"/>
                  <a:pt x="1392" y="316"/>
                </a:cubicBezTo>
                <a:cubicBezTo>
                  <a:pt x="1394" y="316"/>
                  <a:pt x="1396" y="310"/>
                  <a:pt x="1398" y="310"/>
                </a:cubicBezTo>
                <a:cubicBezTo>
                  <a:pt x="1399" y="309"/>
                  <a:pt x="1402" y="311"/>
                  <a:pt x="1402" y="311"/>
                </a:cubicBezTo>
                <a:cubicBezTo>
                  <a:pt x="1406" y="311"/>
                  <a:pt x="1406" y="311"/>
                  <a:pt x="1406" y="311"/>
                </a:cubicBezTo>
                <a:cubicBezTo>
                  <a:pt x="1410" y="310"/>
                  <a:pt x="1410" y="310"/>
                  <a:pt x="1410" y="310"/>
                </a:cubicBezTo>
                <a:cubicBezTo>
                  <a:pt x="1410" y="310"/>
                  <a:pt x="1414" y="312"/>
                  <a:pt x="1415" y="311"/>
                </a:cubicBezTo>
                <a:cubicBezTo>
                  <a:pt x="1416" y="311"/>
                  <a:pt x="1413" y="309"/>
                  <a:pt x="1414" y="308"/>
                </a:cubicBezTo>
                <a:cubicBezTo>
                  <a:pt x="1416" y="307"/>
                  <a:pt x="1418" y="310"/>
                  <a:pt x="1418" y="310"/>
                </a:cubicBezTo>
                <a:cubicBezTo>
                  <a:pt x="1419" y="309"/>
                  <a:pt x="1419" y="309"/>
                  <a:pt x="1419" y="309"/>
                </a:cubicBezTo>
                <a:cubicBezTo>
                  <a:pt x="1419" y="309"/>
                  <a:pt x="1430" y="309"/>
                  <a:pt x="1433" y="307"/>
                </a:cubicBezTo>
                <a:cubicBezTo>
                  <a:pt x="1435" y="306"/>
                  <a:pt x="1437" y="303"/>
                  <a:pt x="1437" y="303"/>
                </a:cubicBezTo>
                <a:cubicBezTo>
                  <a:pt x="1429" y="302"/>
                  <a:pt x="1429" y="302"/>
                  <a:pt x="1429" y="302"/>
                </a:cubicBezTo>
                <a:cubicBezTo>
                  <a:pt x="1433" y="301"/>
                  <a:pt x="1433" y="301"/>
                  <a:pt x="1433" y="301"/>
                </a:cubicBezTo>
                <a:cubicBezTo>
                  <a:pt x="1432" y="299"/>
                  <a:pt x="1432" y="299"/>
                  <a:pt x="1432" y="299"/>
                </a:cubicBezTo>
                <a:cubicBezTo>
                  <a:pt x="1432" y="299"/>
                  <a:pt x="1435" y="296"/>
                  <a:pt x="1436" y="296"/>
                </a:cubicBezTo>
                <a:cubicBezTo>
                  <a:pt x="1438" y="296"/>
                  <a:pt x="1440" y="294"/>
                  <a:pt x="1440" y="289"/>
                </a:cubicBezTo>
                <a:cubicBezTo>
                  <a:pt x="1440" y="285"/>
                  <a:pt x="1430" y="285"/>
                  <a:pt x="1430" y="285"/>
                </a:cubicBezTo>
                <a:cubicBezTo>
                  <a:pt x="1430" y="285"/>
                  <a:pt x="1429" y="288"/>
                  <a:pt x="1427" y="287"/>
                </a:cubicBezTo>
                <a:cubicBezTo>
                  <a:pt x="1425" y="285"/>
                  <a:pt x="1429" y="284"/>
                  <a:pt x="1429" y="282"/>
                </a:cubicBezTo>
                <a:cubicBezTo>
                  <a:pt x="1429" y="280"/>
                  <a:pt x="1422" y="279"/>
                  <a:pt x="1422" y="278"/>
                </a:cubicBezTo>
                <a:cubicBezTo>
                  <a:pt x="1422" y="277"/>
                  <a:pt x="1427" y="277"/>
                  <a:pt x="1427" y="277"/>
                </a:cubicBezTo>
                <a:cubicBezTo>
                  <a:pt x="1425" y="276"/>
                  <a:pt x="1425" y="276"/>
                  <a:pt x="1425" y="276"/>
                </a:cubicBezTo>
                <a:cubicBezTo>
                  <a:pt x="1425" y="276"/>
                  <a:pt x="1423" y="271"/>
                  <a:pt x="1422" y="270"/>
                </a:cubicBezTo>
                <a:cubicBezTo>
                  <a:pt x="1421" y="268"/>
                  <a:pt x="1419" y="268"/>
                  <a:pt x="1419" y="268"/>
                </a:cubicBezTo>
                <a:cubicBezTo>
                  <a:pt x="1419" y="268"/>
                  <a:pt x="1417" y="266"/>
                  <a:pt x="1415" y="265"/>
                </a:cubicBezTo>
                <a:cubicBezTo>
                  <a:pt x="1414" y="264"/>
                  <a:pt x="1415" y="257"/>
                  <a:pt x="1415" y="257"/>
                </a:cubicBezTo>
                <a:cubicBezTo>
                  <a:pt x="1413" y="257"/>
                  <a:pt x="1413" y="257"/>
                  <a:pt x="1413" y="257"/>
                </a:cubicBezTo>
                <a:cubicBezTo>
                  <a:pt x="1413" y="257"/>
                  <a:pt x="1413" y="256"/>
                  <a:pt x="1410" y="254"/>
                </a:cubicBezTo>
                <a:cubicBezTo>
                  <a:pt x="1407" y="252"/>
                  <a:pt x="1403" y="254"/>
                  <a:pt x="1401" y="254"/>
                </a:cubicBezTo>
                <a:cubicBezTo>
                  <a:pt x="1400" y="254"/>
                  <a:pt x="1398" y="252"/>
                  <a:pt x="1398" y="252"/>
                </a:cubicBezTo>
                <a:cubicBezTo>
                  <a:pt x="1398" y="252"/>
                  <a:pt x="1401" y="253"/>
                  <a:pt x="1402" y="253"/>
                </a:cubicBezTo>
                <a:cubicBezTo>
                  <a:pt x="1402" y="252"/>
                  <a:pt x="1406" y="252"/>
                  <a:pt x="1406" y="250"/>
                </a:cubicBezTo>
                <a:cubicBezTo>
                  <a:pt x="1407" y="249"/>
                  <a:pt x="1403" y="249"/>
                  <a:pt x="1403" y="249"/>
                </a:cubicBezTo>
                <a:cubicBezTo>
                  <a:pt x="1406" y="248"/>
                  <a:pt x="1406" y="248"/>
                  <a:pt x="1406" y="248"/>
                </a:cubicBezTo>
                <a:cubicBezTo>
                  <a:pt x="1406" y="248"/>
                  <a:pt x="1408" y="247"/>
                  <a:pt x="1409" y="246"/>
                </a:cubicBezTo>
                <a:cubicBezTo>
                  <a:pt x="1410" y="245"/>
                  <a:pt x="1412" y="240"/>
                  <a:pt x="1412" y="240"/>
                </a:cubicBezTo>
                <a:cubicBezTo>
                  <a:pt x="1412" y="240"/>
                  <a:pt x="1416" y="238"/>
                  <a:pt x="1416" y="236"/>
                </a:cubicBezTo>
                <a:cubicBezTo>
                  <a:pt x="1416" y="235"/>
                  <a:pt x="1404" y="236"/>
                  <a:pt x="1404" y="236"/>
                </a:cubicBezTo>
                <a:cubicBezTo>
                  <a:pt x="1404" y="236"/>
                  <a:pt x="1404" y="235"/>
                  <a:pt x="1402" y="235"/>
                </a:cubicBezTo>
                <a:cubicBezTo>
                  <a:pt x="1399" y="235"/>
                  <a:pt x="1395" y="237"/>
                  <a:pt x="1395" y="237"/>
                </a:cubicBezTo>
                <a:cubicBezTo>
                  <a:pt x="1397" y="235"/>
                  <a:pt x="1397" y="235"/>
                  <a:pt x="1397" y="235"/>
                </a:cubicBezTo>
                <a:cubicBezTo>
                  <a:pt x="1395" y="233"/>
                  <a:pt x="1395" y="233"/>
                  <a:pt x="1395" y="233"/>
                </a:cubicBezTo>
                <a:cubicBezTo>
                  <a:pt x="1398" y="233"/>
                  <a:pt x="1398" y="233"/>
                  <a:pt x="1398" y="233"/>
                </a:cubicBezTo>
                <a:cubicBezTo>
                  <a:pt x="1402" y="230"/>
                  <a:pt x="1402" y="230"/>
                  <a:pt x="1402" y="230"/>
                </a:cubicBezTo>
                <a:cubicBezTo>
                  <a:pt x="1402" y="230"/>
                  <a:pt x="1404" y="228"/>
                  <a:pt x="1405" y="226"/>
                </a:cubicBezTo>
                <a:cubicBezTo>
                  <a:pt x="1405" y="225"/>
                  <a:pt x="1402" y="225"/>
                  <a:pt x="1400" y="225"/>
                </a:cubicBezTo>
                <a:cubicBezTo>
                  <a:pt x="1399" y="225"/>
                  <a:pt x="1396" y="227"/>
                  <a:pt x="1394" y="227"/>
                </a:cubicBezTo>
                <a:cubicBezTo>
                  <a:pt x="1393" y="227"/>
                  <a:pt x="1391" y="225"/>
                  <a:pt x="1390" y="226"/>
                </a:cubicBezTo>
                <a:cubicBezTo>
                  <a:pt x="1388" y="226"/>
                  <a:pt x="1390" y="229"/>
                  <a:pt x="1390" y="229"/>
                </a:cubicBezTo>
                <a:cubicBezTo>
                  <a:pt x="1390" y="229"/>
                  <a:pt x="1388" y="229"/>
                  <a:pt x="1387" y="230"/>
                </a:cubicBezTo>
                <a:cubicBezTo>
                  <a:pt x="1386" y="230"/>
                  <a:pt x="1388" y="234"/>
                  <a:pt x="1388" y="234"/>
                </a:cubicBezTo>
                <a:cubicBezTo>
                  <a:pt x="1382" y="234"/>
                  <a:pt x="1382" y="234"/>
                  <a:pt x="1382" y="234"/>
                </a:cubicBezTo>
                <a:cubicBezTo>
                  <a:pt x="1382" y="235"/>
                  <a:pt x="1382" y="235"/>
                  <a:pt x="1382" y="235"/>
                </a:cubicBezTo>
                <a:cubicBezTo>
                  <a:pt x="1383" y="237"/>
                  <a:pt x="1383" y="237"/>
                  <a:pt x="1383" y="237"/>
                </a:cubicBezTo>
                <a:cubicBezTo>
                  <a:pt x="1385" y="240"/>
                  <a:pt x="1385" y="240"/>
                  <a:pt x="1385" y="240"/>
                </a:cubicBezTo>
                <a:cubicBezTo>
                  <a:pt x="1385" y="240"/>
                  <a:pt x="1385" y="240"/>
                  <a:pt x="1385" y="240"/>
                </a:cubicBezTo>
                <a:close/>
                <a:moveTo>
                  <a:pt x="1569" y="241"/>
                </a:moveTo>
                <a:cubicBezTo>
                  <a:pt x="1568" y="238"/>
                  <a:pt x="1568" y="238"/>
                  <a:pt x="1568" y="238"/>
                </a:cubicBezTo>
                <a:cubicBezTo>
                  <a:pt x="1568" y="238"/>
                  <a:pt x="1563" y="245"/>
                  <a:pt x="1563" y="247"/>
                </a:cubicBezTo>
                <a:cubicBezTo>
                  <a:pt x="1563" y="248"/>
                  <a:pt x="1563" y="250"/>
                  <a:pt x="1563" y="250"/>
                </a:cubicBezTo>
                <a:cubicBezTo>
                  <a:pt x="1565" y="250"/>
                  <a:pt x="1566" y="244"/>
                  <a:pt x="1566" y="244"/>
                </a:cubicBezTo>
                <a:cubicBezTo>
                  <a:pt x="1569" y="241"/>
                  <a:pt x="1569" y="241"/>
                  <a:pt x="1569" y="241"/>
                </a:cubicBezTo>
                <a:cubicBezTo>
                  <a:pt x="1569" y="241"/>
                  <a:pt x="1569" y="241"/>
                  <a:pt x="1569" y="241"/>
                </a:cubicBezTo>
                <a:close/>
                <a:moveTo>
                  <a:pt x="1648" y="462"/>
                </a:moveTo>
                <a:cubicBezTo>
                  <a:pt x="1647" y="461"/>
                  <a:pt x="1647" y="461"/>
                  <a:pt x="1647" y="461"/>
                </a:cubicBezTo>
                <a:cubicBezTo>
                  <a:pt x="1646" y="463"/>
                  <a:pt x="1646" y="463"/>
                  <a:pt x="1646" y="463"/>
                </a:cubicBezTo>
                <a:cubicBezTo>
                  <a:pt x="1648" y="462"/>
                  <a:pt x="1648" y="462"/>
                  <a:pt x="1648" y="462"/>
                </a:cubicBezTo>
                <a:cubicBezTo>
                  <a:pt x="1648" y="462"/>
                  <a:pt x="1648" y="462"/>
                  <a:pt x="1648" y="462"/>
                </a:cubicBezTo>
                <a:close/>
                <a:moveTo>
                  <a:pt x="1576" y="237"/>
                </a:moveTo>
                <a:cubicBezTo>
                  <a:pt x="1575" y="239"/>
                  <a:pt x="1578" y="244"/>
                  <a:pt x="1578" y="244"/>
                </a:cubicBezTo>
                <a:cubicBezTo>
                  <a:pt x="1580" y="240"/>
                  <a:pt x="1580" y="240"/>
                  <a:pt x="1580" y="240"/>
                </a:cubicBezTo>
                <a:cubicBezTo>
                  <a:pt x="1580" y="240"/>
                  <a:pt x="1581" y="241"/>
                  <a:pt x="1582" y="239"/>
                </a:cubicBezTo>
                <a:cubicBezTo>
                  <a:pt x="1583" y="237"/>
                  <a:pt x="1582" y="235"/>
                  <a:pt x="1582" y="235"/>
                </a:cubicBezTo>
                <a:cubicBezTo>
                  <a:pt x="1584" y="233"/>
                  <a:pt x="1584" y="233"/>
                  <a:pt x="1584" y="233"/>
                </a:cubicBezTo>
                <a:cubicBezTo>
                  <a:pt x="1584" y="233"/>
                  <a:pt x="1577" y="234"/>
                  <a:pt x="1576" y="237"/>
                </a:cubicBezTo>
                <a:close/>
                <a:moveTo>
                  <a:pt x="1607" y="226"/>
                </a:moveTo>
                <a:cubicBezTo>
                  <a:pt x="1605" y="227"/>
                  <a:pt x="1607" y="230"/>
                  <a:pt x="1607" y="230"/>
                </a:cubicBezTo>
                <a:cubicBezTo>
                  <a:pt x="1608" y="233"/>
                  <a:pt x="1608" y="233"/>
                  <a:pt x="1608" y="233"/>
                </a:cubicBezTo>
                <a:cubicBezTo>
                  <a:pt x="1608" y="233"/>
                  <a:pt x="1611" y="230"/>
                  <a:pt x="1612" y="230"/>
                </a:cubicBezTo>
                <a:cubicBezTo>
                  <a:pt x="1613" y="230"/>
                  <a:pt x="1617" y="227"/>
                  <a:pt x="1617" y="227"/>
                </a:cubicBezTo>
                <a:cubicBezTo>
                  <a:pt x="1616" y="225"/>
                  <a:pt x="1616" y="225"/>
                  <a:pt x="1616" y="225"/>
                </a:cubicBezTo>
                <a:cubicBezTo>
                  <a:pt x="1611" y="226"/>
                  <a:pt x="1611" y="226"/>
                  <a:pt x="1611" y="226"/>
                </a:cubicBezTo>
                <a:cubicBezTo>
                  <a:pt x="1611" y="226"/>
                  <a:pt x="1608" y="226"/>
                  <a:pt x="1607" y="226"/>
                </a:cubicBezTo>
                <a:close/>
                <a:moveTo>
                  <a:pt x="1612" y="220"/>
                </a:moveTo>
                <a:cubicBezTo>
                  <a:pt x="1610" y="221"/>
                  <a:pt x="1608" y="224"/>
                  <a:pt x="1611" y="224"/>
                </a:cubicBezTo>
                <a:cubicBezTo>
                  <a:pt x="1614" y="224"/>
                  <a:pt x="1615" y="220"/>
                  <a:pt x="1612" y="220"/>
                </a:cubicBezTo>
                <a:close/>
                <a:moveTo>
                  <a:pt x="1531" y="253"/>
                </a:moveTo>
                <a:cubicBezTo>
                  <a:pt x="1531" y="253"/>
                  <a:pt x="1529" y="251"/>
                  <a:pt x="1529" y="251"/>
                </a:cubicBezTo>
                <a:cubicBezTo>
                  <a:pt x="1529" y="251"/>
                  <a:pt x="1526" y="252"/>
                  <a:pt x="1526" y="253"/>
                </a:cubicBezTo>
                <a:cubicBezTo>
                  <a:pt x="1526" y="254"/>
                  <a:pt x="1526" y="255"/>
                  <a:pt x="1526" y="255"/>
                </a:cubicBezTo>
                <a:cubicBezTo>
                  <a:pt x="1526" y="255"/>
                  <a:pt x="1524" y="253"/>
                  <a:pt x="1524" y="253"/>
                </a:cubicBezTo>
                <a:cubicBezTo>
                  <a:pt x="1523" y="253"/>
                  <a:pt x="1523" y="254"/>
                  <a:pt x="1523" y="254"/>
                </a:cubicBezTo>
                <a:cubicBezTo>
                  <a:pt x="1519" y="256"/>
                  <a:pt x="1519" y="256"/>
                  <a:pt x="1519" y="256"/>
                </a:cubicBezTo>
                <a:cubicBezTo>
                  <a:pt x="1519" y="256"/>
                  <a:pt x="1521" y="257"/>
                  <a:pt x="1521" y="260"/>
                </a:cubicBezTo>
                <a:cubicBezTo>
                  <a:pt x="1521" y="262"/>
                  <a:pt x="1519" y="262"/>
                  <a:pt x="1521" y="262"/>
                </a:cubicBezTo>
                <a:cubicBezTo>
                  <a:pt x="1524" y="263"/>
                  <a:pt x="1525" y="262"/>
                  <a:pt x="1525" y="262"/>
                </a:cubicBezTo>
                <a:cubicBezTo>
                  <a:pt x="1525" y="262"/>
                  <a:pt x="1527" y="266"/>
                  <a:pt x="1527" y="265"/>
                </a:cubicBezTo>
                <a:cubicBezTo>
                  <a:pt x="1527" y="264"/>
                  <a:pt x="1529" y="261"/>
                  <a:pt x="1530" y="260"/>
                </a:cubicBezTo>
                <a:cubicBezTo>
                  <a:pt x="1530" y="260"/>
                  <a:pt x="1532" y="260"/>
                  <a:pt x="1530" y="259"/>
                </a:cubicBezTo>
                <a:cubicBezTo>
                  <a:pt x="1529" y="258"/>
                  <a:pt x="1527" y="257"/>
                  <a:pt x="1528" y="257"/>
                </a:cubicBezTo>
                <a:cubicBezTo>
                  <a:pt x="1529" y="257"/>
                  <a:pt x="1530" y="257"/>
                  <a:pt x="1529" y="256"/>
                </a:cubicBezTo>
                <a:cubicBezTo>
                  <a:pt x="1528" y="255"/>
                  <a:pt x="1531" y="253"/>
                  <a:pt x="1531" y="253"/>
                </a:cubicBezTo>
                <a:close/>
                <a:moveTo>
                  <a:pt x="1520" y="266"/>
                </a:moveTo>
                <a:cubicBezTo>
                  <a:pt x="1522" y="266"/>
                  <a:pt x="1524" y="268"/>
                  <a:pt x="1524" y="268"/>
                </a:cubicBezTo>
                <a:cubicBezTo>
                  <a:pt x="1524" y="268"/>
                  <a:pt x="1528" y="268"/>
                  <a:pt x="1531" y="267"/>
                </a:cubicBezTo>
                <a:cubicBezTo>
                  <a:pt x="1535" y="266"/>
                  <a:pt x="1532" y="264"/>
                  <a:pt x="1532" y="264"/>
                </a:cubicBezTo>
                <a:cubicBezTo>
                  <a:pt x="1528" y="265"/>
                  <a:pt x="1528" y="265"/>
                  <a:pt x="1528" y="265"/>
                </a:cubicBezTo>
                <a:cubicBezTo>
                  <a:pt x="1528" y="265"/>
                  <a:pt x="1526" y="266"/>
                  <a:pt x="1525" y="266"/>
                </a:cubicBezTo>
                <a:cubicBezTo>
                  <a:pt x="1525" y="266"/>
                  <a:pt x="1521" y="264"/>
                  <a:pt x="1520" y="264"/>
                </a:cubicBezTo>
                <a:cubicBezTo>
                  <a:pt x="1518" y="264"/>
                  <a:pt x="1518" y="266"/>
                  <a:pt x="1520" y="266"/>
                </a:cubicBezTo>
                <a:close/>
                <a:moveTo>
                  <a:pt x="1672" y="479"/>
                </a:moveTo>
                <a:cubicBezTo>
                  <a:pt x="1671" y="474"/>
                  <a:pt x="1671" y="474"/>
                  <a:pt x="1671" y="474"/>
                </a:cubicBezTo>
                <a:cubicBezTo>
                  <a:pt x="1669" y="480"/>
                  <a:pt x="1669" y="480"/>
                  <a:pt x="1669" y="480"/>
                </a:cubicBezTo>
                <a:cubicBezTo>
                  <a:pt x="1672" y="479"/>
                  <a:pt x="1672" y="479"/>
                  <a:pt x="1672" y="479"/>
                </a:cubicBezTo>
                <a:cubicBezTo>
                  <a:pt x="1672" y="479"/>
                  <a:pt x="1672" y="479"/>
                  <a:pt x="1672" y="479"/>
                </a:cubicBezTo>
                <a:close/>
                <a:moveTo>
                  <a:pt x="1672" y="460"/>
                </a:moveTo>
                <a:cubicBezTo>
                  <a:pt x="1669" y="462"/>
                  <a:pt x="1669" y="462"/>
                  <a:pt x="1669" y="462"/>
                </a:cubicBezTo>
                <a:cubicBezTo>
                  <a:pt x="1669" y="465"/>
                  <a:pt x="1669" y="465"/>
                  <a:pt x="1669" y="465"/>
                </a:cubicBezTo>
                <a:cubicBezTo>
                  <a:pt x="1674" y="461"/>
                  <a:pt x="1674" y="461"/>
                  <a:pt x="1674" y="461"/>
                </a:cubicBezTo>
                <a:cubicBezTo>
                  <a:pt x="1672" y="460"/>
                  <a:pt x="1672" y="460"/>
                  <a:pt x="1672" y="460"/>
                </a:cubicBezTo>
                <a:cubicBezTo>
                  <a:pt x="1672" y="460"/>
                  <a:pt x="1672" y="460"/>
                  <a:pt x="1672" y="460"/>
                </a:cubicBezTo>
                <a:close/>
                <a:moveTo>
                  <a:pt x="1680" y="467"/>
                </a:moveTo>
                <a:cubicBezTo>
                  <a:pt x="1679" y="466"/>
                  <a:pt x="1675" y="472"/>
                  <a:pt x="1676" y="474"/>
                </a:cubicBezTo>
                <a:cubicBezTo>
                  <a:pt x="1677" y="475"/>
                  <a:pt x="1681" y="469"/>
                  <a:pt x="1680" y="467"/>
                </a:cubicBezTo>
                <a:close/>
                <a:moveTo>
                  <a:pt x="1856" y="110"/>
                </a:moveTo>
                <a:cubicBezTo>
                  <a:pt x="1855" y="111"/>
                  <a:pt x="1869" y="119"/>
                  <a:pt x="1870" y="115"/>
                </a:cubicBezTo>
                <a:cubicBezTo>
                  <a:pt x="1871" y="112"/>
                  <a:pt x="1857" y="108"/>
                  <a:pt x="1856" y="110"/>
                </a:cubicBezTo>
                <a:close/>
                <a:moveTo>
                  <a:pt x="1511" y="262"/>
                </a:moveTo>
                <a:cubicBezTo>
                  <a:pt x="1512" y="262"/>
                  <a:pt x="1514" y="264"/>
                  <a:pt x="1514" y="264"/>
                </a:cubicBezTo>
                <a:cubicBezTo>
                  <a:pt x="1515" y="260"/>
                  <a:pt x="1515" y="260"/>
                  <a:pt x="1515" y="260"/>
                </a:cubicBezTo>
                <a:cubicBezTo>
                  <a:pt x="1513" y="257"/>
                  <a:pt x="1513" y="257"/>
                  <a:pt x="1513" y="257"/>
                </a:cubicBezTo>
                <a:cubicBezTo>
                  <a:pt x="1510" y="257"/>
                  <a:pt x="1510" y="257"/>
                  <a:pt x="1510" y="257"/>
                </a:cubicBezTo>
                <a:cubicBezTo>
                  <a:pt x="1511" y="262"/>
                  <a:pt x="1511" y="262"/>
                  <a:pt x="1511" y="262"/>
                </a:cubicBezTo>
                <a:cubicBezTo>
                  <a:pt x="1511" y="262"/>
                  <a:pt x="1511" y="262"/>
                  <a:pt x="1511" y="262"/>
                </a:cubicBezTo>
                <a:close/>
                <a:moveTo>
                  <a:pt x="1808" y="97"/>
                </a:moveTo>
                <a:cubicBezTo>
                  <a:pt x="1811" y="97"/>
                  <a:pt x="1815" y="98"/>
                  <a:pt x="1817" y="99"/>
                </a:cubicBezTo>
                <a:cubicBezTo>
                  <a:pt x="1819" y="100"/>
                  <a:pt x="1819" y="104"/>
                  <a:pt x="1819" y="104"/>
                </a:cubicBezTo>
                <a:cubicBezTo>
                  <a:pt x="1820" y="104"/>
                  <a:pt x="1830" y="106"/>
                  <a:pt x="1830" y="106"/>
                </a:cubicBezTo>
                <a:cubicBezTo>
                  <a:pt x="1846" y="105"/>
                  <a:pt x="1846" y="105"/>
                  <a:pt x="1846" y="105"/>
                </a:cubicBezTo>
                <a:cubicBezTo>
                  <a:pt x="1846" y="105"/>
                  <a:pt x="1833" y="104"/>
                  <a:pt x="1830" y="98"/>
                </a:cubicBezTo>
                <a:cubicBezTo>
                  <a:pt x="1826" y="93"/>
                  <a:pt x="1823" y="93"/>
                  <a:pt x="1826" y="88"/>
                </a:cubicBezTo>
                <a:cubicBezTo>
                  <a:pt x="1830" y="83"/>
                  <a:pt x="1826" y="83"/>
                  <a:pt x="1826" y="83"/>
                </a:cubicBezTo>
                <a:cubicBezTo>
                  <a:pt x="1831" y="82"/>
                  <a:pt x="1831" y="82"/>
                  <a:pt x="1831" y="82"/>
                </a:cubicBezTo>
                <a:cubicBezTo>
                  <a:pt x="1829" y="79"/>
                  <a:pt x="1829" y="79"/>
                  <a:pt x="1829" y="79"/>
                </a:cubicBezTo>
                <a:cubicBezTo>
                  <a:pt x="1834" y="80"/>
                  <a:pt x="1834" y="80"/>
                  <a:pt x="1834" y="80"/>
                </a:cubicBezTo>
                <a:cubicBezTo>
                  <a:pt x="1831" y="78"/>
                  <a:pt x="1831" y="78"/>
                  <a:pt x="1831" y="78"/>
                </a:cubicBezTo>
                <a:cubicBezTo>
                  <a:pt x="1835" y="79"/>
                  <a:pt x="1835" y="79"/>
                  <a:pt x="1835" y="79"/>
                </a:cubicBezTo>
                <a:cubicBezTo>
                  <a:pt x="1835" y="76"/>
                  <a:pt x="1835" y="76"/>
                  <a:pt x="1835" y="76"/>
                </a:cubicBezTo>
                <a:cubicBezTo>
                  <a:pt x="1833" y="75"/>
                  <a:pt x="1833" y="75"/>
                  <a:pt x="1833" y="75"/>
                </a:cubicBezTo>
                <a:cubicBezTo>
                  <a:pt x="1833" y="75"/>
                  <a:pt x="1838" y="76"/>
                  <a:pt x="1839" y="75"/>
                </a:cubicBezTo>
                <a:cubicBezTo>
                  <a:pt x="1840" y="74"/>
                  <a:pt x="1837" y="72"/>
                  <a:pt x="1837" y="72"/>
                </a:cubicBezTo>
                <a:cubicBezTo>
                  <a:pt x="1841" y="72"/>
                  <a:pt x="1841" y="72"/>
                  <a:pt x="1841" y="72"/>
                </a:cubicBezTo>
                <a:cubicBezTo>
                  <a:pt x="1841" y="68"/>
                  <a:pt x="1841" y="68"/>
                  <a:pt x="1841" y="68"/>
                </a:cubicBezTo>
                <a:cubicBezTo>
                  <a:pt x="1841" y="68"/>
                  <a:pt x="1844" y="71"/>
                  <a:pt x="1848" y="69"/>
                </a:cubicBezTo>
                <a:cubicBezTo>
                  <a:pt x="1852" y="68"/>
                  <a:pt x="1854" y="65"/>
                  <a:pt x="1854" y="65"/>
                </a:cubicBezTo>
                <a:cubicBezTo>
                  <a:pt x="1854" y="65"/>
                  <a:pt x="1884" y="60"/>
                  <a:pt x="1889" y="58"/>
                </a:cubicBezTo>
                <a:cubicBezTo>
                  <a:pt x="1893" y="56"/>
                  <a:pt x="1898" y="53"/>
                  <a:pt x="1891" y="51"/>
                </a:cubicBezTo>
                <a:cubicBezTo>
                  <a:pt x="1884" y="48"/>
                  <a:pt x="1877" y="52"/>
                  <a:pt x="1874" y="53"/>
                </a:cubicBezTo>
                <a:cubicBezTo>
                  <a:pt x="1871" y="54"/>
                  <a:pt x="1862" y="57"/>
                  <a:pt x="1857" y="57"/>
                </a:cubicBezTo>
                <a:cubicBezTo>
                  <a:pt x="1853" y="56"/>
                  <a:pt x="1847" y="56"/>
                  <a:pt x="1847" y="56"/>
                </a:cubicBezTo>
                <a:cubicBezTo>
                  <a:pt x="1844" y="59"/>
                  <a:pt x="1844" y="59"/>
                  <a:pt x="1844" y="59"/>
                </a:cubicBezTo>
                <a:cubicBezTo>
                  <a:pt x="1841" y="57"/>
                  <a:pt x="1841" y="57"/>
                  <a:pt x="1841" y="57"/>
                </a:cubicBezTo>
                <a:cubicBezTo>
                  <a:pt x="1833" y="60"/>
                  <a:pt x="1833" y="60"/>
                  <a:pt x="1833" y="60"/>
                </a:cubicBezTo>
                <a:cubicBezTo>
                  <a:pt x="1829" y="60"/>
                  <a:pt x="1829" y="60"/>
                  <a:pt x="1829" y="60"/>
                </a:cubicBezTo>
                <a:cubicBezTo>
                  <a:pt x="1825" y="63"/>
                  <a:pt x="1825" y="63"/>
                  <a:pt x="1825" y="63"/>
                </a:cubicBezTo>
                <a:cubicBezTo>
                  <a:pt x="1828" y="64"/>
                  <a:pt x="1828" y="64"/>
                  <a:pt x="1828" y="64"/>
                </a:cubicBezTo>
                <a:cubicBezTo>
                  <a:pt x="1821" y="64"/>
                  <a:pt x="1821" y="64"/>
                  <a:pt x="1821" y="64"/>
                </a:cubicBezTo>
                <a:cubicBezTo>
                  <a:pt x="1817" y="66"/>
                  <a:pt x="1817" y="66"/>
                  <a:pt x="1817" y="66"/>
                </a:cubicBezTo>
                <a:cubicBezTo>
                  <a:pt x="1818" y="67"/>
                  <a:pt x="1818" y="67"/>
                  <a:pt x="1818" y="67"/>
                </a:cubicBezTo>
                <a:cubicBezTo>
                  <a:pt x="1821" y="66"/>
                  <a:pt x="1821" y="66"/>
                  <a:pt x="1821" y="66"/>
                </a:cubicBezTo>
                <a:cubicBezTo>
                  <a:pt x="1821" y="67"/>
                  <a:pt x="1821" y="67"/>
                  <a:pt x="1821" y="67"/>
                </a:cubicBezTo>
                <a:cubicBezTo>
                  <a:pt x="1825" y="68"/>
                  <a:pt x="1825" y="68"/>
                  <a:pt x="1825" y="68"/>
                </a:cubicBezTo>
                <a:cubicBezTo>
                  <a:pt x="1824" y="70"/>
                  <a:pt x="1824" y="70"/>
                  <a:pt x="1824" y="70"/>
                </a:cubicBezTo>
                <a:cubicBezTo>
                  <a:pt x="1819" y="70"/>
                  <a:pt x="1819" y="70"/>
                  <a:pt x="1819" y="70"/>
                </a:cubicBezTo>
                <a:cubicBezTo>
                  <a:pt x="1818" y="71"/>
                  <a:pt x="1818" y="71"/>
                  <a:pt x="1818" y="71"/>
                </a:cubicBezTo>
                <a:cubicBezTo>
                  <a:pt x="1822" y="72"/>
                  <a:pt x="1822" y="72"/>
                  <a:pt x="1822" y="72"/>
                </a:cubicBezTo>
                <a:cubicBezTo>
                  <a:pt x="1815" y="72"/>
                  <a:pt x="1815" y="72"/>
                  <a:pt x="1815" y="72"/>
                </a:cubicBezTo>
                <a:cubicBezTo>
                  <a:pt x="1820" y="74"/>
                  <a:pt x="1820" y="74"/>
                  <a:pt x="1820" y="74"/>
                </a:cubicBezTo>
                <a:cubicBezTo>
                  <a:pt x="1814" y="74"/>
                  <a:pt x="1814" y="74"/>
                  <a:pt x="1814" y="74"/>
                </a:cubicBezTo>
                <a:cubicBezTo>
                  <a:pt x="1813" y="77"/>
                  <a:pt x="1813" y="77"/>
                  <a:pt x="1813" y="77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811" y="81"/>
                  <a:pt x="1811" y="81"/>
                  <a:pt x="1811" y="81"/>
                </a:cubicBezTo>
                <a:cubicBezTo>
                  <a:pt x="1816" y="78"/>
                  <a:pt x="1816" y="78"/>
                  <a:pt x="1816" y="78"/>
                </a:cubicBezTo>
                <a:cubicBezTo>
                  <a:pt x="1814" y="82"/>
                  <a:pt x="1814" y="82"/>
                  <a:pt x="1814" y="82"/>
                </a:cubicBezTo>
                <a:cubicBezTo>
                  <a:pt x="1814" y="82"/>
                  <a:pt x="1809" y="81"/>
                  <a:pt x="1808" y="82"/>
                </a:cubicBezTo>
                <a:cubicBezTo>
                  <a:pt x="1806" y="84"/>
                  <a:pt x="1808" y="85"/>
                  <a:pt x="1808" y="85"/>
                </a:cubicBezTo>
                <a:cubicBezTo>
                  <a:pt x="1801" y="86"/>
                  <a:pt x="1801" y="86"/>
                  <a:pt x="1801" y="86"/>
                </a:cubicBezTo>
                <a:cubicBezTo>
                  <a:pt x="1803" y="89"/>
                  <a:pt x="1803" y="89"/>
                  <a:pt x="1803" y="89"/>
                </a:cubicBezTo>
                <a:cubicBezTo>
                  <a:pt x="1807" y="87"/>
                  <a:pt x="1807" y="87"/>
                  <a:pt x="1807" y="87"/>
                </a:cubicBezTo>
                <a:cubicBezTo>
                  <a:pt x="1805" y="90"/>
                  <a:pt x="1805" y="90"/>
                  <a:pt x="1805" y="90"/>
                </a:cubicBezTo>
                <a:cubicBezTo>
                  <a:pt x="1805" y="90"/>
                  <a:pt x="1799" y="92"/>
                  <a:pt x="1800" y="94"/>
                </a:cubicBezTo>
                <a:cubicBezTo>
                  <a:pt x="1800" y="96"/>
                  <a:pt x="1806" y="97"/>
                  <a:pt x="1808" y="97"/>
                </a:cubicBezTo>
                <a:close/>
                <a:moveTo>
                  <a:pt x="1557" y="125"/>
                </a:moveTo>
                <a:cubicBezTo>
                  <a:pt x="1559" y="124"/>
                  <a:pt x="1562" y="124"/>
                  <a:pt x="1558" y="123"/>
                </a:cubicBezTo>
                <a:cubicBezTo>
                  <a:pt x="1554" y="122"/>
                  <a:pt x="1552" y="125"/>
                  <a:pt x="1552" y="125"/>
                </a:cubicBezTo>
                <a:cubicBezTo>
                  <a:pt x="1553" y="126"/>
                  <a:pt x="1553" y="126"/>
                  <a:pt x="1553" y="126"/>
                </a:cubicBezTo>
                <a:cubicBezTo>
                  <a:pt x="1557" y="125"/>
                  <a:pt x="1557" y="125"/>
                  <a:pt x="1557" y="125"/>
                </a:cubicBezTo>
                <a:cubicBezTo>
                  <a:pt x="1557" y="125"/>
                  <a:pt x="1557" y="125"/>
                  <a:pt x="1557" y="125"/>
                </a:cubicBezTo>
                <a:close/>
                <a:moveTo>
                  <a:pt x="1554" y="120"/>
                </a:moveTo>
                <a:cubicBezTo>
                  <a:pt x="1550" y="119"/>
                  <a:pt x="1548" y="122"/>
                  <a:pt x="1548" y="122"/>
                </a:cubicBezTo>
                <a:cubicBezTo>
                  <a:pt x="1552" y="123"/>
                  <a:pt x="1552" y="123"/>
                  <a:pt x="1552" y="123"/>
                </a:cubicBezTo>
                <a:cubicBezTo>
                  <a:pt x="1553" y="122"/>
                  <a:pt x="1558" y="120"/>
                  <a:pt x="1554" y="120"/>
                </a:cubicBezTo>
                <a:close/>
                <a:moveTo>
                  <a:pt x="1550" y="124"/>
                </a:moveTo>
                <a:cubicBezTo>
                  <a:pt x="1547" y="125"/>
                  <a:pt x="1547" y="125"/>
                  <a:pt x="1547" y="125"/>
                </a:cubicBezTo>
                <a:cubicBezTo>
                  <a:pt x="1548" y="128"/>
                  <a:pt x="1548" y="128"/>
                  <a:pt x="1548" y="128"/>
                </a:cubicBezTo>
                <a:cubicBezTo>
                  <a:pt x="1552" y="128"/>
                  <a:pt x="1552" y="128"/>
                  <a:pt x="1552" y="128"/>
                </a:cubicBezTo>
                <a:cubicBezTo>
                  <a:pt x="1551" y="126"/>
                  <a:pt x="1551" y="126"/>
                  <a:pt x="1551" y="126"/>
                </a:cubicBezTo>
                <a:cubicBezTo>
                  <a:pt x="1550" y="124"/>
                  <a:pt x="1550" y="124"/>
                  <a:pt x="1550" y="124"/>
                </a:cubicBezTo>
                <a:cubicBezTo>
                  <a:pt x="1550" y="124"/>
                  <a:pt x="1550" y="124"/>
                  <a:pt x="1550" y="124"/>
                </a:cubicBezTo>
                <a:close/>
                <a:moveTo>
                  <a:pt x="1545" y="122"/>
                </a:moveTo>
                <a:cubicBezTo>
                  <a:pt x="1543" y="123"/>
                  <a:pt x="1543" y="127"/>
                  <a:pt x="1543" y="127"/>
                </a:cubicBezTo>
                <a:cubicBezTo>
                  <a:pt x="1546" y="129"/>
                  <a:pt x="1546" y="129"/>
                  <a:pt x="1546" y="129"/>
                </a:cubicBezTo>
                <a:cubicBezTo>
                  <a:pt x="1546" y="129"/>
                  <a:pt x="1547" y="121"/>
                  <a:pt x="1545" y="122"/>
                </a:cubicBezTo>
                <a:close/>
                <a:moveTo>
                  <a:pt x="1561" y="121"/>
                </a:moveTo>
                <a:cubicBezTo>
                  <a:pt x="1565" y="120"/>
                  <a:pt x="1565" y="118"/>
                  <a:pt x="1566" y="118"/>
                </a:cubicBezTo>
                <a:cubicBezTo>
                  <a:pt x="1567" y="118"/>
                  <a:pt x="1566" y="116"/>
                  <a:pt x="1566" y="116"/>
                </a:cubicBezTo>
                <a:cubicBezTo>
                  <a:pt x="1560" y="119"/>
                  <a:pt x="1560" y="119"/>
                  <a:pt x="1560" y="119"/>
                </a:cubicBezTo>
                <a:cubicBezTo>
                  <a:pt x="1561" y="121"/>
                  <a:pt x="1561" y="121"/>
                  <a:pt x="1561" y="121"/>
                </a:cubicBezTo>
                <a:cubicBezTo>
                  <a:pt x="1561" y="121"/>
                  <a:pt x="1561" y="121"/>
                  <a:pt x="1561" y="121"/>
                </a:cubicBezTo>
                <a:close/>
                <a:moveTo>
                  <a:pt x="1580" y="113"/>
                </a:moveTo>
                <a:cubicBezTo>
                  <a:pt x="1582" y="112"/>
                  <a:pt x="1584" y="110"/>
                  <a:pt x="1581" y="110"/>
                </a:cubicBezTo>
                <a:cubicBezTo>
                  <a:pt x="1577" y="110"/>
                  <a:pt x="1580" y="113"/>
                  <a:pt x="1580" y="113"/>
                </a:cubicBezTo>
                <a:close/>
                <a:moveTo>
                  <a:pt x="1753" y="349"/>
                </a:move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lose/>
                <a:moveTo>
                  <a:pt x="1517" y="39"/>
                </a:moveTo>
                <a:cubicBezTo>
                  <a:pt x="1520" y="41"/>
                  <a:pt x="1525" y="41"/>
                  <a:pt x="1525" y="41"/>
                </a:cubicBezTo>
                <a:cubicBezTo>
                  <a:pt x="1520" y="38"/>
                  <a:pt x="1520" y="38"/>
                  <a:pt x="1520" y="38"/>
                </a:cubicBezTo>
                <a:cubicBezTo>
                  <a:pt x="1513" y="35"/>
                  <a:pt x="1513" y="35"/>
                  <a:pt x="1513" y="35"/>
                </a:cubicBezTo>
                <a:cubicBezTo>
                  <a:pt x="1512" y="38"/>
                  <a:pt x="1515" y="38"/>
                  <a:pt x="1517" y="39"/>
                </a:cubicBezTo>
                <a:close/>
                <a:moveTo>
                  <a:pt x="1408" y="222"/>
                </a:moveTo>
                <a:cubicBezTo>
                  <a:pt x="1407" y="224"/>
                  <a:pt x="1407" y="224"/>
                  <a:pt x="1407" y="224"/>
                </a:cubicBezTo>
                <a:cubicBezTo>
                  <a:pt x="1409" y="223"/>
                  <a:pt x="1409" y="223"/>
                  <a:pt x="1409" y="223"/>
                </a:cubicBezTo>
                <a:cubicBezTo>
                  <a:pt x="1408" y="222"/>
                  <a:pt x="1408" y="222"/>
                  <a:pt x="1408" y="222"/>
                </a:cubicBezTo>
                <a:cubicBezTo>
                  <a:pt x="1408" y="222"/>
                  <a:pt x="1408" y="222"/>
                  <a:pt x="1408" y="222"/>
                </a:cubicBezTo>
                <a:close/>
                <a:moveTo>
                  <a:pt x="1420" y="210"/>
                </a:moveTo>
                <a:cubicBezTo>
                  <a:pt x="1421" y="212"/>
                  <a:pt x="1421" y="212"/>
                  <a:pt x="1421" y="212"/>
                </a:cubicBezTo>
                <a:cubicBezTo>
                  <a:pt x="1422" y="213"/>
                  <a:pt x="1423" y="208"/>
                  <a:pt x="1423" y="208"/>
                </a:cubicBezTo>
                <a:cubicBezTo>
                  <a:pt x="1423" y="207"/>
                  <a:pt x="1421" y="205"/>
                  <a:pt x="1421" y="205"/>
                </a:cubicBezTo>
                <a:cubicBezTo>
                  <a:pt x="1421" y="207"/>
                  <a:pt x="1421" y="207"/>
                  <a:pt x="1421" y="207"/>
                </a:cubicBezTo>
                <a:cubicBezTo>
                  <a:pt x="1421" y="207"/>
                  <a:pt x="1418" y="208"/>
                  <a:pt x="1418" y="209"/>
                </a:cubicBezTo>
                <a:cubicBezTo>
                  <a:pt x="1418" y="210"/>
                  <a:pt x="1420" y="210"/>
                  <a:pt x="1420" y="210"/>
                </a:cubicBezTo>
                <a:close/>
                <a:moveTo>
                  <a:pt x="1406" y="220"/>
                </a:moveTo>
                <a:cubicBezTo>
                  <a:pt x="1404" y="219"/>
                  <a:pt x="1404" y="222"/>
                  <a:pt x="1404" y="222"/>
                </a:cubicBezTo>
                <a:cubicBezTo>
                  <a:pt x="1406" y="223"/>
                  <a:pt x="1408" y="222"/>
                  <a:pt x="1406" y="220"/>
                </a:cubicBezTo>
                <a:close/>
                <a:moveTo>
                  <a:pt x="1426" y="203"/>
                </a:moveTo>
                <a:cubicBezTo>
                  <a:pt x="1424" y="203"/>
                  <a:pt x="1424" y="205"/>
                  <a:pt x="1424" y="205"/>
                </a:cubicBezTo>
                <a:cubicBezTo>
                  <a:pt x="1426" y="206"/>
                  <a:pt x="1427" y="203"/>
                  <a:pt x="1426" y="203"/>
                </a:cubicBezTo>
                <a:close/>
                <a:moveTo>
                  <a:pt x="1600" y="108"/>
                </a:moveTo>
                <a:cubicBezTo>
                  <a:pt x="1603" y="108"/>
                  <a:pt x="1603" y="108"/>
                  <a:pt x="1603" y="108"/>
                </a:cubicBezTo>
                <a:cubicBezTo>
                  <a:pt x="1604" y="107"/>
                  <a:pt x="1604" y="105"/>
                  <a:pt x="1604" y="105"/>
                </a:cubicBezTo>
                <a:cubicBezTo>
                  <a:pt x="1600" y="106"/>
                  <a:pt x="1600" y="106"/>
                  <a:pt x="1600" y="106"/>
                </a:cubicBezTo>
                <a:cubicBezTo>
                  <a:pt x="1600" y="108"/>
                  <a:pt x="1600" y="108"/>
                  <a:pt x="1600" y="108"/>
                </a:cubicBezTo>
                <a:cubicBezTo>
                  <a:pt x="1600" y="108"/>
                  <a:pt x="1600" y="108"/>
                  <a:pt x="1600" y="108"/>
                </a:cubicBezTo>
                <a:close/>
                <a:moveTo>
                  <a:pt x="1643" y="455"/>
                </a:moveTo>
                <a:cubicBezTo>
                  <a:pt x="1642" y="456"/>
                  <a:pt x="1643" y="457"/>
                  <a:pt x="1644" y="457"/>
                </a:cubicBezTo>
                <a:cubicBezTo>
                  <a:pt x="1646" y="456"/>
                  <a:pt x="1644" y="454"/>
                  <a:pt x="1643" y="455"/>
                </a:cubicBezTo>
                <a:close/>
                <a:moveTo>
                  <a:pt x="1539" y="128"/>
                </a:moveTo>
                <a:cubicBezTo>
                  <a:pt x="1536" y="128"/>
                  <a:pt x="1531" y="132"/>
                  <a:pt x="1532" y="133"/>
                </a:cubicBezTo>
                <a:cubicBezTo>
                  <a:pt x="1533" y="133"/>
                  <a:pt x="1538" y="130"/>
                  <a:pt x="1538" y="130"/>
                </a:cubicBezTo>
                <a:cubicBezTo>
                  <a:pt x="1543" y="129"/>
                  <a:pt x="1543" y="129"/>
                  <a:pt x="1543" y="129"/>
                </a:cubicBezTo>
                <a:cubicBezTo>
                  <a:pt x="1543" y="129"/>
                  <a:pt x="1543" y="128"/>
                  <a:pt x="1539" y="128"/>
                </a:cubicBezTo>
                <a:close/>
                <a:moveTo>
                  <a:pt x="1608" y="452"/>
                </a:moveTo>
                <a:cubicBezTo>
                  <a:pt x="1606" y="453"/>
                  <a:pt x="1611" y="454"/>
                  <a:pt x="1611" y="454"/>
                </a:cubicBezTo>
                <a:cubicBezTo>
                  <a:pt x="1612" y="454"/>
                  <a:pt x="1610" y="450"/>
                  <a:pt x="1608" y="452"/>
                </a:cubicBezTo>
                <a:close/>
                <a:moveTo>
                  <a:pt x="1605" y="448"/>
                </a:moveTo>
                <a:cubicBezTo>
                  <a:pt x="1611" y="449"/>
                  <a:pt x="1611" y="449"/>
                  <a:pt x="1611" y="449"/>
                </a:cubicBezTo>
                <a:cubicBezTo>
                  <a:pt x="1608" y="445"/>
                  <a:pt x="1608" y="445"/>
                  <a:pt x="1608" y="445"/>
                </a:cubicBezTo>
                <a:cubicBezTo>
                  <a:pt x="1605" y="448"/>
                  <a:pt x="1605" y="448"/>
                  <a:pt x="1605" y="448"/>
                </a:cubicBezTo>
                <a:cubicBezTo>
                  <a:pt x="1605" y="448"/>
                  <a:pt x="1605" y="448"/>
                  <a:pt x="1605" y="448"/>
                </a:cubicBezTo>
                <a:close/>
                <a:moveTo>
                  <a:pt x="1634" y="457"/>
                </a:moveTo>
                <a:cubicBezTo>
                  <a:pt x="1636" y="456"/>
                  <a:pt x="1636" y="456"/>
                  <a:pt x="1636" y="456"/>
                </a:cubicBezTo>
                <a:cubicBezTo>
                  <a:pt x="1636" y="456"/>
                  <a:pt x="1634" y="455"/>
                  <a:pt x="1632" y="453"/>
                </a:cubicBezTo>
                <a:cubicBezTo>
                  <a:pt x="1630" y="451"/>
                  <a:pt x="1621" y="447"/>
                  <a:pt x="1621" y="447"/>
                </a:cubicBezTo>
                <a:cubicBezTo>
                  <a:pt x="1618" y="449"/>
                  <a:pt x="1618" y="449"/>
                  <a:pt x="1618" y="449"/>
                </a:cubicBezTo>
                <a:cubicBezTo>
                  <a:pt x="1616" y="449"/>
                  <a:pt x="1616" y="449"/>
                  <a:pt x="1616" y="449"/>
                </a:cubicBezTo>
                <a:cubicBezTo>
                  <a:pt x="1614" y="452"/>
                  <a:pt x="1614" y="452"/>
                  <a:pt x="1614" y="452"/>
                </a:cubicBezTo>
                <a:cubicBezTo>
                  <a:pt x="1618" y="455"/>
                  <a:pt x="1618" y="455"/>
                  <a:pt x="1618" y="455"/>
                </a:cubicBezTo>
                <a:cubicBezTo>
                  <a:pt x="1618" y="455"/>
                  <a:pt x="1617" y="459"/>
                  <a:pt x="1617" y="461"/>
                </a:cubicBezTo>
                <a:cubicBezTo>
                  <a:pt x="1617" y="463"/>
                  <a:pt x="1621" y="464"/>
                  <a:pt x="1621" y="463"/>
                </a:cubicBezTo>
                <a:cubicBezTo>
                  <a:pt x="1622" y="461"/>
                  <a:pt x="1624" y="461"/>
                  <a:pt x="1624" y="461"/>
                </a:cubicBezTo>
                <a:cubicBezTo>
                  <a:pt x="1627" y="467"/>
                  <a:pt x="1627" y="467"/>
                  <a:pt x="1627" y="467"/>
                </a:cubicBezTo>
                <a:cubicBezTo>
                  <a:pt x="1628" y="463"/>
                  <a:pt x="1628" y="463"/>
                  <a:pt x="1628" y="463"/>
                </a:cubicBezTo>
                <a:cubicBezTo>
                  <a:pt x="1630" y="466"/>
                  <a:pt x="1630" y="466"/>
                  <a:pt x="1630" y="466"/>
                </a:cubicBezTo>
                <a:cubicBezTo>
                  <a:pt x="1633" y="467"/>
                  <a:pt x="1633" y="467"/>
                  <a:pt x="1633" y="467"/>
                </a:cubicBezTo>
                <a:cubicBezTo>
                  <a:pt x="1631" y="465"/>
                  <a:pt x="1631" y="465"/>
                  <a:pt x="1631" y="465"/>
                </a:cubicBezTo>
                <a:cubicBezTo>
                  <a:pt x="1632" y="464"/>
                  <a:pt x="1632" y="464"/>
                  <a:pt x="1632" y="464"/>
                </a:cubicBezTo>
                <a:cubicBezTo>
                  <a:pt x="1632" y="461"/>
                  <a:pt x="1632" y="461"/>
                  <a:pt x="1632" y="461"/>
                </a:cubicBezTo>
                <a:cubicBezTo>
                  <a:pt x="1632" y="461"/>
                  <a:pt x="1628" y="456"/>
                  <a:pt x="1629" y="455"/>
                </a:cubicBezTo>
                <a:cubicBezTo>
                  <a:pt x="1629" y="453"/>
                  <a:pt x="1634" y="457"/>
                  <a:pt x="1634" y="457"/>
                </a:cubicBezTo>
                <a:close/>
                <a:moveTo>
                  <a:pt x="1643" y="439"/>
                </a:moveTo>
                <a:cubicBezTo>
                  <a:pt x="1643" y="439"/>
                  <a:pt x="1642" y="441"/>
                  <a:pt x="1645" y="441"/>
                </a:cubicBezTo>
                <a:cubicBezTo>
                  <a:pt x="1643" y="439"/>
                  <a:pt x="1643" y="439"/>
                  <a:pt x="1643" y="439"/>
                </a:cubicBezTo>
                <a:cubicBezTo>
                  <a:pt x="1643" y="439"/>
                  <a:pt x="1643" y="439"/>
                  <a:pt x="1643" y="439"/>
                </a:cubicBezTo>
                <a:close/>
                <a:moveTo>
                  <a:pt x="1631" y="469"/>
                </a:moveTo>
                <a:cubicBezTo>
                  <a:pt x="1630" y="469"/>
                  <a:pt x="1631" y="473"/>
                  <a:pt x="1632" y="471"/>
                </a:cubicBezTo>
                <a:cubicBezTo>
                  <a:pt x="1634" y="470"/>
                  <a:pt x="1632" y="468"/>
                  <a:pt x="1631" y="469"/>
                </a:cubicBezTo>
                <a:close/>
                <a:moveTo>
                  <a:pt x="1549" y="471"/>
                </a:moveTo>
                <a:cubicBezTo>
                  <a:pt x="1548" y="474"/>
                  <a:pt x="1552" y="475"/>
                  <a:pt x="1552" y="475"/>
                </a:cubicBezTo>
                <a:cubicBezTo>
                  <a:pt x="1555" y="472"/>
                  <a:pt x="1551" y="468"/>
                  <a:pt x="1549" y="471"/>
                </a:cubicBezTo>
                <a:close/>
                <a:moveTo>
                  <a:pt x="1433" y="438"/>
                </a:moveTo>
                <a:cubicBezTo>
                  <a:pt x="1432" y="436"/>
                  <a:pt x="1430" y="441"/>
                  <a:pt x="1430" y="441"/>
                </a:cubicBezTo>
                <a:cubicBezTo>
                  <a:pt x="1432" y="442"/>
                  <a:pt x="1434" y="440"/>
                  <a:pt x="1433" y="438"/>
                </a:cubicBezTo>
                <a:close/>
                <a:moveTo>
                  <a:pt x="1458" y="431"/>
                </a:moveTo>
                <a:cubicBezTo>
                  <a:pt x="1460" y="429"/>
                  <a:pt x="1456" y="426"/>
                  <a:pt x="1454" y="427"/>
                </a:cubicBezTo>
                <a:cubicBezTo>
                  <a:pt x="1454" y="427"/>
                  <a:pt x="1456" y="432"/>
                  <a:pt x="1458" y="431"/>
                </a:cubicBezTo>
                <a:close/>
                <a:moveTo>
                  <a:pt x="1506" y="395"/>
                </a:moveTo>
                <a:cubicBezTo>
                  <a:pt x="1505" y="393"/>
                  <a:pt x="1503" y="397"/>
                  <a:pt x="1503" y="397"/>
                </a:cubicBezTo>
                <a:cubicBezTo>
                  <a:pt x="1503" y="397"/>
                  <a:pt x="1497" y="400"/>
                  <a:pt x="1498" y="403"/>
                </a:cubicBezTo>
                <a:cubicBezTo>
                  <a:pt x="1498" y="406"/>
                  <a:pt x="1500" y="407"/>
                  <a:pt x="1500" y="407"/>
                </a:cubicBezTo>
                <a:cubicBezTo>
                  <a:pt x="1500" y="407"/>
                  <a:pt x="1498" y="409"/>
                  <a:pt x="1500" y="411"/>
                </a:cubicBezTo>
                <a:cubicBezTo>
                  <a:pt x="1501" y="412"/>
                  <a:pt x="1503" y="413"/>
                  <a:pt x="1503" y="413"/>
                </a:cubicBezTo>
                <a:cubicBezTo>
                  <a:pt x="1503" y="413"/>
                  <a:pt x="1505" y="411"/>
                  <a:pt x="1505" y="409"/>
                </a:cubicBezTo>
                <a:cubicBezTo>
                  <a:pt x="1505" y="406"/>
                  <a:pt x="1505" y="406"/>
                  <a:pt x="1505" y="406"/>
                </a:cubicBezTo>
                <a:cubicBezTo>
                  <a:pt x="1507" y="405"/>
                  <a:pt x="1507" y="405"/>
                  <a:pt x="1507" y="405"/>
                </a:cubicBezTo>
                <a:cubicBezTo>
                  <a:pt x="1506" y="398"/>
                  <a:pt x="1506" y="398"/>
                  <a:pt x="1506" y="398"/>
                </a:cubicBezTo>
                <a:cubicBezTo>
                  <a:pt x="1505" y="398"/>
                  <a:pt x="1505" y="398"/>
                  <a:pt x="1505" y="398"/>
                </a:cubicBezTo>
                <a:cubicBezTo>
                  <a:pt x="1505" y="398"/>
                  <a:pt x="1507" y="396"/>
                  <a:pt x="1506" y="395"/>
                </a:cubicBezTo>
                <a:close/>
                <a:moveTo>
                  <a:pt x="1443" y="433"/>
                </a:moveTo>
                <a:cubicBezTo>
                  <a:pt x="1443" y="433"/>
                  <a:pt x="1444" y="435"/>
                  <a:pt x="1445" y="435"/>
                </a:cubicBezTo>
                <a:cubicBezTo>
                  <a:pt x="1446" y="436"/>
                  <a:pt x="1448" y="436"/>
                  <a:pt x="1448" y="436"/>
                </a:cubicBezTo>
                <a:cubicBezTo>
                  <a:pt x="1449" y="435"/>
                  <a:pt x="1451" y="433"/>
                  <a:pt x="1451" y="432"/>
                </a:cubicBezTo>
                <a:cubicBezTo>
                  <a:pt x="1450" y="430"/>
                  <a:pt x="1449" y="430"/>
                  <a:pt x="1449" y="430"/>
                </a:cubicBezTo>
                <a:cubicBezTo>
                  <a:pt x="1449" y="430"/>
                  <a:pt x="1448" y="429"/>
                  <a:pt x="1447" y="429"/>
                </a:cubicBezTo>
                <a:cubicBezTo>
                  <a:pt x="1445" y="429"/>
                  <a:pt x="1441" y="432"/>
                  <a:pt x="1441" y="433"/>
                </a:cubicBezTo>
                <a:cubicBezTo>
                  <a:pt x="1442" y="434"/>
                  <a:pt x="1443" y="433"/>
                  <a:pt x="1443" y="433"/>
                </a:cubicBezTo>
                <a:close/>
                <a:moveTo>
                  <a:pt x="1560" y="452"/>
                </a:moveTo>
                <a:cubicBezTo>
                  <a:pt x="1561" y="451"/>
                  <a:pt x="1560" y="447"/>
                  <a:pt x="1560" y="447"/>
                </a:cubicBezTo>
                <a:cubicBezTo>
                  <a:pt x="1559" y="449"/>
                  <a:pt x="1559" y="449"/>
                  <a:pt x="1559" y="449"/>
                </a:cubicBezTo>
                <a:cubicBezTo>
                  <a:pt x="1559" y="449"/>
                  <a:pt x="1556" y="448"/>
                  <a:pt x="1555" y="448"/>
                </a:cubicBezTo>
                <a:cubicBezTo>
                  <a:pt x="1553" y="449"/>
                  <a:pt x="1551" y="450"/>
                  <a:pt x="1551" y="450"/>
                </a:cubicBezTo>
                <a:cubicBezTo>
                  <a:pt x="1551" y="450"/>
                  <a:pt x="1547" y="451"/>
                  <a:pt x="1546" y="451"/>
                </a:cubicBezTo>
                <a:cubicBezTo>
                  <a:pt x="1544" y="451"/>
                  <a:pt x="1541" y="447"/>
                  <a:pt x="1540" y="448"/>
                </a:cubicBezTo>
                <a:cubicBezTo>
                  <a:pt x="1540" y="449"/>
                  <a:pt x="1538" y="450"/>
                  <a:pt x="1538" y="450"/>
                </a:cubicBezTo>
                <a:cubicBezTo>
                  <a:pt x="1535" y="449"/>
                  <a:pt x="1535" y="449"/>
                  <a:pt x="1535" y="449"/>
                </a:cubicBezTo>
                <a:cubicBezTo>
                  <a:pt x="1535" y="449"/>
                  <a:pt x="1531" y="450"/>
                  <a:pt x="1533" y="452"/>
                </a:cubicBezTo>
                <a:cubicBezTo>
                  <a:pt x="1535" y="456"/>
                  <a:pt x="1538" y="455"/>
                  <a:pt x="1539" y="455"/>
                </a:cubicBezTo>
                <a:cubicBezTo>
                  <a:pt x="1540" y="455"/>
                  <a:pt x="1541" y="457"/>
                  <a:pt x="1541" y="458"/>
                </a:cubicBezTo>
                <a:cubicBezTo>
                  <a:pt x="1542" y="459"/>
                  <a:pt x="1546" y="461"/>
                  <a:pt x="1546" y="461"/>
                </a:cubicBezTo>
                <a:cubicBezTo>
                  <a:pt x="1549" y="460"/>
                  <a:pt x="1549" y="460"/>
                  <a:pt x="1549" y="460"/>
                </a:cubicBezTo>
                <a:cubicBezTo>
                  <a:pt x="1549" y="460"/>
                  <a:pt x="1552" y="464"/>
                  <a:pt x="1556" y="465"/>
                </a:cubicBezTo>
                <a:cubicBezTo>
                  <a:pt x="1560" y="465"/>
                  <a:pt x="1559" y="461"/>
                  <a:pt x="1559" y="461"/>
                </a:cubicBezTo>
                <a:cubicBezTo>
                  <a:pt x="1559" y="461"/>
                  <a:pt x="1558" y="458"/>
                  <a:pt x="1558" y="456"/>
                </a:cubicBezTo>
                <a:cubicBezTo>
                  <a:pt x="1558" y="455"/>
                  <a:pt x="1559" y="453"/>
                  <a:pt x="1560" y="452"/>
                </a:cubicBezTo>
                <a:close/>
                <a:moveTo>
                  <a:pt x="1494" y="416"/>
                </a:moveTo>
                <a:cubicBezTo>
                  <a:pt x="1493" y="418"/>
                  <a:pt x="1493" y="418"/>
                  <a:pt x="1493" y="418"/>
                </a:cubicBezTo>
                <a:cubicBezTo>
                  <a:pt x="1493" y="418"/>
                  <a:pt x="1497" y="421"/>
                  <a:pt x="1497" y="423"/>
                </a:cubicBezTo>
                <a:cubicBezTo>
                  <a:pt x="1497" y="425"/>
                  <a:pt x="1496" y="429"/>
                  <a:pt x="1496" y="429"/>
                </a:cubicBezTo>
                <a:cubicBezTo>
                  <a:pt x="1497" y="430"/>
                  <a:pt x="1497" y="430"/>
                  <a:pt x="1497" y="430"/>
                </a:cubicBezTo>
                <a:cubicBezTo>
                  <a:pt x="1495" y="431"/>
                  <a:pt x="1495" y="431"/>
                  <a:pt x="1495" y="431"/>
                </a:cubicBezTo>
                <a:cubicBezTo>
                  <a:pt x="1496" y="438"/>
                  <a:pt x="1496" y="438"/>
                  <a:pt x="1496" y="438"/>
                </a:cubicBezTo>
                <a:cubicBezTo>
                  <a:pt x="1494" y="438"/>
                  <a:pt x="1494" y="438"/>
                  <a:pt x="1494" y="438"/>
                </a:cubicBezTo>
                <a:cubicBezTo>
                  <a:pt x="1497" y="440"/>
                  <a:pt x="1497" y="440"/>
                  <a:pt x="1497" y="440"/>
                </a:cubicBezTo>
                <a:cubicBezTo>
                  <a:pt x="1500" y="440"/>
                  <a:pt x="1502" y="436"/>
                  <a:pt x="1502" y="436"/>
                </a:cubicBezTo>
                <a:cubicBezTo>
                  <a:pt x="1502" y="436"/>
                  <a:pt x="1504" y="439"/>
                  <a:pt x="1506" y="437"/>
                </a:cubicBezTo>
                <a:cubicBezTo>
                  <a:pt x="1508" y="436"/>
                  <a:pt x="1507" y="432"/>
                  <a:pt x="1507" y="432"/>
                </a:cubicBezTo>
                <a:cubicBezTo>
                  <a:pt x="1508" y="430"/>
                  <a:pt x="1508" y="430"/>
                  <a:pt x="1508" y="430"/>
                </a:cubicBezTo>
                <a:cubicBezTo>
                  <a:pt x="1508" y="427"/>
                  <a:pt x="1508" y="427"/>
                  <a:pt x="1508" y="427"/>
                </a:cubicBezTo>
                <a:cubicBezTo>
                  <a:pt x="1508" y="427"/>
                  <a:pt x="1507" y="426"/>
                  <a:pt x="1507" y="425"/>
                </a:cubicBezTo>
                <a:cubicBezTo>
                  <a:pt x="1507" y="424"/>
                  <a:pt x="1509" y="424"/>
                  <a:pt x="1509" y="423"/>
                </a:cubicBezTo>
                <a:cubicBezTo>
                  <a:pt x="1509" y="421"/>
                  <a:pt x="1507" y="414"/>
                  <a:pt x="1505" y="414"/>
                </a:cubicBezTo>
                <a:cubicBezTo>
                  <a:pt x="1502" y="414"/>
                  <a:pt x="1500" y="418"/>
                  <a:pt x="1498" y="418"/>
                </a:cubicBezTo>
                <a:cubicBezTo>
                  <a:pt x="1497" y="418"/>
                  <a:pt x="1494" y="416"/>
                  <a:pt x="1494" y="416"/>
                </a:cubicBezTo>
                <a:close/>
                <a:moveTo>
                  <a:pt x="891" y="134"/>
                </a:moveTo>
                <a:cubicBezTo>
                  <a:pt x="900" y="133"/>
                  <a:pt x="900" y="133"/>
                  <a:pt x="900" y="133"/>
                </a:cubicBezTo>
                <a:cubicBezTo>
                  <a:pt x="900" y="131"/>
                  <a:pt x="900" y="131"/>
                  <a:pt x="900" y="131"/>
                </a:cubicBezTo>
                <a:cubicBezTo>
                  <a:pt x="894" y="131"/>
                  <a:pt x="894" y="131"/>
                  <a:pt x="894" y="131"/>
                </a:cubicBezTo>
                <a:cubicBezTo>
                  <a:pt x="891" y="134"/>
                  <a:pt x="891" y="134"/>
                  <a:pt x="891" y="134"/>
                </a:cubicBezTo>
                <a:cubicBezTo>
                  <a:pt x="891" y="134"/>
                  <a:pt x="891" y="134"/>
                  <a:pt x="891" y="134"/>
                </a:cubicBezTo>
                <a:close/>
                <a:moveTo>
                  <a:pt x="891" y="125"/>
                </a:moveTo>
                <a:cubicBezTo>
                  <a:pt x="886" y="123"/>
                  <a:pt x="891" y="127"/>
                  <a:pt x="891" y="127"/>
                </a:cubicBezTo>
                <a:cubicBezTo>
                  <a:pt x="895" y="127"/>
                  <a:pt x="897" y="126"/>
                  <a:pt x="891" y="125"/>
                </a:cubicBezTo>
                <a:close/>
                <a:moveTo>
                  <a:pt x="796" y="84"/>
                </a:moveTo>
                <a:cubicBezTo>
                  <a:pt x="801" y="83"/>
                  <a:pt x="805" y="87"/>
                  <a:pt x="805" y="87"/>
                </a:cubicBezTo>
                <a:cubicBezTo>
                  <a:pt x="813" y="86"/>
                  <a:pt x="813" y="86"/>
                  <a:pt x="813" y="86"/>
                </a:cubicBezTo>
                <a:cubicBezTo>
                  <a:pt x="812" y="83"/>
                  <a:pt x="812" y="83"/>
                  <a:pt x="812" y="83"/>
                </a:cubicBezTo>
                <a:cubicBezTo>
                  <a:pt x="812" y="83"/>
                  <a:pt x="822" y="83"/>
                  <a:pt x="824" y="80"/>
                </a:cubicBezTo>
                <a:cubicBezTo>
                  <a:pt x="826" y="78"/>
                  <a:pt x="830" y="75"/>
                  <a:pt x="827" y="75"/>
                </a:cubicBezTo>
                <a:cubicBezTo>
                  <a:pt x="824" y="75"/>
                  <a:pt x="808" y="73"/>
                  <a:pt x="799" y="74"/>
                </a:cubicBezTo>
                <a:cubicBezTo>
                  <a:pt x="791" y="74"/>
                  <a:pt x="794" y="74"/>
                  <a:pt x="793" y="75"/>
                </a:cubicBezTo>
                <a:cubicBezTo>
                  <a:pt x="793" y="77"/>
                  <a:pt x="790" y="78"/>
                  <a:pt x="783" y="80"/>
                </a:cubicBezTo>
                <a:cubicBezTo>
                  <a:pt x="776" y="81"/>
                  <a:pt x="783" y="81"/>
                  <a:pt x="782" y="86"/>
                </a:cubicBezTo>
                <a:cubicBezTo>
                  <a:pt x="780" y="89"/>
                  <a:pt x="780" y="89"/>
                  <a:pt x="780" y="89"/>
                </a:cubicBezTo>
                <a:cubicBezTo>
                  <a:pt x="784" y="92"/>
                  <a:pt x="784" y="92"/>
                  <a:pt x="784" y="92"/>
                </a:cubicBezTo>
                <a:cubicBezTo>
                  <a:pt x="795" y="87"/>
                  <a:pt x="795" y="87"/>
                  <a:pt x="795" y="87"/>
                </a:cubicBezTo>
                <a:cubicBezTo>
                  <a:pt x="795" y="87"/>
                  <a:pt x="791" y="86"/>
                  <a:pt x="796" y="84"/>
                </a:cubicBezTo>
                <a:close/>
                <a:moveTo>
                  <a:pt x="869" y="120"/>
                </a:moveTo>
                <a:cubicBezTo>
                  <a:pt x="866" y="121"/>
                  <a:pt x="861" y="123"/>
                  <a:pt x="866" y="122"/>
                </a:cubicBezTo>
                <a:cubicBezTo>
                  <a:pt x="871" y="121"/>
                  <a:pt x="875" y="120"/>
                  <a:pt x="875" y="120"/>
                </a:cubicBezTo>
                <a:cubicBezTo>
                  <a:pt x="880" y="116"/>
                  <a:pt x="873" y="119"/>
                  <a:pt x="869" y="120"/>
                </a:cubicBezTo>
                <a:close/>
                <a:moveTo>
                  <a:pt x="813" y="71"/>
                </a:moveTo>
                <a:cubicBezTo>
                  <a:pt x="816" y="69"/>
                  <a:pt x="821" y="65"/>
                  <a:pt x="820" y="63"/>
                </a:cubicBezTo>
                <a:cubicBezTo>
                  <a:pt x="819" y="62"/>
                  <a:pt x="812" y="62"/>
                  <a:pt x="810" y="62"/>
                </a:cubicBezTo>
                <a:cubicBezTo>
                  <a:pt x="805" y="63"/>
                  <a:pt x="796" y="66"/>
                  <a:pt x="798" y="67"/>
                </a:cubicBezTo>
                <a:cubicBezTo>
                  <a:pt x="801" y="69"/>
                  <a:pt x="813" y="71"/>
                  <a:pt x="813" y="71"/>
                </a:cubicBezTo>
                <a:close/>
                <a:moveTo>
                  <a:pt x="885" y="118"/>
                </a:moveTo>
                <a:cubicBezTo>
                  <a:pt x="882" y="116"/>
                  <a:pt x="880" y="120"/>
                  <a:pt x="882" y="121"/>
                </a:cubicBezTo>
                <a:cubicBezTo>
                  <a:pt x="882" y="121"/>
                  <a:pt x="888" y="119"/>
                  <a:pt x="885" y="118"/>
                </a:cubicBezTo>
                <a:close/>
                <a:moveTo>
                  <a:pt x="845" y="177"/>
                </a:moveTo>
                <a:cubicBezTo>
                  <a:pt x="847" y="175"/>
                  <a:pt x="841" y="174"/>
                  <a:pt x="841" y="174"/>
                </a:cubicBezTo>
                <a:cubicBezTo>
                  <a:pt x="841" y="174"/>
                  <a:pt x="841" y="180"/>
                  <a:pt x="845" y="177"/>
                </a:cubicBezTo>
                <a:close/>
                <a:moveTo>
                  <a:pt x="872" y="138"/>
                </a:moveTo>
                <a:cubicBezTo>
                  <a:pt x="880" y="139"/>
                  <a:pt x="882" y="137"/>
                  <a:pt x="885" y="135"/>
                </a:cubicBezTo>
                <a:cubicBezTo>
                  <a:pt x="888" y="133"/>
                  <a:pt x="887" y="130"/>
                  <a:pt x="884" y="129"/>
                </a:cubicBezTo>
                <a:cubicBezTo>
                  <a:pt x="881" y="129"/>
                  <a:pt x="875" y="130"/>
                  <a:pt x="875" y="130"/>
                </a:cubicBezTo>
                <a:cubicBezTo>
                  <a:pt x="867" y="135"/>
                  <a:pt x="865" y="136"/>
                  <a:pt x="872" y="138"/>
                </a:cubicBezTo>
                <a:close/>
                <a:moveTo>
                  <a:pt x="46" y="274"/>
                </a:moveTo>
                <a:cubicBezTo>
                  <a:pt x="46" y="271"/>
                  <a:pt x="46" y="271"/>
                  <a:pt x="46" y="271"/>
                </a:cubicBezTo>
                <a:cubicBezTo>
                  <a:pt x="39" y="274"/>
                  <a:pt x="39" y="274"/>
                  <a:pt x="39" y="274"/>
                </a:cubicBezTo>
                <a:cubicBezTo>
                  <a:pt x="46" y="274"/>
                  <a:pt x="46" y="274"/>
                  <a:pt x="46" y="274"/>
                </a:cubicBezTo>
                <a:cubicBezTo>
                  <a:pt x="46" y="274"/>
                  <a:pt x="46" y="274"/>
                  <a:pt x="46" y="274"/>
                </a:cubicBezTo>
                <a:close/>
                <a:moveTo>
                  <a:pt x="0" y="286"/>
                </a:moveTo>
                <a:cubicBezTo>
                  <a:pt x="9" y="284"/>
                  <a:pt x="9" y="284"/>
                  <a:pt x="9" y="284"/>
                </a:cubicBezTo>
                <a:cubicBezTo>
                  <a:pt x="10" y="282"/>
                  <a:pt x="10" y="282"/>
                  <a:pt x="10" y="282"/>
                </a:cubicBezTo>
                <a:cubicBezTo>
                  <a:pt x="19" y="281"/>
                  <a:pt x="19" y="281"/>
                  <a:pt x="19" y="281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0" y="286"/>
                  <a:pt x="0" y="286"/>
                  <a:pt x="0" y="286"/>
                </a:cubicBezTo>
                <a:cubicBezTo>
                  <a:pt x="0" y="286"/>
                  <a:pt x="0" y="286"/>
                  <a:pt x="0" y="286"/>
                </a:cubicBezTo>
                <a:close/>
                <a:moveTo>
                  <a:pt x="110" y="214"/>
                </a:moveTo>
                <a:cubicBezTo>
                  <a:pt x="114" y="213"/>
                  <a:pt x="124" y="209"/>
                  <a:pt x="121" y="208"/>
                </a:cubicBezTo>
                <a:cubicBezTo>
                  <a:pt x="117" y="207"/>
                  <a:pt x="113" y="206"/>
                  <a:pt x="112" y="208"/>
                </a:cubicBezTo>
                <a:cubicBezTo>
                  <a:pt x="110" y="209"/>
                  <a:pt x="108" y="206"/>
                  <a:pt x="107" y="208"/>
                </a:cubicBezTo>
                <a:cubicBezTo>
                  <a:pt x="106" y="211"/>
                  <a:pt x="107" y="214"/>
                  <a:pt x="110" y="214"/>
                </a:cubicBezTo>
                <a:close/>
                <a:moveTo>
                  <a:pt x="22" y="280"/>
                </a:moveTo>
                <a:cubicBezTo>
                  <a:pt x="28" y="280"/>
                  <a:pt x="28" y="280"/>
                  <a:pt x="28" y="280"/>
                </a:cubicBezTo>
                <a:cubicBezTo>
                  <a:pt x="34" y="276"/>
                  <a:pt x="34" y="276"/>
                  <a:pt x="34" y="276"/>
                </a:cubicBezTo>
                <a:cubicBezTo>
                  <a:pt x="32" y="274"/>
                  <a:pt x="32" y="274"/>
                  <a:pt x="32" y="274"/>
                </a:cubicBezTo>
                <a:cubicBezTo>
                  <a:pt x="22" y="280"/>
                  <a:pt x="22" y="280"/>
                  <a:pt x="22" y="280"/>
                </a:cubicBezTo>
                <a:cubicBezTo>
                  <a:pt x="22" y="280"/>
                  <a:pt x="22" y="280"/>
                  <a:pt x="22" y="280"/>
                </a:cubicBezTo>
                <a:close/>
                <a:moveTo>
                  <a:pt x="69" y="263"/>
                </a:moveTo>
                <a:cubicBezTo>
                  <a:pt x="67" y="263"/>
                  <a:pt x="61" y="265"/>
                  <a:pt x="61" y="265"/>
                </a:cubicBezTo>
                <a:cubicBezTo>
                  <a:pt x="61" y="265"/>
                  <a:pt x="53" y="268"/>
                  <a:pt x="53" y="270"/>
                </a:cubicBezTo>
                <a:cubicBezTo>
                  <a:pt x="54" y="271"/>
                  <a:pt x="56" y="270"/>
                  <a:pt x="60" y="269"/>
                </a:cubicBezTo>
                <a:cubicBezTo>
                  <a:pt x="64" y="267"/>
                  <a:pt x="69" y="270"/>
                  <a:pt x="70" y="268"/>
                </a:cubicBezTo>
                <a:cubicBezTo>
                  <a:pt x="72" y="267"/>
                  <a:pt x="72" y="263"/>
                  <a:pt x="69" y="263"/>
                </a:cubicBezTo>
                <a:close/>
                <a:moveTo>
                  <a:pt x="190" y="233"/>
                </a:moveTo>
                <a:cubicBezTo>
                  <a:pt x="189" y="233"/>
                  <a:pt x="187" y="234"/>
                  <a:pt x="187" y="234"/>
                </a:cubicBezTo>
                <a:cubicBezTo>
                  <a:pt x="187" y="234"/>
                  <a:pt x="185" y="233"/>
                  <a:pt x="184" y="233"/>
                </a:cubicBezTo>
                <a:cubicBezTo>
                  <a:pt x="183" y="233"/>
                  <a:pt x="183" y="237"/>
                  <a:pt x="183" y="237"/>
                </a:cubicBezTo>
                <a:cubicBezTo>
                  <a:pt x="180" y="239"/>
                  <a:pt x="180" y="239"/>
                  <a:pt x="180" y="239"/>
                </a:cubicBezTo>
                <a:cubicBezTo>
                  <a:pt x="180" y="235"/>
                  <a:pt x="180" y="235"/>
                  <a:pt x="180" y="235"/>
                </a:cubicBezTo>
                <a:cubicBezTo>
                  <a:pt x="180" y="235"/>
                  <a:pt x="177" y="234"/>
                  <a:pt x="174" y="237"/>
                </a:cubicBezTo>
                <a:cubicBezTo>
                  <a:pt x="174" y="237"/>
                  <a:pt x="170" y="239"/>
                  <a:pt x="170" y="241"/>
                </a:cubicBezTo>
                <a:cubicBezTo>
                  <a:pt x="169" y="243"/>
                  <a:pt x="174" y="243"/>
                  <a:pt x="174" y="243"/>
                </a:cubicBezTo>
                <a:cubicBezTo>
                  <a:pt x="174" y="243"/>
                  <a:pt x="180" y="243"/>
                  <a:pt x="182" y="242"/>
                </a:cubicBezTo>
                <a:cubicBezTo>
                  <a:pt x="185" y="241"/>
                  <a:pt x="184" y="239"/>
                  <a:pt x="184" y="239"/>
                </a:cubicBezTo>
                <a:cubicBezTo>
                  <a:pt x="188" y="239"/>
                  <a:pt x="188" y="239"/>
                  <a:pt x="188" y="239"/>
                </a:cubicBezTo>
                <a:cubicBezTo>
                  <a:pt x="188" y="237"/>
                  <a:pt x="188" y="237"/>
                  <a:pt x="188" y="237"/>
                </a:cubicBezTo>
                <a:cubicBezTo>
                  <a:pt x="194" y="237"/>
                  <a:pt x="194" y="237"/>
                  <a:pt x="194" y="237"/>
                </a:cubicBezTo>
                <a:cubicBezTo>
                  <a:pt x="195" y="234"/>
                  <a:pt x="195" y="234"/>
                  <a:pt x="195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92" y="234"/>
                  <a:pt x="191" y="233"/>
                  <a:pt x="190" y="233"/>
                </a:cubicBezTo>
                <a:close/>
                <a:moveTo>
                  <a:pt x="631" y="55"/>
                </a:moveTo>
                <a:cubicBezTo>
                  <a:pt x="631" y="55"/>
                  <a:pt x="639" y="53"/>
                  <a:pt x="641" y="55"/>
                </a:cubicBezTo>
                <a:cubicBezTo>
                  <a:pt x="643" y="56"/>
                  <a:pt x="642" y="58"/>
                  <a:pt x="645" y="58"/>
                </a:cubicBezTo>
                <a:cubicBezTo>
                  <a:pt x="647" y="58"/>
                  <a:pt x="652" y="57"/>
                  <a:pt x="652" y="57"/>
                </a:cubicBezTo>
                <a:cubicBezTo>
                  <a:pt x="652" y="57"/>
                  <a:pt x="655" y="59"/>
                  <a:pt x="658" y="57"/>
                </a:cubicBezTo>
                <a:cubicBezTo>
                  <a:pt x="662" y="56"/>
                  <a:pt x="661" y="53"/>
                  <a:pt x="661" y="53"/>
                </a:cubicBezTo>
                <a:cubicBezTo>
                  <a:pt x="666" y="53"/>
                  <a:pt x="666" y="53"/>
                  <a:pt x="666" y="53"/>
                </a:cubicBezTo>
                <a:cubicBezTo>
                  <a:pt x="675" y="50"/>
                  <a:pt x="675" y="50"/>
                  <a:pt x="675" y="50"/>
                </a:cubicBezTo>
                <a:cubicBezTo>
                  <a:pt x="670" y="54"/>
                  <a:pt x="670" y="54"/>
                  <a:pt x="670" y="54"/>
                </a:cubicBezTo>
                <a:cubicBezTo>
                  <a:pt x="677" y="56"/>
                  <a:pt x="677" y="56"/>
                  <a:pt x="677" y="56"/>
                </a:cubicBezTo>
                <a:cubicBezTo>
                  <a:pt x="685" y="53"/>
                  <a:pt x="685" y="53"/>
                  <a:pt x="685" y="53"/>
                </a:cubicBezTo>
                <a:cubicBezTo>
                  <a:pt x="698" y="47"/>
                  <a:pt x="698" y="47"/>
                  <a:pt x="698" y="47"/>
                </a:cubicBezTo>
                <a:cubicBezTo>
                  <a:pt x="698" y="47"/>
                  <a:pt x="688" y="43"/>
                  <a:pt x="686" y="43"/>
                </a:cubicBezTo>
                <a:cubicBezTo>
                  <a:pt x="684" y="43"/>
                  <a:pt x="673" y="43"/>
                  <a:pt x="673" y="43"/>
                </a:cubicBezTo>
                <a:cubicBezTo>
                  <a:pt x="662" y="44"/>
                  <a:pt x="662" y="44"/>
                  <a:pt x="662" y="44"/>
                </a:cubicBezTo>
                <a:cubicBezTo>
                  <a:pt x="662" y="47"/>
                  <a:pt x="662" y="47"/>
                  <a:pt x="662" y="47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0" y="47"/>
                  <a:pt x="635" y="47"/>
                </a:cubicBezTo>
                <a:cubicBezTo>
                  <a:pt x="631" y="48"/>
                  <a:pt x="631" y="50"/>
                  <a:pt x="631" y="50"/>
                </a:cubicBezTo>
                <a:cubicBezTo>
                  <a:pt x="631" y="51"/>
                  <a:pt x="631" y="55"/>
                  <a:pt x="631" y="55"/>
                </a:cubicBezTo>
                <a:close/>
                <a:moveTo>
                  <a:pt x="726" y="48"/>
                </a:moveTo>
                <a:cubicBezTo>
                  <a:pt x="739" y="48"/>
                  <a:pt x="738" y="44"/>
                  <a:pt x="738" y="44"/>
                </a:cubicBezTo>
                <a:cubicBezTo>
                  <a:pt x="737" y="42"/>
                  <a:pt x="737" y="42"/>
                  <a:pt x="737" y="42"/>
                </a:cubicBezTo>
                <a:cubicBezTo>
                  <a:pt x="747" y="41"/>
                  <a:pt x="747" y="41"/>
                  <a:pt x="747" y="41"/>
                </a:cubicBezTo>
                <a:cubicBezTo>
                  <a:pt x="745" y="40"/>
                  <a:pt x="745" y="40"/>
                  <a:pt x="745" y="40"/>
                </a:cubicBezTo>
                <a:cubicBezTo>
                  <a:pt x="735" y="40"/>
                  <a:pt x="735" y="40"/>
                  <a:pt x="735" y="40"/>
                </a:cubicBezTo>
                <a:cubicBezTo>
                  <a:pt x="734" y="42"/>
                  <a:pt x="734" y="42"/>
                  <a:pt x="734" y="42"/>
                </a:cubicBezTo>
                <a:cubicBezTo>
                  <a:pt x="734" y="42"/>
                  <a:pt x="721" y="39"/>
                  <a:pt x="720" y="42"/>
                </a:cubicBezTo>
                <a:cubicBezTo>
                  <a:pt x="719" y="46"/>
                  <a:pt x="726" y="48"/>
                  <a:pt x="726" y="48"/>
                </a:cubicBezTo>
                <a:close/>
                <a:moveTo>
                  <a:pt x="684" y="57"/>
                </a:moveTo>
                <a:cubicBezTo>
                  <a:pt x="676" y="60"/>
                  <a:pt x="676" y="60"/>
                  <a:pt x="676" y="60"/>
                </a:cubicBezTo>
                <a:cubicBezTo>
                  <a:pt x="676" y="60"/>
                  <a:pt x="683" y="62"/>
                  <a:pt x="680" y="62"/>
                </a:cubicBezTo>
                <a:cubicBezTo>
                  <a:pt x="677" y="63"/>
                  <a:pt x="664" y="64"/>
                  <a:pt x="664" y="64"/>
                </a:cubicBezTo>
                <a:cubicBezTo>
                  <a:pt x="662" y="67"/>
                  <a:pt x="662" y="67"/>
                  <a:pt x="662" y="67"/>
                </a:cubicBezTo>
                <a:cubicBezTo>
                  <a:pt x="669" y="66"/>
                  <a:pt x="669" y="66"/>
                  <a:pt x="669" y="66"/>
                </a:cubicBezTo>
                <a:cubicBezTo>
                  <a:pt x="669" y="66"/>
                  <a:pt x="672" y="67"/>
                  <a:pt x="676" y="68"/>
                </a:cubicBezTo>
                <a:cubicBezTo>
                  <a:pt x="680" y="68"/>
                  <a:pt x="692" y="65"/>
                  <a:pt x="692" y="65"/>
                </a:cubicBezTo>
                <a:cubicBezTo>
                  <a:pt x="692" y="66"/>
                  <a:pt x="692" y="66"/>
                  <a:pt x="692" y="66"/>
                </a:cubicBezTo>
                <a:cubicBezTo>
                  <a:pt x="692" y="66"/>
                  <a:pt x="700" y="65"/>
                  <a:pt x="706" y="65"/>
                </a:cubicBezTo>
                <a:cubicBezTo>
                  <a:pt x="712" y="65"/>
                  <a:pt x="707" y="66"/>
                  <a:pt x="704" y="66"/>
                </a:cubicBezTo>
                <a:cubicBezTo>
                  <a:pt x="702" y="67"/>
                  <a:pt x="695" y="67"/>
                  <a:pt x="690" y="68"/>
                </a:cubicBezTo>
                <a:cubicBezTo>
                  <a:pt x="685" y="69"/>
                  <a:pt x="678" y="71"/>
                  <a:pt x="678" y="71"/>
                </a:cubicBezTo>
                <a:cubicBezTo>
                  <a:pt x="678" y="71"/>
                  <a:pt x="684" y="72"/>
                  <a:pt x="695" y="72"/>
                </a:cubicBezTo>
                <a:cubicBezTo>
                  <a:pt x="705" y="73"/>
                  <a:pt x="712" y="68"/>
                  <a:pt x="712" y="68"/>
                </a:cubicBezTo>
                <a:cubicBezTo>
                  <a:pt x="722" y="66"/>
                  <a:pt x="722" y="66"/>
                  <a:pt x="722" y="66"/>
                </a:cubicBezTo>
                <a:cubicBezTo>
                  <a:pt x="722" y="66"/>
                  <a:pt x="726" y="67"/>
                  <a:pt x="736" y="66"/>
                </a:cubicBezTo>
                <a:cubicBezTo>
                  <a:pt x="745" y="64"/>
                  <a:pt x="746" y="62"/>
                  <a:pt x="750" y="61"/>
                </a:cubicBezTo>
                <a:cubicBezTo>
                  <a:pt x="754" y="60"/>
                  <a:pt x="751" y="56"/>
                  <a:pt x="746" y="56"/>
                </a:cubicBezTo>
                <a:cubicBezTo>
                  <a:pt x="742" y="56"/>
                  <a:pt x="744" y="59"/>
                  <a:pt x="744" y="59"/>
                </a:cubicBezTo>
                <a:cubicBezTo>
                  <a:pt x="738" y="59"/>
                  <a:pt x="738" y="59"/>
                  <a:pt x="738" y="59"/>
                </a:cubicBezTo>
                <a:cubicBezTo>
                  <a:pt x="738" y="59"/>
                  <a:pt x="739" y="57"/>
                  <a:pt x="740" y="56"/>
                </a:cubicBezTo>
                <a:cubicBezTo>
                  <a:pt x="741" y="54"/>
                  <a:pt x="744" y="51"/>
                  <a:pt x="741" y="51"/>
                </a:cubicBezTo>
                <a:cubicBezTo>
                  <a:pt x="739" y="50"/>
                  <a:pt x="734" y="53"/>
                  <a:pt x="727" y="55"/>
                </a:cubicBezTo>
                <a:cubicBezTo>
                  <a:pt x="719" y="57"/>
                  <a:pt x="731" y="56"/>
                  <a:pt x="731" y="56"/>
                </a:cubicBezTo>
                <a:cubicBezTo>
                  <a:pt x="730" y="60"/>
                  <a:pt x="730" y="60"/>
                  <a:pt x="730" y="60"/>
                </a:cubicBezTo>
                <a:cubicBezTo>
                  <a:pt x="714" y="62"/>
                  <a:pt x="714" y="62"/>
                  <a:pt x="714" y="62"/>
                </a:cubicBezTo>
                <a:cubicBezTo>
                  <a:pt x="714" y="62"/>
                  <a:pt x="712" y="58"/>
                  <a:pt x="713" y="56"/>
                </a:cubicBezTo>
                <a:cubicBezTo>
                  <a:pt x="714" y="54"/>
                  <a:pt x="702" y="53"/>
                  <a:pt x="702" y="53"/>
                </a:cubicBezTo>
                <a:cubicBezTo>
                  <a:pt x="684" y="57"/>
                  <a:pt x="684" y="57"/>
                  <a:pt x="684" y="57"/>
                </a:cubicBezTo>
                <a:cubicBezTo>
                  <a:pt x="684" y="57"/>
                  <a:pt x="684" y="57"/>
                  <a:pt x="684" y="57"/>
                </a:cubicBezTo>
                <a:close/>
                <a:moveTo>
                  <a:pt x="574" y="98"/>
                </a:moveTo>
                <a:cubicBezTo>
                  <a:pt x="575" y="100"/>
                  <a:pt x="569" y="104"/>
                  <a:pt x="575" y="103"/>
                </a:cubicBezTo>
                <a:cubicBezTo>
                  <a:pt x="581" y="102"/>
                  <a:pt x="588" y="99"/>
                  <a:pt x="588" y="99"/>
                </a:cubicBezTo>
                <a:cubicBezTo>
                  <a:pt x="593" y="101"/>
                  <a:pt x="593" y="101"/>
                  <a:pt x="593" y="101"/>
                </a:cubicBezTo>
                <a:cubicBezTo>
                  <a:pt x="604" y="93"/>
                  <a:pt x="604" y="93"/>
                  <a:pt x="604" y="93"/>
                </a:cubicBezTo>
                <a:cubicBezTo>
                  <a:pt x="622" y="87"/>
                  <a:pt x="622" y="87"/>
                  <a:pt x="622" y="87"/>
                </a:cubicBezTo>
                <a:cubicBezTo>
                  <a:pt x="640" y="82"/>
                  <a:pt x="640" y="82"/>
                  <a:pt x="640" y="82"/>
                </a:cubicBezTo>
                <a:cubicBezTo>
                  <a:pt x="654" y="79"/>
                  <a:pt x="654" y="79"/>
                  <a:pt x="654" y="79"/>
                </a:cubicBezTo>
                <a:cubicBezTo>
                  <a:pt x="654" y="79"/>
                  <a:pt x="645" y="73"/>
                  <a:pt x="645" y="72"/>
                </a:cubicBezTo>
                <a:cubicBezTo>
                  <a:pt x="644" y="71"/>
                  <a:pt x="634" y="72"/>
                  <a:pt x="634" y="72"/>
                </a:cubicBezTo>
                <a:cubicBezTo>
                  <a:pt x="625" y="74"/>
                  <a:pt x="625" y="74"/>
                  <a:pt x="625" y="74"/>
                </a:cubicBezTo>
                <a:cubicBezTo>
                  <a:pt x="620" y="70"/>
                  <a:pt x="620" y="70"/>
                  <a:pt x="620" y="70"/>
                </a:cubicBezTo>
                <a:cubicBezTo>
                  <a:pt x="609" y="71"/>
                  <a:pt x="609" y="71"/>
                  <a:pt x="609" y="71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599" y="76"/>
                  <a:pt x="599" y="76"/>
                  <a:pt x="599" y="76"/>
                </a:cubicBezTo>
                <a:cubicBezTo>
                  <a:pt x="597" y="80"/>
                  <a:pt x="597" y="80"/>
                  <a:pt x="597" y="80"/>
                </a:cubicBezTo>
                <a:cubicBezTo>
                  <a:pt x="590" y="82"/>
                  <a:pt x="590" y="82"/>
                  <a:pt x="590" y="82"/>
                </a:cubicBezTo>
                <a:cubicBezTo>
                  <a:pt x="581" y="85"/>
                  <a:pt x="581" y="85"/>
                  <a:pt x="581" y="85"/>
                </a:cubicBezTo>
                <a:cubicBezTo>
                  <a:pt x="584" y="87"/>
                  <a:pt x="584" y="87"/>
                  <a:pt x="584" y="87"/>
                </a:cubicBezTo>
                <a:cubicBezTo>
                  <a:pt x="567" y="94"/>
                  <a:pt x="567" y="94"/>
                  <a:pt x="567" y="94"/>
                </a:cubicBezTo>
                <a:cubicBezTo>
                  <a:pt x="567" y="94"/>
                  <a:pt x="573" y="95"/>
                  <a:pt x="574" y="98"/>
                </a:cubicBezTo>
                <a:close/>
                <a:moveTo>
                  <a:pt x="705" y="51"/>
                </a:moveTo>
                <a:cubicBezTo>
                  <a:pt x="709" y="48"/>
                  <a:pt x="705" y="46"/>
                  <a:pt x="701" y="48"/>
                </a:cubicBezTo>
                <a:cubicBezTo>
                  <a:pt x="697" y="50"/>
                  <a:pt x="705" y="51"/>
                  <a:pt x="705" y="51"/>
                </a:cubicBezTo>
                <a:close/>
                <a:moveTo>
                  <a:pt x="744" y="38"/>
                </a:moveTo>
                <a:cubicBezTo>
                  <a:pt x="746" y="38"/>
                  <a:pt x="752" y="40"/>
                  <a:pt x="753" y="38"/>
                </a:cubicBezTo>
                <a:cubicBezTo>
                  <a:pt x="753" y="36"/>
                  <a:pt x="751" y="35"/>
                  <a:pt x="748" y="35"/>
                </a:cubicBezTo>
                <a:cubicBezTo>
                  <a:pt x="744" y="35"/>
                  <a:pt x="730" y="37"/>
                  <a:pt x="730" y="37"/>
                </a:cubicBezTo>
                <a:cubicBezTo>
                  <a:pt x="730" y="37"/>
                  <a:pt x="742" y="39"/>
                  <a:pt x="744" y="38"/>
                </a:cubicBezTo>
                <a:close/>
                <a:moveTo>
                  <a:pt x="893" y="87"/>
                </a:moveTo>
                <a:cubicBezTo>
                  <a:pt x="896" y="88"/>
                  <a:pt x="901" y="85"/>
                  <a:pt x="901" y="85"/>
                </a:cubicBezTo>
                <a:cubicBezTo>
                  <a:pt x="909" y="85"/>
                  <a:pt x="909" y="85"/>
                  <a:pt x="909" y="85"/>
                </a:cubicBezTo>
                <a:cubicBezTo>
                  <a:pt x="909" y="85"/>
                  <a:pt x="915" y="87"/>
                  <a:pt x="917" y="86"/>
                </a:cubicBezTo>
                <a:cubicBezTo>
                  <a:pt x="918" y="85"/>
                  <a:pt x="917" y="80"/>
                  <a:pt x="913" y="79"/>
                </a:cubicBezTo>
                <a:cubicBezTo>
                  <a:pt x="909" y="79"/>
                  <a:pt x="906" y="80"/>
                  <a:pt x="906" y="80"/>
                </a:cubicBezTo>
                <a:cubicBezTo>
                  <a:pt x="901" y="80"/>
                  <a:pt x="901" y="80"/>
                  <a:pt x="901" y="80"/>
                </a:cubicBezTo>
                <a:cubicBezTo>
                  <a:pt x="901" y="80"/>
                  <a:pt x="894" y="77"/>
                  <a:pt x="892" y="79"/>
                </a:cubicBezTo>
                <a:cubicBezTo>
                  <a:pt x="890" y="81"/>
                  <a:pt x="889" y="82"/>
                  <a:pt x="889" y="82"/>
                </a:cubicBezTo>
                <a:cubicBezTo>
                  <a:pt x="892" y="83"/>
                  <a:pt x="892" y="83"/>
                  <a:pt x="892" y="83"/>
                </a:cubicBezTo>
                <a:cubicBezTo>
                  <a:pt x="892" y="83"/>
                  <a:pt x="890" y="86"/>
                  <a:pt x="893" y="87"/>
                </a:cubicBezTo>
                <a:close/>
                <a:moveTo>
                  <a:pt x="839" y="24"/>
                </a:moveTo>
                <a:cubicBezTo>
                  <a:pt x="831" y="25"/>
                  <a:pt x="831" y="25"/>
                  <a:pt x="831" y="25"/>
                </a:cubicBezTo>
                <a:cubicBezTo>
                  <a:pt x="834" y="29"/>
                  <a:pt x="834" y="29"/>
                  <a:pt x="834" y="29"/>
                </a:cubicBezTo>
                <a:cubicBezTo>
                  <a:pt x="839" y="24"/>
                  <a:pt x="839" y="24"/>
                  <a:pt x="839" y="24"/>
                </a:cubicBezTo>
                <a:cubicBezTo>
                  <a:pt x="839" y="24"/>
                  <a:pt x="839" y="24"/>
                  <a:pt x="839" y="24"/>
                </a:cubicBezTo>
                <a:close/>
                <a:moveTo>
                  <a:pt x="714" y="107"/>
                </a:moveTo>
                <a:cubicBezTo>
                  <a:pt x="713" y="106"/>
                  <a:pt x="700" y="106"/>
                  <a:pt x="700" y="106"/>
                </a:cubicBezTo>
                <a:cubicBezTo>
                  <a:pt x="711" y="100"/>
                  <a:pt x="711" y="100"/>
                  <a:pt x="711" y="100"/>
                </a:cubicBezTo>
                <a:cubicBezTo>
                  <a:pt x="711" y="100"/>
                  <a:pt x="717" y="85"/>
                  <a:pt x="711" y="83"/>
                </a:cubicBezTo>
                <a:cubicBezTo>
                  <a:pt x="706" y="81"/>
                  <a:pt x="698" y="85"/>
                  <a:pt x="698" y="85"/>
                </a:cubicBezTo>
                <a:cubicBezTo>
                  <a:pt x="698" y="85"/>
                  <a:pt x="692" y="96"/>
                  <a:pt x="687" y="97"/>
                </a:cubicBezTo>
                <a:cubicBezTo>
                  <a:pt x="682" y="98"/>
                  <a:pt x="690" y="89"/>
                  <a:pt x="690" y="87"/>
                </a:cubicBezTo>
                <a:cubicBezTo>
                  <a:pt x="690" y="85"/>
                  <a:pt x="676" y="85"/>
                  <a:pt x="676" y="85"/>
                </a:cubicBezTo>
                <a:cubicBezTo>
                  <a:pt x="675" y="88"/>
                  <a:pt x="675" y="88"/>
                  <a:pt x="675" y="88"/>
                </a:cubicBezTo>
                <a:cubicBezTo>
                  <a:pt x="675" y="88"/>
                  <a:pt x="667" y="91"/>
                  <a:pt x="660" y="91"/>
                </a:cubicBezTo>
                <a:cubicBezTo>
                  <a:pt x="652" y="92"/>
                  <a:pt x="663" y="89"/>
                  <a:pt x="671" y="86"/>
                </a:cubicBezTo>
                <a:cubicBezTo>
                  <a:pt x="678" y="84"/>
                  <a:pt x="667" y="84"/>
                  <a:pt x="667" y="84"/>
                </a:cubicBezTo>
                <a:cubicBezTo>
                  <a:pt x="658" y="86"/>
                  <a:pt x="658" y="86"/>
                  <a:pt x="658" y="86"/>
                </a:cubicBezTo>
                <a:cubicBezTo>
                  <a:pt x="652" y="87"/>
                  <a:pt x="652" y="87"/>
                  <a:pt x="652" y="87"/>
                </a:cubicBezTo>
                <a:cubicBezTo>
                  <a:pt x="652" y="87"/>
                  <a:pt x="655" y="85"/>
                  <a:pt x="659" y="82"/>
                </a:cubicBezTo>
                <a:cubicBezTo>
                  <a:pt x="662" y="80"/>
                  <a:pt x="658" y="80"/>
                  <a:pt x="658" y="80"/>
                </a:cubicBezTo>
                <a:cubicBezTo>
                  <a:pt x="637" y="87"/>
                  <a:pt x="637" y="87"/>
                  <a:pt x="637" y="87"/>
                </a:cubicBezTo>
                <a:cubicBezTo>
                  <a:pt x="634" y="87"/>
                  <a:pt x="634" y="87"/>
                  <a:pt x="634" y="87"/>
                </a:cubicBezTo>
                <a:cubicBezTo>
                  <a:pt x="623" y="91"/>
                  <a:pt x="623" y="91"/>
                  <a:pt x="623" y="91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15" y="95"/>
                  <a:pt x="615" y="95"/>
                  <a:pt x="615" y="95"/>
                </a:cubicBezTo>
                <a:cubicBezTo>
                  <a:pt x="613" y="98"/>
                  <a:pt x="613" y="98"/>
                  <a:pt x="613" y="98"/>
                </a:cubicBezTo>
                <a:cubicBezTo>
                  <a:pt x="617" y="99"/>
                  <a:pt x="617" y="99"/>
                  <a:pt x="617" y="99"/>
                </a:cubicBezTo>
                <a:cubicBezTo>
                  <a:pt x="617" y="99"/>
                  <a:pt x="621" y="96"/>
                  <a:pt x="622" y="99"/>
                </a:cubicBezTo>
                <a:cubicBezTo>
                  <a:pt x="623" y="101"/>
                  <a:pt x="614" y="100"/>
                  <a:pt x="611" y="104"/>
                </a:cubicBezTo>
                <a:cubicBezTo>
                  <a:pt x="609" y="108"/>
                  <a:pt x="642" y="104"/>
                  <a:pt x="637" y="108"/>
                </a:cubicBezTo>
                <a:cubicBezTo>
                  <a:pt x="633" y="111"/>
                  <a:pt x="607" y="109"/>
                  <a:pt x="604" y="113"/>
                </a:cubicBezTo>
                <a:cubicBezTo>
                  <a:pt x="602" y="116"/>
                  <a:pt x="609" y="116"/>
                  <a:pt x="613" y="118"/>
                </a:cubicBezTo>
                <a:cubicBezTo>
                  <a:pt x="618" y="121"/>
                  <a:pt x="611" y="119"/>
                  <a:pt x="610" y="123"/>
                </a:cubicBezTo>
                <a:cubicBezTo>
                  <a:pt x="609" y="126"/>
                  <a:pt x="631" y="125"/>
                  <a:pt x="631" y="125"/>
                </a:cubicBezTo>
                <a:cubicBezTo>
                  <a:pt x="631" y="125"/>
                  <a:pt x="666" y="121"/>
                  <a:pt x="674" y="119"/>
                </a:cubicBezTo>
                <a:cubicBezTo>
                  <a:pt x="680" y="117"/>
                  <a:pt x="691" y="125"/>
                  <a:pt x="697" y="125"/>
                </a:cubicBezTo>
                <a:cubicBezTo>
                  <a:pt x="704" y="126"/>
                  <a:pt x="707" y="118"/>
                  <a:pt x="707" y="118"/>
                </a:cubicBezTo>
                <a:cubicBezTo>
                  <a:pt x="696" y="118"/>
                  <a:pt x="696" y="118"/>
                  <a:pt x="696" y="118"/>
                </a:cubicBezTo>
                <a:cubicBezTo>
                  <a:pt x="700" y="114"/>
                  <a:pt x="700" y="114"/>
                  <a:pt x="700" y="114"/>
                </a:cubicBezTo>
                <a:cubicBezTo>
                  <a:pt x="700" y="114"/>
                  <a:pt x="707" y="116"/>
                  <a:pt x="714" y="114"/>
                </a:cubicBezTo>
                <a:cubicBezTo>
                  <a:pt x="721" y="113"/>
                  <a:pt x="714" y="109"/>
                  <a:pt x="714" y="107"/>
                </a:cubicBezTo>
                <a:close/>
                <a:moveTo>
                  <a:pt x="831" y="50"/>
                </a:moveTo>
                <a:cubicBezTo>
                  <a:pt x="830" y="50"/>
                  <a:pt x="828" y="49"/>
                  <a:pt x="828" y="49"/>
                </a:cubicBezTo>
                <a:cubicBezTo>
                  <a:pt x="828" y="49"/>
                  <a:pt x="816" y="49"/>
                  <a:pt x="816" y="51"/>
                </a:cubicBezTo>
                <a:cubicBezTo>
                  <a:pt x="816" y="53"/>
                  <a:pt x="819" y="53"/>
                  <a:pt x="819" y="53"/>
                </a:cubicBezTo>
                <a:cubicBezTo>
                  <a:pt x="820" y="56"/>
                  <a:pt x="820" y="56"/>
                  <a:pt x="820" y="56"/>
                </a:cubicBezTo>
                <a:cubicBezTo>
                  <a:pt x="820" y="56"/>
                  <a:pt x="830" y="57"/>
                  <a:pt x="831" y="56"/>
                </a:cubicBezTo>
                <a:cubicBezTo>
                  <a:pt x="832" y="56"/>
                  <a:pt x="834" y="56"/>
                  <a:pt x="836" y="56"/>
                </a:cubicBezTo>
                <a:cubicBezTo>
                  <a:pt x="835" y="58"/>
                  <a:pt x="835" y="60"/>
                  <a:pt x="835" y="60"/>
                </a:cubicBezTo>
                <a:cubicBezTo>
                  <a:pt x="827" y="66"/>
                  <a:pt x="827" y="66"/>
                  <a:pt x="827" y="66"/>
                </a:cubicBezTo>
                <a:cubicBezTo>
                  <a:pt x="830" y="67"/>
                  <a:pt x="830" y="67"/>
                  <a:pt x="830" y="67"/>
                </a:cubicBezTo>
                <a:cubicBezTo>
                  <a:pt x="830" y="67"/>
                  <a:pt x="825" y="70"/>
                  <a:pt x="827" y="70"/>
                </a:cubicBezTo>
                <a:cubicBezTo>
                  <a:pt x="830" y="70"/>
                  <a:pt x="834" y="68"/>
                  <a:pt x="834" y="68"/>
                </a:cubicBezTo>
                <a:cubicBezTo>
                  <a:pt x="834" y="68"/>
                  <a:pt x="832" y="71"/>
                  <a:pt x="836" y="71"/>
                </a:cubicBezTo>
                <a:cubicBezTo>
                  <a:pt x="840" y="70"/>
                  <a:pt x="847" y="68"/>
                  <a:pt x="847" y="68"/>
                </a:cubicBezTo>
                <a:cubicBezTo>
                  <a:pt x="848" y="71"/>
                  <a:pt x="848" y="71"/>
                  <a:pt x="848" y="71"/>
                </a:cubicBezTo>
                <a:cubicBezTo>
                  <a:pt x="857" y="70"/>
                  <a:pt x="857" y="70"/>
                  <a:pt x="857" y="70"/>
                </a:cubicBezTo>
                <a:cubicBezTo>
                  <a:pt x="868" y="72"/>
                  <a:pt x="868" y="72"/>
                  <a:pt x="868" y="72"/>
                </a:cubicBezTo>
                <a:cubicBezTo>
                  <a:pt x="881" y="71"/>
                  <a:pt x="881" y="71"/>
                  <a:pt x="881" y="71"/>
                </a:cubicBezTo>
                <a:cubicBezTo>
                  <a:pt x="885" y="68"/>
                  <a:pt x="885" y="68"/>
                  <a:pt x="885" y="68"/>
                </a:cubicBezTo>
                <a:cubicBezTo>
                  <a:pt x="885" y="68"/>
                  <a:pt x="883" y="71"/>
                  <a:pt x="886" y="71"/>
                </a:cubicBezTo>
                <a:cubicBezTo>
                  <a:pt x="888" y="71"/>
                  <a:pt x="904" y="71"/>
                  <a:pt x="904" y="71"/>
                </a:cubicBezTo>
                <a:cubicBezTo>
                  <a:pt x="905" y="68"/>
                  <a:pt x="905" y="68"/>
                  <a:pt x="905" y="68"/>
                </a:cubicBezTo>
                <a:cubicBezTo>
                  <a:pt x="915" y="64"/>
                  <a:pt x="915" y="64"/>
                  <a:pt x="915" y="64"/>
                </a:cubicBezTo>
                <a:cubicBezTo>
                  <a:pt x="912" y="63"/>
                  <a:pt x="912" y="63"/>
                  <a:pt x="912" y="63"/>
                </a:cubicBezTo>
                <a:cubicBezTo>
                  <a:pt x="912" y="62"/>
                  <a:pt x="912" y="62"/>
                  <a:pt x="912" y="62"/>
                </a:cubicBezTo>
                <a:cubicBezTo>
                  <a:pt x="912" y="62"/>
                  <a:pt x="903" y="59"/>
                  <a:pt x="900" y="59"/>
                </a:cubicBezTo>
                <a:cubicBezTo>
                  <a:pt x="896" y="59"/>
                  <a:pt x="871" y="64"/>
                  <a:pt x="871" y="64"/>
                </a:cubicBezTo>
                <a:cubicBezTo>
                  <a:pt x="871" y="64"/>
                  <a:pt x="868" y="62"/>
                  <a:pt x="866" y="62"/>
                </a:cubicBezTo>
                <a:cubicBezTo>
                  <a:pt x="865" y="62"/>
                  <a:pt x="858" y="64"/>
                  <a:pt x="858" y="64"/>
                </a:cubicBezTo>
                <a:cubicBezTo>
                  <a:pt x="856" y="61"/>
                  <a:pt x="856" y="61"/>
                  <a:pt x="856" y="61"/>
                </a:cubicBezTo>
                <a:cubicBezTo>
                  <a:pt x="853" y="63"/>
                  <a:pt x="853" y="63"/>
                  <a:pt x="853" y="63"/>
                </a:cubicBezTo>
                <a:cubicBezTo>
                  <a:pt x="849" y="62"/>
                  <a:pt x="849" y="62"/>
                  <a:pt x="849" y="62"/>
                </a:cubicBezTo>
                <a:cubicBezTo>
                  <a:pt x="853" y="60"/>
                  <a:pt x="853" y="60"/>
                  <a:pt x="853" y="60"/>
                </a:cubicBezTo>
                <a:cubicBezTo>
                  <a:pt x="850" y="59"/>
                  <a:pt x="850" y="59"/>
                  <a:pt x="850" y="59"/>
                </a:cubicBezTo>
                <a:cubicBezTo>
                  <a:pt x="843" y="60"/>
                  <a:pt x="843" y="60"/>
                  <a:pt x="843" y="60"/>
                </a:cubicBezTo>
                <a:cubicBezTo>
                  <a:pt x="848" y="58"/>
                  <a:pt x="848" y="58"/>
                  <a:pt x="848" y="58"/>
                </a:cubicBezTo>
                <a:cubicBezTo>
                  <a:pt x="848" y="57"/>
                  <a:pt x="848" y="57"/>
                  <a:pt x="848" y="57"/>
                </a:cubicBezTo>
                <a:cubicBezTo>
                  <a:pt x="857" y="57"/>
                  <a:pt x="857" y="57"/>
                  <a:pt x="857" y="57"/>
                </a:cubicBezTo>
                <a:cubicBezTo>
                  <a:pt x="852" y="55"/>
                  <a:pt x="852" y="55"/>
                  <a:pt x="852" y="55"/>
                </a:cubicBezTo>
                <a:cubicBezTo>
                  <a:pt x="849" y="55"/>
                  <a:pt x="849" y="55"/>
                  <a:pt x="849" y="55"/>
                </a:cubicBezTo>
                <a:cubicBezTo>
                  <a:pt x="849" y="55"/>
                  <a:pt x="852" y="53"/>
                  <a:pt x="849" y="53"/>
                </a:cubicBezTo>
                <a:cubicBezTo>
                  <a:pt x="848" y="53"/>
                  <a:pt x="841" y="53"/>
                  <a:pt x="838" y="54"/>
                </a:cubicBezTo>
                <a:cubicBezTo>
                  <a:pt x="837" y="52"/>
                  <a:pt x="831" y="50"/>
                  <a:pt x="831" y="50"/>
                </a:cubicBezTo>
                <a:close/>
                <a:moveTo>
                  <a:pt x="861" y="29"/>
                </a:moveTo>
                <a:cubicBezTo>
                  <a:pt x="854" y="30"/>
                  <a:pt x="854" y="30"/>
                  <a:pt x="854" y="30"/>
                </a:cubicBezTo>
                <a:cubicBezTo>
                  <a:pt x="859" y="32"/>
                  <a:pt x="859" y="32"/>
                  <a:pt x="859" y="32"/>
                </a:cubicBezTo>
                <a:cubicBezTo>
                  <a:pt x="859" y="32"/>
                  <a:pt x="856" y="33"/>
                  <a:pt x="856" y="35"/>
                </a:cubicBezTo>
                <a:cubicBezTo>
                  <a:pt x="857" y="37"/>
                  <a:pt x="862" y="37"/>
                  <a:pt x="862" y="37"/>
                </a:cubicBezTo>
                <a:cubicBezTo>
                  <a:pt x="860" y="39"/>
                  <a:pt x="860" y="39"/>
                  <a:pt x="860" y="39"/>
                </a:cubicBezTo>
                <a:cubicBezTo>
                  <a:pt x="860" y="39"/>
                  <a:pt x="863" y="39"/>
                  <a:pt x="866" y="41"/>
                </a:cubicBezTo>
                <a:cubicBezTo>
                  <a:pt x="869" y="43"/>
                  <a:pt x="875" y="39"/>
                  <a:pt x="875" y="39"/>
                </a:cubicBezTo>
                <a:cubicBezTo>
                  <a:pt x="878" y="37"/>
                  <a:pt x="878" y="37"/>
                  <a:pt x="878" y="37"/>
                </a:cubicBezTo>
                <a:cubicBezTo>
                  <a:pt x="878" y="37"/>
                  <a:pt x="879" y="38"/>
                  <a:pt x="880" y="41"/>
                </a:cubicBezTo>
                <a:cubicBezTo>
                  <a:pt x="882" y="43"/>
                  <a:pt x="887" y="39"/>
                  <a:pt x="889" y="39"/>
                </a:cubicBezTo>
                <a:cubicBezTo>
                  <a:pt x="890" y="38"/>
                  <a:pt x="893" y="35"/>
                  <a:pt x="893" y="35"/>
                </a:cubicBezTo>
                <a:cubicBezTo>
                  <a:pt x="895" y="37"/>
                  <a:pt x="895" y="37"/>
                  <a:pt x="895" y="37"/>
                </a:cubicBezTo>
                <a:cubicBezTo>
                  <a:pt x="895" y="37"/>
                  <a:pt x="898" y="34"/>
                  <a:pt x="898" y="33"/>
                </a:cubicBezTo>
                <a:cubicBezTo>
                  <a:pt x="898" y="32"/>
                  <a:pt x="909" y="33"/>
                  <a:pt x="912" y="33"/>
                </a:cubicBezTo>
                <a:cubicBezTo>
                  <a:pt x="914" y="33"/>
                  <a:pt x="914" y="30"/>
                  <a:pt x="914" y="30"/>
                </a:cubicBezTo>
                <a:cubicBezTo>
                  <a:pt x="905" y="30"/>
                  <a:pt x="905" y="30"/>
                  <a:pt x="905" y="30"/>
                </a:cubicBezTo>
                <a:cubicBezTo>
                  <a:pt x="909" y="27"/>
                  <a:pt x="909" y="27"/>
                  <a:pt x="909" y="27"/>
                </a:cubicBezTo>
                <a:cubicBezTo>
                  <a:pt x="909" y="27"/>
                  <a:pt x="911" y="23"/>
                  <a:pt x="910" y="22"/>
                </a:cubicBezTo>
                <a:cubicBezTo>
                  <a:pt x="909" y="20"/>
                  <a:pt x="902" y="24"/>
                  <a:pt x="902" y="24"/>
                </a:cubicBezTo>
                <a:cubicBezTo>
                  <a:pt x="901" y="21"/>
                  <a:pt x="901" y="21"/>
                  <a:pt x="901" y="21"/>
                </a:cubicBezTo>
                <a:cubicBezTo>
                  <a:pt x="895" y="22"/>
                  <a:pt x="895" y="22"/>
                  <a:pt x="895" y="22"/>
                </a:cubicBezTo>
                <a:cubicBezTo>
                  <a:pt x="895" y="22"/>
                  <a:pt x="894" y="18"/>
                  <a:pt x="892" y="15"/>
                </a:cubicBezTo>
                <a:cubicBezTo>
                  <a:pt x="890" y="13"/>
                  <a:pt x="881" y="18"/>
                  <a:pt x="881" y="18"/>
                </a:cubicBezTo>
                <a:cubicBezTo>
                  <a:pt x="870" y="18"/>
                  <a:pt x="870" y="18"/>
                  <a:pt x="870" y="18"/>
                </a:cubicBezTo>
                <a:cubicBezTo>
                  <a:pt x="874" y="21"/>
                  <a:pt x="874" y="21"/>
                  <a:pt x="874" y="21"/>
                </a:cubicBezTo>
                <a:cubicBezTo>
                  <a:pt x="874" y="21"/>
                  <a:pt x="866" y="21"/>
                  <a:pt x="863" y="21"/>
                </a:cubicBezTo>
                <a:cubicBezTo>
                  <a:pt x="861" y="22"/>
                  <a:pt x="865" y="25"/>
                  <a:pt x="865" y="25"/>
                </a:cubicBezTo>
                <a:cubicBezTo>
                  <a:pt x="865" y="25"/>
                  <a:pt x="853" y="24"/>
                  <a:pt x="852" y="27"/>
                </a:cubicBezTo>
                <a:cubicBezTo>
                  <a:pt x="851" y="30"/>
                  <a:pt x="861" y="29"/>
                  <a:pt x="861" y="29"/>
                </a:cubicBezTo>
                <a:close/>
                <a:moveTo>
                  <a:pt x="863" y="44"/>
                </a:moveTo>
                <a:cubicBezTo>
                  <a:pt x="859" y="45"/>
                  <a:pt x="859" y="47"/>
                  <a:pt x="859" y="47"/>
                </a:cubicBezTo>
                <a:cubicBezTo>
                  <a:pt x="862" y="48"/>
                  <a:pt x="862" y="48"/>
                  <a:pt x="862" y="48"/>
                </a:cubicBezTo>
                <a:cubicBezTo>
                  <a:pt x="866" y="48"/>
                  <a:pt x="868" y="44"/>
                  <a:pt x="863" y="44"/>
                </a:cubicBezTo>
                <a:close/>
                <a:moveTo>
                  <a:pt x="828" y="43"/>
                </a:moveTo>
                <a:cubicBezTo>
                  <a:pt x="830" y="44"/>
                  <a:pt x="831" y="46"/>
                  <a:pt x="831" y="46"/>
                </a:cubicBezTo>
                <a:cubicBezTo>
                  <a:pt x="831" y="46"/>
                  <a:pt x="840" y="45"/>
                  <a:pt x="844" y="45"/>
                </a:cubicBezTo>
                <a:cubicBezTo>
                  <a:pt x="848" y="45"/>
                  <a:pt x="839" y="42"/>
                  <a:pt x="839" y="42"/>
                </a:cubicBezTo>
                <a:cubicBezTo>
                  <a:pt x="839" y="42"/>
                  <a:pt x="841" y="40"/>
                  <a:pt x="843" y="40"/>
                </a:cubicBezTo>
                <a:cubicBezTo>
                  <a:pt x="845" y="39"/>
                  <a:pt x="837" y="37"/>
                  <a:pt x="831" y="35"/>
                </a:cubicBezTo>
                <a:cubicBezTo>
                  <a:pt x="831" y="35"/>
                  <a:pt x="826" y="36"/>
                  <a:pt x="825" y="37"/>
                </a:cubicBezTo>
                <a:cubicBezTo>
                  <a:pt x="824" y="38"/>
                  <a:pt x="826" y="43"/>
                  <a:pt x="828" y="43"/>
                </a:cubicBezTo>
                <a:close/>
                <a:moveTo>
                  <a:pt x="765" y="62"/>
                </a:moveTo>
                <a:cubicBezTo>
                  <a:pt x="767" y="62"/>
                  <a:pt x="776" y="63"/>
                  <a:pt x="776" y="63"/>
                </a:cubicBezTo>
                <a:cubicBezTo>
                  <a:pt x="776" y="63"/>
                  <a:pt x="771" y="67"/>
                  <a:pt x="774" y="67"/>
                </a:cubicBezTo>
                <a:cubicBezTo>
                  <a:pt x="777" y="67"/>
                  <a:pt x="785" y="67"/>
                  <a:pt x="785" y="67"/>
                </a:cubicBezTo>
                <a:cubicBezTo>
                  <a:pt x="788" y="67"/>
                  <a:pt x="793" y="66"/>
                  <a:pt x="792" y="64"/>
                </a:cubicBezTo>
                <a:cubicBezTo>
                  <a:pt x="791" y="62"/>
                  <a:pt x="800" y="62"/>
                  <a:pt x="799" y="60"/>
                </a:cubicBezTo>
                <a:cubicBezTo>
                  <a:pt x="799" y="58"/>
                  <a:pt x="807" y="57"/>
                  <a:pt x="804" y="54"/>
                </a:cubicBezTo>
                <a:cubicBezTo>
                  <a:pt x="801" y="52"/>
                  <a:pt x="797" y="54"/>
                  <a:pt x="797" y="54"/>
                </a:cubicBezTo>
                <a:cubicBezTo>
                  <a:pt x="797" y="54"/>
                  <a:pt x="787" y="51"/>
                  <a:pt x="787" y="53"/>
                </a:cubicBezTo>
                <a:cubicBezTo>
                  <a:pt x="786" y="54"/>
                  <a:pt x="786" y="59"/>
                  <a:pt x="786" y="59"/>
                </a:cubicBezTo>
                <a:cubicBezTo>
                  <a:pt x="786" y="59"/>
                  <a:pt x="782" y="53"/>
                  <a:pt x="780" y="55"/>
                </a:cubicBezTo>
                <a:cubicBezTo>
                  <a:pt x="777" y="57"/>
                  <a:pt x="775" y="62"/>
                  <a:pt x="773" y="61"/>
                </a:cubicBezTo>
                <a:cubicBezTo>
                  <a:pt x="771" y="59"/>
                  <a:pt x="770" y="54"/>
                  <a:pt x="768" y="54"/>
                </a:cubicBezTo>
                <a:cubicBezTo>
                  <a:pt x="766" y="53"/>
                  <a:pt x="761" y="54"/>
                  <a:pt x="761" y="56"/>
                </a:cubicBezTo>
                <a:cubicBezTo>
                  <a:pt x="761" y="59"/>
                  <a:pt x="763" y="62"/>
                  <a:pt x="765" y="62"/>
                </a:cubicBezTo>
                <a:close/>
                <a:moveTo>
                  <a:pt x="793" y="35"/>
                </a:moveTo>
                <a:cubicBezTo>
                  <a:pt x="793" y="35"/>
                  <a:pt x="789" y="39"/>
                  <a:pt x="792" y="39"/>
                </a:cubicBezTo>
                <a:cubicBezTo>
                  <a:pt x="795" y="39"/>
                  <a:pt x="802" y="39"/>
                  <a:pt x="802" y="39"/>
                </a:cubicBezTo>
                <a:cubicBezTo>
                  <a:pt x="802" y="39"/>
                  <a:pt x="804" y="43"/>
                  <a:pt x="808" y="43"/>
                </a:cubicBezTo>
                <a:cubicBezTo>
                  <a:pt x="812" y="43"/>
                  <a:pt x="814" y="40"/>
                  <a:pt x="814" y="40"/>
                </a:cubicBezTo>
                <a:cubicBezTo>
                  <a:pt x="813" y="38"/>
                  <a:pt x="813" y="38"/>
                  <a:pt x="813" y="38"/>
                </a:cubicBezTo>
                <a:cubicBezTo>
                  <a:pt x="817" y="37"/>
                  <a:pt x="817" y="37"/>
                  <a:pt x="817" y="37"/>
                </a:cubicBezTo>
                <a:cubicBezTo>
                  <a:pt x="811" y="33"/>
                  <a:pt x="811" y="33"/>
                  <a:pt x="811" y="33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3" y="30"/>
                  <a:pt x="803" y="30"/>
                  <a:pt x="803" y="30"/>
                </a:cubicBezTo>
                <a:cubicBezTo>
                  <a:pt x="799" y="30"/>
                  <a:pt x="799" y="30"/>
                  <a:pt x="799" y="30"/>
                </a:cubicBezTo>
                <a:cubicBezTo>
                  <a:pt x="794" y="30"/>
                  <a:pt x="787" y="30"/>
                  <a:pt x="787" y="33"/>
                </a:cubicBezTo>
                <a:cubicBezTo>
                  <a:pt x="786" y="35"/>
                  <a:pt x="793" y="35"/>
                  <a:pt x="793" y="35"/>
                </a:cubicBezTo>
                <a:close/>
                <a:moveTo>
                  <a:pt x="768" y="74"/>
                </a:moveTo>
                <a:cubicBezTo>
                  <a:pt x="768" y="74"/>
                  <a:pt x="755" y="74"/>
                  <a:pt x="748" y="76"/>
                </a:cubicBezTo>
                <a:cubicBezTo>
                  <a:pt x="741" y="79"/>
                  <a:pt x="752" y="81"/>
                  <a:pt x="750" y="83"/>
                </a:cubicBezTo>
                <a:cubicBezTo>
                  <a:pt x="747" y="86"/>
                  <a:pt x="743" y="79"/>
                  <a:pt x="735" y="82"/>
                </a:cubicBezTo>
                <a:cubicBezTo>
                  <a:pt x="737" y="88"/>
                  <a:pt x="737" y="88"/>
                  <a:pt x="737" y="88"/>
                </a:cubicBezTo>
                <a:cubicBezTo>
                  <a:pt x="737" y="88"/>
                  <a:pt x="739" y="90"/>
                  <a:pt x="742" y="90"/>
                </a:cubicBezTo>
                <a:cubicBezTo>
                  <a:pt x="746" y="91"/>
                  <a:pt x="746" y="98"/>
                  <a:pt x="746" y="98"/>
                </a:cubicBezTo>
                <a:cubicBezTo>
                  <a:pt x="746" y="98"/>
                  <a:pt x="760" y="96"/>
                  <a:pt x="765" y="95"/>
                </a:cubicBezTo>
                <a:cubicBezTo>
                  <a:pt x="769" y="94"/>
                  <a:pt x="769" y="85"/>
                  <a:pt x="769" y="85"/>
                </a:cubicBezTo>
                <a:cubicBezTo>
                  <a:pt x="760" y="83"/>
                  <a:pt x="760" y="83"/>
                  <a:pt x="760" y="83"/>
                </a:cubicBezTo>
                <a:cubicBezTo>
                  <a:pt x="760" y="83"/>
                  <a:pt x="771" y="80"/>
                  <a:pt x="777" y="78"/>
                </a:cubicBezTo>
                <a:cubicBezTo>
                  <a:pt x="782" y="76"/>
                  <a:pt x="768" y="74"/>
                  <a:pt x="768" y="74"/>
                </a:cubicBezTo>
                <a:close/>
                <a:moveTo>
                  <a:pt x="767" y="50"/>
                </a:moveTo>
                <a:cubicBezTo>
                  <a:pt x="771" y="49"/>
                  <a:pt x="771" y="43"/>
                  <a:pt x="768" y="43"/>
                </a:cubicBezTo>
                <a:cubicBezTo>
                  <a:pt x="765" y="43"/>
                  <a:pt x="763" y="50"/>
                  <a:pt x="767" y="50"/>
                </a:cubicBezTo>
                <a:close/>
                <a:moveTo>
                  <a:pt x="199" y="228"/>
                </a:moveTo>
                <a:cubicBezTo>
                  <a:pt x="197" y="230"/>
                  <a:pt x="192" y="231"/>
                  <a:pt x="193" y="232"/>
                </a:cubicBezTo>
                <a:cubicBezTo>
                  <a:pt x="195" y="234"/>
                  <a:pt x="201" y="232"/>
                  <a:pt x="201" y="232"/>
                </a:cubicBezTo>
                <a:cubicBezTo>
                  <a:pt x="202" y="230"/>
                  <a:pt x="202" y="230"/>
                  <a:pt x="202" y="230"/>
                </a:cubicBezTo>
                <a:cubicBezTo>
                  <a:pt x="202" y="230"/>
                  <a:pt x="205" y="231"/>
                  <a:pt x="205" y="230"/>
                </a:cubicBezTo>
                <a:cubicBezTo>
                  <a:pt x="204" y="228"/>
                  <a:pt x="202" y="226"/>
                  <a:pt x="199" y="228"/>
                </a:cubicBezTo>
                <a:close/>
                <a:moveTo>
                  <a:pt x="768" y="672"/>
                </a:moveTo>
                <a:cubicBezTo>
                  <a:pt x="766" y="672"/>
                  <a:pt x="761" y="670"/>
                  <a:pt x="758" y="670"/>
                </a:cubicBezTo>
                <a:cubicBezTo>
                  <a:pt x="755" y="670"/>
                  <a:pt x="755" y="677"/>
                  <a:pt x="755" y="677"/>
                </a:cubicBezTo>
                <a:cubicBezTo>
                  <a:pt x="761" y="678"/>
                  <a:pt x="761" y="678"/>
                  <a:pt x="761" y="678"/>
                </a:cubicBezTo>
                <a:cubicBezTo>
                  <a:pt x="762" y="677"/>
                  <a:pt x="762" y="677"/>
                  <a:pt x="762" y="677"/>
                </a:cubicBezTo>
                <a:cubicBezTo>
                  <a:pt x="762" y="677"/>
                  <a:pt x="765" y="678"/>
                  <a:pt x="768" y="677"/>
                </a:cubicBezTo>
                <a:cubicBezTo>
                  <a:pt x="772" y="677"/>
                  <a:pt x="775" y="674"/>
                  <a:pt x="775" y="672"/>
                </a:cubicBezTo>
                <a:cubicBezTo>
                  <a:pt x="775" y="671"/>
                  <a:pt x="769" y="672"/>
                  <a:pt x="768" y="672"/>
                </a:cubicBezTo>
                <a:close/>
                <a:moveTo>
                  <a:pt x="742" y="672"/>
                </a:moveTo>
                <a:cubicBezTo>
                  <a:pt x="744" y="671"/>
                  <a:pt x="743" y="668"/>
                  <a:pt x="743" y="668"/>
                </a:cubicBezTo>
                <a:cubicBezTo>
                  <a:pt x="743" y="668"/>
                  <a:pt x="738" y="664"/>
                  <a:pt x="735" y="663"/>
                </a:cubicBezTo>
                <a:cubicBezTo>
                  <a:pt x="732" y="662"/>
                  <a:pt x="731" y="661"/>
                  <a:pt x="729" y="660"/>
                </a:cubicBezTo>
                <a:cubicBezTo>
                  <a:pt x="727" y="660"/>
                  <a:pt x="725" y="656"/>
                  <a:pt x="724" y="655"/>
                </a:cubicBezTo>
                <a:cubicBezTo>
                  <a:pt x="723" y="654"/>
                  <a:pt x="718" y="654"/>
                  <a:pt x="714" y="654"/>
                </a:cubicBezTo>
                <a:cubicBezTo>
                  <a:pt x="713" y="654"/>
                  <a:pt x="712" y="654"/>
                  <a:pt x="712" y="655"/>
                </a:cubicBezTo>
                <a:cubicBezTo>
                  <a:pt x="710" y="655"/>
                  <a:pt x="710" y="656"/>
                  <a:pt x="710" y="656"/>
                </a:cubicBezTo>
                <a:cubicBezTo>
                  <a:pt x="710" y="656"/>
                  <a:pt x="703" y="654"/>
                  <a:pt x="700" y="654"/>
                </a:cubicBezTo>
                <a:cubicBezTo>
                  <a:pt x="697" y="654"/>
                  <a:pt x="695" y="654"/>
                  <a:pt x="694" y="656"/>
                </a:cubicBezTo>
                <a:cubicBezTo>
                  <a:pt x="693" y="657"/>
                  <a:pt x="698" y="657"/>
                  <a:pt x="699" y="657"/>
                </a:cubicBezTo>
                <a:cubicBezTo>
                  <a:pt x="701" y="657"/>
                  <a:pt x="703" y="660"/>
                  <a:pt x="703" y="660"/>
                </a:cubicBezTo>
                <a:cubicBezTo>
                  <a:pt x="703" y="660"/>
                  <a:pt x="700" y="661"/>
                  <a:pt x="701" y="664"/>
                </a:cubicBezTo>
                <a:cubicBezTo>
                  <a:pt x="701" y="667"/>
                  <a:pt x="703" y="668"/>
                  <a:pt x="700" y="668"/>
                </a:cubicBezTo>
                <a:cubicBezTo>
                  <a:pt x="698" y="668"/>
                  <a:pt x="693" y="667"/>
                  <a:pt x="692" y="667"/>
                </a:cubicBezTo>
                <a:cubicBezTo>
                  <a:pt x="690" y="667"/>
                  <a:pt x="686" y="667"/>
                  <a:pt x="685" y="669"/>
                </a:cubicBezTo>
                <a:cubicBezTo>
                  <a:pt x="685" y="669"/>
                  <a:pt x="689" y="674"/>
                  <a:pt x="691" y="675"/>
                </a:cubicBezTo>
                <a:cubicBezTo>
                  <a:pt x="693" y="676"/>
                  <a:pt x="694" y="672"/>
                  <a:pt x="694" y="672"/>
                </a:cubicBezTo>
                <a:cubicBezTo>
                  <a:pt x="694" y="672"/>
                  <a:pt x="697" y="672"/>
                  <a:pt x="701" y="672"/>
                </a:cubicBezTo>
                <a:cubicBezTo>
                  <a:pt x="704" y="672"/>
                  <a:pt x="708" y="671"/>
                  <a:pt x="708" y="671"/>
                </a:cubicBezTo>
                <a:cubicBezTo>
                  <a:pt x="713" y="677"/>
                  <a:pt x="713" y="677"/>
                  <a:pt x="713" y="677"/>
                </a:cubicBezTo>
                <a:cubicBezTo>
                  <a:pt x="720" y="672"/>
                  <a:pt x="720" y="672"/>
                  <a:pt x="720" y="672"/>
                </a:cubicBezTo>
                <a:cubicBezTo>
                  <a:pt x="720" y="672"/>
                  <a:pt x="726" y="672"/>
                  <a:pt x="733" y="672"/>
                </a:cubicBezTo>
                <a:cubicBezTo>
                  <a:pt x="736" y="673"/>
                  <a:pt x="740" y="673"/>
                  <a:pt x="742" y="672"/>
                </a:cubicBezTo>
                <a:close/>
                <a:moveTo>
                  <a:pt x="676" y="653"/>
                </a:moveTo>
                <a:cubicBezTo>
                  <a:pt x="683" y="651"/>
                  <a:pt x="690" y="650"/>
                  <a:pt x="690" y="650"/>
                </a:cubicBezTo>
                <a:cubicBezTo>
                  <a:pt x="690" y="650"/>
                  <a:pt x="690" y="648"/>
                  <a:pt x="687" y="648"/>
                </a:cubicBezTo>
                <a:cubicBezTo>
                  <a:pt x="683" y="647"/>
                  <a:pt x="680" y="647"/>
                  <a:pt x="680" y="647"/>
                </a:cubicBezTo>
                <a:cubicBezTo>
                  <a:pt x="680" y="647"/>
                  <a:pt x="682" y="643"/>
                  <a:pt x="678" y="643"/>
                </a:cubicBezTo>
                <a:cubicBezTo>
                  <a:pt x="674" y="642"/>
                  <a:pt x="671" y="643"/>
                  <a:pt x="671" y="643"/>
                </a:cubicBezTo>
                <a:cubicBezTo>
                  <a:pt x="674" y="640"/>
                  <a:pt x="674" y="640"/>
                  <a:pt x="674" y="640"/>
                </a:cubicBezTo>
                <a:cubicBezTo>
                  <a:pt x="674" y="640"/>
                  <a:pt x="668" y="638"/>
                  <a:pt x="666" y="638"/>
                </a:cubicBezTo>
                <a:cubicBezTo>
                  <a:pt x="665" y="638"/>
                  <a:pt x="660" y="636"/>
                  <a:pt x="660" y="636"/>
                </a:cubicBezTo>
                <a:cubicBezTo>
                  <a:pt x="660" y="636"/>
                  <a:pt x="662" y="632"/>
                  <a:pt x="661" y="632"/>
                </a:cubicBezTo>
                <a:cubicBezTo>
                  <a:pt x="659" y="632"/>
                  <a:pt x="658" y="632"/>
                  <a:pt x="658" y="632"/>
                </a:cubicBezTo>
                <a:cubicBezTo>
                  <a:pt x="658" y="632"/>
                  <a:pt x="650" y="624"/>
                  <a:pt x="648" y="625"/>
                </a:cubicBezTo>
                <a:cubicBezTo>
                  <a:pt x="646" y="627"/>
                  <a:pt x="650" y="629"/>
                  <a:pt x="650" y="629"/>
                </a:cubicBezTo>
                <a:cubicBezTo>
                  <a:pt x="641" y="625"/>
                  <a:pt x="641" y="625"/>
                  <a:pt x="641" y="625"/>
                </a:cubicBezTo>
                <a:cubicBezTo>
                  <a:pt x="641" y="625"/>
                  <a:pt x="636" y="619"/>
                  <a:pt x="633" y="618"/>
                </a:cubicBezTo>
                <a:cubicBezTo>
                  <a:pt x="631" y="617"/>
                  <a:pt x="625" y="618"/>
                  <a:pt x="625" y="618"/>
                </a:cubicBezTo>
                <a:cubicBezTo>
                  <a:pt x="625" y="618"/>
                  <a:pt x="620" y="616"/>
                  <a:pt x="612" y="616"/>
                </a:cubicBezTo>
                <a:cubicBezTo>
                  <a:pt x="604" y="616"/>
                  <a:pt x="601" y="618"/>
                  <a:pt x="597" y="621"/>
                </a:cubicBezTo>
                <a:cubicBezTo>
                  <a:pt x="594" y="624"/>
                  <a:pt x="587" y="627"/>
                  <a:pt x="587" y="627"/>
                </a:cubicBezTo>
                <a:cubicBezTo>
                  <a:pt x="598" y="626"/>
                  <a:pt x="598" y="626"/>
                  <a:pt x="598" y="626"/>
                </a:cubicBezTo>
                <a:cubicBezTo>
                  <a:pt x="598" y="624"/>
                  <a:pt x="598" y="624"/>
                  <a:pt x="598" y="624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11" y="622"/>
                  <a:pt x="611" y="622"/>
                  <a:pt x="611" y="622"/>
                </a:cubicBezTo>
                <a:cubicBezTo>
                  <a:pt x="611" y="622"/>
                  <a:pt x="617" y="622"/>
                  <a:pt x="619" y="623"/>
                </a:cubicBezTo>
                <a:cubicBezTo>
                  <a:pt x="620" y="625"/>
                  <a:pt x="614" y="626"/>
                  <a:pt x="614" y="626"/>
                </a:cubicBezTo>
                <a:cubicBezTo>
                  <a:pt x="616" y="627"/>
                  <a:pt x="616" y="627"/>
                  <a:pt x="616" y="627"/>
                </a:cubicBezTo>
                <a:cubicBezTo>
                  <a:pt x="616" y="627"/>
                  <a:pt x="620" y="629"/>
                  <a:pt x="623" y="630"/>
                </a:cubicBezTo>
                <a:cubicBezTo>
                  <a:pt x="627" y="631"/>
                  <a:pt x="627" y="629"/>
                  <a:pt x="627" y="629"/>
                </a:cubicBezTo>
                <a:cubicBezTo>
                  <a:pt x="627" y="629"/>
                  <a:pt x="630" y="631"/>
                  <a:pt x="633" y="633"/>
                </a:cubicBezTo>
                <a:cubicBezTo>
                  <a:pt x="637" y="635"/>
                  <a:pt x="643" y="632"/>
                  <a:pt x="643" y="632"/>
                </a:cubicBezTo>
                <a:cubicBezTo>
                  <a:pt x="642" y="636"/>
                  <a:pt x="642" y="636"/>
                  <a:pt x="642" y="636"/>
                </a:cubicBezTo>
                <a:cubicBezTo>
                  <a:pt x="651" y="640"/>
                  <a:pt x="651" y="640"/>
                  <a:pt x="651" y="640"/>
                </a:cubicBezTo>
                <a:cubicBezTo>
                  <a:pt x="654" y="644"/>
                  <a:pt x="654" y="644"/>
                  <a:pt x="654" y="644"/>
                </a:cubicBezTo>
                <a:cubicBezTo>
                  <a:pt x="654" y="644"/>
                  <a:pt x="657" y="646"/>
                  <a:pt x="657" y="647"/>
                </a:cubicBezTo>
                <a:cubicBezTo>
                  <a:pt x="657" y="649"/>
                  <a:pt x="652" y="650"/>
                  <a:pt x="653" y="652"/>
                </a:cubicBezTo>
                <a:cubicBezTo>
                  <a:pt x="655" y="654"/>
                  <a:pt x="660" y="650"/>
                  <a:pt x="662" y="650"/>
                </a:cubicBezTo>
                <a:cubicBezTo>
                  <a:pt x="663" y="650"/>
                  <a:pt x="667" y="650"/>
                  <a:pt x="664" y="651"/>
                </a:cubicBezTo>
                <a:cubicBezTo>
                  <a:pt x="661" y="651"/>
                  <a:pt x="666" y="654"/>
                  <a:pt x="666" y="654"/>
                </a:cubicBezTo>
                <a:cubicBezTo>
                  <a:pt x="666" y="654"/>
                  <a:pt x="670" y="655"/>
                  <a:pt x="676" y="653"/>
                </a:cubicBezTo>
                <a:close/>
                <a:moveTo>
                  <a:pt x="929" y="188"/>
                </a:moveTo>
                <a:cubicBezTo>
                  <a:pt x="934" y="187"/>
                  <a:pt x="934" y="187"/>
                  <a:pt x="934" y="187"/>
                </a:cubicBezTo>
                <a:cubicBezTo>
                  <a:pt x="934" y="185"/>
                  <a:pt x="934" y="185"/>
                  <a:pt x="934" y="185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8"/>
                  <a:pt x="929" y="188"/>
                  <a:pt x="929" y="188"/>
                </a:cubicBezTo>
                <a:cubicBezTo>
                  <a:pt x="929" y="188"/>
                  <a:pt x="929" y="188"/>
                  <a:pt x="929" y="188"/>
                </a:cubicBezTo>
                <a:close/>
                <a:moveTo>
                  <a:pt x="662" y="671"/>
                </a:moveTo>
                <a:cubicBezTo>
                  <a:pt x="660" y="671"/>
                  <a:pt x="656" y="671"/>
                  <a:pt x="654" y="671"/>
                </a:cubicBezTo>
                <a:cubicBezTo>
                  <a:pt x="652" y="670"/>
                  <a:pt x="650" y="669"/>
                  <a:pt x="648" y="670"/>
                </a:cubicBezTo>
                <a:cubicBezTo>
                  <a:pt x="646" y="671"/>
                  <a:pt x="644" y="671"/>
                  <a:pt x="644" y="671"/>
                </a:cubicBezTo>
                <a:cubicBezTo>
                  <a:pt x="644" y="671"/>
                  <a:pt x="646" y="674"/>
                  <a:pt x="648" y="675"/>
                </a:cubicBezTo>
                <a:cubicBezTo>
                  <a:pt x="649" y="676"/>
                  <a:pt x="653" y="676"/>
                  <a:pt x="653" y="676"/>
                </a:cubicBezTo>
                <a:cubicBezTo>
                  <a:pt x="655" y="677"/>
                  <a:pt x="655" y="677"/>
                  <a:pt x="655" y="677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60" y="675"/>
                  <a:pt x="660" y="675"/>
                  <a:pt x="660" y="675"/>
                </a:cubicBezTo>
                <a:cubicBezTo>
                  <a:pt x="667" y="677"/>
                  <a:pt x="667" y="677"/>
                  <a:pt x="667" y="677"/>
                </a:cubicBezTo>
                <a:cubicBezTo>
                  <a:pt x="667" y="677"/>
                  <a:pt x="664" y="671"/>
                  <a:pt x="662" y="671"/>
                </a:cubicBezTo>
                <a:close/>
                <a:moveTo>
                  <a:pt x="894" y="359"/>
                </a:moveTo>
                <a:cubicBezTo>
                  <a:pt x="892" y="358"/>
                  <a:pt x="889" y="360"/>
                  <a:pt x="888" y="360"/>
                </a:cubicBezTo>
                <a:cubicBezTo>
                  <a:pt x="889" y="360"/>
                  <a:pt x="890" y="359"/>
                  <a:pt x="892" y="356"/>
                </a:cubicBezTo>
                <a:cubicBezTo>
                  <a:pt x="895" y="354"/>
                  <a:pt x="888" y="353"/>
                  <a:pt x="885" y="357"/>
                </a:cubicBezTo>
                <a:cubicBezTo>
                  <a:pt x="884" y="360"/>
                  <a:pt x="884" y="360"/>
                  <a:pt x="884" y="360"/>
                </a:cubicBezTo>
                <a:cubicBezTo>
                  <a:pt x="882" y="363"/>
                  <a:pt x="882" y="363"/>
                  <a:pt x="882" y="363"/>
                </a:cubicBezTo>
                <a:cubicBezTo>
                  <a:pt x="890" y="362"/>
                  <a:pt x="890" y="362"/>
                  <a:pt x="890" y="362"/>
                </a:cubicBezTo>
                <a:cubicBezTo>
                  <a:pt x="890" y="362"/>
                  <a:pt x="898" y="360"/>
                  <a:pt x="894" y="359"/>
                </a:cubicBezTo>
                <a:close/>
                <a:moveTo>
                  <a:pt x="865" y="357"/>
                </a:moveTo>
                <a:cubicBezTo>
                  <a:pt x="861" y="356"/>
                  <a:pt x="859" y="354"/>
                  <a:pt x="859" y="354"/>
                </a:cubicBezTo>
                <a:cubicBezTo>
                  <a:pt x="857" y="356"/>
                  <a:pt x="857" y="356"/>
                  <a:pt x="857" y="356"/>
                </a:cubicBezTo>
                <a:cubicBezTo>
                  <a:pt x="857" y="356"/>
                  <a:pt x="860" y="358"/>
                  <a:pt x="861" y="358"/>
                </a:cubicBezTo>
                <a:cubicBezTo>
                  <a:pt x="862" y="359"/>
                  <a:pt x="866" y="359"/>
                  <a:pt x="866" y="359"/>
                </a:cubicBezTo>
                <a:cubicBezTo>
                  <a:pt x="866" y="359"/>
                  <a:pt x="868" y="360"/>
                  <a:pt x="870" y="360"/>
                </a:cubicBezTo>
                <a:cubicBezTo>
                  <a:pt x="872" y="359"/>
                  <a:pt x="873" y="357"/>
                  <a:pt x="873" y="357"/>
                </a:cubicBezTo>
                <a:cubicBezTo>
                  <a:pt x="873" y="357"/>
                  <a:pt x="869" y="357"/>
                  <a:pt x="865" y="357"/>
                </a:cubicBezTo>
                <a:close/>
                <a:moveTo>
                  <a:pt x="810" y="152"/>
                </a:moveTo>
                <a:cubicBezTo>
                  <a:pt x="807" y="151"/>
                  <a:pt x="809" y="155"/>
                  <a:pt x="809" y="155"/>
                </a:cubicBezTo>
                <a:cubicBezTo>
                  <a:pt x="811" y="155"/>
                  <a:pt x="813" y="152"/>
                  <a:pt x="810" y="152"/>
                </a:cubicBezTo>
                <a:close/>
                <a:moveTo>
                  <a:pt x="745" y="287"/>
                </a:moveTo>
                <a:cubicBezTo>
                  <a:pt x="750" y="287"/>
                  <a:pt x="743" y="284"/>
                  <a:pt x="743" y="284"/>
                </a:cubicBezTo>
                <a:cubicBezTo>
                  <a:pt x="734" y="285"/>
                  <a:pt x="739" y="288"/>
                  <a:pt x="745" y="287"/>
                </a:cubicBezTo>
                <a:close/>
                <a:moveTo>
                  <a:pt x="881" y="322"/>
                </a:moveTo>
                <a:cubicBezTo>
                  <a:pt x="881" y="322"/>
                  <a:pt x="875" y="320"/>
                  <a:pt x="869" y="320"/>
                </a:cubicBezTo>
                <a:cubicBezTo>
                  <a:pt x="863" y="320"/>
                  <a:pt x="872" y="322"/>
                  <a:pt x="872" y="322"/>
                </a:cubicBezTo>
                <a:cubicBezTo>
                  <a:pt x="872" y="324"/>
                  <a:pt x="872" y="324"/>
                  <a:pt x="872" y="324"/>
                </a:cubicBezTo>
                <a:cubicBezTo>
                  <a:pt x="872" y="324"/>
                  <a:pt x="879" y="325"/>
                  <a:pt x="885" y="326"/>
                </a:cubicBezTo>
                <a:cubicBezTo>
                  <a:pt x="891" y="327"/>
                  <a:pt x="897" y="325"/>
                  <a:pt x="881" y="322"/>
                </a:cubicBezTo>
                <a:close/>
                <a:moveTo>
                  <a:pt x="730" y="82"/>
                </a:moveTo>
                <a:cubicBezTo>
                  <a:pt x="726" y="78"/>
                  <a:pt x="726" y="78"/>
                  <a:pt x="726" y="78"/>
                </a:cubicBezTo>
                <a:cubicBezTo>
                  <a:pt x="722" y="79"/>
                  <a:pt x="722" y="79"/>
                  <a:pt x="722" y="79"/>
                </a:cubicBezTo>
                <a:cubicBezTo>
                  <a:pt x="722" y="79"/>
                  <a:pt x="719" y="76"/>
                  <a:pt x="714" y="77"/>
                </a:cubicBezTo>
                <a:cubicBezTo>
                  <a:pt x="709" y="79"/>
                  <a:pt x="721" y="84"/>
                  <a:pt x="721" y="84"/>
                </a:cubicBezTo>
                <a:cubicBezTo>
                  <a:pt x="730" y="82"/>
                  <a:pt x="730" y="82"/>
                  <a:pt x="730" y="82"/>
                </a:cubicBezTo>
                <a:cubicBezTo>
                  <a:pt x="730" y="82"/>
                  <a:pt x="730" y="82"/>
                  <a:pt x="730" y="82"/>
                </a:cubicBezTo>
                <a:close/>
                <a:moveTo>
                  <a:pt x="653" y="61"/>
                </a:moveTo>
                <a:cubicBezTo>
                  <a:pt x="644" y="63"/>
                  <a:pt x="650" y="65"/>
                  <a:pt x="650" y="65"/>
                </a:cubicBezTo>
                <a:cubicBezTo>
                  <a:pt x="662" y="62"/>
                  <a:pt x="661" y="59"/>
                  <a:pt x="653" y="61"/>
                </a:cubicBezTo>
                <a:close/>
                <a:moveTo>
                  <a:pt x="709" y="126"/>
                </a:moveTo>
                <a:cubicBezTo>
                  <a:pt x="716" y="126"/>
                  <a:pt x="717" y="123"/>
                  <a:pt x="713" y="123"/>
                </a:cubicBezTo>
                <a:cubicBezTo>
                  <a:pt x="708" y="123"/>
                  <a:pt x="709" y="126"/>
                  <a:pt x="709" y="126"/>
                </a:cubicBezTo>
                <a:close/>
                <a:moveTo>
                  <a:pt x="604" y="633"/>
                </a:moveTo>
                <a:cubicBezTo>
                  <a:pt x="603" y="636"/>
                  <a:pt x="609" y="637"/>
                  <a:pt x="609" y="633"/>
                </a:cubicBezTo>
                <a:cubicBezTo>
                  <a:pt x="610" y="631"/>
                  <a:pt x="604" y="633"/>
                  <a:pt x="604" y="633"/>
                </a:cubicBezTo>
                <a:close/>
                <a:moveTo>
                  <a:pt x="980" y="147"/>
                </a:moveTo>
                <a:cubicBezTo>
                  <a:pt x="983" y="143"/>
                  <a:pt x="975" y="141"/>
                  <a:pt x="974" y="142"/>
                </a:cubicBezTo>
                <a:cubicBezTo>
                  <a:pt x="973" y="143"/>
                  <a:pt x="970" y="141"/>
                  <a:pt x="970" y="141"/>
                </a:cubicBezTo>
                <a:cubicBezTo>
                  <a:pt x="966" y="144"/>
                  <a:pt x="966" y="144"/>
                  <a:pt x="966" y="144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0" y="140"/>
                  <a:pt x="960" y="140"/>
                  <a:pt x="960" y="140"/>
                </a:cubicBezTo>
                <a:cubicBezTo>
                  <a:pt x="960" y="140"/>
                  <a:pt x="967" y="138"/>
                  <a:pt x="966" y="136"/>
                </a:cubicBezTo>
                <a:cubicBezTo>
                  <a:pt x="964" y="134"/>
                  <a:pt x="954" y="133"/>
                  <a:pt x="954" y="133"/>
                </a:cubicBezTo>
                <a:cubicBezTo>
                  <a:pt x="953" y="131"/>
                  <a:pt x="953" y="131"/>
                  <a:pt x="953" y="131"/>
                </a:cubicBezTo>
                <a:cubicBezTo>
                  <a:pt x="946" y="131"/>
                  <a:pt x="946" y="131"/>
                  <a:pt x="946" y="131"/>
                </a:cubicBezTo>
                <a:cubicBezTo>
                  <a:pt x="937" y="124"/>
                  <a:pt x="937" y="124"/>
                  <a:pt x="937" y="124"/>
                </a:cubicBezTo>
                <a:cubicBezTo>
                  <a:pt x="947" y="124"/>
                  <a:pt x="947" y="124"/>
                  <a:pt x="947" y="124"/>
                </a:cubicBezTo>
                <a:cubicBezTo>
                  <a:pt x="943" y="121"/>
                  <a:pt x="943" y="121"/>
                  <a:pt x="943" y="121"/>
                </a:cubicBezTo>
                <a:cubicBezTo>
                  <a:pt x="943" y="121"/>
                  <a:pt x="945" y="120"/>
                  <a:pt x="946" y="120"/>
                </a:cubicBezTo>
                <a:cubicBezTo>
                  <a:pt x="947" y="120"/>
                  <a:pt x="958" y="122"/>
                  <a:pt x="957" y="120"/>
                </a:cubicBezTo>
                <a:cubicBezTo>
                  <a:pt x="955" y="117"/>
                  <a:pt x="944" y="117"/>
                  <a:pt x="944" y="117"/>
                </a:cubicBezTo>
                <a:cubicBezTo>
                  <a:pt x="940" y="117"/>
                  <a:pt x="940" y="117"/>
                  <a:pt x="940" y="117"/>
                </a:cubicBezTo>
                <a:cubicBezTo>
                  <a:pt x="940" y="117"/>
                  <a:pt x="956" y="117"/>
                  <a:pt x="957" y="115"/>
                </a:cubicBezTo>
                <a:cubicBezTo>
                  <a:pt x="957" y="113"/>
                  <a:pt x="952" y="113"/>
                  <a:pt x="952" y="113"/>
                </a:cubicBezTo>
                <a:cubicBezTo>
                  <a:pt x="938" y="115"/>
                  <a:pt x="938" y="115"/>
                  <a:pt x="938" y="115"/>
                </a:cubicBezTo>
                <a:cubicBezTo>
                  <a:pt x="946" y="110"/>
                  <a:pt x="946" y="110"/>
                  <a:pt x="946" y="110"/>
                </a:cubicBezTo>
                <a:cubicBezTo>
                  <a:pt x="946" y="110"/>
                  <a:pt x="957" y="111"/>
                  <a:pt x="954" y="108"/>
                </a:cubicBezTo>
                <a:cubicBezTo>
                  <a:pt x="950" y="105"/>
                  <a:pt x="945" y="105"/>
                  <a:pt x="945" y="105"/>
                </a:cubicBezTo>
                <a:cubicBezTo>
                  <a:pt x="940" y="108"/>
                  <a:pt x="940" y="108"/>
                  <a:pt x="940" y="108"/>
                </a:cubicBezTo>
                <a:cubicBezTo>
                  <a:pt x="937" y="107"/>
                  <a:pt x="937" y="107"/>
                  <a:pt x="937" y="107"/>
                </a:cubicBezTo>
                <a:cubicBezTo>
                  <a:pt x="932" y="112"/>
                  <a:pt x="932" y="112"/>
                  <a:pt x="932" y="112"/>
                </a:cubicBezTo>
                <a:cubicBezTo>
                  <a:pt x="932" y="108"/>
                  <a:pt x="932" y="108"/>
                  <a:pt x="932" y="108"/>
                </a:cubicBezTo>
                <a:cubicBezTo>
                  <a:pt x="929" y="111"/>
                  <a:pt x="929" y="111"/>
                  <a:pt x="929" y="111"/>
                </a:cubicBezTo>
                <a:cubicBezTo>
                  <a:pt x="932" y="107"/>
                  <a:pt x="932" y="107"/>
                  <a:pt x="932" y="107"/>
                </a:cubicBezTo>
                <a:cubicBezTo>
                  <a:pt x="932" y="107"/>
                  <a:pt x="936" y="108"/>
                  <a:pt x="938" y="106"/>
                </a:cubicBezTo>
                <a:cubicBezTo>
                  <a:pt x="940" y="104"/>
                  <a:pt x="940" y="101"/>
                  <a:pt x="939" y="102"/>
                </a:cubicBezTo>
                <a:cubicBezTo>
                  <a:pt x="937" y="102"/>
                  <a:pt x="936" y="104"/>
                  <a:pt x="936" y="104"/>
                </a:cubicBezTo>
                <a:cubicBezTo>
                  <a:pt x="931" y="104"/>
                  <a:pt x="931" y="104"/>
                  <a:pt x="931" y="104"/>
                </a:cubicBezTo>
                <a:cubicBezTo>
                  <a:pt x="928" y="106"/>
                  <a:pt x="928" y="106"/>
                  <a:pt x="928" y="106"/>
                </a:cubicBezTo>
                <a:cubicBezTo>
                  <a:pt x="931" y="102"/>
                  <a:pt x="931" y="102"/>
                  <a:pt x="931" y="102"/>
                </a:cubicBezTo>
                <a:cubicBezTo>
                  <a:pt x="935" y="102"/>
                  <a:pt x="935" y="102"/>
                  <a:pt x="935" y="102"/>
                </a:cubicBezTo>
                <a:cubicBezTo>
                  <a:pt x="935" y="102"/>
                  <a:pt x="940" y="100"/>
                  <a:pt x="937" y="98"/>
                </a:cubicBezTo>
                <a:cubicBezTo>
                  <a:pt x="935" y="97"/>
                  <a:pt x="925" y="101"/>
                  <a:pt x="925" y="101"/>
                </a:cubicBezTo>
                <a:cubicBezTo>
                  <a:pt x="924" y="99"/>
                  <a:pt x="924" y="99"/>
                  <a:pt x="924" y="99"/>
                </a:cubicBezTo>
                <a:cubicBezTo>
                  <a:pt x="920" y="102"/>
                  <a:pt x="920" y="102"/>
                  <a:pt x="920" y="102"/>
                </a:cubicBezTo>
                <a:cubicBezTo>
                  <a:pt x="923" y="97"/>
                  <a:pt x="923" y="97"/>
                  <a:pt x="923" y="97"/>
                </a:cubicBezTo>
                <a:cubicBezTo>
                  <a:pt x="916" y="100"/>
                  <a:pt x="916" y="100"/>
                  <a:pt x="916" y="100"/>
                </a:cubicBezTo>
                <a:cubicBezTo>
                  <a:pt x="916" y="97"/>
                  <a:pt x="916" y="97"/>
                  <a:pt x="916" y="97"/>
                </a:cubicBezTo>
                <a:cubicBezTo>
                  <a:pt x="916" y="97"/>
                  <a:pt x="923" y="95"/>
                  <a:pt x="923" y="94"/>
                </a:cubicBezTo>
                <a:cubicBezTo>
                  <a:pt x="923" y="93"/>
                  <a:pt x="913" y="95"/>
                  <a:pt x="913" y="95"/>
                </a:cubicBezTo>
                <a:cubicBezTo>
                  <a:pt x="913" y="94"/>
                  <a:pt x="913" y="94"/>
                  <a:pt x="913" y="94"/>
                </a:cubicBezTo>
                <a:cubicBezTo>
                  <a:pt x="913" y="94"/>
                  <a:pt x="923" y="92"/>
                  <a:pt x="922" y="90"/>
                </a:cubicBezTo>
                <a:cubicBezTo>
                  <a:pt x="920" y="89"/>
                  <a:pt x="907" y="88"/>
                  <a:pt x="905" y="88"/>
                </a:cubicBezTo>
                <a:cubicBezTo>
                  <a:pt x="903" y="87"/>
                  <a:pt x="900" y="88"/>
                  <a:pt x="900" y="89"/>
                </a:cubicBezTo>
                <a:cubicBezTo>
                  <a:pt x="899" y="89"/>
                  <a:pt x="902" y="92"/>
                  <a:pt x="902" y="92"/>
                </a:cubicBezTo>
                <a:cubicBezTo>
                  <a:pt x="897" y="92"/>
                  <a:pt x="897" y="92"/>
                  <a:pt x="897" y="92"/>
                </a:cubicBezTo>
                <a:cubicBezTo>
                  <a:pt x="897" y="95"/>
                  <a:pt x="897" y="95"/>
                  <a:pt x="897" y="95"/>
                </a:cubicBezTo>
                <a:cubicBezTo>
                  <a:pt x="894" y="92"/>
                  <a:pt x="894" y="92"/>
                  <a:pt x="894" y="92"/>
                </a:cubicBezTo>
                <a:cubicBezTo>
                  <a:pt x="889" y="95"/>
                  <a:pt x="889" y="95"/>
                  <a:pt x="889" y="95"/>
                </a:cubicBezTo>
                <a:cubicBezTo>
                  <a:pt x="889" y="95"/>
                  <a:pt x="890" y="92"/>
                  <a:pt x="889" y="91"/>
                </a:cubicBezTo>
                <a:cubicBezTo>
                  <a:pt x="888" y="90"/>
                  <a:pt x="878" y="94"/>
                  <a:pt x="878" y="94"/>
                </a:cubicBezTo>
                <a:cubicBezTo>
                  <a:pt x="881" y="89"/>
                  <a:pt x="881" y="89"/>
                  <a:pt x="881" y="89"/>
                </a:cubicBezTo>
                <a:cubicBezTo>
                  <a:pt x="881" y="89"/>
                  <a:pt x="889" y="89"/>
                  <a:pt x="889" y="87"/>
                </a:cubicBezTo>
                <a:cubicBezTo>
                  <a:pt x="889" y="85"/>
                  <a:pt x="886" y="83"/>
                  <a:pt x="886" y="83"/>
                </a:cubicBezTo>
                <a:cubicBezTo>
                  <a:pt x="886" y="83"/>
                  <a:pt x="891" y="79"/>
                  <a:pt x="888" y="78"/>
                </a:cubicBezTo>
                <a:cubicBezTo>
                  <a:pt x="884" y="78"/>
                  <a:pt x="875" y="79"/>
                  <a:pt x="875" y="79"/>
                </a:cubicBezTo>
                <a:cubicBezTo>
                  <a:pt x="872" y="81"/>
                  <a:pt x="872" y="81"/>
                  <a:pt x="872" y="81"/>
                </a:cubicBezTo>
                <a:cubicBezTo>
                  <a:pt x="859" y="81"/>
                  <a:pt x="859" y="81"/>
                  <a:pt x="859" y="81"/>
                </a:cubicBezTo>
                <a:cubicBezTo>
                  <a:pt x="861" y="83"/>
                  <a:pt x="861" y="83"/>
                  <a:pt x="861" y="83"/>
                </a:cubicBezTo>
                <a:cubicBezTo>
                  <a:pt x="865" y="85"/>
                  <a:pt x="865" y="85"/>
                  <a:pt x="865" y="85"/>
                </a:cubicBezTo>
                <a:cubicBezTo>
                  <a:pt x="859" y="83"/>
                  <a:pt x="859" y="83"/>
                  <a:pt x="859" y="83"/>
                </a:cubicBezTo>
                <a:cubicBezTo>
                  <a:pt x="860" y="87"/>
                  <a:pt x="860" y="87"/>
                  <a:pt x="860" y="87"/>
                </a:cubicBezTo>
                <a:cubicBezTo>
                  <a:pt x="860" y="87"/>
                  <a:pt x="853" y="84"/>
                  <a:pt x="852" y="86"/>
                </a:cubicBezTo>
                <a:cubicBezTo>
                  <a:pt x="850" y="89"/>
                  <a:pt x="853" y="92"/>
                  <a:pt x="853" y="92"/>
                </a:cubicBezTo>
                <a:cubicBezTo>
                  <a:pt x="854" y="95"/>
                  <a:pt x="854" y="95"/>
                  <a:pt x="854" y="95"/>
                </a:cubicBezTo>
                <a:cubicBezTo>
                  <a:pt x="854" y="95"/>
                  <a:pt x="850" y="93"/>
                  <a:pt x="847" y="93"/>
                </a:cubicBezTo>
                <a:cubicBezTo>
                  <a:pt x="845" y="94"/>
                  <a:pt x="842" y="98"/>
                  <a:pt x="845" y="98"/>
                </a:cubicBezTo>
                <a:cubicBezTo>
                  <a:pt x="847" y="98"/>
                  <a:pt x="848" y="99"/>
                  <a:pt x="848" y="99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33" y="103"/>
                  <a:pt x="833" y="103"/>
                  <a:pt x="833" y="103"/>
                </a:cubicBezTo>
                <a:cubicBezTo>
                  <a:pt x="833" y="103"/>
                  <a:pt x="841" y="102"/>
                  <a:pt x="841" y="100"/>
                </a:cubicBezTo>
                <a:cubicBezTo>
                  <a:pt x="841" y="98"/>
                  <a:pt x="836" y="98"/>
                  <a:pt x="838" y="95"/>
                </a:cubicBezTo>
                <a:cubicBezTo>
                  <a:pt x="841" y="92"/>
                  <a:pt x="843" y="92"/>
                  <a:pt x="843" y="92"/>
                </a:cubicBezTo>
                <a:cubicBezTo>
                  <a:pt x="843" y="88"/>
                  <a:pt x="843" y="88"/>
                  <a:pt x="843" y="88"/>
                </a:cubicBezTo>
                <a:cubicBezTo>
                  <a:pt x="843" y="88"/>
                  <a:pt x="851" y="83"/>
                  <a:pt x="853" y="82"/>
                </a:cubicBezTo>
                <a:cubicBezTo>
                  <a:pt x="856" y="81"/>
                  <a:pt x="865" y="79"/>
                  <a:pt x="863" y="79"/>
                </a:cubicBezTo>
                <a:cubicBezTo>
                  <a:pt x="862" y="78"/>
                  <a:pt x="852" y="77"/>
                  <a:pt x="847" y="78"/>
                </a:cubicBezTo>
                <a:cubicBezTo>
                  <a:pt x="841" y="78"/>
                  <a:pt x="827" y="87"/>
                  <a:pt x="827" y="87"/>
                </a:cubicBezTo>
                <a:cubicBezTo>
                  <a:pt x="827" y="87"/>
                  <a:pt x="821" y="89"/>
                  <a:pt x="819" y="90"/>
                </a:cubicBezTo>
                <a:cubicBezTo>
                  <a:pt x="817" y="90"/>
                  <a:pt x="816" y="92"/>
                  <a:pt x="816" y="92"/>
                </a:cubicBezTo>
                <a:cubicBezTo>
                  <a:pt x="816" y="92"/>
                  <a:pt x="807" y="98"/>
                  <a:pt x="810" y="99"/>
                </a:cubicBezTo>
                <a:cubicBezTo>
                  <a:pt x="814" y="101"/>
                  <a:pt x="825" y="100"/>
                  <a:pt x="823" y="102"/>
                </a:cubicBezTo>
                <a:cubicBezTo>
                  <a:pt x="822" y="104"/>
                  <a:pt x="804" y="103"/>
                  <a:pt x="808" y="107"/>
                </a:cubicBezTo>
                <a:cubicBezTo>
                  <a:pt x="813" y="110"/>
                  <a:pt x="818" y="110"/>
                  <a:pt x="818" y="110"/>
                </a:cubicBezTo>
                <a:cubicBezTo>
                  <a:pt x="825" y="108"/>
                  <a:pt x="825" y="108"/>
                  <a:pt x="825" y="108"/>
                </a:cubicBezTo>
                <a:cubicBezTo>
                  <a:pt x="825" y="108"/>
                  <a:pt x="823" y="111"/>
                  <a:pt x="827" y="111"/>
                </a:cubicBezTo>
                <a:cubicBezTo>
                  <a:pt x="832" y="111"/>
                  <a:pt x="851" y="115"/>
                  <a:pt x="853" y="114"/>
                </a:cubicBezTo>
                <a:cubicBezTo>
                  <a:pt x="855" y="113"/>
                  <a:pt x="850" y="110"/>
                  <a:pt x="850" y="110"/>
                </a:cubicBezTo>
                <a:cubicBezTo>
                  <a:pt x="850" y="110"/>
                  <a:pt x="864" y="112"/>
                  <a:pt x="866" y="112"/>
                </a:cubicBezTo>
                <a:cubicBezTo>
                  <a:pt x="868" y="112"/>
                  <a:pt x="874" y="114"/>
                  <a:pt x="876" y="113"/>
                </a:cubicBezTo>
                <a:cubicBezTo>
                  <a:pt x="878" y="112"/>
                  <a:pt x="874" y="108"/>
                  <a:pt x="874" y="108"/>
                </a:cubicBezTo>
                <a:cubicBezTo>
                  <a:pt x="881" y="107"/>
                  <a:pt x="881" y="107"/>
                  <a:pt x="881" y="107"/>
                </a:cubicBezTo>
                <a:cubicBezTo>
                  <a:pt x="881" y="107"/>
                  <a:pt x="882" y="111"/>
                  <a:pt x="883" y="111"/>
                </a:cubicBezTo>
                <a:cubicBezTo>
                  <a:pt x="884" y="111"/>
                  <a:pt x="887" y="114"/>
                  <a:pt x="887" y="114"/>
                </a:cubicBezTo>
                <a:cubicBezTo>
                  <a:pt x="891" y="113"/>
                  <a:pt x="891" y="113"/>
                  <a:pt x="891" y="113"/>
                </a:cubicBezTo>
                <a:cubicBezTo>
                  <a:pt x="891" y="113"/>
                  <a:pt x="889" y="117"/>
                  <a:pt x="890" y="117"/>
                </a:cubicBezTo>
                <a:cubicBezTo>
                  <a:pt x="891" y="117"/>
                  <a:pt x="897" y="119"/>
                  <a:pt x="897" y="119"/>
                </a:cubicBezTo>
                <a:cubicBezTo>
                  <a:pt x="897" y="119"/>
                  <a:pt x="893" y="123"/>
                  <a:pt x="894" y="123"/>
                </a:cubicBezTo>
                <a:cubicBezTo>
                  <a:pt x="896" y="123"/>
                  <a:pt x="900" y="123"/>
                  <a:pt x="900" y="123"/>
                </a:cubicBezTo>
                <a:cubicBezTo>
                  <a:pt x="899" y="126"/>
                  <a:pt x="899" y="126"/>
                  <a:pt x="899" y="126"/>
                </a:cubicBezTo>
                <a:cubicBezTo>
                  <a:pt x="899" y="126"/>
                  <a:pt x="906" y="127"/>
                  <a:pt x="906" y="130"/>
                </a:cubicBezTo>
                <a:cubicBezTo>
                  <a:pt x="906" y="134"/>
                  <a:pt x="902" y="141"/>
                  <a:pt x="900" y="141"/>
                </a:cubicBezTo>
                <a:cubicBezTo>
                  <a:pt x="899" y="141"/>
                  <a:pt x="881" y="149"/>
                  <a:pt x="881" y="149"/>
                </a:cubicBezTo>
                <a:cubicBezTo>
                  <a:pt x="881" y="149"/>
                  <a:pt x="887" y="153"/>
                  <a:pt x="884" y="155"/>
                </a:cubicBezTo>
                <a:cubicBezTo>
                  <a:pt x="881" y="156"/>
                  <a:pt x="876" y="156"/>
                  <a:pt x="876" y="156"/>
                </a:cubicBezTo>
                <a:cubicBezTo>
                  <a:pt x="866" y="158"/>
                  <a:pt x="866" y="158"/>
                  <a:pt x="866" y="158"/>
                </a:cubicBezTo>
                <a:cubicBezTo>
                  <a:pt x="864" y="161"/>
                  <a:pt x="864" y="161"/>
                  <a:pt x="864" y="161"/>
                </a:cubicBezTo>
                <a:cubicBezTo>
                  <a:pt x="862" y="158"/>
                  <a:pt x="862" y="158"/>
                  <a:pt x="862" y="158"/>
                </a:cubicBezTo>
                <a:cubicBezTo>
                  <a:pt x="862" y="158"/>
                  <a:pt x="857" y="156"/>
                  <a:pt x="854" y="157"/>
                </a:cubicBezTo>
                <a:cubicBezTo>
                  <a:pt x="851" y="157"/>
                  <a:pt x="852" y="160"/>
                  <a:pt x="852" y="160"/>
                </a:cubicBezTo>
                <a:cubicBezTo>
                  <a:pt x="852" y="160"/>
                  <a:pt x="842" y="162"/>
                  <a:pt x="842" y="165"/>
                </a:cubicBezTo>
                <a:cubicBezTo>
                  <a:pt x="842" y="170"/>
                  <a:pt x="849" y="169"/>
                  <a:pt x="855" y="167"/>
                </a:cubicBezTo>
                <a:cubicBezTo>
                  <a:pt x="861" y="165"/>
                  <a:pt x="862" y="165"/>
                  <a:pt x="862" y="165"/>
                </a:cubicBezTo>
                <a:cubicBezTo>
                  <a:pt x="862" y="165"/>
                  <a:pt x="866" y="168"/>
                  <a:pt x="867" y="167"/>
                </a:cubicBezTo>
                <a:cubicBezTo>
                  <a:pt x="868" y="166"/>
                  <a:pt x="868" y="164"/>
                  <a:pt x="868" y="164"/>
                </a:cubicBezTo>
                <a:cubicBezTo>
                  <a:pt x="871" y="161"/>
                  <a:pt x="871" y="161"/>
                  <a:pt x="871" y="161"/>
                </a:cubicBezTo>
                <a:cubicBezTo>
                  <a:pt x="871" y="161"/>
                  <a:pt x="868" y="163"/>
                  <a:pt x="870" y="164"/>
                </a:cubicBezTo>
                <a:cubicBezTo>
                  <a:pt x="872" y="164"/>
                  <a:pt x="879" y="164"/>
                  <a:pt x="879" y="164"/>
                </a:cubicBezTo>
                <a:cubicBezTo>
                  <a:pt x="879" y="164"/>
                  <a:pt x="876" y="166"/>
                  <a:pt x="877" y="167"/>
                </a:cubicBezTo>
                <a:cubicBezTo>
                  <a:pt x="877" y="169"/>
                  <a:pt x="881" y="169"/>
                  <a:pt x="881" y="169"/>
                </a:cubicBezTo>
                <a:cubicBezTo>
                  <a:pt x="881" y="169"/>
                  <a:pt x="878" y="171"/>
                  <a:pt x="881" y="173"/>
                </a:cubicBezTo>
                <a:cubicBezTo>
                  <a:pt x="883" y="174"/>
                  <a:pt x="888" y="174"/>
                  <a:pt x="888" y="174"/>
                </a:cubicBezTo>
                <a:cubicBezTo>
                  <a:pt x="882" y="176"/>
                  <a:pt x="882" y="176"/>
                  <a:pt x="882" y="176"/>
                </a:cubicBezTo>
                <a:cubicBezTo>
                  <a:pt x="882" y="176"/>
                  <a:pt x="883" y="181"/>
                  <a:pt x="884" y="180"/>
                </a:cubicBezTo>
                <a:cubicBezTo>
                  <a:pt x="885" y="180"/>
                  <a:pt x="887" y="179"/>
                  <a:pt x="887" y="179"/>
                </a:cubicBezTo>
                <a:cubicBezTo>
                  <a:pt x="887" y="179"/>
                  <a:pt x="888" y="182"/>
                  <a:pt x="890" y="182"/>
                </a:cubicBezTo>
                <a:cubicBezTo>
                  <a:pt x="892" y="182"/>
                  <a:pt x="896" y="183"/>
                  <a:pt x="896" y="183"/>
                </a:cubicBezTo>
                <a:cubicBezTo>
                  <a:pt x="896" y="183"/>
                  <a:pt x="896" y="187"/>
                  <a:pt x="899" y="187"/>
                </a:cubicBezTo>
                <a:cubicBezTo>
                  <a:pt x="903" y="188"/>
                  <a:pt x="905" y="187"/>
                  <a:pt x="908" y="188"/>
                </a:cubicBezTo>
                <a:cubicBezTo>
                  <a:pt x="911" y="190"/>
                  <a:pt x="918" y="193"/>
                  <a:pt x="918" y="193"/>
                </a:cubicBezTo>
                <a:cubicBezTo>
                  <a:pt x="918" y="193"/>
                  <a:pt x="921" y="189"/>
                  <a:pt x="918" y="186"/>
                </a:cubicBezTo>
                <a:cubicBezTo>
                  <a:pt x="916" y="183"/>
                  <a:pt x="912" y="181"/>
                  <a:pt x="912" y="181"/>
                </a:cubicBezTo>
                <a:cubicBezTo>
                  <a:pt x="912" y="181"/>
                  <a:pt x="907" y="175"/>
                  <a:pt x="908" y="174"/>
                </a:cubicBezTo>
                <a:cubicBezTo>
                  <a:pt x="909" y="172"/>
                  <a:pt x="914" y="177"/>
                  <a:pt x="914" y="177"/>
                </a:cubicBezTo>
                <a:cubicBezTo>
                  <a:pt x="914" y="173"/>
                  <a:pt x="914" y="173"/>
                  <a:pt x="914" y="173"/>
                </a:cubicBezTo>
                <a:cubicBezTo>
                  <a:pt x="914" y="173"/>
                  <a:pt x="916" y="178"/>
                  <a:pt x="918" y="178"/>
                </a:cubicBezTo>
                <a:cubicBezTo>
                  <a:pt x="920" y="178"/>
                  <a:pt x="923" y="177"/>
                  <a:pt x="923" y="177"/>
                </a:cubicBezTo>
                <a:cubicBezTo>
                  <a:pt x="923" y="177"/>
                  <a:pt x="922" y="181"/>
                  <a:pt x="925" y="181"/>
                </a:cubicBezTo>
                <a:cubicBezTo>
                  <a:pt x="927" y="181"/>
                  <a:pt x="928" y="184"/>
                  <a:pt x="928" y="184"/>
                </a:cubicBezTo>
                <a:cubicBezTo>
                  <a:pt x="930" y="180"/>
                  <a:pt x="930" y="180"/>
                  <a:pt x="930" y="180"/>
                </a:cubicBezTo>
                <a:cubicBezTo>
                  <a:pt x="930" y="180"/>
                  <a:pt x="932" y="183"/>
                  <a:pt x="934" y="182"/>
                </a:cubicBezTo>
                <a:cubicBezTo>
                  <a:pt x="935" y="182"/>
                  <a:pt x="933" y="179"/>
                  <a:pt x="933" y="179"/>
                </a:cubicBezTo>
                <a:cubicBezTo>
                  <a:pt x="935" y="172"/>
                  <a:pt x="935" y="172"/>
                  <a:pt x="935" y="172"/>
                </a:cubicBezTo>
                <a:cubicBezTo>
                  <a:pt x="935" y="172"/>
                  <a:pt x="935" y="178"/>
                  <a:pt x="937" y="178"/>
                </a:cubicBezTo>
                <a:cubicBezTo>
                  <a:pt x="939" y="178"/>
                  <a:pt x="940" y="172"/>
                  <a:pt x="940" y="172"/>
                </a:cubicBezTo>
                <a:cubicBezTo>
                  <a:pt x="937" y="169"/>
                  <a:pt x="937" y="169"/>
                  <a:pt x="937" y="169"/>
                </a:cubicBezTo>
                <a:cubicBezTo>
                  <a:pt x="940" y="168"/>
                  <a:pt x="940" y="168"/>
                  <a:pt x="940" y="168"/>
                </a:cubicBezTo>
                <a:cubicBezTo>
                  <a:pt x="937" y="166"/>
                  <a:pt x="937" y="166"/>
                  <a:pt x="937" y="166"/>
                </a:cubicBezTo>
                <a:cubicBezTo>
                  <a:pt x="937" y="163"/>
                  <a:pt x="937" y="163"/>
                  <a:pt x="937" y="163"/>
                </a:cubicBezTo>
                <a:cubicBezTo>
                  <a:pt x="933" y="163"/>
                  <a:pt x="933" y="163"/>
                  <a:pt x="933" y="163"/>
                </a:cubicBezTo>
                <a:cubicBezTo>
                  <a:pt x="933" y="161"/>
                  <a:pt x="933" y="161"/>
                  <a:pt x="933" y="161"/>
                </a:cubicBezTo>
                <a:cubicBezTo>
                  <a:pt x="930" y="161"/>
                  <a:pt x="930" y="161"/>
                  <a:pt x="930" y="161"/>
                </a:cubicBezTo>
                <a:cubicBezTo>
                  <a:pt x="930" y="154"/>
                  <a:pt x="930" y="154"/>
                  <a:pt x="930" y="154"/>
                </a:cubicBezTo>
                <a:cubicBezTo>
                  <a:pt x="925" y="154"/>
                  <a:pt x="925" y="154"/>
                  <a:pt x="925" y="154"/>
                </a:cubicBezTo>
                <a:cubicBezTo>
                  <a:pt x="925" y="154"/>
                  <a:pt x="923" y="150"/>
                  <a:pt x="925" y="150"/>
                </a:cubicBezTo>
                <a:cubicBezTo>
                  <a:pt x="928" y="149"/>
                  <a:pt x="930" y="153"/>
                  <a:pt x="931" y="152"/>
                </a:cubicBezTo>
                <a:cubicBezTo>
                  <a:pt x="933" y="152"/>
                  <a:pt x="933" y="146"/>
                  <a:pt x="933" y="146"/>
                </a:cubicBezTo>
                <a:cubicBezTo>
                  <a:pt x="936" y="147"/>
                  <a:pt x="936" y="147"/>
                  <a:pt x="936" y="147"/>
                </a:cubicBezTo>
                <a:cubicBezTo>
                  <a:pt x="941" y="145"/>
                  <a:pt x="941" y="145"/>
                  <a:pt x="941" y="145"/>
                </a:cubicBezTo>
                <a:cubicBezTo>
                  <a:pt x="941" y="145"/>
                  <a:pt x="941" y="151"/>
                  <a:pt x="943" y="150"/>
                </a:cubicBezTo>
                <a:cubicBezTo>
                  <a:pt x="944" y="149"/>
                  <a:pt x="947" y="149"/>
                  <a:pt x="947" y="149"/>
                </a:cubicBezTo>
                <a:cubicBezTo>
                  <a:pt x="945" y="151"/>
                  <a:pt x="945" y="151"/>
                  <a:pt x="945" y="151"/>
                </a:cubicBezTo>
                <a:cubicBezTo>
                  <a:pt x="948" y="151"/>
                  <a:pt x="948" y="151"/>
                  <a:pt x="948" y="151"/>
                </a:cubicBezTo>
                <a:cubicBezTo>
                  <a:pt x="947" y="155"/>
                  <a:pt x="947" y="155"/>
                  <a:pt x="947" y="155"/>
                </a:cubicBezTo>
                <a:cubicBezTo>
                  <a:pt x="947" y="155"/>
                  <a:pt x="952" y="164"/>
                  <a:pt x="955" y="162"/>
                </a:cubicBezTo>
                <a:cubicBezTo>
                  <a:pt x="958" y="160"/>
                  <a:pt x="959" y="154"/>
                  <a:pt x="959" y="154"/>
                </a:cubicBezTo>
                <a:cubicBezTo>
                  <a:pt x="960" y="152"/>
                  <a:pt x="960" y="152"/>
                  <a:pt x="960" y="152"/>
                </a:cubicBezTo>
                <a:cubicBezTo>
                  <a:pt x="960" y="152"/>
                  <a:pt x="964" y="156"/>
                  <a:pt x="967" y="154"/>
                </a:cubicBezTo>
                <a:cubicBezTo>
                  <a:pt x="970" y="152"/>
                  <a:pt x="970" y="148"/>
                  <a:pt x="970" y="148"/>
                </a:cubicBezTo>
                <a:cubicBezTo>
                  <a:pt x="970" y="148"/>
                  <a:pt x="977" y="150"/>
                  <a:pt x="980" y="147"/>
                </a:cubicBezTo>
                <a:close/>
                <a:moveTo>
                  <a:pt x="906" y="15"/>
                </a:moveTo>
                <a:cubicBezTo>
                  <a:pt x="918" y="15"/>
                  <a:pt x="918" y="15"/>
                  <a:pt x="918" y="15"/>
                </a:cubicBezTo>
                <a:cubicBezTo>
                  <a:pt x="906" y="17"/>
                  <a:pt x="906" y="17"/>
                  <a:pt x="906" y="17"/>
                </a:cubicBezTo>
                <a:cubicBezTo>
                  <a:pt x="906" y="17"/>
                  <a:pt x="911" y="19"/>
                  <a:pt x="913" y="19"/>
                </a:cubicBezTo>
                <a:cubicBezTo>
                  <a:pt x="916" y="19"/>
                  <a:pt x="924" y="17"/>
                  <a:pt x="924" y="17"/>
                </a:cubicBezTo>
                <a:cubicBezTo>
                  <a:pt x="924" y="17"/>
                  <a:pt x="929" y="16"/>
                  <a:pt x="933" y="16"/>
                </a:cubicBezTo>
                <a:cubicBezTo>
                  <a:pt x="937" y="16"/>
                  <a:pt x="946" y="18"/>
                  <a:pt x="946" y="18"/>
                </a:cubicBezTo>
                <a:cubicBezTo>
                  <a:pt x="946" y="18"/>
                  <a:pt x="935" y="18"/>
                  <a:pt x="933" y="18"/>
                </a:cubicBezTo>
                <a:cubicBezTo>
                  <a:pt x="930" y="18"/>
                  <a:pt x="923" y="21"/>
                  <a:pt x="923" y="21"/>
                </a:cubicBezTo>
                <a:cubicBezTo>
                  <a:pt x="923" y="21"/>
                  <a:pt x="929" y="21"/>
                  <a:pt x="933" y="21"/>
                </a:cubicBezTo>
                <a:cubicBezTo>
                  <a:pt x="938" y="22"/>
                  <a:pt x="939" y="20"/>
                  <a:pt x="939" y="20"/>
                </a:cubicBezTo>
                <a:cubicBezTo>
                  <a:pt x="948" y="20"/>
                  <a:pt x="948" y="20"/>
                  <a:pt x="948" y="20"/>
                </a:cubicBezTo>
                <a:cubicBezTo>
                  <a:pt x="948" y="20"/>
                  <a:pt x="951" y="20"/>
                  <a:pt x="955" y="20"/>
                </a:cubicBezTo>
                <a:cubicBezTo>
                  <a:pt x="958" y="20"/>
                  <a:pt x="967" y="18"/>
                  <a:pt x="967" y="17"/>
                </a:cubicBezTo>
                <a:cubicBezTo>
                  <a:pt x="968" y="17"/>
                  <a:pt x="974" y="16"/>
                  <a:pt x="977" y="15"/>
                </a:cubicBezTo>
                <a:cubicBezTo>
                  <a:pt x="979" y="14"/>
                  <a:pt x="984" y="15"/>
                  <a:pt x="984" y="15"/>
                </a:cubicBezTo>
                <a:cubicBezTo>
                  <a:pt x="972" y="19"/>
                  <a:pt x="972" y="19"/>
                  <a:pt x="972" y="19"/>
                </a:cubicBezTo>
                <a:cubicBezTo>
                  <a:pt x="976" y="19"/>
                  <a:pt x="976" y="19"/>
                  <a:pt x="976" y="19"/>
                </a:cubicBezTo>
                <a:cubicBezTo>
                  <a:pt x="970" y="21"/>
                  <a:pt x="970" y="21"/>
                  <a:pt x="970" y="21"/>
                </a:cubicBezTo>
                <a:cubicBezTo>
                  <a:pt x="970" y="21"/>
                  <a:pt x="946" y="22"/>
                  <a:pt x="943" y="22"/>
                </a:cubicBezTo>
                <a:cubicBezTo>
                  <a:pt x="941" y="22"/>
                  <a:pt x="941" y="25"/>
                  <a:pt x="941" y="25"/>
                </a:cubicBezTo>
                <a:cubicBezTo>
                  <a:pt x="951" y="28"/>
                  <a:pt x="951" y="28"/>
                  <a:pt x="951" y="28"/>
                </a:cubicBezTo>
                <a:cubicBezTo>
                  <a:pt x="951" y="28"/>
                  <a:pt x="947" y="29"/>
                  <a:pt x="945" y="29"/>
                </a:cubicBezTo>
                <a:cubicBezTo>
                  <a:pt x="942" y="29"/>
                  <a:pt x="932" y="24"/>
                  <a:pt x="932" y="24"/>
                </a:cubicBezTo>
                <a:cubicBezTo>
                  <a:pt x="932" y="24"/>
                  <a:pt x="922" y="24"/>
                  <a:pt x="919" y="24"/>
                </a:cubicBezTo>
                <a:cubicBezTo>
                  <a:pt x="917" y="24"/>
                  <a:pt x="915" y="27"/>
                  <a:pt x="915" y="27"/>
                </a:cubicBezTo>
                <a:cubicBezTo>
                  <a:pt x="919" y="29"/>
                  <a:pt x="919" y="29"/>
                  <a:pt x="919" y="29"/>
                </a:cubicBezTo>
                <a:cubicBezTo>
                  <a:pt x="919" y="29"/>
                  <a:pt x="922" y="32"/>
                  <a:pt x="925" y="33"/>
                </a:cubicBezTo>
                <a:cubicBezTo>
                  <a:pt x="928" y="34"/>
                  <a:pt x="935" y="33"/>
                  <a:pt x="935" y="33"/>
                </a:cubicBezTo>
                <a:cubicBezTo>
                  <a:pt x="935" y="33"/>
                  <a:pt x="934" y="35"/>
                  <a:pt x="930" y="35"/>
                </a:cubicBezTo>
                <a:cubicBezTo>
                  <a:pt x="927" y="36"/>
                  <a:pt x="920" y="34"/>
                  <a:pt x="919" y="34"/>
                </a:cubicBezTo>
                <a:cubicBezTo>
                  <a:pt x="917" y="34"/>
                  <a:pt x="905" y="36"/>
                  <a:pt x="902" y="36"/>
                </a:cubicBezTo>
                <a:cubicBezTo>
                  <a:pt x="898" y="36"/>
                  <a:pt x="890" y="41"/>
                  <a:pt x="890" y="41"/>
                </a:cubicBezTo>
                <a:cubicBezTo>
                  <a:pt x="901" y="39"/>
                  <a:pt x="901" y="39"/>
                  <a:pt x="901" y="39"/>
                </a:cubicBezTo>
                <a:cubicBezTo>
                  <a:pt x="900" y="42"/>
                  <a:pt x="900" y="42"/>
                  <a:pt x="900" y="42"/>
                </a:cubicBezTo>
                <a:cubicBezTo>
                  <a:pt x="909" y="39"/>
                  <a:pt x="909" y="39"/>
                  <a:pt x="909" y="39"/>
                </a:cubicBezTo>
                <a:cubicBezTo>
                  <a:pt x="899" y="43"/>
                  <a:pt x="899" y="43"/>
                  <a:pt x="899" y="43"/>
                </a:cubicBezTo>
                <a:cubicBezTo>
                  <a:pt x="899" y="43"/>
                  <a:pt x="901" y="45"/>
                  <a:pt x="904" y="45"/>
                </a:cubicBezTo>
                <a:cubicBezTo>
                  <a:pt x="908" y="45"/>
                  <a:pt x="917" y="42"/>
                  <a:pt x="917" y="42"/>
                </a:cubicBezTo>
                <a:cubicBezTo>
                  <a:pt x="903" y="47"/>
                  <a:pt x="903" y="47"/>
                  <a:pt x="903" y="47"/>
                </a:cubicBezTo>
                <a:cubicBezTo>
                  <a:pt x="894" y="47"/>
                  <a:pt x="894" y="47"/>
                  <a:pt x="894" y="47"/>
                </a:cubicBezTo>
                <a:cubicBezTo>
                  <a:pt x="892" y="43"/>
                  <a:pt x="892" y="43"/>
                  <a:pt x="892" y="43"/>
                </a:cubicBezTo>
                <a:cubicBezTo>
                  <a:pt x="892" y="43"/>
                  <a:pt x="885" y="42"/>
                  <a:pt x="883" y="43"/>
                </a:cubicBezTo>
                <a:cubicBezTo>
                  <a:pt x="881" y="43"/>
                  <a:pt x="884" y="48"/>
                  <a:pt x="884" y="48"/>
                </a:cubicBezTo>
                <a:cubicBezTo>
                  <a:pt x="884" y="48"/>
                  <a:pt x="874" y="49"/>
                  <a:pt x="873" y="49"/>
                </a:cubicBezTo>
                <a:cubicBezTo>
                  <a:pt x="872" y="49"/>
                  <a:pt x="865" y="52"/>
                  <a:pt x="861" y="53"/>
                </a:cubicBezTo>
                <a:cubicBezTo>
                  <a:pt x="859" y="53"/>
                  <a:pt x="857" y="53"/>
                  <a:pt x="856" y="53"/>
                </a:cubicBezTo>
                <a:cubicBezTo>
                  <a:pt x="855" y="53"/>
                  <a:pt x="859" y="54"/>
                  <a:pt x="863" y="54"/>
                </a:cubicBezTo>
                <a:cubicBezTo>
                  <a:pt x="866" y="54"/>
                  <a:pt x="867" y="53"/>
                  <a:pt x="867" y="53"/>
                </a:cubicBezTo>
                <a:cubicBezTo>
                  <a:pt x="866" y="56"/>
                  <a:pt x="866" y="56"/>
                  <a:pt x="866" y="56"/>
                </a:cubicBezTo>
                <a:cubicBezTo>
                  <a:pt x="871" y="54"/>
                  <a:pt x="871" y="54"/>
                  <a:pt x="871" y="54"/>
                </a:cubicBezTo>
                <a:cubicBezTo>
                  <a:pt x="874" y="53"/>
                  <a:pt x="874" y="53"/>
                  <a:pt x="874" y="53"/>
                </a:cubicBezTo>
                <a:cubicBezTo>
                  <a:pt x="874" y="55"/>
                  <a:pt x="874" y="55"/>
                  <a:pt x="874" y="55"/>
                </a:cubicBezTo>
                <a:cubicBezTo>
                  <a:pt x="877" y="54"/>
                  <a:pt x="877" y="54"/>
                  <a:pt x="877" y="54"/>
                </a:cubicBezTo>
                <a:cubicBezTo>
                  <a:pt x="881" y="54"/>
                  <a:pt x="881" y="54"/>
                  <a:pt x="881" y="54"/>
                </a:cubicBezTo>
                <a:cubicBezTo>
                  <a:pt x="881" y="54"/>
                  <a:pt x="881" y="56"/>
                  <a:pt x="883" y="56"/>
                </a:cubicBezTo>
                <a:cubicBezTo>
                  <a:pt x="886" y="56"/>
                  <a:pt x="890" y="53"/>
                  <a:pt x="890" y="53"/>
                </a:cubicBezTo>
                <a:cubicBezTo>
                  <a:pt x="891" y="55"/>
                  <a:pt x="891" y="55"/>
                  <a:pt x="891" y="55"/>
                </a:cubicBezTo>
                <a:cubicBezTo>
                  <a:pt x="895" y="53"/>
                  <a:pt x="895" y="53"/>
                  <a:pt x="895" y="53"/>
                </a:cubicBezTo>
                <a:cubicBezTo>
                  <a:pt x="895" y="53"/>
                  <a:pt x="896" y="55"/>
                  <a:pt x="898" y="55"/>
                </a:cubicBezTo>
                <a:cubicBezTo>
                  <a:pt x="900" y="56"/>
                  <a:pt x="902" y="53"/>
                  <a:pt x="902" y="53"/>
                </a:cubicBezTo>
                <a:cubicBezTo>
                  <a:pt x="902" y="53"/>
                  <a:pt x="904" y="55"/>
                  <a:pt x="906" y="55"/>
                </a:cubicBezTo>
                <a:cubicBezTo>
                  <a:pt x="909" y="55"/>
                  <a:pt x="907" y="53"/>
                  <a:pt x="907" y="53"/>
                </a:cubicBezTo>
                <a:cubicBezTo>
                  <a:pt x="915" y="56"/>
                  <a:pt x="915" y="56"/>
                  <a:pt x="915" y="56"/>
                </a:cubicBezTo>
                <a:cubicBezTo>
                  <a:pt x="915" y="56"/>
                  <a:pt x="916" y="57"/>
                  <a:pt x="917" y="57"/>
                </a:cubicBezTo>
                <a:cubicBezTo>
                  <a:pt x="918" y="57"/>
                  <a:pt x="930" y="55"/>
                  <a:pt x="932" y="55"/>
                </a:cubicBezTo>
                <a:cubicBezTo>
                  <a:pt x="935" y="55"/>
                  <a:pt x="940" y="53"/>
                  <a:pt x="941" y="51"/>
                </a:cubicBezTo>
                <a:cubicBezTo>
                  <a:pt x="942" y="50"/>
                  <a:pt x="932" y="51"/>
                  <a:pt x="932" y="51"/>
                </a:cubicBezTo>
                <a:cubicBezTo>
                  <a:pt x="932" y="51"/>
                  <a:pt x="934" y="49"/>
                  <a:pt x="932" y="49"/>
                </a:cubicBezTo>
                <a:cubicBezTo>
                  <a:pt x="931" y="48"/>
                  <a:pt x="926" y="49"/>
                  <a:pt x="926" y="49"/>
                </a:cubicBezTo>
                <a:cubicBezTo>
                  <a:pt x="918" y="48"/>
                  <a:pt x="918" y="48"/>
                  <a:pt x="918" y="48"/>
                </a:cubicBezTo>
                <a:cubicBezTo>
                  <a:pt x="920" y="45"/>
                  <a:pt x="920" y="45"/>
                  <a:pt x="920" y="45"/>
                </a:cubicBezTo>
                <a:cubicBezTo>
                  <a:pt x="929" y="48"/>
                  <a:pt x="929" y="48"/>
                  <a:pt x="929" y="48"/>
                </a:cubicBezTo>
                <a:cubicBezTo>
                  <a:pt x="929" y="48"/>
                  <a:pt x="941" y="47"/>
                  <a:pt x="945" y="47"/>
                </a:cubicBezTo>
                <a:cubicBezTo>
                  <a:pt x="949" y="47"/>
                  <a:pt x="948" y="43"/>
                  <a:pt x="948" y="43"/>
                </a:cubicBezTo>
                <a:cubicBezTo>
                  <a:pt x="948" y="43"/>
                  <a:pt x="953" y="42"/>
                  <a:pt x="957" y="42"/>
                </a:cubicBezTo>
                <a:cubicBezTo>
                  <a:pt x="961" y="42"/>
                  <a:pt x="969" y="40"/>
                  <a:pt x="969" y="40"/>
                </a:cubicBezTo>
                <a:cubicBezTo>
                  <a:pt x="965" y="38"/>
                  <a:pt x="965" y="38"/>
                  <a:pt x="965" y="38"/>
                </a:cubicBezTo>
                <a:cubicBezTo>
                  <a:pt x="965" y="38"/>
                  <a:pt x="970" y="38"/>
                  <a:pt x="975" y="36"/>
                </a:cubicBezTo>
                <a:cubicBezTo>
                  <a:pt x="981" y="35"/>
                  <a:pt x="968" y="33"/>
                  <a:pt x="968" y="33"/>
                </a:cubicBezTo>
                <a:cubicBezTo>
                  <a:pt x="968" y="33"/>
                  <a:pt x="962" y="34"/>
                  <a:pt x="959" y="33"/>
                </a:cubicBezTo>
                <a:cubicBezTo>
                  <a:pt x="957" y="32"/>
                  <a:pt x="970" y="29"/>
                  <a:pt x="970" y="29"/>
                </a:cubicBezTo>
                <a:cubicBezTo>
                  <a:pt x="971" y="29"/>
                  <a:pt x="980" y="30"/>
                  <a:pt x="980" y="30"/>
                </a:cubicBezTo>
                <a:cubicBezTo>
                  <a:pt x="980" y="30"/>
                  <a:pt x="990" y="30"/>
                  <a:pt x="993" y="29"/>
                </a:cubicBezTo>
                <a:cubicBezTo>
                  <a:pt x="996" y="28"/>
                  <a:pt x="986" y="28"/>
                  <a:pt x="989" y="26"/>
                </a:cubicBezTo>
                <a:cubicBezTo>
                  <a:pt x="993" y="25"/>
                  <a:pt x="1000" y="28"/>
                  <a:pt x="1004" y="28"/>
                </a:cubicBezTo>
                <a:cubicBezTo>
                  <a:pt x="1008" y="28"/>
                  <a:pt x="1006" y="24"/>
                  <a:pt x="1006" y="24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7" y="22"/>
                  <a:pt x="1017" y="22"/>
                  <a:pt x="1017" y="22"/>
                </a:cubicBezTo>
                <a:cubicBezTo>
                  <a:pt x="1017" y="22"/>
                  <a:pt x="1020" y="23"/>
                  <a:pt x="1022" y="23"/>
                </a:cubicBezTo>
                <a:cubicBezTo>
                  <a:pt x="1023" y="23"/>
                  <a:pt x="1030" y="20"/>
                  <a:pt x="1030" y="20"/>
                </a:cubicBezTo>
                <a:cubicBezTo>
                  <a:pt x="1030" y="20"/>
                  <a:pt x="1042" y="18"/>
                  <a:pt x="1049" y="17"/>
                </a:cubicBezTo>
                <a:cubicBezTo>
                  <a:pt x="1056" y="16"/>
                  <a:pt x="1056" y="15"/>
                  <a:pt x="1055" y="15"/>
                </a:cubicBezTo>
                <a:cubicBezTo>
                  <a:pt x="1054" y="15"/>
                  <a:pt x="1040" y="15"/>
                  <a:pt x="1040" y="15"/>
                </a:cubicBezTo>
                <a:cubicBezTo>
                  <a:pt x="1037" y="17"/>
                  <a:pt x="1037" y="17"/>
                  <a:pt x="1037" y="17"/>
                </a:cubicBezTo>
                <a:cubicBezTo>
                  <a:pt x="1027" y="16"/>
                  <a:pt x="1027" y="16"/>
                  <a:pt x="1027" y="16"/>
                </a:cubicBezTo>
                <a:cubicBezTo>
                  <a:pt x="1038" y="16"/>
                  <a:pt x="1038" y="16"/>
                  <a:pt x="1038" y="16"/>
                </a:cubicBezTo>
                <a:cubicBezTo>
                  <a:pt x="1038" y="14"/>
                  <a:pt x="1038" y="14"/>
                  <a:pt x="1038" y="14"/>
                </a:cubicBezTo>
                <a:cubicBezTo>
                  <a:pt x="1045" y="15"/>
                  <a:pt x="1045" y="15"/>
                  <a:pt x="1045" y="15"/>
                </a:cubicBezTo>
                <a:cubicBezTo>
                  <a:pt x="1045" y="15"/>
                  <a:pt x="1046" y="13"/>
                  <a:pt x="1048" y="13"/>
                </a:cubicBezTo>
                <a:cubicBezTo>
                  <a:pt x="1049" y="13"/>
                  <a:pt x="1071" y="12"/>
                  <a:pt x="1074" y="12"/>
                </a:cubicBezTo>
                <a:cubicBezTo>
                  <a:pt x="1078" y="12"/>
                  <a:pt x="1088" y="9"/>
                  <a:pt x="1087" y="8"/>
                </a:cubicBezTo>
                <a:cubicBezTo>
                  <a:pt x="1087" y="8"/>
                  <a:pt x="1075" y="9"/>
                  <a:pt x="1075" y="9"/>
                </a:cubicBezTo>
                <a:cubicBezTo>
                  <a:pt x="1076" y="7"/>
                  <a:pt x="1076" y="7"/>
                  <a:pt x="1076" y="7"/>
                </a:cubicBezTo>
                <a:cubicBezTo>
                  <a:pt x="1076" y="7"/>
                  <a:pt x="1068" y="5"/>
                  <a:pt x="1066" y="5"/>
                </a:cubicBezTo>
                <a:cubicBezTo>
                  <a:pt x="1063" y="5"/>
                  <a:pt x="1048" y="8"/>
                  <a:pt x="1048" y="8"/>
                </a:cubicBezTo>
                <a:cubicBezTo>
                  <a:pt x="1055" y="5"/>
                  <a:pt x="1055" y="5"/>
                  <a:pt x="1055" y="5"/>
                </a:cubicBezTo>
                <a:cubicBezTo>
                  <a:pt x="1045" y="5"/>
                  <a:pt x="1045" y="5"/>
                  <a:pt x="1045" y="5"/>
                </a:cubicBezTo>
                <a:cubicBezTo>
                  <a:pt x="1045" y="5"/>
                  <a:pt x="1038" y="3"/>
                  <a:pt x="1036" y="3"/>
                </a:cubicBezTo>
                <a:cubicBezTo>
                  <a:pt x="1034" y="4"/>
                  <a:pt x="1032" y="6"/>
                  <a:pt x="1032" y="6"/>
                </a:cubicBezTo>
                <a:cubicBezTo>
                  <a:pt x="1032" y="6"/>
                  <a:pt x="1027" y="3"/>
                  <a:pt x="1025" y="3"/>
                </a:cubicBezTo>
                <a:cubicBezTo>
                  <a:pt x="1023" y="3"/>
                  <a:pt x="1019" y="7"/>
                  <a:pt x="1019" y="7"/>
                </a:cubicBezTo>
                <a:cubicBezTo>
                  <a:pt x="1014" y="5"/>
                  <a:pt x="1014" y="5"/>
                  <a:pt x="1014" y="5"/>
                </a:cubicBezTo>
                <a:cubicBezTo>
                  <a:pt x="998" y="4"/>
                  <a:pt x="998" y="4"/>
                  <a:pt x="998" y="4"/>
                </a:cubicBezTo>
                <a:cubicBezTo>
                  <a:pt x="1002" y="8"/>
                  <a:pt x="1002" y="8"/>
                  <a:pt x="1002" y="8"/>
                </a:cubicBezTo>
                <a:cubicBezTo>
                  <a:pt x="993" y="5"/>
                  <a:pt x="993" y="5"/>
                  <a:pt x="993" y="5"/>
                </a:cubicBezTo>
                <a:cubicBezTo>
                  <a:pt x="985" y="7"/>
                  <a:pt x="985" y="7"/>
                  <a:pt x="985" y="7"/>
                </a:cubicBezTo>
                <a:cubicBezTo>
                  <a:pt x="985" y="7"/>
                  <a:pt x="978" y="5"/>
                  <a:pt x="975" y="5"/>
                </a:cubicBezTo>
                <a:cubicBezTo>
                  <a:pt x="972" y="5"/>
                  <a:pt x="962" y="8"/>
                  <a:pt x="962" y="8"/>
                </a:cubicBezTo>
                <a:cubicBezTo>
                  <a:pt x="974" y="12"/>
                  <a:pt x="974" y="12"/>
                  <a:pt x="974" y="12"/>
                </a:cubicBezTo>
                <a:cubicBezTo>
                  <a:pt x="962" y="10"/>
                  <a:pt x="962" y="10"/>
                  <a:pt x="962" y="10"/>
                </a:cubicBezTo>
                <a:cubicBezTo>
                  <a:pt x="962" y="10"/>
                  <a:pt x="950" y="8"/>
                  <a:pt x="945" y="8"/>
                </a:cubicBezTo>
                <a:cubicBezTo>
                  <a:pt x="940" y="9"/>
                  <a:pt x="941" y="12"/>
                  <a:pt x="941" y="12"/>
                </a:cubicBezTo>
                <a:cubicBezTo>
                  <a:pt x="941" y="12"/>
                  <a:pt x="928" y="10"/>
                  <a:pt x="926" y="10"/>
                </a:cubicBezTo>
                <a:cubicBezTo>
                  <a:pt x="923" y="10"/>
                  <a:pt x="902" y="12"/>
                  <a:pt x="901" y="13"/>
                </a:cubicBezTo>
                <a:cubicBezTo>
                  <a:pt x="901" y="13"/>
                  <a:pt x="906" y="15"/>
                  <a:pt x="906" y="15"/>
                </a:cubicBezTo>
                <a:close/>
                <a:moveTo>
                  <a:pt x="954" y="355"/>
                </a:moveTo>
                <a:cubicBezTo>
                  <a:pt x="963" y="346"/>
                  <a:pt x="963" y="346"/>
                  <a:pt x="963" y="346"/>
                </a:cubicBezTo>
                <a:cubicBezTo>
                  <a:pt x="962" y="343"/>
                  <a:pt x="962" y="343"/>
                  <a:pt x="962" y="343"/>
                </a:cubicBezTo>
                <a:cubicBezTo>
                  <a:pt x="958" y="345"/>
                  <a:pt x="958" y="345"/>
                  <a:pt x="958" y="345"/>
                </a:cubicBezTo>
                <a:cubicBezTo>
                  <a:pt x="954" y="345"/>
                  <a:pt x="954" y="345"/>
                  <a:pt x="954" y="345"/>
                </a:cubicBezTo>
                <a:cubicBezTo>
                  <a:pt x="958" y="342"/>
                  <a:pt x="958" y="342"/>
                  <a:pt x="958" y="342"/>
                </a:cubicBezTo>
                <a:cubicBezTo>
                  <a:pt x="953" y="342"/>
                  <a:pt x="953" y="342"/>
                  <a:pt x="953" y="342"/>
                </a:cubicBezTo>
                <a:cubicBezTo>
                  <a:pt x="953" y="342"/>
                  <a:pt x="962" y="331"/>
                  <a:pt x="961" y="331"/>
                </a:cubicBezTo>
                <a:cubicBezTo>
                  <a:pt x="960" y="331"/>
                  <a:pt x="954" y="330"/>
                  <a:pt x="956" y="329"/>
                </a:cubicBezTo>
                <a:cubicBezTo>
                  <a:pt x="958" y="329"/>
                  <a:pt x="960" y="326"/>
                  <a:pt x="960" y="326"/>
                </a:cubicBezTo>
                <a:cubicBezTo>
                  <a:pt x="957" y="324"/>
                  <a:pt x="957" y="324"/>
                  <a:pt x="957" y="324"/>
                </a:cubicBezTo>
                <a:cubicBezTo>
                  <a:pt x="950" y="328"/>
                  <a:pt x="950" y="328"/>
                  <a:pt x="950" y="328"/>
                </a:cubicBezTo>
                <a:cubicBezTo>
                  <a:pt x="949" y="324"/>
                  <a:pt x="949" y="324"/>
                  <a:pt x="949" y="324"/>
                </a:cubicBezTo>
                <a:cubicBezTo>
                  <a:pt x="945" y="325"/>
                  <a:pt x="945" y="325"/>
                  <a:pt x="945" y="325"/>
                </a:cubicBezTo>
                <a:cubicBezTo>
                  <a:pt x="946" y="320"/>
                  <a:pt x="946" y="320"/>
                  <a:pt x="946" y="320"/>
                </a:cubicBezTo>
                <a:cubicBezTo>
                  <a:pt x="943" y="319"/>
                  <a:pt x="943" y="319"/>
                  <a:pt x="943" y="319"/>
                </a:cubicBezTo>
                <a:cubicBezTo>
                  <a:pt x="940" y="316"/>
                  <a:pt x="940" y="316"/>
                  <a:pt x="940" y="316"/>
                </a:cubicBezTo>
                <a:cubicBezTo>
                  <a:pt x="936" y="323"/>
                  <a:pt x="936" y="323"/>
                  <a:pt x="936" y="323"/>
                </a:cubicBezTo>
                <a:cubicBezTo>
                  <a:pt x="933" y="325"/>
                  <a:pt x="933" y="325"/>
                  <a:pt x="933" y="325"/>
                </a:cubicBezTo>
                <a:cubicBezTo>
                  <a:pt x="933" y="322"/>
                  <a:pt x="933" y="322"/>
                  <a:pt x="933" y="322"/>
                </a:cubicBezTo>
                <a:cubicBezTo>
                  <a:pt x="938" y="316"/>
                  <a:pt x="938" y="316"/>
                  <a:pt x="938" y="316"/>
                </a:cubicBezTo>
                <a:cubicBezTo>
                  <a:pt x="938" y="316"/>
                  <a:pt x="941" y="315"/>
                  <a:pt x="944" y="313"/>
                </a:cubicBezTo>
                <a:cubicBezTo>
                  <a:pt x="946" y="311"/>
                  <a:pt x="948" y="307"/>
                  <a:pt x="948" y="307"/>
                </a:cubicBezTo>
                <a:cubicBezTo>
                  <a:pt x="950" y="305"/>
                  <a:pt x="950" y="305"/>
                  <a:pt x="950" y="305"/>
                </a:cubicBezTo>
                <a:cubicBezTo>
                  <a:pt x="950" y="305"/>
                  <a:pt x="954" y="303"/>
                  <a:pt x="950" y="302"/>
                </a:cubicBezTo>
                <a:cubicBezTo>
                  <a:pt x="946" y="301"/>
                  <a:pt x="940" y="304"/>
                  <a:pt x="940" y="304"/>
                </a:cubicBezTo>
                <a:cubicBezTo>
                  <a:pt x="932" y="314"/>
                  <a:pt x="932" y="314"/>
                  <a:pt x="932" y="314"/>
                </a:cubicBezTo>
                <a:cubicBezTo>
                  <a:pt x="925" y="322"/>
                  <a:pt x="925" y="322"/>
                  <a:pt x="925" y="322"/>
                </a:cubicBezTo>
                <a:cubicBezTo>
                  <a:pt x="913" y="333"/>
                  <a:pt x="913" y="333"/>
                  <a:pt x="913" y="333"/>
                </a:cubicBezTo>
                <a:cubicBezTo>
                  <a:pt x="913" y="333"/>
                  <a:pt x="905" y="336"/>
                  <a:pt x="904" y="337"/>
                </a:cubicBezTo>
                <a:cubicBezTo>
                  <a:pt x="904" y="339"/>
                  <a:pt x="910" y="339"/>
                  <a:pt x="910" y="339"/>
                </a:cubicBezTo>
                <a:cubicBezTo>
                  <a:pt x="910" y="339"/>
                  <a:pt x="903" y="340"/>
                  <a:pt x="905" y="343"/>
                </a:cubicBezTo>
                <a:cubicBezTo>
                  <a:pt x="908" y="345"/>
                  <a:pt x="916" y="342"/>
                  <a:pt x="916" y="342"/>
                </a:cubicBezTo>
                <a:cubicBezTo>
                  <a:pt x="916" y="342"/>
                  <a:pt x="931" y="346"/>
                  <a:pt x="934" y="346"/>
                </a:cubicBezTo>
                <a:cubicBezTo>
                  <a:pt x="938" y="346"/>
                  <a:pt x="936" y="348"/>
                  <a:pt x="936" y="348"/>
                </a:cubicBezTo>
                <a:cubicBezTo>
                  <a:pt x="930" y="350"/>
                  <a:pt x="930" y="350"/>
                  <a:pt x="930" y="350"/>
                </a:cubicBezTo>
                <a:cubicBezTo>
                  <a:pt x="930" y="351"/>
                  <a:pt x="930" y="351"/>
                  <a:pt x="930" y="351"/>
                </a:cubicBezTo>
                <a:cubicBezTo>
                  <a:pt x="936" y="351"/>
                  <a:pt x="936" y="351"/>
                  <a:pt x="936" y="351"/>
                </a:cubicBezTo>
                <a:cubicBezTo>
                  <a:pt x="945" y="350"/>
                  <a:pt x="945" y="350"/>
                  <a:pt x="945" y="350"/>
                </a:cubicBezTo>
                <a:cubicBezTo>
                  <a:pt x="946" y="351"/>
                  <a:pt x="946" y="351"/>
                  <a:pt x="946" y="351"/>
                </a:cubicBezTo>
                <a:cubicBezTo>
                  <a:pt x="951" y="351"/>
                  <a:pt x="951" y="351"/>
                  <a:pt x="951" y="351"/>
                </a:cubicBezTo>
                <a:cubicBezTo>
                  <a:pt x="948" y="354"/>
                  <a:pt x="948" y="354"/>
                  <a:pt x="948" y="354"/>
                </a:cubicBezTo>
                <a:cubicBezTo>
                  <a:pt x="954" y="355"/>
                  <a:pt x="954" y="355"/>
                  <a:pt x="954" y="355"/>
                </a:cubicBezTo>
                <a:cubicBezTo>
                  <a:pt x="954" y="355"/>
                  <a:pt x="954" y="355"/>
                  <a:pt x="954" y="355"/>
                </a:cubicBezTo>
                <a:close/>
                <a:moveTo>
                  <a:pt x="1248" y="123"/>
                </a:moveTo>
                <a:cubicBezTo>
                  <a:pt x="1252" y="123"/>
                  <a:pt x="1252" y="123"/>
                  <a:pt x="1252" y="123"/>
                </a:cubicBezTo>
                <a:cubicBezTo>
                  <a:pt x="1254" y="121"/>
                  <a:pt x="1254" y="121"/>
                  <a:pt x="1254" y="121"/>
                </a:cubicBezTo>
                <a:cubicBezTo>
                  <a:pt x="1257" y="121"/>
                  <a:pt x="1257" y="121"/>
                  <a:pt x="1257" y="121"/>
                </a:cubicBezTo>
                <a:cubicBezTo>
                  <a:pt x="1257" y="121"/>
                  <a:pt x="1261" y="117"/>
                  <a:pt x="1262" y="117"/>
                </a:cubicBezTo>
                <a:cubicBezTo>
                  <a:pt x="1263" y="116"/>
                  <a:pt x="1268" y="116"/>
                  <a:pt x="1268" y="116"/>
                </a:cubicBezTo>
                <a:cubicBezTo>
                  <a:pt x="1275" y="113"/>
                  <a:pt x="1275" y="113"/>
                  <a:pt x="1275" y="113"/>
                </a:cubicBezTo>
                <a:cubicBezTo>
                  <a:pt x="1279" y="112"/>
                  <a:pt x="1279" y="112"/>
                  <a:pt x="1279" y="112"/>
                </a:cubicBezTo>
                <a:cubicBezTo>
                  <a:pt x="1280" y="111"/>
                  <a:pt x="1280" y="111"/>
                  <a:pt x="1280" y="111"/>
                </a:cubicBezTo>
                <a:cubicBezTo>
                  <a:pt x="1280" y="111"/>
                  <a:pt x="1276" y="111"/>
                  <a:pt x="1274" y="111"/>
                </a:cubicBezTo>
                <a:cubicBezTo>
                  <a:pt x="1271" y="111"/>
                  <a:pt x="1270" y="110"/>
                  <a:pt x="1266" y="109"/>
                </a:cubicBezTo>
                <a:cubicBezTo>
                  <a:pt x="1263" y="109"/>
                  <a:pt x="1257" y="109"/>
                  <a:pt x="1254" y="110"/>
                </a:cubicBezTo>
                <a:cubicBezTo>
                  <a:pt x="1252" y="111"/>
                  <a:pt x="1247" y="111"/>
                  <a:pt x="1247" y="111"/>
                </a:cubicBezTo>
                <a:cubicBezTo>
                  <a:pt x="1245" y="112"/>
                  <a:pt x="1245" y="112"/>
                  <a:pt x="1245" y="112"/>
                </a:cubicBezTo>
                <a:cubicBezTo>
                  <a:pt x="1245" y="112"/>
                  <a:pt x="1236" y="113"/>
                  <a:pt x="1237" y="112"/>
                </a:cubicBezTo>
                <a:cubicBezTo>
                  <a:pt x="1239" y="111"/>
                  <a:pt x="1251" y="109"/>
                  <a:pt x="1251" y="109"/>
                </a:cubicBezTo>
                <a:cubicBezTo>
                  <a:pt x="1251" y="109"/>
                  <a:pt x="1264" y="106"/>
                  <a:pt x="1261" y="104"/>
                </a:cubicBezTo>
                <a:cubicBezTo>
                  <a:pt x="1258" y="103"/>
                  <a:pt x="1256" y="103"/>
                  <a:pt x="1256" y="103"/>
                </a:cubicBezTo>
                <a:cubicBezTo>
                  <a:pt x="1256" y="103"/>
                  <a:pt x="1244" y="106"/>
                  <a:pt x="1243" y="107"/>
                </a:cubicBezTo>
                <a:cubicBezTo>
                  <a:pt x="1242" y="108"/>
                  <a:pt x="1236" y="107"/>
                  <a:pt x="1236" y="107"/>
                </a:cubicBezTo>
                <a:cubicBezTo>
                  <a:pt x="1241" y="105"/>
                  <a:pt x="1241" y="105"/>
                  <a:pt x="1241" y="105"/>
                </a:cubicBezTo>
                <a:cubicBezTo>
                  <a:pt x="1244" y="102"/>
                  <a:pt x="1244" y="102"/>
                  <a:pt x="1244" y="102"/>
                </a:cubicBezTo>
                <a:cubicBezTo>
                  <a:pt x="1244" y="102"/>
                  <a:pt x="1249" y="103"/>
                  <a:pt x="1251" y="103"/>
                </a:cubicBezTo>
                <a:cubicBezTo>
                  <a:pt x="1252" y="102"/>
                  <a:pt x="1256" y="102"/>
                  <a:pt x="1258" y="102"/>
                </a:cubicBezTo>
                <a:cubicBezTo>
                  <a:pt x="1259" y="102"/>
                  <a:pt x="1264" y="101"/>
                  <a:pt x="1262" y="100"/>
                </a:cubicBezTo>
                <a:cubicBezTo>
                  <a:pt x="1259" y="99"/>
                  <a:pt x="1251" y="98"/>
                  <a:pt x="1251" y="98"/>
                </a:cubicBezTo>
                <a:cubicBezTo>
                  <a:pt x="1244" y="99"/>
                  <a:pt x="1244" y="99"/>
                  <a:pt x="1244" y="99"/>
                </a:cubicBezTo>
                <a:cubicBezTo>
                  <a:pt x="1248" y="97"/>
                  <a:pt x="1248" y="97"/>
                  <a:pt x="1248" y="97"/>
                </a:cubicBezTo>
                <a:cubicBezTo>
                  <a:pt x="1244" y="95"/>
                  <a:pt x="1244" y="95"/>
                  <a:pt x="1244" y="95"/>
                </a:cubicBezTo>
                <a:cubicBezTo>
                  <a:pt x="1244" y="95"/>
                  <a:pt x="1244" y="93"/>
                  <a:pt x="1245" y="93"/>
                </a:cubicBezTo>
                <a:cubicBezTo>
                  <a:pt x="1246" y="93"/>
                  <a:pt x="1250" y="97"/>
                  <a:pt x="1253" y="97"/>
                </a:cubicBezTo>
                <a:cubicBezTo>
                  <a:pt x="1255" y="97"/>
                  <a:pt x="1264" y="100"/>
                  <a:pt x="1264" y="100"/>
                </a:cubicBezTo>
                <a:cubicBezTo>
                  <a:pt x="1264" y="100"/>
                  <a:pt x="1268" y="98"/>
                  <a:pt x="1268" y="100"/>
                </a:cubicBezTo>
                <a:cubicBezTo>
                  <a:pt x="1268" y="102"/>
                  <a:pt x="1266" y="105"/>
                  <a:pt x="1270" y="106"/>
                </a:cubicBezTo>
                <a:cubicBezTo>
                  <a:pt x="1274" y="107"/>
                  <a:pt x="1279" y="108"/>
                  <a:pt x="1279" y="108"/>
                </a:cubicBezTo>
                <a:cubicBezTo>
                  <a:pt x="1279" y="108"/>
                  <a:pt x="1280" y="104"/>
                  <a:pt x="1280" y="105"/>
                </a:cubicBezTo>
                <a:cubicBezTo>
                  <a:pt x="1281" y="106"/>
                  <a:pt x="1280" y="109"/>
                  <a:pt x="1282" y="109"/>
                </a:cubicBezTo>
                <a:cubicBezTo>
                  <a:pt x="1284" y="109"/>
                  <a:pt x="1287" y="107"/>
                  <a:pt x="1287" y="107"/>
                </a:cubicBezTo>
                <a:cubicBezTo>
                  <a:pt x="1287" y="103"/>
                  <a:pt x="1287" y="103"/>
                  <a:pt x="1287" y="103"/>
                </a:cubicBezTo>
                <a:cubicBezTo>
                  <a:pt x="1285" y="103"/>
                  <a:pt x="1285" y="103"/>
                  <a:pt x="1285" y="103"/>
                </a:cubicBezTo>
                <a:cubicBezTo>
                  <a:pt x="1285" y="103"/>
                  <a:pt x="1288" y="101"/>
                  <a:pt x="1287" y="100"/>
                </a:cubicBezTo>
                <a:cubicBezTo>
                  <a:pt x="1286" y="99"/>
                  <a:pt x="1284" y="100"/>
                  <a:pt x="1284" y="100"/>
                </a:cubicBezTo>
                <a:cubicBezTo>
                  <a:pt x="1282" y="97"/>
                  <a:pt x="1282" y="97"/>
                  <a:pt x="1282" y="97"/>
                </a:cubicBezTo>
                <a:cubicBezTo>
                  <a:pt x="1280" y="96"/>
                  <a:pt x="1280" y="96"/>
                  <a:pt x="1280" y="96"/>
                </a:cubicBezTo>
                <a:cubicBezTo>
                  <a:pt x="1281" y="94"/>
                  <a:pt x="1281" y="94"/>
                  <a:pt x="1281" y="94"/>
                </a:cubicBezTo>
                <a:cubicBezTo>
                  <a:pt x="1271" y="90"/>
                  <a:pt x="1271" y="90"/>
                  <a:pt x="1271" y="90"/>
                </a:cubicBezTo>
                <a:cubicBezTo>
                  <a:pt x="1265" y="92"/>
                  <a:pt x="1265" y="92"/>
                  <a:pt x="1265" y="92"/>
                </a:cubicBezTo>
                <a:cubicBezTo>
                  <a:pt x="1264" y="91"/>
                  <a:pt x="1264" y="91"/>
                  <a:pt x="1264" y="91"/>
                </a:cubicBezTo>
                <a:cubicBezTo>
                  <a:pt x="1268" y="89"/>
                  <a:pt x="1268" y="89"/>
                  <a:pt x="1268" y="89"/>
                </a:cubicBezTo>
                <a:cubicBezTo>
                  <a:pt x="1269" y="89"/>
                  <a:pt x="1269" y="89"/>
                  <a:pt x="1269" y="89"/>
                </a:cubicBezTo>
                <a:cubicBezTo>
                  <a:pt x="1269" y="89"/>
                  <a:pt x="1268" y="87"/>
                  <a:pt x="1265" y="87"/>
                </a:cubicBezTo>
                <a:cubicBezTo>
                  <a:pt x="1261" y="87"/>
                  <a:pt x="1254" y="86"/>
                  <a:pt x="1254" y="86"/>
                </a:cubicBezTo>
                <a:cubicBezTo>
                  <a:pt x="1257" y="83"/>
                  <a:pt x="1257" y="83"/>
                  <a:pt x="1257" y="83"/>
                </a:cubicBezTo>
                <a:cubicBezTo>
                  <a:pt x="1257" y="83"/>
                  <a:pt x="1259" y="83"/>
                  <a:pt x="1262" y="84"/>
                </a:cubicBezTo>
                <a:cubicBezTo>
                  <a:pt x="1264" y="85"/>
                  <a:pt x="1267" y="82"/>
                  <a:pt x="1267" y="82"/>
                </a:cubicBezTo>
                <a:cubicBezTo>
                  <a:pt x="1271" y="82"/>
                  <a:pt x="1271" y="82"/>
                  <a:pt x="1271" y="82"/>
                </a:cubicBezTo>
                <a:cubicBezTo>
                  <a:pt x="1277" y="84"/>
                  <a:pt x="1277" y="84"/>
                  <a:pt x="1277" y="84"/>
                </a:cubicBezTo>
                <a:cubicBezTo>
                  <a:pt x="1280" y="83"/>
                  <a:pt x="1280" y="83"/>
                  <a:pt x="1280" y="83"/>
                </a:cubicBezTo>
                <a:cubicBezTo>
                  <a:pt x="1280" y="83"/>
                  <a:pt x="1286" y="88"/>
                  <a:pt x="1288" y="88"/>
                </a:cubicBezTo>
                <a:cubicBezTo>
                  <a:pt x="1290" y="88"/>
                  <a:pt x="1290" y="85"/>
                  <a:pt x="1290" y="85"/>
                </a:cubicBezTo>
                <a:cubicBezTo>
                  <a:pt x="1284" y="84"/>
                  <a:pt x="1284" y="84"/>
                  <a:pt x="1284" y="84"/>
                </a:cubicBezTo>
                <a:cubicBezTo>
                  <a:pt x="1280" y="82"/>
                  <a:pt x="1280" y="82"/>
                  <a:pt x="1280" y="82"/>
                </a:cubicBezTo>
                <a:cubicBezTo>
                  <a:pt x="1273" y="81"/>
                  <a:pt x="1273" y="81"/>
                  <a:pt x="1273" y="81"/>
                </a:cubicBezTo>
                <a:cubicBezTo>
                  <a:pt x="1273" y="81"/>
                  <a:pt x="1275" y="79"/>
                  <a:pt x="1276" y="79"/>
                </a:cubicBezTo>
                <a:cubicBezTo>
                  <a:pt x="1278" y="78"/>
                  <a:pt x="1281" y="82"/>
                  <a:pt x="1285" y="82"/>
                </a:cubicBezTo>
                <a:cubicBezTo>
                  <a:pt x="1288" y="82"/>
                  <a:pt x="1294" y="82"/>
                  <a:pt x="1294" y="82"/>
                </a:cubicBezTo>
                <a:cubicBezTo>
                  <a:pt x="1303" y="81"/>
                  <a:pt x="1303" y="81"/>
                  <a:pt x="1303" y="81"/>
                </a:cubicBezTo>
                <a:cubicBezTo>
                  <a:pt x="1303" y="77"/>
                  <a:pt x="1303" y="77"/>
                  <a:pt x="1303" y="77"/>
                </a:cubicBezTo>
                <a:cubicBezTo>
                  <a:pt x="1297" y="76"/>
                  <a:pt x="1297" y="76"/>
                  <a:pt x="1297" y="76"/>
                </a:cubicBezTo>
                <a:cubicBezTo>
                  <a:pt x="1294" y="78"/>
                  <a:pt x="1294" y="78"/>
                  <a:pt x="1294" y="78"/>
                </a:cubicBezTo>
                <a:cubicBezTo>
                  <a:pt x="1294" y="78"/>
                  <a:pt x="1291" y="75"/>
                  <a:pt x="1292" y="74"/>
                </a:cubicBezTo>
                <a:cubicBezTo>
                  <a:pt x="1293" y="74"/>
                  <a:pt x="1299" y="74"/>
                  <a:pt x="1299" y="74"/>
                </a:cubicBezTo>
                <a:cubicBezTo>
                  <a:pt x="1305" y="72"/>
                  <a:pt x="1305" y="72"/>
                  <a:pt x="1305" y="72"/>
                </a:cubicBezTo>
                <a:cubicBezTo>
                  <a:pt x="1305" y="72"/>
                  <a:pt x="1309" y="75"/>
                  <a:pt x="1312" y="74"/>
                </a:cubicBezTo>
                <a:cubicBezTo>
                  <a:pt x="1314" y="73"/>
                  <a:pt x="1317" y="71"/>
                  <a:pt x="1316" y="71"/>
                </a:cubicBezTo>
                <a:cubicBezTo>
                  <a:pt x="1315" y="70"/>
                  <a:pt x="1306" y="70"/>
                  <a:pt x="1305" y="70"/>
                </a:cubicBezTo>
                <a:cubicBezTo>
                  <a:pt x="1304" y="70"/>
                  <a:pt x="1306" y="68"/>
                  <a:pt x="1304" y="68"/>
                </a:cubicBezTo>
                <a:cubicBezTo>
                  <a:pt x="1301" y="67"/>
                  <a:pt x="1295" y="67"/>
                  <a:pt x="1295" y="67"/>
                </a:cubicBezTo>
                <a:cubicBezTo>
                  <a:pt x="1295" y="67"/>
                  <a:pt x="1302" y="67"/>
                  <a:pt x="1303" y="66"/>
                </a:cubicBezTo>
                <a:cubicBezTo>
                  <a:pt x="1304" y="65"/>
                  <a:pt x="1295" y="63"/>
                  <a:pt x="1295" y="63"/>
                </a:cubicBezTo>
                <a:cubicBezTo>
                  <a:pt x="1295" y="63"/>
                  <a:pt x="1300" y="62"/>
                  <a:pt x="1302" y="63"/>
                </a:cubicBezTo>
                <a:cubicBezTo>
                  <a:pt x="1303" y="63"/>
                  <a:pt x="1308" y="65"/>
                  <a:pt x="1309" y="65"/>
                </a:cubicBezTo>
                <a:cubicBezTo>
                  <a:pt x="1311" y="64"/>
                  <a:pt x="1311" y="67"/>
                  <a:pt x="1313" y="66"/>
                </a:cubicBezTo>
                <a:cubicBezTo>
                  <a:pt x="1315" y="65"/>
                  <a:pt x="1317" y="62"/>
                  <a:pt x="1315" y="61"/>
                </a:cubicBezTo>
                <a:cubicBezTo>
                  <a:pt x="1314" y="59"/>
                  <a:pt x="1310" y="57"/>
                  <a:pt x="1310" y="57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5"/>
                  <a:pt x="1298" y="54"/>
                  <a:pt x="1300" y="52"/>
                </a:cubicBezTo>
                <a:cubicBezTo>
                  <a:pt x="1301" y="51"/>
                  <a:pt x="1306" y="52"/>
                  <a:pt x="1306" y="52"/>
                </a:cubicBezTo>
                <a:cubicBezTo>
                  <a:pt x="1312" y="51"/>
                  <a:pt x="1312" y="51"/>
                  <a:pt x="1312" y="51"/>
                </a:cubicBezTo>
                <a:cubicBezTo>
                  <a:pt x="1312" y="51"/>
                  <a:pt x="1315" y="51"/>
                  <a:pt x="1321" y="52"/>
                </a:cubicBezTo>
                <a:cubicBezTo>
                  <a:pt x="1328" y="52"/>
                  <a:pt x="1331" y="47"/>
                  <a:pt x="1326" y="47"/>
                </a:cubicBezTo>
                <a:cubicBezTo>
                  <a:pt x="1322" y="46"/>
                  <a:pt x="1314" y="46"/>
                  <a:pt x="1314" y="46"/>
                </a:cubicBezTo>
                <a:cubicBezTo>
                  <a:pt x="1314" y="44"/>
                  <a:pt x="1314" y="44"/>
                  <a:pt x="1314" y="44"/>
                </a:cubicBezTo>
                <a:cubicBezTo>
                  <a:pt x="1318" y="44"/>
                  <a:pt x="1318" y="44"/>
                  <a:pt x="1318" y="44"/>
                </a:cubicBezTo>
                <a:cubicBezTo>
                  <a:pt x="1318" y="44"/>
                  <a:pt x="1317" y="41"/>
                  <a:pt x="1314" y="41"/>
                </a:cubicBezTo>
                <a:cubicBezTo>
                  <a:pt x="1311" y="42"/>
                  <a:pt x="1313" y="45"/>
                  <a:pt x="1311" y="45"/>
                </a:cubicBezTo>
                <a:cubicBezTo>
                  <a:pt x="1309" y="45"/>
                  <a:pt x="1304" y="43"/>
                  <a:pt x="1306" y="42"/>
                </a:cubicBezTo>
                <a:cubicBezTo>
                  <a:pt x="1308" y="41"/>
                  <a:pt x="1313" y="40"/>
                  <a:pt x="1313" y="39"/>
                </a:cubicBezTo>
                <a:cubicBezTo>
                  <a:pt x="1314" y="37"/>
                  <a:pt x="1316" y="35"/>
                  <a:pt x="1317" y="34"/>
                </a:cubicBezTo>
                <a:cubicBezTo>
                  <a:pt x="1317" y="34"/>
                  <a:pt x="1320" y="36"/>
                  <a:pt x="1322" y="35"/>
                </a:cubicBezTo>
                <a:cubicBezTo>
                  <a:pt x="1324" y="34"/>
                  <a:pt x="1327" y="32"/>
                  <a:pt x="1327" y="32"/>
                </a:cubicBezTo>
                <a:cubicBezTo>
                  <a:pt x="1325" y="30"/>
                  <a:pt x="1325" y="30"/>
                  <a:pt x="1325" y="30"/>
                </a:cubicBezTo>
                <a:cubicBezTo>
                  <a:pt x="1325" y="30"/>
                  <a:pt x="1330" y="27"/>
                  <a:pt x="1331" y="27"/>
                </a:cubicBezTo>
                <a:cubicBezTo>
                  <a:pt x="1333" y="27"/>
                  <a:pt x="1335" y="29"/>
                  <a:pt x="1336" y="28"/>
                </a:cubicBezTo>
                <a:cubicBezTo>
                  <a:pt x="1338" y="26"/>
                  <a:pt x="1342" y="26"/>
                  <a:pt x="1340" y="25"/>
                </a:cubicBezTo>
                <a:cubicBezTo>
                  <a:pt x="1337" y="24"/>
                  <a:pt x="1331" y="25"/>
                  <a:pt x="1331" y="25"/>
                </a:cubicBezTo>
                <a:cubicBezTo>
                  <a:pt x="1331" y="25"/>
                  <a:pt x="1320" y="28"/>
                  <a:pt x="1322" y="26"/>
                </a:cubicBezTo>
                <a:cubicBezTo>
                  <a:pt x="1324" y="24"/>
                  <a:pt x="1329" y="23"/>
                  <a:pt x="1329" y="23"/>
                </a:cubicBezTo>
                <a:cubicBezTo>
                  <a:pt x="1329" y="23"/>
                  <a:pt x="1338" y="24"/>
                  <a:pt x="1342" y="24"/>
                </a:cubicBezTo>
                <a:cubicBezTo>
                  <a:pt x="1346" y="23"/>
                  <a:pt x="1350" y="22"/>
                  <a:pt x="1350" y="22"/>
                </a:cubicBezTo>
                <a:cubicBezTo>
                  <a:pt x="1350" y="22"/>
                  <a:pt x="1342" y="20"/>
                  <a:pt x="1341" y="21"/>
                </a:cubicBezTo>
                <a:cubicBezTo>
                  <a:pt x="1340" y="21"/>
                  <a:pt x="1332" y="21"/>
                  <a:pt x="1332" y="21"/>
                </a:cubicBezTo>
                <a:cubicBezTo>
                  <a:pt x="1332" y="21"/>
                  <a:pt x="1322" y="22"/>
                  <a:pt x="1325" y="21"/>
                </a:cubicBezTo>
                <a:cubicBezTo>
                  <a:pt x="1329" y="20"/>
                  <a:pt x="1340" y="20"/>
                  <a:pt x="1340" y="20"/>
                </a:cubicBezTo>
                <a:cubicBezTo>
                  <a:pt x="1340" y="20"/>
                  <a:pt x="1353" y="20"/>
                  <a:pt x="1356" y="19"/>
                </a:cubicBezTo>
                <a:cubicBezTo>
                  <a:pt x="1358" y="19"/>
                  <a:pt x="1360" y="17"/>
                  <a:pt x="1360" y="17"/>
                </a:cubicBezTo>
                <a:cubicBezTo>
                  <a:pt x="1360" y="17"/>
                  <a:pt x="1366" y="17"/>
                  <a:pt x="1369" y="16"/>
                </a:cubicBezTo>
                <a:cubicBezTo>
                  <a:pt x="1373" y="16"/>
                  <a:pt x="1377" y="14"/>
                  <a:pt x="1377" y="14"/>
                </a:cubicBezTo>
                <a:cubicBezTo>
                  <a:pt x="1377" y="14"/>
                  <a:pt x="1372" y="12"/>
                  <a:pt x="1368" y="12"/>
                </a:cubicBezTo>
                <a:cubicBezTo>
                  <a:pt x="1364" y="12"/>
                  <a:pt x="1349" y="11"/>
                  <a:pt x="1348" y="12"/>
                </a:cubicBezTo>
                <a:cubicBezTo>
                  <a:pt x="1347" y="13"/>
                  <a:pt x="1342" y="15"/>
                  <a:pt x="1340" y="15"/>
                </a:cubicBezTo>
                <a:cubicBezTo>
                  <a:pt x="1338" y="15"/>
                  <a:pt x="1328" y="13"/>
                  <a:pt x="1326" y="13"/>
                </a:cubicBezTo>
                <a:cubicBezTo>
                  <a:pt x="1325" y="14"/>
                  <a:pt x="1314" y="17"/>
                  <a:pt x="1313" y="18"/>
                </a:cubicBezTo>
                <a:cubicBezTo>
                  <a:pt x="1311" y="19"/>
                  <a:pt x="1300" y="21"/>
                  <a:pt x="1302" y="20"/>
                </a:cubicBezTo>
                <a:cubicBezTo>
                  <a:pt x="1304" y="18"/>
                  <a:pt x="1320" y="15"/>
                  <a:pt x="1319" y="13"/>
                </a:cubicBezTo>
                <a:cubicBezTo>
                  <a:pt x="1318" y="11"/>
                  <a:pt x="1312" y="10"/>
                  <a:pt x="1309" y="11"/>
                </a:cubicBezTo>
                <a:cubicBezTo>
                  <a:pt x="1307" y="12"/>
                  <a:pt x="1303" y="13"/>
                  <a:pt x="1303" y="13"/>
                </a:cubicBezTo>
                <a:cubicBezTo>
                  <a:pt x="1287" y="15"/>
                  <a:pt x="1287" y="15"/>
                  <a:pt x="1287" y="15"/>
                </a:cubicBezTo>
                <a:cubicBezTo>
                  <a:pt x="1287" y="15"/>
                  <a:pt x="1302" y="12"/>
                  <a:pt x="1298" y="11"/>
                </a:cubicBezTo>
                <a:cubicBezTo>
                  <a:pt x="1295" y="11"/>
                  <a:pt x="1280" y="11"/>
                  <a:pt x="1280" y="11"/>
                </a:cubicBezTo>
                <a:cubicBezTo>
                  <a:pt x="1275" y="12"/>
                  <a:pt x="1275" y="12"/>
                  <a:pt x="1275" y="12"/>
                </a:cubicBezTo>
                <a:cubicBezTo>
                  <a:pt x="1266" y="11"/>
                  <a:pt x="1266" y="11"/>
                  <a:pt x="1266" y="11"/>
                </a:cubicBezTo>
                <a:cubicBezTo>
                  <a:pt x="1266" y="11"/>
                  <a:pt x="1255" y="14"/>
                  <a:pt x="1256" y="13"/>
                </a:cubicBezTo>
                <a:cubicBezTo>
                  <a:pt x="1256" y="11"/>
                  <a:pt x="1269" y="10"/>
                  <a:pt x="1273" y="10"/>
                </a:cubicBezTo>
                <a:cubicBezTo>
                  <a:pt x="1277" y="10"/>
                  <a:pt x="1306" y="9"/>
                  <a:pt x="1308" y="9"/>
                </a:cubicBezTo>
                <a:cubicBezTo>
                  <a:pt x="1309" y="9"/>
                  <a:pt x="1326" y="9"/>
                  <a:pt x="1324" y="7"/>
                </a:cubicBezTo>
                <a:cubicBezTo>
                  <a:pt x="1322" y="6"/>
                  <a:pt x="1312" y="5"/>
                  <a:pt x="1308" y="6"/>
                </a:cubicBezTo>
                <a:cubicBezTo>
                  <a:pt x="1304" y="6"/>
                  <a:pt x="1301" y="6"/>
                  <a:pt x="1301" y="6"/>
                </a:cubicBezTo>
                <a:cubicBezTo>
                  <a:pt x="1301" y="6"/>
                  <a:pt x="1306" y="4"/>
                  <a:pt x="1303" y="4"/>
                </a:cubicBezTo>
                <a:cubicBezTo>
                  <a:pt x="1300" y="3"/>
                  <a:pt x="1294" y="4"/>
                  <a:pt x="1294" y="4"/>
                </a:cubicBezTo>
                <a:cubicBezTo>
                  <a:pt x="1294" y="4"/>
                  <a:pt x="1288" y="4"/>
                  <a:pt x="1286" y="3"/>
                </a:cubicBezTo>
                <a:cubicBezTo>
                  <a:pt x="1285" y="3"/>
                  <a:pt x="1292" y="4"/>
                  <a:pt x="1294" y="2"/>
                </a:cubicBezTo>
                <a:cubicBezTo>
                  <a:pt x="1295" y="1"/>
                  <a:pt x="1286" y="1"/>
                  <a:pt x="1281" y="1"/>
                </a:cubicBezTo>
                <a:cubicBezTo>
                  <a:pt x="1277" y="1"/>
                  <a:pt x="1265" y="2"/>
                  <a:pt x="1265" y="2"/>
                </a:cubicBezTo>
                <a:cubicBezTo>
                  <a:pt x="1265" y="2"/>
                  <a:pt x="1257" y="1"/>
                  <a:pt x="1252" y="0"/>
                </a:cubicBezTo>
                <a:cubicBezTo>
                  <a:pt x="1247" y="0"/>
                  <a:pt x="1243" y="1"/>
                  <a:pt x="1241" y="1"/>
                </a:cubicBezTo>
                <a:cubicBezTo>
                  <a:pt x="1239" y="2"/>
                  <a:pt x="1235" y="2"/>
                  <a:pt x="1230" y="1"/>
                </a:cubicBezTo>
                <a:cubicBezTo>
                  <a:pt x="1226" y="1"/>
                  <a:pt x="1221" y="1"/>
                  <a:pt x="1222" y="2"/>
                </a:cubicBezTo>
                <a:cubicBezTo>
                  <a:pt x="1222" y="3"/>
                  <a:pt x="1228" y="3"/>
                  <a:pt x="1228" y="3"/>
                </a:cubicBezTo>
                <a:cubicBezTo>
                  <a:pt x="1228" y="3"/>
                  <a:pt x="1221" y="4"/>
                  <a:pt x="1218" y="4"/>
                </a:cubicBezTo>
                <a:cubicBezTo>
                  <a:pt x="1215" y="4"/>
                  <a:pt x="1204" y="3"/>
                  <a:pt x="1201" y="2"/>
                </a:cubicBezTo>
                <a:cubicBezTo>
                  <a:pt x="1198" y="2"/>
                  <a:pt x="1190" y="3"/>
                  <a:pt x="1189" y="3"/>
                </a:cubicBezTo>
                <a:cubicBezTo>
                  <a:pt x="1188" y="3"/>
                  <a:pt x="1177" y="4"/>
                  <a:pt x="1182" y="5"/>
                </a:cubicBezTo>
                <a:cubicBezTo>
                  <a:pt x="1186" y="6"/>
                  <a:pt x="1201" y="7"/>
                  <a:pt x="1201" y="7"/>
                </a:cubicBezTo>
                <a:cubicBezTo>
                  <a:pt x="1213" y="8"/>
                  <a:pt x="1213" y="8"/>
                  <a:pt x="1213" y="8"/>
                </a:cubicBezTo>
                <a:cubicBezTo>
                  <a:pt x="1213" y="8"/>
                  <a:pt x="1201" y="8"/>
                  <a:pt x="1199" y="8"/>
                </a:cubicBezTo>
                <a:cubicBezTo>
                  <a:pt x="1198" y="8"/>
                  <a:pt x="1188" y="6"/>
                  <a:pt x="1188" y="7"/>
                </a:cubicBezTo>
                <a:cubicBezTo>
                  <a:pt x="1188" y="7"/>
                  <a:pt x="1192" y="8"/>
                  <a:pt x="1192" y="8"/>
                </a:cubicBezTo>
                <a:cubicBezTo>
                  <a:pt x="1186" y="9"/>
                  <a:pt x="1186" y="9"/>
                  <a:pt x="1186" y="9"/>
                </a:cubicBezTo>
                <a:cubicBezTo>
                  <a:pt x="1186" y="9"/>
                  <a:pt x="1182" y="12"/>
                  <a:pt x="1183" y="12"/>
                </a:cubicBezTo>
                <a:cubicBezTo>
                  <a:pt x="1184" y="13"/>
                  <a:pt x="1178" y="13"/>
                  <a:pt x="1175" y="12"/>
                </a:cubicBezTo>
                <a:cubicBezTo>
                  <a:pt x="1173" y="10"/>
                  <a:pt x="1167" y="9"/>
                  <a:pt x="1162" y="8"/>
                </a:cubicBezTo>
                <a:cubicBezTo>
                  <a:pt x="1156" y="8"/>
                  <a:pt x="1150" y="8"/>
                  <a:pt x="1150" y="8"/>
                </a:cubicBezTo>
                <a:cubicBezTo>
                  <a:pt x="1150" y="12"/>
                  <a:pt x="1150" y="12"/>
                  <a:pt x="1150" y="12"/>
                </a:cubicBezTo>
                <a:cubicBezTo>
                  <a:pt x="1150" y="12"/>
                  <a:pt x="1146" y="13"/>
                  <a:pt x="1144" y="12"/>
                </a:cubicBezTo>
                <a:cubicBezTo>
                  <a:pt x="1141" y="12"/>
                  <a:pt x="1136" y="10"/>
                  <a:pt x="1134" y="11"/>
                </a:cubicBezTo>
                <a:cubicBezTo>
                  <a:pt x="1132" y="11"/>
                  <a:pt x="1129" y="13"/>
                  <a:pt x="1129" y="13"/>
                </a:cubicBezTo>
                <a:cubicBezTo>
                  <a:pt x="1129" y="13"/>
                  <a:pt x="1131" y="9"/>
                  <a:pt x="1128" y="9"/>
                </a:cubicBezTo>
                <a:cubicBezTo>
                  <a:pt x="1126" y="9"/>
                  <a:pt x="1111" y="9"/>
                  <a:pt x="1107" y="10"/>
                </a:cubicBezTo>
                <a:cubicBezTo>
                  <a:pt x="1103" y="11"/>
                  <a:pt x="1096" y="9"/>
                  <a:pt x="1097" y="10"/>
                </a:cubicBezTo>
                <a:cubicBezTo>
                  <a:pt x="1098" y="11"/>
                  <a:pt x="1105" y="15"/>
                  <a:pt x="1105" y="15"/>
                </a:cubicBezTo>
                <a:cubicBezTo>
                  <a:pt x="1105" y="15"/>
                  <a:pt x="1094" y="11"/>
                  <a:pt x="1092" y="11"/>
                </a:cubicBezTo>
                <a:cubicBezTo>
                  <a:pt x="1090" y="11"/>
                  <a:pt x="1085" y="10"/>
                  <a:pt x="1084" y="12"/>
                </a:cubicBezTo>
                <a:cubicBezTo>
                  <a:pt x="1083" y="15"/>
                  <a:pt x="1079" y="17"/>
                  <a:pt x="1076" y="17"/>
                </a:cubicBezTo>
                <a:cubicBezTo>
                  <a:pt x="1074" y="17"/>
                  <a:pt x="1066" y="17"/>
                  <a:pt x="1066" y="17"/>
                </a:cubicBezTo>
                <a:cubicBezTo>
                  <a:pt x="1066" y="17"/>
                  <a:pt x="1050" y="20"/>
                  <a:pt x="1050" y="20"/>
                </a:cubicBezTo>
                <a:cubicBezTo>
                  <a:pt x="1049" y="20"/>
                  <a:pt x="1034" y="22"/>
                  <a:pt x="1036" y="24"/>
                </a:cubicBezTo>
                <a:cubicBezTo>
                  <a:pt x="1038" y="25"/>
                  <a:pt x="1047" y="26"/>
                  <a:pt x="1048" y="25"/>
                </a:cubicBezTo>
                <a:cubicBezTo>
                  <a:pt x="1049" y="25"/>
                  <a:pt x="1052" y="25"/>
                  <a:pt x="1052" y="25"/>
                </a:cubicBezTo>
                <a:cubicBezTo>
                  <a:pt x="1047" y="27"/>
                  <a:pt x="1047" y="27"/>
                  <a:pt x="1047" y="27"/>
                </a:cubicBezTo>
                <a:cubicBezTo>
                  <a:pt x="1045" y="29"/>
                  <a:pt x="1045" y="29"/>
                  <a:pt x="1045" y="29"/>
                </a:cubicBezTo>
                <a:cubicBezTo>
                  <a:pt x="1045" y="29"/>
                  <a:pt x="1035" y="33"/>
                  <a:pt x="1031" y="33"/>
                </a:cubicBezTo>
                <a:cubicBezTo>
                  <a:pt x="1028" y="33"/>
                  <a:pt x="1013" y="33"/>
                  <a:pt x="1011" y="35"/>
                </a:cubicBezTo>
                <a:cubicBezTo>
                  <a:pt x="1008" y="38"/>
                  <a:pt x="1005" y="35"/>
                  <a:pt x="1005" y="35"/>
                </a:cubicBezTo>
                <a:cubicBezTo>
                  <a:pt x="1001" y="37"/>
                  <a:pt x="1001" y="37"/>
                  <a:pt x="1001" y="37"/>
                </a:cubicBezTo>
                <a:cubicBezTo>
                  <a:pt x="994" y="37"/>
                  <a:pt x="994" y="37"/>
                  <a:pt x="994" y="37"/>
                </a:cubicBezTo>
                <a:cubicBezTo>
                  <a:pt x="994" y="37"/>
                  <a:pt x="982" y="38"/>
                  <a:pt x="985" y="40"/>
                </a:cubicBezTo>
                <a:cubicBezTo>
                  <a:pt x="988" y="42"/>
                  <a:pt x="993" y="44"/>
                  <a:pt x="993" y="44"/>
                </a:cubicBezTo>
                <a:cubicBezTo>
                  <a:pt x="997" y="43"/>
                  <a:pt x="997" y="43"/>
                  <a:pt x="997" y="43"/>
                </a:cubicBezTo>
                <a:cubicBezTo>
                  <a:pt x="997" y="43"/>
                  <a:pt x="997" y="45"/>
                  <a:pt x="999" y="46"/>
                </a:cubicBezTo>
                <a:cubicBezTo>
                  <a:pt x="1001" y="47"/>
                  <a:pt x="1006" y="44"/>
                  <a:pt x="1006" y="44"/>
                </a:cubicBezTo>
                <a:cubicBezTo>
                  <a:pt x="1006" y="44"/>
                  <a:pt x="1005" y="46"/>
                  <a:pt x="1007" y="46"/>
                </a:cubicBezTo>
                <a:cubicBezTo>
                  <a:pt x="1009" y="46"/>
                  <a:pt x="1017" y="43"/>
                  <a:pt x="1019" y="44"/>
                </a:cubicBezTo>
                <a:cubicBezTo>
                  <a:pt x="1020" y="45"/>
                  <a:pt x="1020" y="46"/>
                  <a:pt x="1020" y="46"/>
                </a:cubicBezTo>
                <a:cubicBezTo>
                  <a:pt x="1017" y="46"/>
                  <a:pt x="1017" y="46"/>
                  <a:pt x="1017" y="46"/>
                </a:cubicBezTo>
                <a:cubicBezTo>
                  <a:pt x="1017" y="46"/>
                  <a:pt x="1016" y="49"/>
                  <a:pt x="1014" y="49"/>
                </a:cubicBezTo>
                <a:cubicBezTo>
                  <a:pt x="1013" y="49"/>
                  <a:pt x="1014" y="47"/>
                  <a:pt x="1011" y="47"/>
                </a:cubicBezTo>
                <a:cubicBezTo>
                  <a:pt x="1009" y="47"/>
                  <a:pt x="1002" y="48"/>
                  <a:pt x="1002" y="48"/>
                </a:cubicBezTo>
                <a:cubicBezTo>
                  <a:pt x="996" y="48"/>
                  <a:pt x="996" y="48"/>
                  <a:pt x="996" y="48"/>
                </a:cubicBezTo>
                <a:cubicBezTo>
                  <a:pt x="996" y="48"/>
                  <a:pt x="988" y="44"/>
                  <a:pt x="986" y="48"/>
                </a:cubicBezTo>
                <a:cubicBezTo>
                  <a:pt x="984" y="52"/>
                  <a:pt x="989" y="53"/>
                  <a:pt x="991" y="53"/>
                </a:cubicBezTo>
                <a:cubicBezTo>
                  <a:pt x="993" y="52"/>
                  <a:pt x="998" y="53"/>
                  <a:pt x="998" y="53"/>
                </a:cubicBezTo>
                <a:cubicBezTo>
                  <a:pt x="998" y="53"/>
                  <a:pt x="989" y="53"/>
                  <a:pt x="990" y="55"/>
                </a:cubicBezTo>
                <a:cubicBezTo>
                  <a:pt x="991" y="56"/>
                  <a:pt x="997" y="57"/>
                  <a:pt x="997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6"/>
                  <a:pt x="1004" y="56"/>
                </a:cubicBezTo>
                <a:cubicBezTo>
                  <a:pt x="1005" y="56"/>
                  <a:pt x="1007" y="58"/>
                  <a:pt x="1007" y="58"/>
                </a:cubicBezTo>
                <a:cubicBezTo>
                  <a:pt x="1012" y="56"/>
                  <a:pt x="1012" y="56"/>
                  <a:pt x="1012" y="56"/>
                </a:cubicBezTo>
                <a:cubicBezTo>
                  <a:pt x="1012" y="56"/>
                  <a:pt x="1013" y="58"/>
                  <a:pt x="1013" y="58"/>
                </a:cubicBezTo>
                <a:cubicBezTo>
                  <a:pt x="1014" y="58"/>
                  <a:pt x="1020" y="55"/>
                  <a:pt x="1022" y="56"/>
                </a:cubicBezTo>
                <a:cubicBezTo>
                  <a:pt x="1024" y="56"/>
                  <a:pt x="1026" y="57"/>
                  <a:pt x="1027" y="57"/>
                </a:cubicBezTo>
                <a:cubicBezTo>
                  <a:pt x="1028" y="57"/>
                  <a:pt x="1030" y="55"/>
                  <a:pt x="1031" y="55"/>
                </a:cubicBezTo>
                <a:cubicBezTo>
                  <a:pt x="1032" y="55"/>
                  <a:pt x="1036" y="57"/>
                  <a:pt x="1036" y="57"/>
                </a:cubicBezTo>
                <a:cubicBezTo>
                  <a:pt x="1036" y="57"/>
                  <a:pt x="1043" y="56"/>
                  <a:pt x="1047" y="57"/>
                </a:cubicBezTo>
                <a:cubicBezTo>
                  <a:pt x="1052" y="59"/>
                  <a:pt x="1053" y="61"/>
                  <a:pt x="1053" y="61"/>
                </a:cubicBezTo>
                <a:cubicBezTo>
                  <a:pt x="1053" y="61"/>
                  <a:pt x="1057" y="60"/>
                  <a:pt x="1057" y="61"/>
                </a:cubicBezTo>
                <a:cubicBezTo>
                  <a:pt x="1057" y="62"/>
                  <a:pt x="1055" y="64"/>
                  <a:pt x="1055" y="64"/>
                </a:cubicBezTo>
                <a:cubicBezTo>
                  <a:pt x="1057" y="66"/>
                  <a:pt x="1057" y="66"/>
                  <a:pt x="1057" y="66"/>
                </a:cubicBezTo>
                <a:cubicBezTo>
                  <a:pt x="1057" y="66"/>
                  <a:pt x="1063" y="67"/>
                  <a:pt x="1063" y="69"/>
                </a:cubicBezTo>
                <a:cubicBezTo>
                  <a:pt x="1063" y="71"/>
                  <a:pt x="1060" y="72"/>
                  <a:pt x="1060" y="72"/>
                </a:cubicBezTo>
                <a:cubicBezTo>
                  <a:pt x="1062" y="75"/>
                  <a:pt x="1062" y="75"/>
                  <a:pt x="1062" y="75"/>
                </a:cubicBezTo>
                <a:cubicBezTo>
                  <a:pt x="1065" y="77"/>
                  <a:pt x="1065" y="77"/>
                  <a:pt x="1065" y="77"/>
                </a:cubicBezTo>
                <a:cubicBezTo>
                  <a:pt x="1062" y="78"/>
                  <a:pt x="1062" y="78"/>
                  <a:pt x="1062" y="78"/>
                </a:cubicBezTo>
                <a:cubicBezTo>
                  <a:pt x="1064" y="81"/>
                  <a:pt x="1064" y="81"/>
                  <a:pt x="1064" y="81"/>
                </a:cubicBezTo>
                <a:cubicBezTo>
                  <a:pt x="1064" y="81"/>
                  <a:pt x="1062" y="81"/>
                  <a:pt x="1062" y="83"/>
                </a:cubicBezTo>
                <a:cubicBezTo>
                  <a:pt x="1062" y="85"/>
                  <a:pt x="1067" y="85"/>
                  <a:pt x="1066" y="86"/>
                </a:cubicBezTo>
                <a:cubicBezTo>
                  <a:pt x="1065" y="87"/>
                  <a:pt x="1061" y="89"/>
                  <a:pt x="1061" y="89"/>
                </a:cubicBezTo>
                <a:cubicBezTo>
                  <a:pt x="1063" y="91"/>
                  <a:pt x="1063" y="91"/>
                  <a:pt x="1063" y="91"/>
                </a:cubicBezTo>
                <a:cubicBezTo>
                  <a:pt x="1063" y="91"/>
                  <a:pt x="1054" y="92"/>
                  <a:pt x="1055" y="92"/>
                </a:cubicBezTo>
                <a:cubicBezTo>
                  <a:pt x="1055" y="93"/>
                  <a:pt x="1057" y="93"/>
                  <a:pt x="1059" y="93"/>
                </a:cubicBezTo>
                <a:cubicBezTo>
                  <a:pt x="1062" y="93"/>
                  <a:pt x="1059" y="95"/>
                  <a:pt x="1059" y="95"/>
                </a:cubicBezTo>
                <a:cubicBezTo>
                  <a:pt x="1059" y="95"/>
                  <a:pt x="1048" y="95"/>
                  <a:pt x="1050" y="97"/>
                </a:cubicBezTo>
                <a:cubicBezTo>
                  <a:pt x="1053" y="99"/>
                  <a:pt x="1056" y="100"/>
                  <a:pt x="1059" y="100"/>
                </a:cubicBezTo>
                <a:cubicBezTo>
                  <a:pt x="1062" y="100"/>
                  <a:pt x="1063" y="98"/>
                  <a:pt x="1063" y="98"/>
                </a:cubicBezTo>
                <a:cubicBezTo>
                  <a:pt x="1063" y="98"/>
                  <a:pt x="1069" y="98"/>
                  <a:pt x="1068" y="96"/>
                </a:cubicBezTo>
                <a:cubicBezTo>
                  <a:pt x="1068" y="94"/>
                  <a:pt x="1070" y="92"/>
                  <a:pt x="1070" y="92"/>
                </a:cubicBezTo>
                <a:cubicBezTo>
                  <a:pt x="1070" y="96"/>
                  <a:pt x="1070" y="96"/>
                  <a:pt x="1070" y="96"/>
                </a:cubicBezTo>
                <a:cubicBezTo>
                  <a:pt x="1073" y="94"/>
                  <a:pt x="1073" y="94"/>
                  <a:pt x="1073" y="94"/>
                </a:cubicBezTo>
                <a:cubicBezTo>
                  <a:pt x="1073" y="94"/>
                  <a:pt x="1072" y="95"/>
                  <a:pt x="1073" y="96"/>
                </a:cubicBezTo>
                <a:cubicBezTo>
                  <a:pt x="1073" y="97"/>
                  <a:pt x="1079" y="97"/>
                  <a:pt x="1079" y="97"/>
                </a:cubicBezTo>
                <a:cubicBezTo>
                  <a:pt x="1077" y="99"/>
                  <a:pt x="1077" y="99"/>
                  <a:pt x="1077" y="99"/>
                </a:cubicBezTo>
                <a:cubicBezTo>
                  <a:pt x="1077" y="99"/>
                  <a:pt x="1076" y="101"/>
                  <a:pt x="1077" y="102"/>
                </a:cubicBezTo>
                <a:cubicBezTo>
                  <a:pt x="1079" y="103"/>
                  <a:pt x="1082" y="106"/>
                  <a:pt x="1081" y="107"/>
                </a:cubicBezTo>
                <a:cubicBezTo>
                  <a:pt x="1080" y="108"/>
                  <a:pt x="1077" y="107"/>
                  <a:pt x="1077" y="107"/>
                </a:cubicBezTo>
                <a:cubicBezTo>
                  <a:pt x="1077" y="109"/>
                  <a:pt x="1077" y="109"/>
                  <a:pt x="1077" y="109"/>
                </a:cubicBezTo>
                <a:cubicBezTo>
                  <a:pt x="1077" y="109"/>
                  <a:pt x="1074" y="108"/>
                  <a:pt x="1072" y="108"/>
                </a:cubicBezTo>
                <a:cubicBezTo>
                  <a:pt x="1070" y="108"/>
                  <a:pt x="1069" y="106"/>
                  <a:pt x="1069" y="106"/>
                </a:cubicBezTo>
                <a:cubicBezTo>
                  <a:pt x="1060" y="106"/>
                  <a:pt x="1060" y="106"/>
                  <a:pt x="1060" y="106"/>
                </a:cubicBezTo>
                <a:cubicBezTo>
                  <a:pt x="1060" y="106"/>
                  <a:pt x="1055" y="101"/>
                  <a:pt x="1054" y="106"/>
                </a:cubicBezTo>
                <a:cubicBezTo>
                  <a:pt x="1054" y="108"/>
                  <a:pt x="1056" y="109"/>
                  <a:pt x="1058" y="109"/>
                </a:cubicBezTo>
                <a:cubicBezTo>
                  <a:pt x="1059" y="109"/>
                  <a:pt x="1060" y="108"/>
                  <a:pt x="1062" y="109"/>
                </a:cubicBezTo>
                <a:cubicBezTo>
                  <a:pt x="1064" y="110"/>
                  <a:pt x="1066" y="113"/>
                  <a:pt x="1069" y="113"/>
                </a:cubicBezTo>
                <a:cubicBezTo>
                  <a:pt x="1072" y="113"/>
                  <a:pt x="1074" y="112"/>
                  <a:pt x="1074" y="112"/>
                </a:cubicBezTo>
                <a:cubicBezTo>
                  <a:pt x="1077" y="113"/>
                  <a:pt x="1077" y="113"/>
                  <a:pt x="1077" y="113"/>
                </a:cubicBezTo>
                <a:cubicBezTo>
                  <a:pt x="1080" y="112"/>
                  <a:pt x="1080" y="112"/>
                  <a:pt x="1080" y="112"/>
                </a:cubicBezTo>
                <a:cubicBezTo>
                  <a:pt x="1080" y="115"/>
                  <a:pt x="1080" y="115"/>
                  <a:pt x="1080" y="115"/>
                </a:cubicBezTo>
                <a:cubicBezTo>
                  <a:pt x="1080" y="115"/>
                  <a:pt x="1076" y="113"/>
                  <a:pt x="1076" y="115"/>
                </a:cubicBezTo>
                <a:cubicBezTo>
                  <a:pt x="1076" y="116"/>
                  <a:pt x="1078" y="117"/>
                  <a:pt x="1078" y="117"/>
                </a:cubicBezTo>
                <a:cubicBezTo>
                  <a:pt x="1078" y="117"/>
                  <a:pt x="1072" y="117"/>
                  <a:pt x="1072" y="119"/>
                </a:cubicBezTo>
                <a:cubicBezTo>
                  <a:pt x="1073" y="120"/>
                  <a:pt x="1077" y="120"/>
                  <a:pt x="1077" y="120"/>
                </a:cubicBezTo>
                <a:cubicBezTo>
                  <a:pt x="1077" y="120"/>
                  <a:pt x="1076" y="122"/>
                  <a:pt x="1075" y="122"/>
                </a:cubicBezTo>
                <a:cubicBezTo>
                  <a:pt x="1074" y="122"/>
                  <a:pt x="1071" y="120"/>
                  <a:pt x="1070" y="121"/>
                </a:cubicBezTo>
                <a:cubicBezTo>
                  <a:pt x="1069" y="122"/>
                  <a:pt x="1071" y="124"/>
                  <a:pt x="1071" y="124"/>
                </a:cubicBezTo>
                <a:cubicBezTo>
                  <a:pt x="1068" y="124"/>
                  <a:pt x="1068" y="124"/>
                  <a:pt x="1068" y="124"/>
                </a:cubicBezTo>
                <a:cubicBezTo>
                  <a:pt x="1069" y="127"/>
                  <a:pt x="1069" y="127"/>
                  <a:pt x="1069" y="127"/>
                </a:cubicBezTo>
                <a:cubicBezTo>
                  <a:pt x="1069" y="127"/>
                  <a:pt x="1064" y="127"/>
                  <a:pt x="1065" y="129"/>
                </a:cubicBezTo>
                <a:cubicBezTo>
                  <a:pt x="1066" y="131"/>
                  <a:pt x="1070" y="131"/>
                  <a:pt x="1070" y="131"/>
                </a:cubicBezTo>
                <a:cubicBezTo>
                  <a:pt x="1070" y="131"/>
                  <a:pt x="1070" y="134"/>
                  <a:pt x="1069" y="134"/>
                </a:cubicBezTo>
                <a:cubicBezTo>
                  <a:pt x="1067" y="134"/>
                  <a:pt x="1068" y="135"/>
                  <a:pt x="1068" y="135"/>
                </a:cubicBezTo>
                <a:cubicBezTo>
                  <a:pt x="1068" y="135"/>
                  <a:pt x="1068" y="136"/>
                  <a:pt x="1067" y="134"/>
                </a:cubicBezTo>
                <a:cubicBezTo>
                  <a:pt x="1067" y="132"/>
                  <a:pt x="1064" y="131"/>
                  <a:pt x="1064" y="131"/>
                </a:cubicBezTo>
                <a:cubicBezTo>
                  <a:pt x="1064" y="131"/>
                  <a:pt x="1061" y="124"/>
                  <a:pt x="1059" y="125"/>
                </a:cubicBezTo>
                <a:cubicBezTo>
                  <a:pt x="1057" y="125"/>
                  <a:pt x="1051" y="128"/>
                  <a:pt x="1054" y="129"/>
                </a:cubicBezTo>
                <a:cubicBezTo>
                  <a:pt x="1057" y="131"/>
                  <a:pt x="1062" y="131"/>
                  <a:pt x="1062" y="131"/>
                </a:cubicBezTo>
                <a:cubicBezTo>
                  <a:pt x="1062" y="131"/>
                  <a:pt x="1058" y="132"/>
                  <a:pt x="1056" y="132"/>
                </a:cubicBezTo>
                <a:cubicBezTo>
                  <a:pt x="1053" y="132"/>
                  <a:pt x="1050" y="131"/>
                  <a:pt x="1049" y="132"/>
                </a:cubicBezTo>
                <a:cubicBezTo>
                  <a:pt x="1047" y="133"/>
                  <a:pt x="1042" y="134"/>
                  <a:pt x="1044" y="135"/>
                </a:cubicBezTo>
                <a:cubicBezTo>
                  <a:pt x="1045" y="135"/>
                  <a:pt x="1054" y="134"/>
                  <a:pt x="1056" y="134"/>
                </a:cubicBezTo>
                <a:cubicBezTo>
                  <a:pt x="1058" y="134"/>
                  <a:pt x="1063" y="135"/>
                  <a:pt x="1063" y="135"/>
                </a:cubicBezTo>
                <a:cubicBezTo>
                  <a:pt x="1063" y="135"/>
                  <a:pt x="1059" y="135"/>
                  <a:pt x="1058" y="135"/>
                </a:cubicBezTo>
                <a:cubicBezTo>
                  <a:pt x="1056" y="135"/>
                  <a:pt x="1043" y="136"/>
                  <a:pt x="1041" y="137"/>
                </a:cubicBezTo>
                <a:cubicBezTo>
                  <a:pt x="1040" y="138"/>
                  <a:pt x="1040" y="139"/>
                  <a:pt x="1043" y="139"/>
                </a:cubicBezTo>
                <a:cubicBezTo>
                  <a:pt x="1047" y="138"/>
                  <a:pt x="1055" y="138"/>
                  <a:pt x="1055" y="138"/>
                </a:cubicBezTo>
                <a:cubicBezTo>
                  <a:pt x="1055" y="138"/>
                  <a:pt x="1060" y="137"/>
                  <a:pt x="1061" y="138"/>
                </a:cubicBezTo>
                <a:cubicBezTo>
                  <a:pt x="1061" y="139"/>
                  <a:pt x="1051" y="139"/>
                  <a:pt x="1051" y="139"/>
                </a:cubicBezTo>
                <a:cubicBezTo>
                  <a:pt x="1051" y="139"/>
                  <a:pt x="1039" y="139"/>
                  <a:pt x="1040" y="140"/>
                </a:cubicBezTo>
                <a:cubicBezTo>
                  <a:pt x="1040" y="140"/>
                  <a:pt x="1042" y="141"/>
                  <a:pt x="1044" y="141"/>
                </a:cubicBezTo>
                <a:cubicBezTo>
                  <a:pt x="1045" y="141"/>
                  <a:pt x="1048" y="143"/>
                  <a:pt x="1048" y="143"/>
                </a:cubicBezTo>
                <a:cubicBezTo>
                  <a:pt x="1048" y="143"/>
                  <a:pt x="1043" y="142"/>
                  <a:pt x="1042" y="143"/>
                </a:cubicBezTo>
                <a:cubicBezTo>
                  <a:pt x="1041" y="144"/>
                  <a:pt x="1042" y="144"/>
                  <a:pt x="1042" y="144"/>
                </a:cubicBezTo>
                <a:cubicBezTo>
                  <a:pt x="1042" y="144"/>
                  <a:pt x="1036" y="146"/>
                  <a:pt x="1037" y="148"/>
                </a:cubicBezTo>
                <a:cubicBezTo>
                  <a:pt x="1042" y="148"/>
                  <a:pt x="1042" y="148"/>
                  <a:pt x="1042" y="148"/>
                </a:cubicBezTo>
                <a:cubicBezTo>
                  <a:pt x="1037" y="150"/>
                  <a:pt x="1037" y="150"/>
                  <a:pt x="1037" y="150"/>
                </a:cubicBezTo>
                <a:cubicBezTo>
                  <a:pt x="1037" y="150"/>
                  <a:pt x="1037" y="153"/>
                  <a:pt x="1039" y="152"/>
                </a:cubicBezTo>
                <a:cubicBezTo>
                  <a:pt x="1041" y="152"/>
                  <a:pt x="1046" y="152"/>
                  <a:pt x="1046" y="152"/>
                </a:cubicBezTo>
                <a:cubicBezTo>
                  <a:pt x="1046" y="152"/>
                  <a:pt x="1038" y="154"/>
                  <a:pt x="1039" y="156"/>
                </a:cubicBezTo>
                <a:cubicBezTo>
                  <a:pt x="1041" y="157"/>
                  <a:pt x="1045" y="155"/>
                  <a:pt x="1045" y="155"/>
                </a:cubicBezTo>
                <a:cubicBezTo>
                  <a:pt x="1045" y="155"/>
                  <a:pt x="1042" y="158"/>
                  <a:pt x="1041" y="160"/>
                </a:cubicBezTo>
                <a:cubicBezTo>
                  <a:pt x="1041" y="161"/>
                  <a:pt x="1040" y="162"/>
                  <a:pt x="1042" y="162"/>
                </a:cubicBezTo>
                <a:cubicBezTo>
                  <a:pt x="1043" y="162"/>
                  <a:pt x="1045" y="161"/>
                  <a:pt x="1045" y="161"/>
                </a:cubicBezTo>
                <a:cubicBezTo>
                  <a:pt x="1045" y="161"/>
                  <a:pt x="1044" y="164"/>
                  <a:pt x="1043" y="164"/>
                </a:cubicBezTo>
                <a:cubicBezTo>
                  <a:pt x="1041" y="164"/>
                  <a:pt x="1038" y="166"/>
                  <a:pt x="1038" y="168"/>
                </a:cubicBezTo>
                <a:cubicBezTo>
                  <a:pt x="1039" y="170"/>
                  <a:pt x="1043" y="166"/>
                  <a:pt x="1043" y="166"/>
                </a:cubicBezTo>
                <a:cubicBezTo>
                  <a:pt x="1043" y="166"/>
                  <a:pt x="1046" y="162"/>
                  <a:pt x="1047" y="163"/>
                </a:cubicBezTo>
                <a:cubicBezTo>
                  <a:pt x="1048" y="164"/>
                  <a:pt x="1053" y="162"/>
                  <a:pt x="1053" y="162"/>
                </a:cubicBezTo>
                <a:cubicBezTo>
                  <a:pt x="1053" y="164"/>
                  <a:pt x="1053" y="164"/>
                  <a:pt x="1053" y="164"/>
                </a:cubicBezTo>
                <a:cubicBezTo>
                  <a:pt x="1055" y="162"/>
                  <a:pt x="1055" y="162"/>
                  <a:pt x="1055" y="162"/>
                </a:cubicBezTo>
                <a:cubicBezTo>
                  <a:pt x="1053" y="166"/>
                  <a:pt x="1053" y="166"/>
                  <a:pt x="1053" y="166"/>
                </a:cubicBezTo>
                <a:cubicBezTo>
                  <a:pt x="1057" y="166"/>
                  <a:pt x="1057" y="166"/>
                  <a:pt x="1057" y="166"/>
                </a:cubicBezTo>
                <a:cubicBezTo>
                  <a:pt x="1057" y="166"/>
                  <a:pt x="1051" y="166"/>
                  <a:pt x="1050" y="167"/>
                </a:cubicBezTo>
                <a:cubicBezTo>
                  <a:pt x="1050" y="168"/>
                  <a:pt x="1052" y="168"/>
                  <a:pt x="1052" y="168"/>
                </a:cubicBezTo>
                <a:cubicBezTo>
                  <a:pt x="1052" y="168"/>
                  <a:pt x="1047" y="169"/>
                  <a:pt x="1046" y="170"/>
                </a:cubicBezTo>
                <a:cubicBezTo>
                  <a:pt x="1045" y="170"/>
                  <a:pt x="1046" y="171"/>
                  <a:pt x="1046" y="171"/>
                </a:cubicBezTo>
                <a:cubicBezTo>
                  <a:pt x="1046" y="171"/>
                  <a:pt x="1041" y="172"/>
                  <a:pt x="1041" y="173"/>
                </a:cubicBezTo>
                <a:cubicBezTo>
                  <a:pt x="1040" y="174"/>
                  <a:pt x="1046" y="174"/>
                  <a:pt x="1046" y="174"/>
                </a:cubicBezTo>
                <a:cubicBezTo>
                  <a:pt x="1046" y="174"/>
                  <a:pt x="1041" y="174"/>
                  <a:pt x="1041" y="175"/>
                </a:cubicBezTo>
                <a:cubicBezTo>
                  <a:pt x="1041" y="176"/>
                  <a:pt x="1045" y="177"/>
                  <a:pt x="1045" y="177"/>
                </a:cubicBezTo>
                <a:cubicBezTo>
                  <a:pt x="1045" y="177"/>
                  <a:pt x="1042" y="177"/>
                  <a:pt x="1042" y="178"/>
                </a:cubicBezTo>
                <a:cubicBezTo>
                  <a:pt x="1041" y="180"/>
                  <a:pt x="1047" y="179"/>
                  <a:pt x="1047" y="179"/>
                </a:cubicBezTo>
                <a:cubicBezTo>
                  <a:pt x="1044" y="182"/>
                  <a:pt x="1044" y="182"/>
                  <a:pt x="1044" y="182"/>
                </a:cubicBezTo>
                <a:cubicBezTo>
                  <a:pt x="1048" y="181"/>
                  <a:pt x="1048" y="181"/>
                  <a:pt x="1048" y="181"/>
                </a:cubicBezTo>
                <a:cubicBezTo>
                  <a:pt x="1048" y="181"/>
                  <a:pt x="1044" y="184"/>
                  <a:pt x="1044" y="187"/>
                </a:cubicBezTo>
                <a:cubicBezTo>
                  <a:pt x="1045" y="189"/>
                  <a:pt x="1050" y="188"/>
                  <a:pt x="1050" y="188"/>
                </a:cubicBezTo>
                <a:cubicBezTo>
                  <a:pt x="1047" y="192"/>
                  <a:pt x="1047" y="192"/>
                  <a:pt x="1047" y="192"/>
                </a:cubicBezTo>
                <a:cubicBezTo>
                  <a:pt x="1052" y="190"/>
                  <a:pt x="1052" y="190"/>
                  <a:pt x="1052" y="190"/>
                </a:cubicBezTo>
                <a:cubicBezTo>
                  <a:pt x="1052" y="190"/>
                  <a:pt x="1049" y="193"/>
                  <a:pt x="1049" y="194"/>
                </a:cubicBezTo>
                <a:cubicBezTo>
                  <a:pt x="1050" y="195"/>
                  <a:pt x="1054" y="195"/>
                  <a:pt x="1054" y="195"/>
                </a:cubicBezTo>
                <a:cubicBezTo>
                  <a:pt x="1054" y="195"/>
                  <a:pt x="1052" y="196"/>
                  <a:pt x="1052" y="197"/>
                </a:cubicBezTo>
                <a:cubicBezTo>
                  <a:pt x="1053" y="198"/>
                  <a:pt x="1055" y="197"/>
                  <a:pt x="1055" y="197"/>
                </a:cubicBezTo>
                <a:cubicBezTo>
                  <a:pt x="1055" y="197"/>
                  <a:pt x="1052" y="200"/>
                  <a:pt x="1053" y="201"/>
                </a:cubicBezTo>
                <a:cubicBezTo>
                  <a:pt x="1053" y="202"/>
                  <a:pt x="1057" y="201"/>
                  <a:pt x="1057" y="201"/>
                </a:cubicBezTo>
                <a:cubicBezTo>
                  <a:pt x="1056" y="203"/>
                  <a:pt x="1056" y="203"/>
                  <a:pt x="1056" y="203"/>
                </a:cubicBezTo>
                <a:cubicBezTo>
                  <a:pt x="1062" y="202"/>
                  <a:pt x="1062" y="202"/>
                  <a:pt x="1062" y="202"/>
                </a:cubicBezTo>
                <a:cubicBezTo>
                  <a:pt x="1062" y="202"/>
                  <a:pt x="1063" y="204"/>
                  <a:pt x="1065" y="203"/>
                </a:cubicBezTo>
                <a:cubicBezTo>
                  <a:pt x="1067" y="201"/>
                  <a:pt x="1072" y="198"/>
                  <a:pt x="1073" y="198"/>
                </a:cubicBezTo>
                <a:cubicBezTo>
                  <a:pt x="1074" y="199"/>
                  <a:pt x="1071" y="201"/>
                  <a:pt x="1071" y="201"/>
                </a:cubicBezTo>
                <a:cubicBezTo>
                  <a:pt x="1075" y="201"/>
                  <a:pt x="1075" y="201"/>
                  <a:pt x="1075" y="201"/>
                </a:cubicBezTo>
                <a:cubicBezTo>
                  <a:pt x="1077" y="200"/>
                  <a:pt x="1077" y="200"/>
                  <a:pt x="1077" y="200"/>
                </a:cubicBezTo>
                <a:cubicBezTo>
                  <a:pt x="1077" y="200"/>
                  <a:pt x="1073" y="203"/>
                  <a:pt x="1072" y="204"/>
                </a:cubicBezTo>
                <a:cubicBezTo>
                  <a:pt x="1071" y="205"/>
                  <a:pt x="1070" y="206"/>
                  <a:pt x="1072" y="206"/>
                </a:cubicBezTo>
                <a:cubicBezTo>
                  <a:pt x="1073" y="206"/>
                  <a:pt x="1079" y="205"/>
                  <a:pt x="1079" y="205"/>
                </a:cubicBezTo>
                <a:cubicBezTo>
                  <a:pt x="1079" y="205"/>
                  <a:pt x="1073" y="208"/>
                  <a:pt x="1075" y="209"/>
                </a:cubicBezTo>
                <a:cubicBezTo>
                  <a:pt x="1076" y="211"/>
                  <a:pt x="1080" y="209"/>
                  <a:pt x="1080" y="209"/>
                </a:cubicBezTo>
                <a:cubicBezTo>
                  <a:pt x="1080" y="209"/>
                  <a:pt x="1082" y="213"/>
                  <a:pt x="1085" y="212"/>
                </a:cubicBezTo>
                <a:cubicBezTo>
                  <a:pt x="1087" y="210"/>
                  <a:pt x="1089" y="209"/>
                  <a:pt x="1089" y="209"/>
                </a:cubicBezTo>
                <a:cubicBezTo>
                  <a:pt x="1089" y="209"/>
                  <a:pt x="1088" y="208"/>
                  <a:pt x="1087" y="207"/>
                </a:cubicBezTo>
                <a:cubicBezTo>
                  <a:pt x="1086" y="206"/>
                  <a:pt x="1090" y="207"/>
                  <a:pt x="1091" y="206"/>
                </a:cubicBezTo>
                <a:cubicBezTo>
                  <a:pt x="1092" y="205"/>
                  <a:pt x="1091" y="202"/>
                  <a:pt x="1091" y="202"/>
                </a:cubicBezTo>
                <a:cubicBezTo>
                  <a:pt x="1091" y="202"/>
                  <a:pt x="1096" y="204"/>
                  <a:pt x="1096" y="202"/>
                </a:cubicBezTo>
                <a:cubicBezTo>
                  <a:pt x="1096" y="200"/>
                  <a:pt x="1095" y="198"/>
                  <a:pt x="1095" y="198"/>
                </a:cubicBezTo>
                <a:cubicBezTo>
                  <a:pt x="1095" y="198"/>
                  <a:pt x="1096" y="200"/>
                  <a:pt x="1097" y="201"/>
                </a:cubicBezTo>
                <a:cubicBezTo>
                  <a:pt x="1098" y="201"/>
                  <a:pt x="1099" y="199"/>
                  <a:pt x="1099" y="198"/>
                </a:cubicBezTo>
                <a:cubicBezTo>
                  <a:pt x="1098" y="196"/>
                  <a:pt x="1096" y="195"/>
                  <a:pt x="1096" y="195"/>
                </a:cubicBezTo>
                <a:cubicBezTo>
                  <a:pt x="1096" y="195"/>
                  <a:pt x="1101" y="196"/>
                  <a:pt x="1101" y="195"/>
                </a:cubicBezTo>
                <a:cubicBezTo>
                  <a:pt x="1101" y="194"/>
                  <a:pt x="1100" y="193"/>
                  <a:pt x="1100" y="193"/>
                </a:cubicBezTo>
                <a:cubicBezTo>
                  <a:pt x="1104" y="193"/>
                  <a:pt x="1104" y="193"/>
                  <a:pt x="1104" y="193"/>
                </a:cubicBezTo>
                <a:cubicBezTo>
                  <a:pt x="1102" y="190"/>
                  <a:pt x="1102" y="190"/>
                  <a:pt x="1102" y="190"/>
                </a:cubicBezTo>
                <a:cubicBezTo>
                  <a:pt x="1104" y="189"/>
                  <a:pt x="1104" y="189"/>
                  <a:pt x="1104" y="189"/>
                </a:cubicBezTo>
                <a:cubicBezTo>
                  <a:pt x="1104" y="189"/>
                  <a:pt x="1102" y="187"/>
                  <a:pt x="1101" y="187"/>
                </a:cubicBezTo>
                <a:cubicBezTo>
                  <a:pt x="1100" y="187"/>
                  <a:pt x="1103" y="186"/>
                  <a:pt x="1103" y="186"/>
                </a:cubicBezTo>
                <a:cubicBezTo>
                  <a:pt x="1100" y="183"/>
                  <a:pt x="1100" y="183"/>
                  <a:pt x="1100" y="183"/>
                </a:cubicBezTo>
                <a:cubicBezTo>
                  <a:pt x="1100" y="183"/>
                  <a:pt x="1103" y="185"/>
                  <a:pt x="1104" y="185"/>
                </a:cubicBezTo>
                <a:cubicBezTo>
                  <a:pt x="1105" y="184"/>
                  <a:pt x="1107" y="183"/>
                  <a:pt x="1107" y="183"/>
                </a:cubicBezTo>
                <a:cubicBezTo>
                  <a:pt x="1107" y="183"/>
                  <a:pt x="1110" y="183"/>
                  <a:pt x="1111" y="183"/>
                </a:cubicBezTo>
                <a:cubicBezTo>
                  <a:pt x="1111" y="182"/>
                  <a:pt x="1110" y="180"/>
                  <a:pt x="1110" y="180"/>
                </a:cubicBezTo>
                <a:cubicBezTo>
                  <a:pt x="1113" y="180"/>
                  <a:pt x="1113" y="180"/>
                  <a:pt x="1113" y="180"/>
                </a:cubicBezTo>
                <a:cubicBezTo>
                  <a:pt x="1114" y="176"/>
                  <a:pt x="1114" y="176"/>
                  <a:pt x="1114" y="176"/>
                </a:cubicBezTo>
                <a:cubicBezTo>
                  <a:pt x="1114" y="176"/>
                  <a:pt x="1118" y="178"/>
                  <a:pt x="1119" y="176"/>
                </a:cubicBezTo>
                <a:cubicBezTo>
                  <a:pt x="1120" y="175"/>
                  <a:pt x="1119" y="174"/>
                  <a:pt x="1119" y="174"/>
                </a:cubicBezTo>
                <a:cubicBezTo>
                  <a:pt x="1119" y="174"/>
                  <a:pt x="1121" y="176"/>
                  <a:pt x="1122" y="176"/>
                </a:cubicBezTo>
                <a:cubicBezTo>
                  <a:pt x="1123" y="176"/>
                  <a:pt x="1124" y="174"/>
                  <a:pt x="1124" y="173"/>
                </a:cubicBezTo>
                <a:cubicBezTo>
                  <a:pt x="1125" y="172"/>
                  <a:pt x="1124" y="170"/>
                  <a:pt x="1124" y="170"/>
                </a:cubicBezTo>
                <a:cubicBezTo>
                  <a:pt x="1119" y="169"/>
                  <a:pt x="1119" y="169"/>
                  <a:pt x="1119" y="169"/>
                </a:cubicBezTo>
                <a:cubicBezTo>
                  <a:pt x="1123" y="168"/>
                  <a:pt x="1123" y="168"/>
                  <a:pt x="1123" y="168"/>
                </a:cubicBezTo>
                <a:cubicBezTo>
                  <a:pt x="1127" y="166"/>
                  <a:pt x="1127" y="166"/>
                  <a:pt x="1127" y="166"/>
                </a:cubicBezTo>
                <a:cubicBezTo>
                  <a:pt x="1127" y="163"/>
                  <a:pt x="1127" y="163"/>
                  <a:pt x="1127" y="163"/>
                </a:cubicBezTo>
                <a:cubicBezTo>
                  <a:pt x="1124" y="163"/>
                  <a:pt x="1124" y="163"/>
                  <a:pt x="1124" y="163"/>
                </a:cubicBezTo>
                <a:cubicBezTo>
                  <a:pt x="1125" y="160"/>
                  <a:pt x="1125" y="160"/>
                  <a:pt x="1125" y="160"/>
                </a:cubicBezTo>
                <a:cubicBezTo>
                  <a:pt x="1130" y="160"/>
                  <a:pt x="1130" y="160"/>
                  <a:pt x="1130" y="160"/>
                </a:cubicBezTo>
                <a:cubicBezTo>
                  <a:pt x="1130" y="160"/>
                  <a:pt x="1133" y="161"/>
                  <a:pt x="1134" y="160"/>
                </a:cubicBezTo>
                <a:cubicBezTo>
                  <a:pt x="1136" y="158"/>
                  <a:pt x="1135" y="156"/>
                  <a:pt x="1135" y="156"/>
                </a:cubicBezTo>
                <a:cubicBezTo>
                  <a:pt x="1139" y="155"/>
                  <a:pt x="1139" y="155"/>
                  <a:pt x="1139" y="155"/>
                </a:cubicBezTo>
                <a:cubicBezTo>
                  <a:pt x="1139" y="155"/>
                  <a:pt x="1146" y="156"/>
                  <a:pt x="1147" y="155"/>
                </a:cubicBezTo>
                <a:cubicBezTo>
                  <a:pt x="1149" y="153"/>
                  <a:pt x="1150" y="152"/>
                  <a:pt x="1150" y="152"/>
                </a:cubicBezTo>
                <a:cubicBezTo>
                  <a:pt x="1152" y="151"/>
                  <a:pt x="1152" y="151"/>
                  <a:pt x="1152" y="151"/>
                </a:cubicBezTo>
                <a:cubicBezTo>
                  <a:pt x="1152" y="151"/>
                  <a:pt x="1152" y="149"/>
                  <a:pt x="1154" y="148"/>
                </a:cubicBezTo>
                <a:cubicBezTo>
                  <a:pt x="1157" y="148"/>
                  <a:pt x="1150" y="155"/>
                  <a:pt x="1152" y="155"/>
                </a:cubicBezTo>
                <a:cubicBezTo>
                  <a:pt x="1153" y="155"/>
                  <a:pt x="1155" y="154"/>
                  <a:pt x="1155" y="154"/>
                </a:cubicBezTo>
                <a:cubicBezTo>
                  <a:pt x="1156" y="152"/>
                  <a:pt x="1156" y="152"/>
                  <a:pt x="1156" y="152"/>
                </a:cubicBezTo>
                <a:cubicBezTo>
                  <a:pt x="1158" y="152"/>
                  <a:pt x="1158" y="152"/>
                  <a:pt x="1158" y="152"/>
                </a:cubicBezTo>
                <a:cubicBezTo>
                  <a:pt x="1159" y="150"/>
                  <a:pt x="1159" y="150"/>
                  <a:pt x="1159" y="150"/>
                </a:cubicBezTo>
                <a:cubicBezTo>
                  <a:pt x="1159" y="150"/>
                  <a:pt x="1163" y="153"/>
                  <a:pt x="1166" y="152"/>
                </a:cubicBezTo>
                <a:cubicBezTo>
                  <a:pt x="1168" y="150"/>
                  <a:pt x="1172" y="147"/>
                  <a:pt x="1172" y="147"/>
                </a:cubicBezTo>
                <a:cubicBezTo>
                  <a:pt x="1172" y="147"/>
                  <a:pt x="1175" y="148"/>
                  <a:pt x="1181" y="146"/>
                </a:cubicBezTo>
                <a:cubicBezTo>
                  <a:pt x="1186" y="144"/>
                  <a:pt x="1186" y="140"/>
                  <a:pt x="1189" y="138"/>
                </a:cubicBezTo>
                <a:cubicBezTo>
                  <a:pt x="1193" y="135"/>
                  <a:pt x="1202" y="133"/>
                  <a:pt x="1202" y="133"/>
                </a:cubicBezTo>
                <a:cubicBezTo>
                  <a:pt x="1202" y="133"/>
                  <a:pt x="1203" y="131"/>
                  <a:pt x="1202" y="130"/>
                </a:cubicBezTo>
                <a:cubicBezTo>
                  <a:pt x="1202" y="128"/>
                  <a:pt x="1201" y="126"/>
                  <a:pt x="1202" y="125"/>
                </a:cubicBezTo>
                <a:cubicBezTo>
                  <a:pt x="1204" y="125"/>
                  <a:pt x="1206" y="131"/>
                  <a:pt x="1208" y="131"/>
                </a:cubicBezTo>
                <a:cubicBezTo>
                  <a:pt x="1208" y="131"/>
                  <a:pt x="1217" y="131"/>
                  <a:pt x="1219" y="130"/>
                </a:cubicBezTo>
                <a:cubicBezTo>
                  <a:pt x="1222" y="130"/>
                  <a:pt x="1226" y="128"/>
                  <a:pt x="1231" y="127"/>
                </a:cubicBezTo>
                <a:cubicBezTo>
                  <a:pt x="1236" y="126"/>
                  <a:pt x="1244" y="126"/>
                  <a:pt x="1245" y="125"/>
                </a:cubicBezTo>
                <a:cubicBezTo>
                  <a:pt x="1247" y="125"/>
                  <a:pt x="1248" y="123"/>
                  <a:pt x="1248" y="123"/>
                </a:cubicBezTo>
                <a:close/>
                <a:moveTo>
                  <a:pt x="724" y="122"/>
                </a:moveTo>
                <a:cubicBezTo>
                  <a:pt x="728" y="123"/>
                  <a:pt x="730" y="124"/>
                  <a:pt x="733" y="126"/>
                </a:cubicBezTo>
                <a:cubicBezTo>
                  <a:pt x="736" y="128"/>
                  <a:pt x="748" y="126"/>
                  <a:pt x="748" y="126"/>
                </a:cubicBezTo>
                <a:cubicBezTo>
                  <a:pt x="745" y="116"/>
                  <a:pt x="745" y="116"/>
                  <a:pt x="745" y="116"/>
                </a:cubicBezTo>
                <a:cubicBezTo>
                  <a:pt x="731" y="113"/>
                  <a:pt x="731" y="113"/>
                  <a:pt x="731" y="113"/>
                </a:cubicBezTo>
                <a:cubicBezTo>
                  <a:pt x="726" y="119"/>
                  <a:pt x="726" y="119"/>
                  <a:pt x="726" y="119"/>
                </a:cubicBezTo>
                <a:cubicBezTo>
                  <a:pt x="722" y="119"/>
                  <a:pt x="722" y="119"/>
                  <a:pt x="722" y="119"/>
                </a:cubicBezTo>
                <a:cubicBezTo>
                  <a:pt x="722" y="119"/>
                  <a:pt x="720" y="122"/>
                  <a:pt x="724" y="122"/>
                </a:cubicBezTo>
                <a:close/>
                <a:moveTo>
                  <a:pt x="1054" y="119"/>
                </a:moveTo>
                <a:cubicBezTo>
                  <a:pt x="1056" y="119"/>
                  <a:pt x="1056" y="119"/>
                  <a:pt x="1056" y="119"/>
                </a:cubicBezTo>
                <a:cubicBezTo>
                  <a:pt x="1056" y="119"/>
                  <a:pt x="1059" y="118"/>
                  <a:pt x="1061" y="118"/>
                </a:cubicBezTo>
                <a:cubicBezTo>
                  <a:pt x="1062" y="118"/>
                  <a:pt x="1065" y="116"/>
                  <a:pt x="1064" y="114"/>
                </a:cubicBezTo>
                <a:cubicBezTo>
                  <a:pt x="1064" y="113"/>
                  <a:pt x="1059" y="112"/>
                  <a:pt x="1059" y="112"/>
                </a:cubicBezTo>
                <a:cubicBezTo>
                  <a:pt x="1059" y="112"/>
                  <a:pt x="1057" y="110"/>
                  <a:pt x="1055" y="110"/>
                </a:cubicBezTo>
                <a:cubicBezTo>
                  <a:pt x="1053" y="110"/>
                  <a:pt x="1052" y="111"/>
                  <a:pt x="1049" y="110"/>
                </a:cubicBezTo>
                <a:cubicBezTo>
                  <a:pt x="1048" y="113"/>
                  <a:pt x="1048" y="113"/>
                  <a:pt x="1048" y="113"/>
                </a:cubicBezTo>
                <a:cubicBezTo>
                  <a:pt x="1048" y="113"/>
                  <a:pt x="1046" y="114"/>
                  <a:pt x="1046" y="116"/>
                </a:cubicBezTo>
                <a:cubicBezTo>
                  <a:pt x="1046" y="117"/>
                  <a:pt x="1049" y="118"/>
                  <a:pt x="1049" y="118"/>
                </a:cubicBezTo>
                <a:cubicBezTo>
                  <a:pt x="1048" y="120"/>
                  <a:pt x="1048" y="120"/>
                  <a:pt x="1048" y="120"/>
                </a:cubicBezTo>
                <a:cubicBezTo>
                  <a:pt x="1054" y="119"/>
                  <a:pt x="1054" y="119"/>
                  <a:pt x="1054" y="119"/>
                </a:cubicBezTo>
                <a:cubicBezTo>
                  <a:pt x="1054" y="119"/>
                  <a:pt x="1054" y="119"/>
                  <a:pt x="1054" y="119"/>
                </a:cubicBezTo>
                <a:close/>
                <a:moveTo>
                  <a:pt x="802" y="151"/>
                </a:moveTo>
                <a:cubicBezTo>
                  <a:pt x="799" y="152"/>
                  <a:pt x="797" y="155"/>
                  <a:pt x="801" y="155"/>
                </a:cubicBezTo>
                <a:cubicBezTo>
                  <a:pt x="803" y="155"/>
                  <a:pt x="804" y="151"/>
                  <a:pt x="802" y="151"/>
                </a:cubicBezTo>
                <a:close/>
                <a:moveTo>
                  <a:pt x="335" y="230"/>
                </a:moveTo>
                <a:cubicBezTo>
                  <a:pt x="335" y="230"/>
                  <a:pt x="330" y="231"/>
                  <a:pt x="330" y="233"/>
                </a:cubicBezTo>
                <a:cubicBezTo>
                  <a:pt x="330" y="234"/>
                  <a:pt x="332" y="236"/>
                  <a:pt x="332" y="236"/>
                </a:cubicBezTo>
                <a:cubicBezTo>
                  <a:pt x="334" y="237"/>
                  <a:pt x="338" y="235"/>
                  <a:pt x="338" y="233"/>
                </a:cubicBezTo>
                <a:cubicBezTo>
                  <a:pt x="338" y="231"/>
                  <a:pt x="335" y="230"/>
                  <a:pt x="335" y="230"/>
                </a:cubicBezTo>
                <a:close/>
                <a:moveTo>
                  <a:pt x="329" y="307"/>
                </a:moveTo>
                <a:cubicBezTo>
                  <a:pt x="327" y="306"/>
                  <a:pt x="322" y="309"/>
                  <a:pt x="323" y="311"/>
                </a:cubicBezTo>
                <a:cubicBezTo>
                  <a:pt x="324" y="312"/>
                  <a:pt x="326" y="312"/>
                  <a:pt x="326" y="312"/>
                </a:cubicBezTo>
                <a:cubicBezTo>
                  <a:pt x="328" y="311"/>
                  <a:pt x="328" y="311"/>
                  <a:pt x="328" y="311"/>
                </a:cubicBezTo>
                <a:cubicBezTo>
                  <a:pt x="330" y="312"/>
                  <a:pt x="330" y="312"/>
                  <a:pt x="330" y="312"/>
                </a:cubicBezTo>
                <a:cubicBezTo>
                  <a:pt x="328" y="313"/>
                  <a:pt x="328" y="313"/>
                  <a:pt x="328" y="313"/>
                </a:cubicBezTo>
                <a:cubicBezTo>
                  <a:pt x="328" y="313"/>
                  <a:pt x="322" y="314"/>
                  <a:pt x="324" y="316"/>
                </a:cubicBezTo>
                <a:cubicBezTo>
                  <a:pt x="326" y="318"/>
                  <a:pt x="329" y="316"/>
                  <a:pt x="329" y="316"/>
                </a:cubicBezTo>
                <a:cubicBezTo>
                  <a:pt x="328" y="319"/>
                  <a:pt x="328" y="319"/>
                  <a:pt x="328" y="319"/>
                </a:cubicBezTo>
                <a:cubicBezTo>
                  <a:pt x="331" y="319"/>
                  <a:pt x="331" y="319"/>
                  <a:pt x="331" y="319"/>
                </a:cubicBezTo>
                <a:cubicBezTo>
                  <a:pt x="328" y="321"/>
                  <a:pt x="328" y="321"/>
                  <a:pt x="328" y="321"/>
                </a:cubicBezTo>
                <a:cubicBezTo>
                  <a:pt x="333" y="321"/>
                  <a:pt x="333" y="321"/>
                  <a:pt x="333" y="321"/>
                </a:cubicBezTo>
                <a:cubicBezTo>
                  <a:pt x="333" y="321"/>
                  <a:pt x="328" y="323"/>
                  <a:pt x="329" y="324"/>
                </a:cubicBezTo>
                <a:cubicBezTo>
                  <a:pt x="330" y="325"/>
                  <a:pt x="333" y="321"/>
                  <a:pt x="334" y="323"/>
                </a:cubicBezTo>
                <a:cubicBezTo>
                  <a:pt x="335" y="325"/>
                  <a:pt x="331" y="326"/>
                  <a:pt x="332" y="328"/>
                </a:cubicBezTo>
                <a:cubicBezTo>
                  <a:pt x="333" y="329"/>
                  <a:pt x="339" y="328"/>
                  <a:pt x="339" y="328"/>
                </a:cubicBezTo>
                <a:cubicBezTo>
                  <a:pt x="341" y="327"/>
                  <a:pt x="341" y="327"/>
                  <a:pt x="341" y="327"/>
                </a:cubicBezTo>
                <a:cubicBezTo>
                  <a:pt x="339" y="329"/>
                  <a:pt x="339" y="329"/>
                  <a:pt x="339" y="329"/>
                </a:cubicBezTo>
                <a:cubicBezTo>
                  <a:pt x="339" y="329"/>
                  <a:pt x="334" y="329"/>
                  <a:pt x="336" y="331"/>
                </a:cubicBezTo>
                <a:cubicBezTo>
                  <a:pt x="338" y="333"/>
                  <a:pt x="340" y="333"/>
                  <a:pt x="340" y="333"/>
                </a:cubicBezTo>
                <a:cubicBezTo>
                  <a:pt x="340" y="333"/>
                  <a:pt x="345" y="337"/>
                  <a:pt x="348" y="335"/>
                </a:cubicBezTo>
                <a:cubicBezTo>
                  <a:pt x="350" y="333"/>
                  <a:pt x="352" y="331"/>
                  <a:pt x="350" y="329"/>
                </a:cubicBezTo>
                <a:cubicBezTo>
                  <a:pt x="348" y="326"/>
                  <a:pt x="345" y="324"/>
                  <a:pt x="345" y="324"/>
                </a:cubicBezTo>
                <a:cubicBezTo>
                  <a:pt x="345" y="324"/>
                  <a:pt x="344" y="321"/>
                  <a:pt x="344" y="320"/>
                </a:cubicBezTo>
                <a:cubicBezTo>
                  <a:pt x="345" y="318"/>
                  <a:pt x="346" y="316"/>
                  <a:pt x="344" y="314"/>
                </a:cubicBezTo>
                <a:cubicBezTo>
                  <a:pt x="344" y="314"/>
                  <a:pt x="339" y="313"/>
                  <a:pt x="337" y="312"/>
                </a:cubicBezTo>
                <a:cubicBezTo>
                  <a:pt x="335" y="312"/>
                  <a:pt x="332" y="307"/>
                  <a:pt x="329" y="307"/>
                </a:cubicBezTo>
                <a:close/>
                <a:moveTo>
                  <a:pt x="343" y="308"/>
                </a:moveTo>
                <a:cubicBezTo>
                  <a:pt x="341" y="307"/>
                  <a:pt x="341" y="311"/>
                  <a:pt x="341" y="311"/>
                </a:cubicBezTo>
                <a:cubicBezTo>
                  <a:pt x="342" y="311"/>
                  <a:pt x="345" y="309"/>
                  <a:pt x="343" y="308"/>
                </a:cubicBezTo>
                <a:close/>
                <a:moveTo>
                  <a:pt x="340" y="290"/>
                </a:moveTo>
                <a:cubicBezTo>
                  <a:pt x="340" y="286"/>
                  <a:pt x="340" y="286"/>
                  <a:pt x="340" y="286"/>
                </a:cubicBezTo>
                <a:cubicBezTo>
                  <a:pt x="340" y="286"/>
                  <a:pt x="333" y="285"/>
                  <a:pt x="333" y="287"/>
                </a:cubicBezTo>
                <a:cubicBezTo>
                  <a:pt x="333" y="289"/>
                  <a:pt x="336" y="289"/>
                  <a:pt x="336" y="289"/>
                </a:cubicBezTo>
                <a:cubicBezTo>
                  <a:pt x="336" y="292"/>
                  <a:pt x="336" y="292"/>
                  <a:pt x="336" y="292"/>
                </a:cubicBezTo>
                <a:cubicBezTo>
                  <a:pt x="340" y="290"/>
                  <a:pt x="340" y="290"/>
                  <a:pt x="340" y="290"/>
                </a:cubicBezTo>
                <a:cubicBezTo>
                  <a:pt x="340" y="290"/>
                  <a:pt x="340" y="290"/>
                  <a:pt x="340" y="290"/>
                </a:cubicBezTo>
                <a:close/>
                <a:moveTo>
                  <a:pt x="331" y="280"/>
                </a:moveTo>
                <a:cubicBezTo>
                  <a:pt x="331" y="283"/>
                  <a:pt x="334" y="284"/>
                  <a:pt x="334" y="284"/>
                </a:cubicBezTo>
                <a:cubicBezTo>
                  <a:pt x="335" y="280"/>
                  <a:pt x="335" y="280"/>
                  <a:pt x="335" y="280"/>
                </a:cubicBezTo>
                <a:cubicBezTo>
                  <a:pt x="335" y="280"/>
                  <a:pt x="331" y="276"/>
                  <a:pt x="331" y="280"/>
                </a:cubicBezTo>
                <a:close/>
                <a:moveTo>
                  <a:pt x="329" y="256"/>
                </a:moveTo>
                <a:cubicBezTo>
                  <a:pt x="328" y="257"/>
                  <a:pt x="327" y="259"/>
                  <a:pt x="328" y="261"/>
                </a:cubicBezTo>
                <a:cubicBezTo>
                  <a:pt x="329" y="263"/>
                  <a:pt x="329" y="266"/>
                  <a:pt x="329" y="266"/>
                </a:cubicBezTo>
                <a:cubicBezTo>
                  <a:pt x="329" y="266"/>
                  <a:pt x="332" y="265"/>
                  <a:pt x="333" y="263"/>
                </a:cubicBezTo>
                <a:cubicBezTo>
                  <a:pt x="335" y="261"/>
                  <a:pt x="333" y="258"/>
                  <a:pt x="333" y="258"/>
                </a:cubicBezTo>
                <a:cubicBezTo>
                  <a:pt x="333" y="258"/>
                  <a:pt x="335" y="258"/>
                  <a:pt x="337" y="256"/>
                </a:cubicBezTo>
                <a:cubicBezTo>
                  <a:pt x="339" y="254"/>
                  <a:pt x="333" y="250"/>
                  <a:pt x="333" y="250"/>
                </a:cubicBezTo>
                <a:cubicBezTo>
                  <a:pt x="331" y="252"/>
                  <a:pt x="331" y="252"/>
                  <a:pt x="331" y="252"/>
                </a:cubicBezTo>
                <a:cubicBezTo>
                  <a:pt x="331" y="252"/>
                  <a:pt x="332" y="253"/>
                  <a:pt x="333" y="254"/>
                </a:cubicBezTo>
                <a:cubicBezTo>
                  <a:pt x="334" y="254"/>
                  <a:pt x="330" y="256"/>
                  <a:pt x="329" y="256"/>
                </a:cubicBezTo>
                <a:close/>
                <a:moveTo>
                  <a:pt x="342" y="230"/>
                </a:moveTo>
                <a:cubicBezTo>
                  <a:pt x="341" y="232"/>
                  <a:pt x="338" y="235"/>
                  <a:pt x="338" y="235"/>
                </a:cubicBezTo>
                <a:cubicBezTo>
                  <a:pt x="335" y="240"/>
                  <a:pt x="335" y="240"/>
                  <a:pt x="335" y="240"/>
                </a:cubicBezTo>
                <a:cubicBezTo>
                  <a:pt x="335" y="240"/>
                  <a:pt x="340" y="239"/>
                  <a:pt x="342" y="238"/>
                </a:cubicBezTo>
                <a:cubicBezTo>
                  <a:pt x="344" y="236"/>
                  <a:pt x="343" y="234"/>
                  <a:pt x="343" y="234"/>
                </a:cubicBezTo>
                <a:cubicBezTo>
                  <a:pt x="345" y="232"/>
                  <a:pt x="345" y="232"/>
                  <a:pt x="345" y="232"/>
                </a:cubicBezTo>
                <a:cubicBezTo>
                  <a:pt x="345" y="232"/>
                  <a:pt x="344" y="229"/>
                  <a:pt x="342" y="230"/>
                </a:cubicBezTo>
                <a:close/>
                <a:moveTo>
                  <a:pt x="338" y="278"/>
                </a:moveTo>
                <a:cubicBezTo>
                  <a:pt x="336" y="281"/>
                  <a:pt x="336" y="281"/>
                  <a:pt x="336" y="281"/>
                </a:cubicBezTo>
                <a:cubicBezTo>
                  <a:pt x="337" y="284"/>
                  <a:pt x="337" y="284"/>
                  <a:pt x="337" y="284"/>
                </a:cubicBezTo>
                <a:cubicBezTo>
                  <a:pt x="340" y="282"/>
                  <a:pt x="340" y="282"/>
                  <a:pt x="340" y="282"/>
                </a:cubicBezTo>
                <a:cubicBezTo>
                  <a:pt x="338" y="278"/>
                  <a:pt x="338" y="278"/>
                  <a:pt x="338" y="278"/>
                </a:cubicBezTo>
                <a:cubicBezTo>
                  <a:pt x="338" y="278"/>
                  <a:pt x="338" y="278"/>
                  <a:pt x="338" y="278"/>
                </a:cubicBezTo>
                <a:close/>
                <a:moveTo>
                  <a:pt x="896" y="206"/>
                </a:moveTo>
                <a:cubicBezTo>
                  <a:pt x="891" y="206"/>
                  <a:pt x="891" y="206"/>
                  <a:pt x="891" y="206"/>
                </a:cubicBezTo>
                <a:cubicBezTo>
                  <a:pt x="896" y="209"/>
                  <a:pt x="896" y="209"/>
                  <a:pt x="896" y="209"/>
                </a:cubicBezTo>
                <a:cubicBezTo>
                  <a:pt x="900" y="207"/>
                  <a:pt x="896" y="206"/>
                  <a:pt x="896" y="206"/>
                </a:cubicBezTo>
                <a:close/>
                <a:moveTo>
                  <a:pt x="926" y="195"/>
                </a:moveTo>
                <a:cubicBezTo>
                  <a:pt x="926" y="195"/>
                  <a:pt x="922" y="194"/>
                  <a:pt x="921" y="196"/>
                </a:cubicBezTo>
                <a:cubicBezTo>
                  <a:pt x="921" y="196"/>
                  <a:pt x="923" y="199"/>
                  <a:pt x="926" y="197"/>
                </a:cubicBezTo>
                <a:cubicBezTo>
                  <a:pt x="928" y="196"/>
                  <a:pt x="926" y="195"/>
                  <a:pt x="926" y="195"/>
                </a:cubicBezTo>
                <a:close/>
                <a:moveTo>
                  <a:pt x="311" y="293"/>
                </a:moveTo>
                <a:cubicBezTo>
                  <a:pt x="311" y="293"/>
                  <a:pt x="310" y="295"/>
                  <a:pt x="313" y="295"/>
                </a:cubicBezTo>
                <a:cubicBezTo>
                  <a:pt x="316" y="295"/>
                  <a:pt x="313" y="291"/>
                  <a:pt x="313" y="290"/>
                </a:cubicBezTo>
                <a:cubicBezTo>
                  <a:pt x="312" y="288"/>
                  <a:pt x="314" y="287"/>
                  <a:pt x="315" y="287"/>
                </a:cubicBezTo>
                <a:cubicBezTo>
                  <a:pt x="316" y="286"/>
                  <a:pt x="318" y="284"/>
                  <a:pt x="317" y="283"/>
                </a:cubicBezTo>
                <a:cubicBezTo>
                  <a:pt x="317" y="283"/>
                  <a:pt x="317" y="281"/>
                  <a:pt x="318" y="280"/>
                </a:cubicBezTo>
                <a:cubicBezTo>
                  <a:pt x="319" y="279"/>
                  <a:pt x="322" y="276"/>
                  <a:pt x="323" y="275"/>
                </a:cubicBezTo>
                <a:cubicBezTo>
                  <a:pt x="325" y="274"/>
                  <a:pt x="328" y="273"/>
                  <a:pt x="327" y="273"/>
                </a:cubicBezTo>
                <a:cubicBezTo>
                  <a:pt x="326" y="273"/>
                  <a:pt x="323" y="274"/>
                  <a:pt x="322" y="274"/>
                </a:cubicBezTo>
                <a:cubicBezTo>
                  <a:pt x="321" y="275"/>
                  <a:pt x="319" y="278"/>
                  <a:pt x="317" y="278"/>
                </a:cubicBezTo>
                <a:cubicBezTo>
                  <a:pt x="315" y="278"/>
                  <a:pt x="315" y="276"/>
                  <a:pt x="317" y="276"/>
                </a:cubicBezTo>
                <a:cubicBezTo>
                  <a:pt x="319" y="276"/>
                  <a:pt x="323" y="274"/>
                  <a:pt x="320" y="274"/>
                </a:cubicBezTo>
                <a:cubicBezTo>
                  <a:pt x="317" y="274"/>
                  <a:pt x="317" y="275"/>
                  <a:pt x="317" y="275"/>
                </a:cubicBezTo>
                <a:cubicBezTo>
                  <a:pt x="317" y="275"/>
                  <a:pt x="317" y="272"/>
                  <a:pt x="315" y="273"/>
                </a:cubicBezTo>
                <a:cubicBezTo>
                  <a:pt x="313" y="273"/>
                  <a:pt x="312" y="276"/>
                  <a:pt x="312" y="276"/>
                </a:cubicBezTo>
                <a:cubicBezTo>
                  <a:pt x="311" y="280"/>
                  <a:pt x="311" y="280"/>
                  <a:pt x="311" y="280"/>
                </a:cubicBezTo>
                <a:cubicBezTo>
                  <a:pt x="311" y="280"/>
                  <a:pt x="310" y="282"/>
                  <a:pt x="311" y="283"/>
                </a:cubicBezTo>
                <a:cubicBezTo>
                  <a:pt x="311" y="283"/>
                  <a:pt x="312" y="285"/>
                  <a:pt x="312" y="285"/>
                </a:cubicBezTo>
                <a:cubicBezTo>
                  <a:pt x="310" y="285"/>
                  <a:pt x="310" y="285"/>
                  <a:pt x="310" y="285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311" y="293"/>
                  <a:pt x="311" y="293"/>
                  <a:pt x="311" y="293"/>
                </a:cubicBezTo>
                <a:close/>
                <a:moveTo>
                  <a:pt x="833" y="176"/>
                </a:moveTo>
                <a:cubicBezTo>
                  <a:pt x="828" y="179"/>
                  <a:pt x="835" y="180"/>
                  <a:pt x="835" y="180"/>
                </a:cubicBezTo>
                <a:cubicBezTo>
                  <a:pt x="840" y="178"/>
                  <a:pt x="838" y="174"/>
                  <a:pt x="833" y="176"/>
                </a:cubicBezTo>
                <a:close/>
                <a:moveTo>
                  <a:pt x="774" y="253"/>
                </a:moveTo>
                <a:cubicBezTo>
                  <a:pt x="780" y="253"/>
                  <a:pt x="783" y="248"/>
                  <a:pt x="776" y="248"/>
                </a:cubicBezTo>
                <a:cubicBezTo>
                  <a:pt x="769" y="248"/>
                  <a:pt x="774" y="253"/>
                  <a:pt x="774" y="253"/>
                </a:cubicBezTo>
                <a:close/>
                <a:moveTo>
                  <a:pt x="811" y="188"/>
                </a:moveTo>
                <a:cubicBezTo>
                  <a:pt x="802" y="191"/>
                  <a:pt x="811" y="194"/>
                  <a:pt x="811" y="194"/>
                </a:cubicBezTo>
                <a:cubicBezTo>
                  <a:pt x="815" y="190"/>
                  <a:pt x="819" y="185"/>
                  <a:pt x="811" y="188"/>
                </a:cubicBezTo>
                <a:close/>
                <a:moveTo>
                  <a:pt x="824" y="175"/>
                </a:moveTo>
                <a:cubicBezTo>
                  <a:pt x="824" y="175"/>
                  <a:pt x="819" y="175"/>
                  <a:pt x="817" y="173"/>
                </a:cubicBezTo>
                <a:cubicBezTo>
                  <a:pt x="815" y="171"/>
                  <a:pt x="816" y="167"/>
                  <a:pt x="816" y="167"/>
                </a:cubicBezTo>
                <a:cubicBezTo>
                  <a:pt x="812" y="164"/>
                  <a:pt x="812" y="164"/>
                  <a:pt x="812" y="164"/>
                </a:cubicBezTo>
                <a:cubicBezTo>
                  <a:pt x="806" y="164"/>
                  <a:pt x="806" y="164"/>
                  <a:pt x="806" y="164"/>
                </a:cubicBezTo>
                <a:cubicBezTo>
                  <a:pt x="805" y="162"/>
                  <a:pt x="805" y="162"/>
                  <a:pt x="805" y="162"/>
                </a:cubicBezTo>
                <a:cubicBezTo>
                  <a:pt x="802" y="158"/>
                  <a:pt x="802" y="158"/>
                  <a:pt x="802" y="158"/>
                </a:cubicBezTo>
                <a:cubicBezTo>
                  <a:pt x="798" y="159"/>
                  <a:pt x="798" y="159"/>
                  <a:pt x="798" y="159"/>
                </a:cubicBezTo>
                <a:cubicBezTo>
                  <a:pt x="795" y="157"/>
                  <a:pt x="795" y="157"/>
                  <a:pt x="795" y="157"/>
                </a:cubicBezTo>
                <a:cubicBezTo>
                  <a:pt x="797" y="155"/>
                  <a:pt x="797" y="155"/>
                  <a:pt x="797" y="155"/>
                </a:cubicBezTo>
                <a:cubicBezTo>
                  <a:pt x="797" y="151"/>
                  <a:pt x="797" y="151"/>
                  <a:pt x="797" y="151"/>
                </a:cubicBezTo>
                <a:cubicBezTo>
                  <a:pt x="790" y="155"/>
                  <a:pt x="790" y="155"/>
                  <a:pt x="790" y="155"/>
                </a:cubicBezTo>
                <a:cubicBezTo>
                  <a:pt x="786" y="157"/>
                  <a:pt x="786" y="157"/>
                  <a:pt x="786" y="157"/>
                </a:cubicBezTo>
                <a:cubicBezTo>
                  <a:pt x="782" y="163"/>
                  <a:pt x="782" y="163"/>
                  <a:pt x="782" y="163"/>
                </a:cubicBezTo>
                <a:cubicBezTo>
                  <a:pt x="782" y="163"/>
                  <a:pt x="776" y="164"/>
                  <a:pt x="775" y="165"/>
                </a:cubicBezTo>
                <a:cubicBezTo>
                  <a:pt x="775" y="167"/>
                  <a:pt x="777" y="168"/>
                  <a:pt x="775" y="169"/>
                </a:cubicBezTo>
                <a:cubicBezTo>
                  <a:pt x="773" y="170"/>
                  <a:pt x="767" y="172"/>
                  <a:pt x="767" y="172"/>
                </a:cubicBezTo>
                <a:cubicBezTo>
                  <a:pt x="771" y="173"/>
                  <a:pt x="771" y="173"/>
                  <a:pt x="771" y="173"/>
                </a:cubicBezTo>
                <a:cubicBezTo>
                  <a:pt x="771" y="173"/>
                  <a:pt x="777" y="172"/>
                  <a:pt x="777" y="173"/>
                </a:cubicBezTo>
                <a:cubicBezTo>
                  <a:pt x="777" y="174"/>
                  <a:pt x="776" y="175"/>
                  <a:pt x="776" y="177"/>
                </a:cubicBezTo>
                <a:cubicBezTo>
                  <a:pt x="776" y="179"/>
                  <a:pt x="785" y="180"/>
                  <a:pt x="789" y="178"/>
                </a:cubicBezTo>
                <a:cubicBezTo>
                  <a:pt x="793" y="176"/>
                  <a:pt x="790" y="172"/>
                  <a:pt x="796" y="172"/>
                </a:cubicBezTo>
                <a:cubicBezTo>
                  <a:pt x="802" y="172"/>
                  <a:pt x="803" y="174"/>
                  <a:pt x="803" y="174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10" y="177"/>
                  <a:pt x="810" y="177"/>
                  <a:pt x="810" y="177"/>
                </a:cubicBezTo>
                <a:cubicBezTo>
                  <a:pt x="823" y="178"/>
                  <a:pt x="823" y="178"/>
                  <a:pt x="823" y="178"/>
                </a:cubicBezTo>
                <a:cubicBezTo>
                  <a:pt x="824" y="175"/>
                  <a:pt x="824" y="175"/>
                  <a:pt x="824" y="175"/>
                </a:cubicBezTo>
                <a:cubicBezTo>
                  <a:pt x="824" y="175"/>
                  <a:pt x="824" y="175"/>
                  <a:pt x="824" y="175"/>
                </a:cubicBezTo>
                <a:close/>
                <a:moveTo>
                  <a:pt x="788" y="185"/>
                </a:moveTo>
                <a:cubicBezTo>
                  <a:pt x="777" y="196"/>
                  <a:pt x="795" y="188"/>
                  <a:pt x="795" y="188"/>
                </a:cubicBezTo>
                <a:cubicBezTo>
                  <a:pt x="805" y="179"/>
                  <a:pt x="799" y="175"/>
                  <a:pt x="788" y="185"/>
                </a:cubicBezTo>
                <a:close/>
                <a:moveTo>
                  <a:pt x="887" y="183"/>
                </a:moveTo>
                <a:cubicBezTo>
                  <a:pt x="885" y="183"/>
                  <a:pt x="885" y="187"/>
                  <a:pt x="888" y="187"/>
                </a:cubicBezTo>
                <a:cubicBezTo>
                  <a:pt x="893" y="187"/>
                  <a:pt x="890" y="183"/>
                  <a:pt x="887" y="183"/>
                </a:cubicBezTo>
                <a:close/>
                <a:moveTo>
                  <a:pt x="344" y="260"/>
                </a:moveTo>
                <a:cubicBezTo>
                  <a:pt x="346" y="257"/>
                  <a:pt x="342" y="254"/>
                  <a:pt x="340" y="256"/>
                </a:cubicBezTo>
                <a:cubicBezTo>
                  <a:pt x="338" y="258"/>
                  <a:pt x="337" y="264"/>
                  <a:pt x="337" y="264"/>
                </a:cubicBezTo>
                <a:cubicBezTo>
                  <a:pt x="337" y="264"/>
                  <a:pt x="340" y="262"/>
                  <a:pt x="341" y="262"/>
                </a:cubicBezTo>
                <a:cubicBezTo>
                  <a:pt x="342" y="262"/>
                  <a:pt x="343" y="262"/>
                  <a:pt x="344" y="260"/>
                </a:cubicBezTo>
                <a:close/>
                <a:moveTo>
                  <a:pt x="343" y="243"/>
                </a:moveTo>
                <a:cubicBezTo>
                  <a:pt x="339" y="242"/>
                  <a:pt x="339" y="242"/>
                  <a:pt x="339" y="242"/>
                </a:cubicBezTo>
                <a:cubicBezTo>
                  <a:pt x="339" y="242"/>
                  <a:pt x="334" y="246"/>
                  <a:pt x="334" y="248"/>
                </a:cubicBezTo>
                <a:cubicBezTo>
                  <a:pt x="336" y="251"/>
                  <a:pt x="340" y="246"/>
                  <a:pt x="340" y="246"/>
                </a:cubicBezTo>
                <a:cubicBezTo>
                  <a:pt x="343" y="245"/>
                  <a:pt x="343" y="245"/>
                  <a:pt x="343" y="245"/>
                </a:cubicBezTo>
                <a:cubicBezTo>
                  <a:pt x="343" y="243"/>
                  <a:pt x="343" y="243"/>
                  <a:pt x="343" y="243"/>
                </a:cubicBezTo>
                <a:cubicBezTo>
                  <a:pt x="343" y="243"/>
                  <a:pt x="343" y="243"/>
                  <a:pt x="343" y="243"/>
                </a:cubicBezTo>
                <a:close/>
                <a:moveTo>
                  <a:pt x="325" y="266"/>
                </a:moveTo>
                <a:cubicBezTo>
                  <a:pt x="326" y="261"/>
                  <a:pt x="326" y="261"/>
                  <a:pt x="326" y="261"/>
                </a:cubicBezTo>
                <a:cubicBezTo>
                  <a:pt x="324" y="262"/>
                  <a:pt x="324" y="262"/>
                  <a:pt x="324" y="262"/>
                </a:cubicBezTo>
                <a:cubicBezTo>
                  <a:pt x="323" y="266"/>
                  <a:pt x="323" y="266"/>
                  <a:pt x="323" y="266"/>
                </a:cubicBezTo>
                <a:cubicBezTo>
                  <a:pt x="325" y="266"/>
                  <a:pt x="325" y="266"/>
                  <a:pt x="325" y="266"/>
                </a:cubicBezTo>
                <a:cubicBezTo>
                  <a:pt x="325" y="266"/>
                  <a:pt x="325" y="266"/>
                  <a:pt x="325" y="266"/>
                </a:cubicBezTo>
                <a:close/>
                <a:moveTo>
                  <a:pt x="326" y="240"/>
                </a:moveTo>
                <a:cubicBezTo>
                  <a:pt x="326" y="242"/>
                  <a:pt x="324" y="244"/>
                  <a:pt x="324" y="244"/>
                </a:cubicBezTo>
                <a:cubicBezTo>
                  <a:pt x="324" y="246"/>
                  <a:pt x="324" y="246"/>
                  <a:pt x="324" y="246"/>
                </a:cubicBezTo>
                <a:cubicBezTo>
                  <a:pt x="324" y="246"/>
                  <a:pt x="322" y="247"/>
                  <a:pt x="322" y="249"/>
                </a:cubicBezTo>
                <a:cubicBezTo>
                  <a:pt x="322" y="250"/>
                  <a:pt x="323" y="251"/>
                  <a:pt x="323" y="251"/>
                </a:cubicBezTo>
                <a:cubicBezTo>
                  <a:pt x="323" y="251"/>
                  <a:pt x="326" y="247"/>
                  <a:pt x="330" y="244"/>
                </a:cubicBezTo>
                <a:cubicBezTo>
                  <a:pt x="333" y="241"/>
                  <a:pt x="333" y="238"/>
                  <a:pt x="331" y="238"/>
                </a:cubicBezTo>
                <a:cubicBezTo>
                  <a:pt x="330" y="237"/>
                  <a:pt x="326" y="239"/>
                  <a:pt x="326" y="240"/>
                </a:cubicBezTo>
                <a:close/>
                <a:moveTo>
                  <a:pt x="927" y="892"/>
                </a:moveTo>
                <a:cubicBezTo>
                  <a:pt x="928" y="886"/>
                  <a:pt x="928" y="886"/>
                  <a:pt x="928" y="886"/>
                </a:cubicBezTo>
                <a:cubicBezTo>
                  <a:pt x="928" y="886"/>
                  <a:pt x="930" y="883"/>
                  <a:pt x="930" y="880"/>
                </a:cubicBezTo>
                <a:cubicBezTo>
                  <a:pt x="930" y="878"/>
                  <a:pt x="925" y="879"/>
                  <a:pt x="923" y="879"/>
                </a:cubicBezTo>
                <a:cubicBezTo>
                  <a:pt x="923" y="879"/>
                  <a:pt x="920" y="881"/>
                  <a:pt x="918" y="880"/>
                </a:cubicBezTo>
                <a:cubicBezTo>
                  <a:pt x="917" y="880"/>
                  <a:pt x="911" y="879"/>
                  <a:pt x="909" y="879"/>
                </a:cubicBezTo>
                <a:cubicBezTo>
                  <a:pt x="907" y="880"/>
                  <a:pt x="909" y="884"/>
                  <a:pt x="909" y="884"/>
                </a:cubicBezTo>
                <a:cubicBezTo>
                  <a:pt x="907" y="885"/>
                  <a:pt x="907" y="885"/>
                  <a:pt x="907" y="885"/>
                </a:cubicBezTo>
                <a:cubicBezTo>
                  <a:pt x="907" y="888"/>
                  <a:pt x="907" y="888"/>
                  <a:pt x="907" y="888"/>
                </a:cubicBezTo>
                <a:cubicBezTo>
                  <a:pt x="910" y="889"/>
                  <a:pt x="910" y="889"/>
                  <a:pt x="910" y="889"/>
                </a:cubicBezTo>
                <a:cubicBezTo>
                  <a:pt x="908" y="891"/>
                  <a:pt x="908" y="891"/>
                  <a:pt x="908" y="891"/>
                </a:cubicBezTo>
                <a:cubicBezTo>
                  <a:pt x="908" y="891"/>
                  <a:pt x="908" y="894"/>
                  <a:pt x="910" y="897"/>
                </a:cubicBezTo>
                <a:cubicBezTo>
                  <a:pt x="911" y="899"/>
                  <a:pt x="915" y="897"/>
                  <a:pt x="917" y="897"/>
                </a:cubicBezTo>
                <a:cubicBezTo>
                  <a:pt x="918" y="897"/>
                  <a:pt x="918" y="896"/>
                  <a:pt x="918" y="896"/>
                </a:cubicBezTo>
                <a:cubicBezTo>
                  <a:pt x="918" y="896"/>
                  <a:pt x="921" y="895"/>
                  <a:pt x="923" y="895"/>
                </a:cubicBezTo>
                <a:cubicBezTo>
                  <a:pt x="925" y="895"/>
                  <a:pt x="927" y="892"/>
                  <a:pt x="927" y="892"/>
                </a:cubicBezTo>
                <a:close/>
                <a:moveTo>
                  <a:pt x="906" y="877"/>
                </a:moveTo>
                <a:cubicBezTo>
                  <a:pt x="903" y="880"/>
                  <a:pt x="903" y="880"/>
                  <a:pt x="903" y="880"/>
                </a:cubicBezTo>
                <a:cubicBezTo>
                  <a:pt x="905" y="881"/>
                  <a:pt x="905" y="881"/>
                  <a:pt x="905" y="881"/>
                </a:cubicBezTo>
                <a:cubicBezTo>
                  <a:pt x="908" y="878"/>
                  <a:pt x="908" y="878"/>
                  <a:pt x="908" y="878"/>
                </a:cubicBezTo>
                <a:cubicBezTo>
                  <a:pt x="906" y="877"/>
                  <a:pt x="906" y="877"/>
                  <a:pt x="906" y="877"/>
                </a:cubicBezTo>
                <a:cubicBezTo>
                  <a:pt x="906" y="877"/>
                  <a:pt x="906" y="877"/>
                  <a:pt x="906" y="877"/>
                </a:cubicBezTo>
                <a:close/>
                <a:moveTo>
                  <a:pt x="914" y="874"/>
                </a:moveTo>
                <a:cubicBezTo>
                  <a:pt x="911" y="875"/>
                  <a:pt x="911" y="875"/>
                  <a:pt x="911" y="875"/>
                </a:cubicBezTo>
                <a:cubicBezTo>
                  <a:pt x="911" y="877"/>
                  <a:pt x="911" y="877"/>
                  <a:pt x="911" y="877"/>
                </a:cubicBezTo>
                <a:cubicBezTo>
                  <a:pt x="915" y="877"/>
                  <a:pt x="915" y="877"/>
                  <a:pt x="915" y="877"/>
                </a:cubicBezTo>
                <a:cubicBezTo>
                  <a:pt x="918" y="874"/>
                  <a:pt x="918" y="874"/>
                  <a:pt x="918" y="874"/>
                </a:cubicBezTo>
                <a:cubicBezTo>
                  <a:pt x="916" y="871"/>
                  <a:pt x="916" y="871"/>
                  <a:pt x="916" y="871"/>
                </a:cubicBezTo>
                <a:cubicBezTo>
                  <a:pt x="914" y="874"/>
                  <a:pt x="914" y="874"/>
                  <a:pt x="914" y="874"/>
                </a:cubicBezTo>
                <a:cubicBezTo>
                  <a:pt x="914" y="874"/>
                  <a:pt x="914" y="874"/>
                  <a:pt x="914" y="874"/>
                </a:cubicBezTo>
                <a:close/>
                <a:moveTo>
                  <a:pt x="921" y="878"/>
                </a:moveTo>
                <a:cubicBezTo>
                  <a:pt x="918" y="875"/>
                  <a:pt x="918" y="875"/>
                  <a:pt x="918" y="875"/>
                </a:cubicBezTo>
                <a:cubicBezTo>
                  <a:pt x="915" y="879"/>
                  <a:pt x="915" y="879"/>
                  <a:pt x="915" y="879"/>
                </a:cubicBezTo>
                <a:cubicBezTo>
                  <a:pt x="918" y="879"/>
                  <a:pt x="918" y="879"/>
                  <a:pt x="918" y="879"/>
                </a:cubicBezTo>
                <a:cubicBezTo>
                  <a:pt x="921" y="878"/>
                  <a:pt x="921" y="878"/>
                  <a:pt x="921" y="878"/>
                </a:cubicBezTo>
                <a:cubicBezTo>
                  <a:pt x="921" y="878"/>
                  <a:pt x="921" y="878"/>
                  <a:pt x="921" y="878"/>
                </a:cubicBezTo>
                <a:close/>
                <a:moveTo>
                  <a:pt x="787" y="1453"/>
                </a:moveTo>
                <a:cubicBezTo>
                  <a:pt x="788" y="1449"/>
                  <a:pt x="788" y="1449"/>
                  <a:pt x="788" y="1449"/>
                </a:cubicBezTo>
                <a:cubicBezTo>
                  <a:pt x="787" y="1444"/>
                  <a:pt x="787" y="1444"/>
                  <a:pt x="787" y="1444"/>
                </a:cubicBezTo>
                <a:cubicBezTo>
                  <a:pt x="785" y="1443"/>
                  <a:pt x="785" y="1443"/>
                  <a:pt x="785" y="1443"/>
                </a:cubicBezTo>
                <a:cubicBezTo>
                  <a:pt x="785" y="1445"/>
                  <a:pt x="785" y="1445"/>
                  <a:pt x="785" y="1445"/>
                </a:cubicBezTo>
                <a:cubicBezTo>
                  <a:pt x="780" y="1445"/>
                  <a:pt x="780" y="1445"/>
                  <a:pt x="780" y="1445"/>
                </a:cubicBezTo>
                <a:cubicBezTo>
                  <a:pt x="784" y="1449"/>
                  <a:pt x="784" y="1449"/>
                  <a:pt x="784" y="1449"/>
                </a:cubicBezTo>
                <a:cubicBezTo>
                  <a:pt x="783" y="1455"/>
                  <a:pt x="783" y="1455"/>
                  <a:pt x="783" y="1455"/>
                </a:cubicBezTo>
                <a:cubicBezTo>
                  <a:pt x="787" y="1453"/>
                  <a:pt x="787" y="1453"/>
                  <a:pt x="787" y="1453"/>
                </a:cubicBezTo>
                <a:cubicBezTo>
                  <a:pt x="787" y="1453"/>
                  <a:pt x="787" y="1453"/>
                  <a:pt x="787" y="1453"/>
                </a:cubicBezTo>
                <a:close/>
                <a:moveTo>
                  <a:pt x="857" y="1493"/>
                </a:moveTo>
                <a:cubicBezTo>
                  <a:pt x="859" y="1492"/>
                  <a:pt x="859" y="1492"/>
                  <a:pt x="859" y="1492"/>
                </a:cubicBezTo>
                <a:cubicBezTo>
                  <a:pt x="853" y="1491"/>
                  <a:pt x="853" y="1491"/>
                  <a:pt x="853" y="1491"/>
                </a:cubicBezTo>
                <a:cubicBezTo>
                  <a:pt x="848" y="1491"/>
                  <a:pt x="848" y="1491"/>
                  <a:pt x="848" y="1491"/>
                </a:cubicBezTo>
                <a:cubicBezTo>
                  <a:pt x="850" y="1496"/>
                  <a:pt x="850" y="1496"/>
                  <a:pt x="850" y="1496"/>
                </a:cubicBezTo>
                <a:cubicBezTo>
                  <a:pt x="855" y="1496"/>
                  <a:pt x="855" y="1496"/>
                  <a:pt x="855" y="1496"/>
                </a:cubicBezTo>
                <a:cubicBezTo>
                  <a:pt x="853" y="1494"/>
                  <a:pt x="853" y="1494"/>
                  <a:pt x="853" y="1494"/>
                </a:cubicBezTo>
                <a:cubicBezTo>
                  <a:pt x="855" y="1494"/>
                  <a:pt x="855" y="1494"/>
                  <a:pt x="855" y="1494"/>
                </a:cubicBezTo>
                <a:cubicBezTo>
                  <a:pt x="856" y="1496"/>
                  <a:pt x="856" y="1496"/>
                  <a:pt x="856" y="1496"/>
                </a:cubicBezTo>
                <a:cubicBezTo>
                  <a:pt x="863" y="1496"/>
                  <a:pt x="863" y="1496"/>
                  <a:pt x="863" y="1496"/>
                </a:cubicBezTo>
                <a:cubicBezTo>
                  <a:pt x="865" y="1498"/>
                  <a:pt x="865" y="1498"/>
                  <a:pt x="865" y="1498"/>
                </a:cubicBezTo>
                <a:cubicBezTo>
                  <a:pt x="867" y="1498"/>
                  <a:pt x="867" y="1498"/>
                  <a:pt x="867" y="1498"/>
                </a:cubicBezTo>
                <a:cubicBezTo>
                  <a:pt x="863" y="1494"/>
                  <a:pt x="863" y="1494"/>
                  <a:pt x="863" y="1494"/>
                </a:cubicBezTo>
                <a:cubicBezTo>
                  <a:pt x="857" y="1493"/>
                  <a:pt x="857" y="1493"/>
                  <a:pt x="857" y="1493"/>
                </a:cubicBezTo>
                <a:cubicBezTo>
                  <a:pt x="857" y="1493"/>
                  <a:pt x="857" y="1493"/>
                  <a:pt x="857" y="1493"/>
                </a:cubicBezTo>
                <a:close/>
                <a:moveTo>
                  <a:pt x="809" y="1462"/>
                </a:moveTo>
                <a:cubicBezTo>
                  <a:pt x="809" y="1462"/>
                  <a:pt x="804" y="1459"/>
                  <a:pt x="803" y="1462"/>
                </a:cubicBezTo>
                <a:cubicBezTo>
                  <a:pt x="802" y="1464"/>
                  <a:pt x="802" y="1467"/>
                  <a:pt x="802" y="1467"/>
                </a:cubicBezTo>
                <a:cubicBezTo>
                  <a:pt x="803" y="1467"/>
                  <a:pt x="807" y="1466"/>
                  <a:pt x="807" y="1466"/>
                </a:cubicBezTo>
                <a:cubicBezTo>
                  <a:pt x="807" y="1469"/>
                  <a:pt x="807" y="1469"/>
                  <a:pt x="807" y="1469"/>
                </a:cubicBezTo>
                <a:cubicBezTo>
                  <a:pt x="812" y="1467"/>
                  <a:pt x="812" y="1467"/>
                  <a:pt x="812" y="1467"/>
                </a:cubicBezTo>
                <a:cubicBezTo>
                  <a:pt x="809" y="1465"/>
                  <a:pt x="809" y="1465"/>
                  <a:pt x="809" y="1465"/>
                </a:cubicBezTo>
                <a:cubicBezTo>
                  <a:pt x="810" y="1462"/>
                  <a:pt x="810" y="1462"/>
                  <a:pt x="810" y="1462"/>
                </a:cubicBezTo>
                <a:cubicBezTo>
                  <a:pt x="809" y="1462"/>
                  <a:pt x="809" y="1462"/>
                  <a:pt x="809" y="1462"/>
                </a:cubicBezTo>
                <a:cubicBezTo>
                  <a:pt x="809" y="1462"/>
                  <a:pt x="809" y="1462"/>
                  <a:pt x="809" y="1462"/>
                </a:cubicBezTo>
                <a:close/>
                <a:moveTo>
                  <a:pt x="836" y="1478"/>
                </a:moveTo>
                <a:cubicBezTo>
                  <a:pt x="834" y="1480"/>
                  <a:pt x="834" y="1480"/>
                  <a:pt x="834" y="1480"/>
                </a:cubicBezTo>
                <a:cubicBezTo>
                  <a:pt x="835" y="1484"/>
                  <a:pt x="835" y="1484"/>
                  <a:pt x="835" y="1484"/>
                </a:cubicBezTo>
                <a:cubicBezTo>
                  <a:pt x="838" y="1483"/>
                  <a:pt x="838" y="1483"/>
                  <a:pt x="838" y="1483"/>
                </a:cubicBezTo>
                <a:cubicBezTo>
                  <a:pt x="836" y="1478"/>
                  <a:pt x="836" y="1478"/>
                  <a:pt x="836" y="1478"/>
                </a:cubicBezTo>
                <a:cubicBezTo>
                  <a:pt x="836" y="1478"/>
                  <a:pt x="836" y="1478"/>
                  <a:pt x="836" y="1478"/>
                </a:cubicBezTo>
                <a:close/>
                <a:moveTo>
                  <a:pt x="836" y="1487"/>
                </a:moveTo>
                <a:cubicBezTo>
                  <a:pt x="827" y="1486"/>
                  <a:pt x="827" y="1486"/>
                  <a:pt x="827" y="1486"/>
                </a:cubicBezTo>
                <a:cubicBezTo>
                  <a:pt x="828" y="1488"/>
                  <a:pt x="828" y="1488"/>
                  <a:pt x="828" y="1488"/>
                </a:cubicBezTo>
                <a:cubicBezTo>
                  <a:pt x="834" y="1488"/>
                  <a:pt x="834" y="1488"/>
                  <a:pt x="834" y="1488"/>
                </a:cubicBezTo>
                <a:cubicBezTo>
                  <a:pt x="836" y="1491"/>
                  <a:pt x="836" y="1491"/>
                  <a:pt x="836" y="1491"/>
                </a:cubicBezTo>
                <a:cubicBezTo>
                  <a:pt x="844" y="1494"/>
                  <a:pt x="844" y="1494"/>
                  <a:pt x="844" y="1494"/>
                </a:cubicBezTo>
                <a:cubicBezTo>
                  <a:pt x="839" y="1490"/>
                  <a:pt x="839" y="1490"/>
                  <a:pt x="839" y="1490"/>
                </a:cubicBezTo>
                <a:cubicBezTo>
                  <a:pt x="836" y="1487"/>
                  <a:pt x="836" y="1487"/>
                  <a:pt x="836" y="1487"/>
                </a:cubicBezTo>
                <a:cubicBezTo>
                  <a:pt x="836" y="1487"/>
                  <a:pt x="836" y="1487"/>
                  <a:pt x="836" y="1487"/>
                </a:cubicBezTo>
                <a:close/>
                <a:moveTo>
                  <a:pt x="832" y="1484"/>
                </a:moveTo>
                <a:cubicBezTo>
                  <a:pt x="831" y="1481"/>
                  <a:pt x="831" y="1481"/>
                  <a:pt x="831" y="1481"/>
                </a:cubicBezTo>
                <a:cubicBezTo>
                  <a:pt x="824" y="1480"/>
                  <a:pt x="824" y="1480"/>
                  <a:pt x="824" y="1480"/>
                </a:cubicBezTo>
                <a:cubicBezTo>
                  <a:pt x="822" y="1482"/>
                  <a:pt x="822" y="1482"/>
                  <a:pt x="822" y="1482"/>
                </a:cubicBezTo>
                <a:cubicBezTo>
                  <a:pt x="823" y="1485"/>
                  <a:pt x="823" y="1485"/>
                  <a:pt x="823" y="1485"/>
                </a:cubicBezTo>
                <a:cubicBezTo>
                  <a:pt x="827" y="1483"/>
                  <a:pt x="827" y="1483"/>
                  <a:pt x="827" y="1483"/>
                </a:cubicBezTo>
                <a:cubicBezTo>
                  <a:pt x="832" y="1484"/>
                  <a:pt x="832" y="1484"/>
                  <a:pt x="832" y="1484"/>
                </a:cubicBezTo>
                <a:cubicBezTo>
                  <a:pt x="832" y="1484"/>
                  <a:pt x="832" y="1484"/>
                  <a:pt x="832" y="1484"/>
                </a:cubicBezTo>
                <a:close/>
                <a:moveTo>
                  <a:pt x="855" y="1473"/>
                </a:moveTo>
                <a:cubicBezTo>
                  <a:pt x="850" y="1473"/>
                  <a:pt x="850" y="1473"/>
                  <a:pt x="850" y="1473"/>
                </a:cubicBezTo>
                <a:cubicBezTo>
                  <a:pt x="851" y="1471"/>
                  <a:pt x="851" y="1471"/>
                  <a:pt x="851" y="1471"/>
                </a:cubicBezTo>
                <a:cubicBezTo>
                  <a:pt x="845" y="1465"/>
                  <a:pt x="845" y="1465"/>
                  <a:pt x="845" y="1465"/>
                </a:cubicBezTo>
                <a:cubicBezTo>
                  <a:pt x="841" y="1467"/>
                  <a:pt x="841" y="1467"/>
                  <a:pt x="841" y="1467"/>
                </a:cubicBezTo>
                <a:cubicBezTo>
                  <a:pt x="839" y="1465"/>
                  <a:pt x="839" y="1465"/>
                  <a:pt x="839" y="1465"/>
                </a:cubicBezTo>
                <a:cubicBezTo>
                  <a:pt x="837" y="1468"/>
                  <a:pt x="837" y="1468"/>
                  <a:pt x="837" y="1468"/>
                </a:cubicBezTo>
                <a:cubicBezTo>
                  <a:pt x="835" y="1468"/>
                  <a:pt x="835" y="1468"/>
                  <a:pt x="835" y="1468"/>
                </a:cubicBezTo>
                <a:cubicBezTo>
                  <a:pt x="835" y="1471"/>
                  <a:pt x="835" y="1471"/>
                  <a:pt x="835" y="1471"/>
                </a:cubicBezTo>
                <a:cubicBezTo>
                  <a:pt x="833" y="1471"/>
                  <a:pt x="833" y="1471"/>
                  <a:pt x="833" y="1471"/>
                </a:cubicBezTo>
                <a:cubicBezTo>
                  <a:pt x="833" y="1475"/>
                  <a:pt x="833" y="1475"/>
                  <a:pt x="833" y="1475"/>
                </a:cubicBezTo>
                <a:cubicBezTo>
                  <a:pt x="836" y="1477"/>
                  <a:pt x="840" y="1473"/>
                  <a:pt x="840" y="1473"/>
                </a:cubicBezTo>
                <a:cubicBezTo>
                  <a:pt x="844" y="1474"/>
                  <a:pt x="844" y="1474"/>
                  <a:pt x="844" y="1474"/>
                </a:cubicBezTo>
                <a:cubicBezTo>
                  <a:pt x="844" y="1477"/>
                  <a:pt x="844" y="1477"/>
                  <a:pt x="844" y="1477"/>
                </a:cubicBezTo>
                <a:cubicBezTo>
                  <a:pt x="844" y="1477"/>
                  <a:pt x="837" y="1480"/>
                  <a:pt x="839" y="1481"/>
                </a:cubicBezTo>
                <a:cubicBezTo>
                  <a:pt x="841" y="1481"/>
                  <a:pt x="853" y="1485"/>
                  <a:pt x="853" y="1485"/>
                </a:cubicBezTo>
                <a:cubicBezTo>
                  <a:pt x="850" y="1488"/>
                  <a:pt x="850" y="1488"/>
                  <a:pt x="850" y="1488"/>
                </a:cubicBezTo>
                <a:cubicBezTo>
                  <a:pt x="850" y="1488"/>
                  <a:pt x="850" y="1485"/>
                  <a:pt x="848" y="1485"/>
                </a:cubicBezTo>
                <a:cubicBezTo>
                  <a:pt x="846" y="1485"/>
                  <a:pt x="845" y="1487"/>
                  <a:pt x="845" y="1487"/>
                </a:cubicBezTo>
                <a:cubicBezTo>
                  <a:pt x="843" y="1484"/>
                  <a:pt x="843" y="1484"/>
                  <a:pt x="843" y="1484"/>
                </a:cubicBezTo>
                <a:cubicBezTo>
                  <a:pt x="840" y="1485"/>
                  <a:pt x="840" y="1485"/>
                  <a:pt x="840" y="1485"/>
                </a:cubicBezTo>
                <a:cubicBezTo>
                  <a:pt x="842" y="1486"/>
                  <a:pt x="842" y="1486"/>
                  <a:pt x="842" y="1486"/>
                </a:cubicBezTo>
                <a:cubicBezTo>
                  <a:pt x="838" y="1486"/>
                  <a:pt x="838" y="1486"/>
                  <a:pt x="838" y="1486"/>
                </a:cubicBezTo>
                <a:cubicBezTo>
                  <a:pt x="838" y="1486"/>
                  <a:pt x="839" y="1489"/>
                  <a:pt x="842" y="1489"/>
                </a:cubicBezTo>
                <a:cubicBezTo>
                  <a:pt x="846" y="1489"/>
                  <a:pt x="848" y="1489"/>
                  <a:pt x="848" y="1489"/>
                </a:cubicBezTo>
                <a:cubicBezTo>
                  <a:pt x="848" y="1489"/>
                  <a:pt x="852" y="1490"/>
                  <a:pt x="854" y="1490"/>
                </a:cubicBezTo>
                <a:cubicBezTo>
                  <a:pt x="856" y="1490"/>
                  <a:pt x="865" y="1490"/>
                  <a:pt x="868" y="1490"/>
                </a:cubicBezTo>
                <a:cubicBezTo>
                  <a:pt x="871" y="1490"/>
                  <a:pt x="876" y="1492"/>
                  <a:pt x="876" y="1492"/>
                </a:cubicBezTo>
                <a:cubicBezTo>
                  <a:pt x="880" y="1490"/>
                  <a:pt x="880" y="1490"/>
                  <a:pt x="880" y="1490"/>
                </a:cubicBezTo>
                <a:cubicBezTo>
                  <a:pt x="882" y="1491"/>
                  <a:pt x="882" y="1491"/>
                  <a:pt x="882" y="1491"/>
                </a:cubicBezTo>
                <a:cubicBezTo>
                  <a:pt x="885" y="1491"/>
                  <a:pt x="885" y="1491"/>
                  <a:pt x="885" y="1491"/>
                </a:cubicBezTo>
                <a:cubicBezTo>
                  <a:pt x="885" y="1487"/>
                  <a:pt x="885" y="1487"/>
                  <a:pt x="885" y="1487"/>
                </a:cubicBezTo>
                <a:cubicBezTo>
                  <a:pt x="885" y="1487"/>
                  <a:pt x="876" y="1487"/>
                  <a:pt x="866" y="1481"/>
                </a:cubicBezTo>
                <a:cubicBezTo>
                  <a:pt x="855" y="1476"/>
                  <a:pt x="855" y="1473"/>
                  <a:pt x="855" y="1473"/>
                </a:cubicBezTo>
                <a:close/>
                <a:moveTo>
                  <a:pt x="862" y="1492"/>
                </a:moveTo>
                <a:cubicBezTo>
                  <a:pt x="865" y="1494"/>
                  <a:pt x="865" y="1494"/>
                  <a:pt x="865" y="1494"/>
                </a:cubicBezTo>
                <a:cubicBezTo>
                  <a:pt x="873" y="1495"/>
                  <a:pt x="873" y="1495"/>
                  <a:pt x="873" y="1495"/>
                </a:cubicBezTo>
                <a:cubicBezTo>
                  <a:pt x="869" y="1491"/>
                  <a:pt x="869" y="1491"/>
                  <a:pt x="869" y="1491"/>
                </a:cubicBezTo>
                <a:cubicBezTo>
                  <a:pt x="862" y="1492"/>
                  <a:pt x="862" y="1492"/>
                  <a:pt x="862" y="1492"/>
                </a:cubicBezTo>
                <a:cubicBezTo>
                  <a:pt x="862" y="1492"/>
                  <a:pt x="862" y="1492"/>
                  <a:pt x="862" y="1492"/>
                </a:cubicBezTo>
                <a:close/>
                <a:moveTo>
                  <a:pt x="898" y="886"/>
                </a:moveTo>
                <a:cubicBezTo>
                  <a:pt x="898" y="889"/>
                  <a:pt x="898" y="889"/>
                  <a:pt x="898" y="889"/>
                </a:cubicBezTo>
                <a:cubicBezTo>
                  <a:pt x="895" y="894"/>
                  <a:pt x="895" y="894"/>
                  <a:pt x="895" y="894"/>
                </a:cubicBezTo>
                <a:cubicBezTo>
                  <a:pt x="900" y="891"/>
                  <a:pt x="900" y="891"/>
                  <a:pt x="900" y="891"/>
                </a:cubicBezTo>
                <a:cubicBezTo>
                  <a:pt x="900" y="891"/>
                  <a:pt x="904" y="885"/>
                  <a:pt x="903" y="884"/>
                </a:cubicBezTo>
                <a:cubicBezTo>
                  <a:pt x="901" y="883"/>
                  <a:pt x="898" y="886"/>
                  <a:pt x="898" y="886"/>
                </a:cubicBezTo>
                <a:close/>
                <a:moveTo>
                  <a:pt x="758" y="1366"/>
                </a:moveTo>
                <a:cubicBezTo>
                  <a:pt x="758" y="1359"/>
                  <a:pt x="758" y="1359"/>
                  <a:pt x="758" y="1359"/>
                </a:cubicBezTo>
                <a:cubicBezTo>
                  <a:pt x="754" y="1355"/>
                  <a:pt x="754" y="1355"/>
                  <a:pt x="754" y="1355"/>
                </a:cubicBezTo>
                <a:cubicBezTo>
                  <a:pt x="756" y="1353"/>
                  <a:pt x="756" y="1353"/>
                  <a:pt x="756" y="1353"/>
                </a:cubicBezTo>
                <a:cubicBezTo>
                  <a:pt x="753" y="1350"/>
                  <a:pt x="753" y="1350"/>
                  <a:pt x="753" y="1350"/>
                </a:cubicBezTo>
                <a:cubicBezTo>
                  <a:pt x="748" y="1348"/>
                  <a:pt x="748" y="1348"/>
                  <a:pt x="748" y="1348"/>
                </a:cubicBezTo>
                <a:cubicBezTo>
                  <a:pt x="748" y="1348"/>
                  <a:pt x="748" y="1355"/>
                  <a:pt x="750" y="1356"/>
                </a:cubicBezTo>
                <a:cubicBezTo>
                  <a:pt x="751" y="1357"/>
                  <a:pt x="753" y="1361"/>
                  <a:pt x="753" y="1361"/>
                </a:cubicBezTo>
                <a:cubicBezTo>
                  <a:pt x="752" y="1364"/>
                  <a:pt x="752" y="1364"/>
                  <a:pt x="752" y="1364"/>
                </a:cubicBezTo>
                <a:cubicBezTo>
                  <a:pt x="758" y="1366"/>
                  <a:pt x="758" y="1366"/>
                  <a:pt x="758" y="1366"/>
                </a:cubicBezTo>
                <a:cubicBezTo>
                  <a:pt x="758" y="1366"/>
                  <a:pt x="758" y="1366"/>
                  <a:pt x="758" y="1366"/>
                </a:cubicBezTo>
                <a:close/>
                <a:moveTo>
                  <a:pt x="768" y="1381"/>
                </a:moveTo>
                <a:cubicBezTo>
                  <a:pt x="768" y="1381"/>
                  <a:pt x="775" y="1377"/>
                  <a:pt x="770" y="1376"/>
                </a:cubicBezTo>
                <a:cubicBezTo>
                  <a:pt x="766" y="1375"/>
                  <a:pt x="766" y="1381"/>
                  <a:pt x="768" y="1381"/>
                </a:cubicBezTo>
                <a:close/>
                <a:moveTo>
                  <a:pt x="1067" y="957"/>
                </a:moveTo>
                <a:cubicBezTo>
                  <a:pt x="1067" y="954"/>
                  <a:pt x="1063" y="949"/>
                  <a:pt x="1063" y="947"/>
                </a:cubicBezTo>
                <a:cubicBezTo>
                  <a:pt x="1063" y="944"/>
                  <a:pt x="1063" y="942"/>
                  <a:pt x="1063" y="940"/>
                </a:cubicBezTo>
                <a:cubicBezTo>
                  <a:pt x="1063" y="938"/>
                  <a:pt x="1059" y="935"/>
                  <a:pt x="1059" y="935"/>
                </a:cubicBezTo>
                <a:cubicBezTo>
                  <a:pt x="1055" y="934"/>
                  <a:pt x="1055" y="934"/>
                  <a:pt x="1055" y="934"/>
                </a:cubicBezTo>
                <a:cubicBezTo>
                  <a:pt x="1048" y="935"/>
                  <a:pt x="1048" y="935"/>
                  <a:pt x="1048" y="935"/>
                </a:cubicBezTo>
                <a:cubicBezTo>
                  <a:pt x="1045" y="933"/>
                  <a:pt x="1045" y="933"/>
                  <a:pt x="1045" y="933"/>
                </a:cubicBezTo>
                <a:cubicBezTo>
                  <a:pt x="1043" y="933"/>
                  <a:pt x="1043" y="933"/>
                  <a:pt x="1043" y="933"/>
                </a:cubicBezTo>
                <a:cubicBezTo>
                  <a:pt x="1040" y="929"/>
                  <a:pt x="1040" y="929"/>
                  <a:pt x="1040" y="929"/>
                </a:cubicBezTo>
                <a:cubicBezTo>
                  <a:pt x="1037" y="929"/>
                  <a:pt x="1037" y="929"/>
                  <a:pt x="1037" y="929"/>
                </a:cubicBezTo>
                <a:cubicBezTo>
                  <a:pt x="1037" y="929"/>
                  <a:pt x="1033" y="925"/>
                  <a:pt x="1030" y="921"/>
                </a:cubicBezTo>
                <a:cubicBezTo>
                  <a:pt x="1026" y="916"/>
                  <a:pt x="1016" y="910"/>
                  <a:pt x="1012" y="909"/>
                </a:cubicBezTo>
                <a:cubicBezTo>
                  <a:pt x="1009" y="909"/>
                  <a:pt x="1002" y="910"/>
                  <a:pt x="1002" y="910"/>
                </a:cubicBezTo>
                <a:cubicBezTo>
                  <a:pt x="1002" y="912"/>
                  <a:pt x="1002" y="912"/>
                  <a:pt x="1002" y="912"/>
                </a:cubicBezTo>
                <a:cubicBezTo>
                  <a:pt x="1002" y="912"/>
                  <a:pt x="999" y="910"/>
                  <a:pt x="998" y="909"/>
                </a:cubicBezTo>
                <a:cubicBezTo>
                  <a:pt x="996" y="908"/>
                  <a:pt x="991" y="908"/>
                  <a:pt x="991" y="908"/>
                </a:cubicBezTo>
                <a:cubicBezTo>
                  <a:pt x="991" y="908"/>
                  <a:pt x="985" y="905"/>
                  <a:pt x="981" y="904"/>
                </a:cubicBezTo>
                <a:cubicBezTo>
                  <a:pt x="977" y="903"/>
                  <a:pt x="973" y="910"/>
                  <a:pt x="973" y="910"/>
                </a:cubicBezTo>
                <a:cubicBezTo>
                  <a:pt x="970" y="908"/>
                  <a:pt x="970" y="908"/>
                  <a:pt x="970" y="908"/>
                </a:cubicBezTo>
                <a:cubicBezTo>
                  <a:pt x="970" y="912"/>
                  <a:pt x="970" y="912"/>
                  <a:pt x="970" y="912"/>
                </a:cubicBezTo>
                <a:cubicBezTo>
                  <a:pt x="966" y="915"/>
                  <a:pt x="966" y="915"/>
                  <a:pt x="966" y="915"/>
                </a:cubicBezTo>
                <a:cubicBezTo>
                  <a:pt x="968" y="906"/>
                  <a:pt x="968" y="906"/>
                  <a:pt x="968" y="906"/>
                </a:cubicBezTo>
                <a:cubicBezTo>
                  <a:pt x="968" y="906"/>
                  <a:pt x="972" y="904"/>
                  <a:pt x="971" y="902"/>
                </a:cubicBezTo>
                <a:cubicBezTo>
                  <a:pt x="969" y="900"/>
                  <a:pt x="967" y="904"/>
                  <a:pt x="967" y="904"/>
                </a:cubicBezTo>
                <a:cubicBezTo>
                  <a:pt x="968" y="899"/>
                  <a:pt x="968" y="899"/>
                  <a:pt x="968" y="899"/>
                </a:cubicBezTo>
                <a:cubicBezTo>
                  <a:pt x="968" y="899"/>
                  <a:pt x="967" y="899"/>
                  <a:pt x="967" y="898"/>
                </a:cubicBezTo>
                <a:cubicBezTo>
                  <a:pt x="967" y="896"/>
                  <a:pt x="963" y="894"/>
                  <a:pt x="963" y="894"/>
                </a:cubicBezTo>
                <a:cubicBezTo>
                  <a:pt x="961" y="897"/>
                  <a:pt x="961" y="897"/>
                  <a:pt x="961" y="897"/>
                </a:cubicBezTo>
                <a:cubicBezTo>
                  <a:pt x="961" y="897"/>
                  <a:pt x="958" y="893"/>
                  <a:pt x="956" y="891"/>
                </a:cubicBezTo>
                <a:cubicBezTo>
                  <a:pt x="954" y="889"/>
                  <a:pt x="948" y="889"/>
                  <a:pt x="948" y="889"/>
                </a:cubicBezTo>
                <a:cubicBezTo>
                  <a:pt x="947" y="888"/>
                  <a:pt x="942" y="884"/>
                  <a:pt x="942" y="884"/>
                </a:cubicBezTo>
                <a:cubicBezTo>
                  <a:pt x="940" y="886"/>
                  <a:pt x="940" y="886"/>
                  <a:pt x="940" y="886"/>
                </a:cubicBezTo>
                <a:cubicBezTo>
                  <a:pt x="940" y="886"/>
                  <a:pt x="936" y="885"/>
                  <a:pt x="934" y="885"/>
                </a:cubicBezTo>
                <a:cubicBezTo>
                  <a:pt x="932" y="885"/>
                  <a:pt x="930" y="892"/>
                  <a:pt x="930" y="892"/>
                </a:cubicBezTo>
                <a:cubicBezTo>
                  <a:pt x="932" y="895"/>
                  <a:pt x="932" y="895"/>
                  <a:pt x="932" y="895"/>
                </a:cubicBezTo>
                <a:cubicBezTo>
                  <a:pt x="932" y="895"/>
                  <a:pt x="929" y="895"/>
                  <a:pt x="927" y="895"/>
                </a:cubicBezTo>
                <a:cubicBezTo>
                  <a:pt x="925" y="895"/>
                  <a:pt x="923" y="900"/>
                  <a:pt x="923" y="900"/>
                </a:cubicBezTo>
                <a:cubicBezTo>
                  <a:pt x="923" y="900"/>
                  <a:pt x="921" y="907"/>
                  <a:pt x="920" y="906"/>
                </a:cubicBezTo>
                <a:cubicBezTo>
                  <a:pt x="918" y="906"/>
                  <a:pt x="922" y="901"/>
                  <a:pt x="921" y="899"/>
                </a:cubicBezTo>
                <a:cubicBezTo>
                  <a:pt x="921" y="896"/>
                  <a:pt x="916" y="901"/>
                  <a:pt x="916" y="901"/>
                </a:cubicBezTo>
                <a:cubicBezTo>
                  <a:pt x="915" y="899"/>
                  <a:pt x="915" y="899"/>
                  <a:pt x="915" y="899"/>
                </a:cubicBezTo>
                <a:cubicBezTo>
                  <a:pt x="915" y="899"/>
                  <a:pt x="911" y="900"/>
                  <a:pt x="908" y="899"/>
                </a:cubicBezTo>
                <a:cubicBezTo>
                  <a:pt x="906" y="898"/>
                  <a:pt x="906" y="895"/>
                  <a:pt x="906" y="893"/>
                </a:cubicBezTo>
                <a:cubicBezTo>
                  <a:pt x="906" y="890"/>
                  <a:pt x="905" y="888"/>
                  <a:pt x="905" y="888"/>
                </a:cubicBezTo>
                <a:cubicBezTo>
                  <a:pt x="904" y="887"/>
                  <a:pt x="901" y="892"/>
                  <a:pt x="901" y="892"/>
                </a:cubicBezTo>
                <a:cubicBezTo>
                  <a:pt x="901" y="892"/>
                  <a:pt x="896" y="895"/>
                  <a:pt x="894" y="896"/>
                </a:cubicBezTo>
                <a:cubicBezTo>
                  <a:pt x="891" y="896"/>
                  <a:pt x="888" y="895"/>
                  <a:pt x="888" y="895"/>
                </a:cubicBezTo>
                <a:cubicBezTo>
                  <a:pt x="894" y="893"/>
                  <a:pt x="894" y="893"/>
                  <a:pt x="894" y="893"/>
                </a:cubicBezTo>
                <a:cubicBezTo>
                  <a:pt x="894" y="893"/>
                  <a:pt x="896" y="891"/>
                  <a:pt x="896" y="890"/>
                </a:cubicBezTo>
                <a:cubicBezTo>
                  <a:pt x="897" y="889"/>
                  <a:pt x="897" y="886"/>
                  <a:pt x="897" y="886"/>
                </a:cubicBezTo>
                <a:cubicBezTo>
                  <a:pt x="897" y="886"/>
                  <a:pt x="899" y="885"/>
                  <a:pt x="900" y="882"/>
                </a:cubicBezTo>
                <a:cubicBezTo>
                  <a:pt x="900" y="880"/>
                  <a:pt x="905" y="876"/>
                  <a:pt x="908" y="874"/>
                </a:cubicBezTo>
                <a:cubicBezTo>
                  <a:pt x="910" y="873"/>
                  <a:pt x="910" y="871"/>
                  <a:pt x="911" y="869"/>
                </a:cubicBezTo>
                <a:cubicBezTo>
                  <a:pt x="912" y="867"/>
                  <a:pt x="916" y="865"/>
                  <a:pt x="916" y="865"/>
                </a:cubicBezTo>
                <a:cubicBezTo>
                  <a:pt x="913" y="864"/>
                  <a:pt x="913" y="864"/>
                  <a:pt x="913" y="864"/>
                </a:cubicBezTo>
                <a:cubicBezTo>
                  <a:pt x="913" y="864"/>
                  <a:pt x="916" y="863"/>
                  <a:pt x="916" y="859"/>
                </a:cubicBezTo>
                <a:cubicBezTo>
                  <a:pt x="916" y="856"/>
                  <a:pt x="910" y="858"/>
                  <a:pt x="908" y="856"/>
                </a:cubicBezTo>
                <a:cubicBezTo>
                  <a:pt x="906" y="853"/>
                  <a:pt x="906" y="849"/>
                  <a:pt x="905" y="841"/>
                </a:cubicBezTo>
                <a:cubicBezTo>
                  <a:pt x="904" y="833"/>
                  <a:pt x="903" y="829"/>
                  <a:pt x="901" y="829"/>
                </a:cubicBezTo>
                <a:cubicBezTo>
                  <a:pt x="899" y="828"/>
                  <a:pt x="900" y="832"/>
                  <a:pt x="900" y="833"/>
                </a:cubicBezTo>
                <a:cubicBezTo>
                  <a:pt x="900" y="834"/>
                  <a:pt x="898" y="833"/>
                  <a:pt x="898" y="832"/>
                </a:cubicBezTo>
                <a:cubicBezTo>
                  <a:pt x="897" y="831"/>
                  <a:pt x="895" y="824"/>
                  <a:pt x="895" y="824"/>
                </a:cubicBezTo>
                <a:cubicBezTo>
                  <a:pt x="891" y="822"/>
                  <a:pt x="891" y="822"/>
                  <a:pt x="891" y="822"/>
                </a:cubicBezTo>
                <a:cubicBezTo>
                  <a:pt x="887" y="816"/>
                  <a:pt x="887" y="816"/>
                  <a:pt x="887" y="816"/>
                </a:cubicBezTo>
                <a:cubicBezTo>
                  <a:pt x="883" y="816"/>
                  <a:pt x="883" y="816"/>
                  <a:pt x="883" y="816"/>
                </a:cubicBezTo>
                <a:cubicBezTo>
                  <a:pt x="883" y="816"/>
                  <a:pt x="878" y="814"/>
                  <a:pt x="876" y="812"/>
                </a:cubicBezTo>
                <a:cubicBezTo>
                  <a:pt x="876" y="812"/>
                  <a:pt x="876" y="812"/>
                  <a:pt x="876" y="812"/>
                </a:cubicBezTo>
                <a:cubicBezTo>
                  <a:pt x="874" y="810"/>
                  <a:pt x="864" y="810"/>
                  <a:pt x="864" y="810"/>
                </a:cubicBezTo>
                <a:cubicBezTo>
                  <a:pt x="864" y="812"/>
                  <a:pt x="864" y="812"/>
                  <a:pt x="864" y="812"/>
                </a:cubicBezTo>
                <a:cubicBezTo>
                  <a:pt x="857" y="811"/>
                  <a:pt x="857" y="811"/>
                  <a:pt x="857" y="811"/>
                </a:cubicBezTo>
                <a:cubicBezTo>
                  <a:pt x="857" y="813"/>
                  <a:pt x="857" y="813"/>
                  <a:pt x="857" y="813"/>
                </a:cubicBezTo>
                <a:cubicBezTo>
                  <a:pt x="849" y="810"/>
                  <a:pt x="849" y="810"/>
                  <a:pt x="849" y="810"/>
                </a:cubicBezTo>
                <a:cubicBezTo>
                  <a:pt x="845" y="811"/>
                  <a:pt x="845" y="811"/>
                  <a:pt x="845" y="811"/>
                </a:cubicBezTo>
                <a:cubicBezTo>
                  <a:pt x="845" y="811"/>
                  <a:pt x="845" y="809"/>
                  <a:pt x="844" y="807"/>
                </a:cubicBezTo>
                <a:cubicBezTo>
                  <a:pt x="844" y="806"/>
                  <a:pt x="841" y="807"/>
                  <a:pt x="841" y="807"/>
                </a:cubicBezTo>
                <a:cubicBezTo>
                  <a:pt x="840" y="804"/>
                  <a:pt x="840" y="804"/>
                  <a:pt x="840" y="804"/>
                </a:cubicBezTo>
                <a:cubicBezTo>
                  <a:pt x="840" y="804"/>
                  <a:pt x="837" y="801"/>
                  <a:pt x="834" y="801"/>
                </a:cubicBezTo>
                <a:cubicBezTo>
                  <a:pt x="831" y="800"/>
                  <a:pt x="830" y="806"/>
                  <a:pt x="830" y="806"/>
                </a:cubicBezTo>
                <a:cubicBezTo>
                  <a:pt x="830" y="806"/>
                  <a:pt x="832" y="797"/>
                  <a:pt x="832" y="796"/>
                </a:cubicBezTo>
                <a:cubicBezTo>
                  <a:pt x="832" y="794"/>
                  <a:pt x="830" y="789"/>
                  <a:pt x="828" y="787"/>
                </a:cubicBezTo>
                <a:cubicBezTo>
                  <a:pt x="827" y="786"/>
                  <a:pt x="819" y="783"/>
                  <a:pt x="819" y="783"/>
                </a:cubicBezTo>
                <a:cubicBezTo>
                  <a:pt x="819" y="783"/>
                  <a:pt x="818" y="781"/>
                  <a:pt x="817" y="780"/>
                </a:cubicBezTo>
                <a:cubicBezTo>
                  <a:pt x="816" y="778"/>
                  <a:pt x="813" y="782"/>
                  <a:pt x="813" y="782"/>
                </a:cubicBezTo>
                <a:cubicBezTo>
                  <a:pt x="813" y="782"/>
                  <a:pt x="811" y="781"/>
                  <a:pt x="809" y="780"/>
                </a:cubicBezTo>
                <a:cubicBezTo>
                  <a:pt x="808" y="780"/>
                  <a:pt x="805" y="783"/>
                  <a:pt x="805" y="783"/>
                </a:cubicBezTo>
                <a:cubicBezTo>
                  <a:pt x="801" y="780"/>
                  <a:pt x="801" y="780"/>
                  <a:pt x="801" y="780"/>
                </a:cubicBezTo>
                <a:cubicBezTo>
                  <a:pt x="801" y="780"/>
                  <a:pt x="806" y="780"/>
                  <a:pt x="807" y="779"/>
                </a:cubicBezTo>
                <a:cubicBezTo>
                  <a:pt x="808" y="777"/>
                  <a:pt x="808" y="775"/>
                  <a:pt x="808" y="775"/>
                </a:cubicBezTo>
                <a:cubicBezTo>
                  <a:pt x="808" y="775"/>
                  <a:pt x="810" y="775"/>
                  <a:pt x="810" y="772"/>
                </a:cubicBezTo>
                <a:cubicBezTo>
                  <a:pt x="811" y="769"/>
                  <a:pt x="805" y="770"/>
                  <a:pt x="805" y="770"/>
                </a:cubicBezTo>
                <a:cubicBezTo>
                  <a:pt x="805" y="770"/>
                  <a:pt x="804" y="767"/>
                  <a:pt x="802" y="767"/>
                </a:cubicBezTo>
                <a:cubicBezTo>
                  <a:pt x="801" y="766"/>
                  <a:pt x="801" y="770"/>
                  <a:pt x="801" y="770"/>
                </a:cubicBezTo>
                <a:cubicBezTo>
                  <a:pt x="801" y="770"/>
                  <a:pt x="800" y="768"/>
                  <a:pt x="800" y="767"/>
                </a:cubicBezTo>
                <a:cubicBezTo>
                  <a:pt x="800" y="765"/>
                  <a:pt x="797" y="766"/>
                  <a:pt x="797" y="766"/>
                </a:cubicBezTo>
                <a:cubicBezTo>
                  <a:pt x="796" y="770"/>
                  <a:pt x="796" y="770"/>
                  <a:pt x="796" y="770"/>
                </a:cubicBezTo>
                <a:cubicBezTo>
                  <a:pt x="796" y="770"/>
                  <a:pt x="795" y="768"/>
                  <a:pt x="794" y="767"/>
                </a:cubicBezTo>
                <a:cubicBezTo>
                  <a:pt x="794" y="766"/>
                  <a:pt x="794" y="763"/>
                  <a:pt x="794" y="763"/>
                </a:cubicBezTo>
                <a:cubicBezTo>
                  <a:pt x="789" y="764"/>
                  <a:pt x="789" y="764"/>
                  <a:pt x="789" y="764"/>
                </a:cubicBezTo>
                <a:cubicBezTo>
                  <a:pt x="789" y="764"/>
                  <a:pt x="793" y="762"/>
                  <a:pt x="793" y="761"/>
                </a:cubicBezTo>
                <a:cubicBezTo>
                  <a:pt x="793" y="760"/>
                  <a:pt x="790" y="760"/>
                  <a:pt x="790" y="759"/>
                </a:cubicBezTo>
                <a:cubicBezTo>
                  <a:pt x="790" y="758"/>
                  <a:pt x="799" y="758"/>
                  <a:pt x="799" y="757"/>
                </a:cubicBezTo>
                <a:cubicBezTo>
                  <a:pt x="800" y="756"/>
                  <a:pt x="781" y="757"/>
                  <a:pt x="781" y="757"/>
                </a:cubicBezTo>
                <a:cubicBezTo>
                  <a:pt x="782" y="759"/>
                  <a:pt x="782" y="759"/>
                  <a:pt x="782" y="759"/>
                </a:cubicBezTo>
                <a:cubicBezTo>
                  <a:pt x="782" y="759"/>
                  <a:pt x="778" y="760"/>
                  <a:pt x="776" y="761"/>
                </a:cubicBezTo>
                <a:cubicBezTo>
                  <a:pt x="774" y="761"/>
                  <a:pt x="769" y="765"/>
                  <a:pt x="769" y="765"/>
                </a:cubicBezTo>
                <a:cubicBezTo>
                  <a:pt x="764" y="765"/>
                  <a:pt x="757" y="758"/>
                  <a:pt x="757" y="758"/>
                </a:cubicBezTo>
                <a:cubicBezTo>
                  <a:pt x="757" y="758"/>
                  <a:pt x="740" y="759"/>
                  <a:pt x="738" y="759"/>
                </a:cubicBezTo>
                <a:cubicBezTo>
                  <a:pt x="736" y="759"/>
                  <a:pt x="736" y="757"/>
                  <a:pt x="736" y="754"/>
                </a:cubicBezTo>
                <a:cubicBezTo>
                  <a:pt x="736" y="751"/>
                  <a:pt x="734" y="749"/>
                  <a:pt x="729" y="748"/>
                </a:cubicBezTo>
                <a:cubicBezTo>
                  <a:pt x="723" y="747"/>
                  <a:pt x="716" y="752"/>
                  <a:pt x="716" y="752"/>
                </a:cubicBezTo>
                <a:cubicBezTo>
                  <a:pt x="716" y="752"/>
                  <a:pt x="710" y="753"/>
                  <a:pt x="707" y="756"/>
                </a:cubicBezTo>
                <a:cubicBezTo>
                  <a:pt x="703" y="759"/>
                  <a:pt x="708" y="764"/>
                  <a:pt x="709" y="768"/>
                </a:cubicBezTo>
                <a:cubicBezTo>
                  <a:pt x="709" y="772"/>
                  <a:pt x="703" y="776"/>
                  <a:pt x="703" y="776"/>
                </a:cubicBezTo>
                <a:cubicBezTo>
                  <a:pt x="704" y="772"/>
                  <a:pt x="704" y="772"/>
                  <a:pt x="704" y="772"/>
                </a:cubicBezTo>
                <a:cubicBezTo>
                  <a:pt x="704" y="772"/>
                  <a:pt x="700" y="771"/>
                  <a:pt x="699" y="769"/>
                </a:cubicBezTo>
                <a:cubicBezTo>
                  <a:pt x="697" y="767"/>
                  <a:pt x="701" y="763"/>
                  <a:pt x="702" y="761"/>
                </a:cubicBezTo>
                <a:cubicBezTo>
                  <a:pt x="704" y="759"/>
                  <a:pt x="703" y="756"/>
                  <a:pt x="703" y="753"/>
                </a:cubicBezTo>
                <a:cubicBezTo>
                  <a:pt x="703" y="751"/>
                  <a:pt x="701" y="748"/>
                  <a:pt x="701" y="748"/>
                </a:cubicBezTo>
                <a:cubicBezTo>
                  <a:pt x="701" y="748"/>
                  <a:pt x="705" y="746"/>
                  <a:pt x="706" y="745"/>
                </a:cubicBezTo>
                <a:cubicBezTo>
                  <a:pt x="707" y="745"/>
                  <a:pt x="710" y="744"/>
                  <a:pt x="710" y="740"/>
                </a:cubicBezTo>
                <a:cubicBezTo>
                  <a:pt x="710" y="736"/>
                  <a:pt x="702" y="739"/>
                  <a:pt x="700" y="739"/>
                </a:cubicBezTo>
                <a:cubicBezTo>
                  <a:pt x="699" y="739"/>
                  <a:pt x="699" y="744"/>
                  <a:pt x="698" y="745"/>
                </a:cubicBezTo>
                <a:cubicBezTo>
                  <a:pt x="696" y="746"/>
                  <a:pt x="694" y="745"/>
                  <a:pt x="692" y="745"/>
                </a:cubicBezTo>
                <a:cubicBezTo>
                  <a:pt x="691" y="745"/>
                  <a:pt x="688" y="750"/>
                  <a:pt x="688" y="750"/>
                </a:cubicBezTo>
                <a:cubicBezTo>
                  <a:pt x="683" y="751"/>
                  <a:pt x="683" y="751"/>
                  <a:pt x="683" y="751"/>
                </a:cubicBezTo>
                <a:cubicBezTo>
                  <a:pt x="683" y="751"/>
                  <a:pt x="681" y="749"/>
                  <a:pt x="680" y="750"/>
                </a:cubicBezTo>
                <a:cubicBezTo>
                  <a:pt x="678" y="751"/>
                  <a:pt x="678" y="754"/>
                  <a:pt x="678" y="754"/>
                </a:cubicBezTo>
                <a:cubicBezTo>
                  <a:pt x="678" y="754"/>
                  <a:pt x="677" y="757"/>
                  <a:pt x="676" y="757"/>
                </a:cubicBezTo>
                <a:cubicBezTo>
                  <a:pt x="675" y="757"/>
                  <a:pt x="676" y="755"/>
                  <a:pt x="676" y="755"/>
                </a:cubicBezTo>
                <a:cubicBezTo>
                  <a:pt x="676" y="755"/>
                  <a:pt x="675" y="754"/>
                  <a:pt x="674" y="754"/>
                </a:cubicBezTo>
                <a:cubicBezTo>
                  <a:pt x="673" y="754"/>
                  <a:pt x="670" y="755"/>
                  <a:pt x="669" y="755"/>
                </a:cubicBezTo>
                <a:cubicBezTo>
                  <a:pt x="668" y="756"/>
                  <a:pt x="665" y="759"/>
                  <a:pt x="664" y="761"/>
                </a:cubicBezTo>
                <a:cubicBezTo>
                  <a:pt x="664" y="762"/>
                  <a:pt x="665" y="764"/>
                  <a:pt x="665" y="764"/>
                </a:cubicBezTo>
                <a:cubicBezTo>
                  <a:pt x="663" y="768"/>
                  <a:pt x="663" y="768"/>
                  <a:pt x="663" y="768"/>
                </a:cubicBezTo>
                <a:cubicBezTo>
                  <a:pt x="664" y="771"/>
                  <a:pt x="664" y="771"/>
                  <a:pt x="664" y="771"/>
                </a:cubicBezTo>
                <a:cubicBezTo>
                  <a:pt x="664" y="771"/>
                  <a:pt x="661" y="772"/>
                  <a:pt x="660" y="772"/>
                </a:cubicBezTo>
                <a:cubicBezTo>
                  <a:pt x="659" y="773"/>
                  <a:pt x="657" y="776"/>
                  <a:pt x="657" y="777"/>
                </a:cubicBezTo>
                <a:cubicBezTo>
                  <a:pt x="656" y="778"/>
                  <a:pt x="653" y="779"/>
                  <a:pt x="653" y="779"/>
                </a:cubicBezTo>
                <a:cubicBezTo>
                  <a:pt x="650" y="780"/>
                  <a:pt x="650" y="780"/>
                  <a:pt x="650" y="780"/>
                </a:cubicBezTo>
                <a:cubicBezTo>
                  <a:pt x="652" y="784"/>
                  <a:pt x="652" y="784"/>
                  <a:pt x="652" y="784"/>
                </a:cubicBezTo>
                <a:cubicBezTo>
                  <a:pt x="652" y="784"/>
                  <a:pt x="652" y="788"/>
                  <a:pt x="651" y="789"/>
                </a:cubicBezTo>
                <a:cubicBezTo>
                  <a:pt x="649" y="789"/>
                  <a:pt x="650" y="787"/>
                  <a:pt x="650" y="785"/>
                </a:cubicBezTo>
                <a:cubicBezTo>
                  <a:pt x="650" y="783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2" y="778"/>
                  <a:pt x="642" y="778"/>
                  <a:pt x="642" y="778"/>
                </a:cubicBezTo>
                <a:cubicBezTo>
                  <a:pt x="642" y="778"/>
                  <a:pt x="641" y="774"/>
                  <a:pt x="638" y="772"/>
                </a:cubicBezTo>
                <a:cubicBezTo>
                  <a:pt x="635" y="771"/>
                  <a:pt x="630" y="771"/>
                  <a:pt x="630" y="771"/>
                </a:cubicBezTo>
                <a:cubicBezTo>
                  <a:pt x="630" y="770"/>
                  <a:pt x="630" y="770"/>
                  <a:pt x="630" y="770"/>
                </a:cubicBezTo>
                <a:cubicBezTo>
                  <a:pt x="630" y="770"/>
                  <a:pt x="624" y="769"/>
                  <a:pt x="623" y="770"/>
                </a:cubicBezTo>
                <a:cubicBezTo>
                  <a:pt x="622" y="772"/>
                  <a:pt x="619" y="774"/>
                  <a:pt x="619" y="774"/>
                </a:cubicBezTo>
                <a:cubicBezTo>
                  <a:pt x="619" y="774"/>
                  <a:pt x="617" y="772"/>
                  <a:pt x="615" y="774"/>
                </a:cubicBezTo>
                <a:cubicBezTo>
                  <a:pt x="614" y="775"/>
                  <a:pt x="611" y="779"/>
                  <a:pt x="609" y="779"/>
                </a:cubicBezTo>
                <a:cubicBezTo>
                  <a:pt x="607" y="779"/>
                  <a:pt x="605" y="778"/>
                  <a:pt x="605" y="778"/>
                </a:cubicBezTo>
                <a:cubicBezTo>
                  <a:pt x="603" y="775"/>
                  <a:pt x="603" y="775"/>
                  <a:pt x="603" y="775"/>
                </a:cubicBezTo>
                <a:cubicBezTo>
                  <a:pt x="601" y="777"/>
                  <a:pt x="601" y="777"/>
                  <a:pt x="601" y="777"/>
                </a:cubicBezTo>
                <a:cubicBezTo>
                  <a:pt x="601" y="777"/>
                  <a:pt x="598" y="778"/>
                  <a:pt x="597" y="776"/>
                </a:cubicBezTo>
                <a:cubicBezTo>
                  <a:pt x="596" y="774"/>
                  <a:pt x="598" y="772"/>
                  <a:pt x="596" y="771"/>
                </a:cubicBezTo>
                <a:cubicBezTo>
                  <a:pt x="596" y="770"/>
                  <a:pt x="595" y="770"/>
                  <a:pt x="595" y="770"/>
                </a:cubicBezTo>
                <a:cubicBezTo>
                  <a:pt x="593" y="769"/>
                  <a:pt x="591" y="767"/>
                  <a:pt x="590" y="765"/>
                </a:cubicBezTo>
                <a:cubicBezTo>
                  <a:pt x="589" y="763"/>
                  <a:pt x="587" y="760"/>
                  <a:pt x="587" y="760"/>
                </a:cubicBezTo>
                <a:cubicBezTo>
                  <a:pt x="586" y="757"/>
                  <a:pt x="586" y="757"/>
                  <a:pt x="586" y="757"/>
                </a:cubicBezTo>
                <a:cubicBezTo>
                  <a:pt x="586" y="757"/>
                  <a:pt x="586" y="757"/>
                  <a:pt x="586" y="756"/>
                </a:cubicBezTo>
                <a:cubicBezTo>
                  <a:pt x="586" y="756"/>
                  <a:pt x="586" y="756"/>
                  <a:pt x="586" y="756"/>
                </a:cubicBezTo>
                <a:cubicBezTo>
                  <a:pt x="586" y="756"/>
                  <a:pt x="584" y="753"/>
                  <a:pt x="584" y="750"/>
                </a:cubicBezTo>
                <a:cubicBezTo>
                  <a:pt x="584" y="747"/>
                  <a:pt x="586" y="748"/>
                  <a:pt x="586" y="746"/>
                </a:cubicBezTo>
                <a:cubicBezTo>
                  <a:pt x="586" y="744"/>
                  <a:pt x="585" y="742"/>
                  <a:pt x="585" y="742"/>
                </a:cubicBezTo>
                <a:cubicBezTo>
                  <a:pt x="586" y="735"/>
                  <a:pt x="586" y="735"/>
                  <a:pt x="586" y="735"/>
                </a:cubicBezTo>
                <a:cubicBezTo>
                  <a:pt x="588" y="738"/>
                  <a:pt x="588" y="738"/>
                  <a:pt x="588" y="738"/>
                </a:cubicBezTo>
                <a:cubicBezTo>
                  <a:pt x="589" y="726"/>
                  <a:pt x="589" y="726"/>
                  <a:pt x="589" y="726"/>
                </a:cubicBezTo>
                <a:cubicBezTo>
                  <a:pt x="589" y="726"/>
                  <a:pt x="590" y="721"/>
                  <a:pt x="592" y="719"/>
                </a:cubicBezTo>
                <a:cubicBezTo>
                  <a:pt x="594" y="718"/>
                  <a:pt x="594" y="714"/>
                  <a:pt x="594" y="713"/>
                </a:cubicBezTo>
                <a:cubicBezTo>
                  <a:pt x="593" y="712"/>
                  <a:pt x="592" y="711"/>
                  <a:pt x="592" y="710"/>
                </a:cubicBezTo>
                <a:cubicBezTo>
                  <a:pt x="592" y="710"/>
                  <a:pt x="595" y="710"/>
                  <a:pt x="595" y="708"/>
                </a:cubicBezTo>
                <a:cubicBezTo>
                  <a:pt x="594" y="707"/>
                  <a:pt x="593" y="705"/>
                  <a:pt x="593" y="705"/>
                </a:cubicBezTo>
                <a:cubicBezTo>
                  <a:pt x="589" y="704"/>
                  <a:pt x="589" y="704"/>
                  <a:pt x="589" y="704"/>
                </a:cubicBezTo>
                <a:cubicBezTo>
                  <a:pt x="589" y="704"/>
                  <a:pt x="587" y="703"/>
                  <a:pt x="585" y="701"/>
                </a:cubicBezTo>
                <a:cubicBezTo>
                  <a:pt x="583" y="699"/>
                  <a:pt x="581" y="700"/>
                  <a:pt x="581" y="700"/>
                </a:cubicBezTo>
                <a:cubicBezTo>
                  <a:pt x="581" y="700"/>
                  <a:pt x="581" y="697"/>
                  <a:pt x="578" y="697"/>
                </a:cubicBezTo>
                <a:cubicBezTo>
                  <a:pt x="576" y="697"/>
                  <a:pt x="573" y="699"/>
                  <a:pt x="573" y="699"/>
                </a:cubicBezTo>
                <a:cubicBezTo>
                  <a:pt x="573" y="699"/>
                  <a:pt x="571" y="697"/>
                  <a:pt x="569" y="697"/>
                </a:cubicBezTo>
                <a:cubicBezTo>
                  <a:pt x="568" y="697"/>
                  <a:pt x="564" y="701"/>
                  <a:pt x="564" y="701"/>
                </a:cubicBezTo>
                <a:cubicBezTo>
                  <a:pt x="559" y="700"/>
                  <a:pt x="559" y="700"/>
                  <a:pt x="559" y="700"/>
                </a:cubicBezTo>
                <a:cubicBezTo>
                  <a:pt x="559" y="700"/>
                  <a:pt x="557" y="699"/>
                  <a:pt x="556" y="699"/>
                </a:cubicBezTo>
                <a:cubicBezTo>
                  <a:pt x="555" y="699"/>
                  <a:pt x="552" y="700"/>
                  <a:pt x="552" y="700"/>
                </a:cubicBezTo>
                <a:cubicBezTo>
                  <a:pt x="552" y="700"/>
                  <a:pt x="551" y="697"/>
                  <a:pt x="550" y="697"/>
                </a:cubicBezTo>
                <a:cubicBezTo>
                  <a:pt x="550" y="697"/>
                  <a:pt x="546" y="700"/>
                  <a:pt x="546" y="700"/>
                </a:cubicBezTo>
                <a:cubicBezTo>
                  <a:pt x="544" y="698"/>
                  <a:pt x="544" y="698"/>
                  <a:pt x="544" y="698"/>
                </a:cubicBezTo>
                <a:cubicBezTo>
                  <a:pt x="541" y="700"/>
                  <a:pt x="541" y="700"/>
                  <a:pt x="541" y="700"/>
                </a:cubicBezTo>
                <a:cubicBezTo>
                  <a:pt x="540" y="699"/>
                  <a:pt x="540" y="699"/>
                  <a:pt x="540" y="699"/>
                </a:cubicBezTo>
                <a:cubicBezTo>
                  <a:pt x="542" y="693"/>
                  <a:pt x="542" y="693"/>
                  <a:pt x="542" y="693"/>
                </a:cubicBezTo>
                <a:cubicBezTo>
                  <a:pt x="544" y="694"/>
                  <a:pt x="544" y="694"/>
                  <a:pt x="544" y="694"/>
                </a:cubicBezTo>
                <a:cubicBezTo>
                  <a:pt x="544" y="694"/>
                  <a:pt x="547" y="691"/>
                  <a:pt x="547" y="689"/>
                </a:cubicBezTo>
                <a:cubicBezTo>
                  <a:pt x="547" y="686"/>
                  <a:pt x="546" y="684"/>
                  <a:pt x="547" y="682"/>
                </a:cubicBezTo>
                <a:cubicBezTo>
                  <a:pt x="548" y="680"/>
                  <a:pt x="551" y="675"/>
                  <a:pt x="551" y="674"/>
                </a:cubicBezTo>
                <a:cubicBezTo>
                  <a:pt x="551" y="673"/>
                  <a:pt x="547" y="672"/>
                  <a:pt x="547" y="672"/>
                </a:cubicBezTo>
                <a:cubicBezTo>
                  <a:pt x="549" y="669"/>
                  <a:pt x="549" y="669"/>
                  <a:pt x="549" y="669"/>
                </a:cubicBezTo>
                <a:cubicBezTo>
                  <a:pt x="552" y="666"/>
                  <a:pt x="552" y="666"/>
                  <a:pt x="552" y="666"/>
                </a:cubicBezTo>
                <a:cubicBezTo>
                  <a:pt x="552" y="666"/>
                  <a:pt x="551" y="670"/>
                  <a:pt x="552" y="671"/>
                </a:cubicBezTo>
                <a:cubicBezTo>
                  <a:pt x="553" y="671"/>
                  <a:pt x="554" y="671"/>
                  <a:pt x="554" y="671"/>
                </a:cubicBezTo>
                <a:cubicBezTo>
                  <a:pt x="557" y="662"/>
                  <a:pt x="557" y="662"/>
                  <a:pt x="557" y="662"/>
                </a:cubicBezTo>
                <a:cubicBezTo>
                  <a:pt x="556" y="660"/>
                  <a:pt x="556" y="660"/>
                  <a:pt x="556" y="660"/>
                </a:cubicBezTo>
                <a:cubicBezTo>
                  <a:pt x="559" y="659"/>
                  <a:pt x="559" y="659"/>
                  <a:pt x="559" y="659"/>
                </a:cubicBezTo>
                <a:cubicBezTo>
                  <a:pt x="559" y="658"/>
                  <a:pt x="559" y="658"/>
                  <a:pt x="559" y="658"/>
                </a:cubicBezTo>
                <a:cubicBezTo>
                  <a:pt x="557" y="657"/>
                  <a:pt x="557" y="657"/>
                  <a:pt x="557" y="657"/>
                </a:cubicBezTo>
                <a:cubicBezTo>
                  <a:pt x="559" y="654"/>
                  <a:pt x="559" y="654"/>
                  <a:pt x="559" y="654"/>
                </a:cubicBezTo>
                <a:cubicBezTo>
                  <a:pt x="560" y="651"/>
                  <a:pt x="560" y="651"/>
                  <a:pt x="560" y="651"/>
                </a:cubicBezTo>
                <a:cubicBezTo>
                  <a:pt x="560" y="651"/>
                  <a:pt x="566" y="644"/>
                  <a:pt x="567" y="642"/>
                </a:cubicBezTo>
                <a:cubicBezTo>
                  <a:pt x="568" y="641"/>
                  <a:pt x="570" y="636"/>
                  <a:pt x="567" y="635"/>
                </a:cubicBezTo>
                <a:cubicBezTo>
                  <a:pt x="565" y="635"/>
                  <a:pt x="560" y="636"/>
                  <a:pt x="560" y="636"/>
                </a:cubicBezTo>
                <a:cubicBezTo>
                  <a:pt x="560" y="636"/>
                  <a:pt x="555" y="635"/>
                  <a:pt x="554" y="635"/>
                </a:cubicBezTo>
                <a:cubicBezTo>
                  <a:pt x="553" y="635"/>
                  <a:pt x="547" y="636"/>
                  <a:pt x="544" y="637"/>
                </a:cubicBezTo>
                <a:cubicBezTo>
                  <a:pt x="541" y="638"/>
                  <a:pt x="536" y="637"/>
                  <a:pt x="534" y="638"/>
                </a:cubicBezTo>
                <a:cubicBezTo>
                  <a:pt x="533" y="640"/>
                  <a:pt x="531" y="644"/>
                  <a:pt x="531" y="647"/>
                </a:cubicBezTo>
                <a:cubicBezTo>
                  <a:pt x="530" y="651"/>
                  <a:pt x="530" y="654"/>
                  <a:pt x="530" y="654"/>
                </a:cubicBezTo>
                <a:cubicBezTo>
                  <a:pt x="528" y="655"/>
                  <a:pt x="528" y="655"/>
                  <a:pt x="528" y="655"/>
                </a:cubicBezTo>
                <a:cubicBezTo>
                  <a:pt x="528" y="655"/>
                  <a:pt x="528" y="659"/>
                  <a:pt x="527" y="660"/>
                </a:cubicBezTo>
                <a:cubicBezTo>
                  <a:pt x="526" y="661"/>
                  <a:pt x="521" y="663"/>
                  <a:pt x="520" y="664"/>
                </a:cubicBezTo>
                <a:cubicBezTo>
                  <a:pt x="519" y="666"/>
                  <a:pt x="520" y="670"/>
                  <a:pt x="517" y="671"/>
                </a:cubicBezTo>
                <a:cubicBezTo>
                  <a:pt x="514" y="671"/>
                  <a:pt x="516" y="667"/>
                  <a:pt x="513" y="667"/>
                </a:cubicBezTo>
                <a:cubicBezTo>
                  <a:pt x="509" y="667"/>
                  <a:pt x="504" y="669"/>
                  <a:pt x="500" y="669"/>
                </a:cubicBezTo>
                <a:cubicBezTo>
                  <a:pt x="495" y="669"/>
                  <a:pt x="490" y="674"/>
                  <a:pt x="488" y="673"/>
                </a:cubicBezTo>
                <a:cubicBezTo>
                  <a:pt x="486" y="673"/>
                  <a:pt x="486" y="668"/>
                  <a:pt x="484" y="668"/>
                </a:cubicBezTo>
                <a:cubicBezTo>
                  <a:pt x="481" y="667"/>
                  <a:pt x="476" y="667"/>
                  <a:pt x="476" y="667"/>
                </a:cubicBezTo>
                <a:cubicBezTo>
                  <a:pt x="476" y="667"/>
                  <a:pt x="475" y="663"/>
                  <a:pt x="474" y="662"/>
                </a:cubicBezTo>
                <a:cubicBezTo>
                  <a:pt x="473" y="660"/>
                  <a:pt x="471" y="658"/>
                  <a:pt x="471" y="658"/>
                </a:cubicBezTo>
                <a:cubicBezTo>
                  <a:pt x="471" y="654"/>
                  <a:pt x="471" y="654"/>
                  <a:pt x="471" y="654"/>
                </a:cubicBezTo>
                <a:cubicBezTo>
                  <a:pt x="466" y="645"/>
                  <a:pt x="466" y="645"/>
                  <a:pt x="466" y="645"/>
                </a:cubicBezTo>
                <a:cubicBezTo>
                  <a:pt x="466" y="639"/>
                  <a:pt x="466" y="639"/>
                  <a:pt x="466" y="639"/>
                </a:cubicBezTo>
                <a:cubicBezTo>
                  <a:pt x="463" y="635"/>
                  <a:pt x="463" y="635"/>
                  <a:pt x="463" y="635"/>
                </a:cubicBezTo>
                <a:cubicBezTo>
                  <a:pt x="463" y="623"/>
                  <a:pt x="463" y="623"/>
                  <a:pt x="463" y="623"/>
                </a:cubicBezTo>
                <a:cubicBezTo>
                  <a:pt x="463" y="623"/>
                  <a:pt x="466" y="619"/>
                  <a:pt x="466" y="616"/>
                </a:cubicBezTo>
                <a:cubicBezTo>
                  <a:pt x="466" y="614"/>
                  <a:pt x="467" y="608"/>
                  <a:pt x="467" y="608"/>
                </a:cubicBezTo>
                <a:cubicBezTo>
                  <a:pt x="466" y="602"/>
                  <a:pt x="466" y="602"/>
                  <a:pt x="466" y="602"/>
                </a:cubicBezTo>
                <a:cubicBezTo>
                  <a:pt x="469" y="601"/>
                  <a:pt x="469" y="601"/>
                  <a:pt x="469" y="601"/>
                </a:cubicBezTo>
                <a:cubicBezTo>
                  <a:pt x="469" y="601"/>
                  <a:pt x="469" y="593"/>
                  <a:pt x="471" y="592"/>
                </a:cubicBezTo>
                <a:cubicBezTo>
                  <a:pt x="473" y="592"/>
                  <a:pt x="474" y="594"/>
                  <a:pt x="475" y="592"/>
                </a:cubicBezTo>
                <a:cubicBezTo>
                  <a:pt x="475" y="590"/>
                  <a:pt x="477" y="586"/>
                  <a:pt x="477" y="586"/>
                </a:cubicBezTo>
                <a:cubicBezTo>
                  <a:pt x="475" y="576"/>
                  <a:pt x="475" y="576"/>
                  <a:pt x="475" y="576"/>
                </a:cubicBezTo>
                <a:cubicBezTo>
                  <a:pt x="478" y="574"/>
                  <a:pt x="478" y="574"/>
                  <a:pt x="478" y="574"/>
                </a:cubicBezTo>
                <a:cubicBezTo>
                  <a:pt x="475" y="572"/>
                  <a:pt x="475" y="572"/>
                  <a:pt x="475" y="572"/>
                </a:cubicBezTo>
                <a:cubicBezTo>
                  <a:pt x="475" y="569"/>
                  <a:pt x="475" y="569"/>
                  <a:pt x="475" y="569"/>
                </a:cubicBezTo>
                <a:cubicBezTo>
                  <a:pt x="475" y="569"/>
                  <a:pt x="479" y="572"/>
                  <a:pt x="480" y="569"/>
                </a:cubicBezTo>
                <a:cubicBezTo>
                  <a:pt x="480" y="567"/>
                  <a:pt x="480" y="565"/>
                  <a:pt x="480" y="565"/>
                </a:cubicBezTo>
                <a:cubicBezTo>
                  <a:pt x="483" y="564"/>
                  <a:pt x="483" y="564"/>
                  <a:pt x="483" y="564"/>
                </a:cubicBezTo>
                <a:cubicBezTo>
                  <a:pt x="484" y="560"/>
                  <a:pt x="484" y="560"/>
                  <a:pt x="484" y="560"/>
                </a:cubicBezTo>
                <a:cubicBezTo>
                  <a:pt x="486" y="561"/>
                  <a:pt x="486" y="561"/>
                  <a:pt x="486" y="561"/>
                </a:cubicBezTo>
                <a:cubicBezTo>
                  <a:pt x="489" y="560"/>
                  <a:pt x="489" y="560"/>
                  <a:pt x="489" y="560"/>
                </a:cubicBezTo>
                <a:cubicBezTo>
                  <a:pt x="488" y="557"/>
                  <a:pt x="488" y="557"/>
                  <a:pt x="488" y="557"/>
                </a:cubicBezTo>
                <a:cubicBezTo>
                  <a:pt x="490" y="558"/>
                  <a:pt x="490" y="558"/>
                  <a:pt x="490" y="558"/>
                </a:cubicBezTo>
                <a:cubicBezTo>
                  <a:pt x="490" y="558"/>
                  <a:pt x="491" y="554"/>
                  <a:pt x="492" y="554"/>
                </a:cubicBezTo>
                <a:cubicBezTo>
                  <a:pt x="493" y="555"/>
                  <a:pt x="493" y="558"/>
                  <a:pt x="495" y="557"/>
                </a:cubicBezTo>
                <a:cubicBezTo>
                  <a:pt x="496" y="556"/>
                  <a:pt x="502" y="555"/>
                  <a:pt x="503" y="553"/>
                </a:cubicBezTo>
                <a:cubicBezTo>
                  <a:pt x="505" y="551"/>
                  <a:pt x="508" y="547"/>
                  <a:pt x="508" y="547"/>
                </a:cubicBezTo>
                <a:cubicBezTo>
                  <a:pt x="508" y="547"/>
                  <a:pt x="506" y="542"/>
                  <a:pt x="508" y="542"/>
                </a:cubicBezTo>
                <a:cubicBezTo>
                  <a:pt x="510" y="542"/>
                  <a:pt x="513" y="547"/>
                  <a:pt x="515" y="546"/>
                </a:cubicBezTo>
                <a:cubicBezTo>
                  <a:pt x="518" y="544"/>
                  <a:pt x="519" y="538"/>
                  <a:pt x="520" y="540"/>
                </a:cubicBezTo>
                <a:cubicBezTo>
                  <a:pt x="521" y="541"/>
                  <a:pt x="522" y="542"/>
                  <a:pt x="523" y="542"/>
                </a:cubicBezTo>
                <a:cubicBezTo>
                  <a:pt x="524" y="542"/>
                  <a:pt x="526" y="539"/>
                  <a:pt x="526" y="539"/>
                </a:cubicBezTo>
                <a:cubicBezTo>
                  <a:pt x="526" y="539"/>
                  <a:pt x="530" y="546"/>
                  <a:pt x="533" y="545"/>
                </a:cubicBezTo>
                <a:cubicBezTo>
                  <a:pt x="536" y="545"/>
                  <a:pt x="536" y="538"/>
                  <a:pt x="540" y="542"/>
                </a:cubicBezTo>
                <a:cubicBezTo>
                  <a:pt x="543" y="545"/>
                  <a:pt x="541" y="549"/>
                  <a:pt x="544" y="549"/>
                </a:cubicBezTo>
                <a:cubicBezTo>
                  <a:pt x="546" y="549"/>
                  <a:pt x="549" y="550"/>
                  <a:pt x="549" y="550"/>
                </a:cubicBezTo>
                <a:cubicBezTo>
                  <a:pt x="549" y="550"/>
                  <a:pt x="549" y="547"/>
                  <a:pt x="550" y="548"/>
                </a:cubicBezTo>
                <a:cubicBezTo>
                  <a:pt x="552" y="549"/>
                  <a:pt x="553" y="553"/>
                  <a:pt x="554" y="550"/>
                </a:cubicBezTo>
                <a:cubicBezTo>
                  <a:pt x="555" y="548"/>
                  <a:pt x="554" y="545"/>
                  <a:pt x="554" y="545"/>
                </a:cubicBezTo>
                <a:cubicBezTo>
                  <a:pt x="557" y="546"/>
                  <a:pt x="557" y="546"/>
                  <a:pt x="557" y="546"/>
                </a:cubicBezTo>
                <a:cubicBezTo>
                  <a:pt x="558" y="548"/>
                  <a:pt x="558" y="548"/>
                  <a:pt x="558" y="548"/>
                </a:cubicBezTo>
                <a:cubicBezTo>
                  <a:pt x="560" y="549"/>
                  <a:pt x="560" y="549"/>
                  <a:pt x="560" y="549"/>
                </a:cubicBezTo>
                <a:cubicBezTo>
                  <a:pt x="560" y="551"/>
                  <a:pt x="560" y="551"/>
                  <a:pt x="560" y="551"/>
                </a:cubicBezTo>
                <a:cubicBezTo>
                  <a:pt x="560" y="551"/>
                  <a:pt x="565" y="552"/>
                  <a:pt x="564" y="550"/>
                </a:cubicBezTo>
                <a:cubicBezTo>
                  <a:pt x="563" y="547"/>
                  <a:pt x="560" y="546"/>
                  <a:pt x="560" y="546"/>
                </a:cubicBezTo>
                <a:cubicBezTo>
                  <a:pt x="559" y="544"/>
                  <a:pt x="559" y="544"/>
                  <a:pt x="559" y="544"/>
                </a:cubicBezTo>
                <a:cubicBezTo>
                  <a:pt x="559" y="544"/>
                  <a:pt x="563" y="543"/>
                  <a:pt x="563" y="542"/>
                </a:cubicBezTo>
                <a:cubicBezTo>
                  <a:pt x="562" y="540"/>
                  <a:pt x="562" y="540"/>
                  <a:pt x="560" y="540"/>
                </a:cubicBezTo>
                <a:cubicBezTo>
                  <a:pt x="558" y="540"/>
                  <a:pt x="552" y="541"/>
                  <a:pt x="554" y="538"/>
                </a:cubicBezTo>
                <a:cubicBezTo>
                  <a:pt x="556" y="535"/>
                  <a:pt x="558" y="537"/>
                  <a:pt x="560" y="538"/>
                </a:cubicBezTo>
                <a:cubicBezTo>
                  <a:pt x="563" y="538"/>
                  <a:pt x="564" y="538"/>
                  <a:pt x="566" y="536"/>
                </a:cubicBezTo>
                <a:cubicBezTo>
                  <a:pt x="568" y="535"/>
                  <a:pt x="571" y="535"/>
                  <a:pt x="571" y="535"/>
                </a:cubicBezTo>
                <a:cubicBezTo>
                  <a:pt x="571" y="536"/>
                  <a:pt x="571" y="536"/>
                  <a:pt x="571" y="536"/>
                </a:cubicBezTo>
                <a:cubicBezTo>
                  <a:pt x="571" y="536"/>
                  <a:pt x="577" y="536"/>
                  <a:pt x="577" y="534"/>
                </a:cubicBezTo>
                <a:cubicBezTo>
                  <a:pt x="577" y="533"/>
                  <a:pt x="578" y="530"/>
                  <a:pt x="579" y="531"/>
                </a:cubicBezTo>
                <a:cubicBezTo>
                  <a:pt x="580" y="532"/>
                  <a:pt x="580" y="536"/>
                  <a:pt x="580" y="536"/>
                </a:cubicBezTo>
                <a:cubicBezTo>
                  <a:pt x="580" y="536"/>
                  <a:pt x="587" y="534"/>
                  <a:pt x="589" y="534"/>
                </a:cubicBezTo>
                <a:cubicBezTo>
                  <a:pt x="590" y="534"/>
                  <a:pt x="592" y="536"/>
                  <a:pt x="592" y="536"/>
                </a:cubicBezTo>
                <a:cubicBezTo>
                  <a:pt x="592" y="536"/>
                  <a:pt x="591" y="533"/>
                  <a:pt x="593" y="534"/>
                </a:cubicBezTo>
                <a:cubicBezTo>
                  <a:pt x="595" y="535"/>
                  <a:pt x="595" y="538"/>
                  <a:pt x="595" y="538"/>
                </a:cubicBezTo>
                <a:cubicBezTo>
                  <a:pt x="600" y="537"/>
                  <a:pt x="600" y="537"/>
                  <a:pt x="600" y="537"/>
                </a:cubicBezTo>
                <a:cubicBezTo>
                  <a:pt x="599" y="538"/>
                  <a:pt x="599" y="538"/>
                  <a:pt x="599" y="538"/>
                </a:cubicBezTo>
                <a:cubicBezTo>
                  <a:pt x="599" y="538"/>
                  <a:pt x="599" y="545"/>
                  <a:pt x="603" y="544"/>
                </a:cubicBezTo>
                <a:cubicBezTo>
                  <a:pt x="607" y="543"/>
                  <a:pt x="609" y="538"/>
                  <a:pt x="613" y="539"/>
                </a:cubicBezTo>
                <a:cubicBezTo>
                  <a:pt x="617" y="540"/>
                  <a:pt x="617" y="547"/>
                  <a:pt x="619" y="548"/>
                </a:cubicBezTo>
                <a:cubicBezTo>
                  <a:pt x="621" y="549"/>
                  <a:pt x="625" y="549"/>
                  <a:pt x="625" y="549"/>
                </a:cubicBezTo>
                <a:cubicBezTo>
                  <a:pt x="624" y="555"/>
                  <a:pt x="624" y="555"/>
                  <a:pt x="624" y="555"/>
                </a:cubicBezTo>
                <a:cubicBezTo>
                  <a:pt x="624" y="555"/>
                  <a:pt x="620" y="560"/>
                  <a:pt x="620" y="562"/>
                </a:cubicBezTo>
                <a:cubicBezTo>
                  <a:pt x="621" y="564"/>
                  <a:pt x="623" y="564"/>
                  <a:pt x="623" y="564"/>
                </a:cubicBezTo>
                <a:cubicBezTo>
                  <a:pt x="624" y="566"/>
                  <a:pt x="624" y="566"/>
                  <a:pt x="624" y="566"/>
                </a:cubicBezTo>
                <a:cubicBezTo>
                  <a:pt x="620" y="569"/>
                  <a:pt x="620" y="569"/>
                  <a:pt x="620" y="569"/>
                </a:cubicBezTo>
                <a:cubicBezTo>
                  <a:pt x="623" y="576"/>
                  <a:pt x="623" y="576"/>
                  <a:pt x="623" y="576"/>
                </a:cubicBezTo>
                <a:cubicBezTo>
                  <a:pt x="623" y="576"/>
                  <a:pt x="626" y="572"/>
                  <a:pt x="626" y="573"/>
                </a:cubicBezTo>
                <a:cubicBezTo>
                  <a:pt x="626" y="574"/>
                  <a:pt x="624" y="579"/>
                  <a:pt x="624" y="579"/>
                </a:cubicBezTo>
                <a:cubicBezTo>
                  <a:pt x="626" y="579"/>
                  <a:pt x="626" y="579"/>
                  <a:pt x="626" y="579"/>
                </a:cubicBezTo>
                <a:cubicBezTo>
                  <a:pt x="626" y="586"/>
                  <a:pt x="626" y="586"/>
                  <a:pt x="626" y="586"/>
                </a:cubicBezTo>
                <a:cubicBezTo>
                  <a:pt x="626" y="586"/>
                  <a:pt x="630" y="586"/>
                  <a:pt x="630" y="587"/>
                </a:cubicBezTo>
                <a:cubicBezTo>
                  <a:pt x="630" y="588"/>
                  <a:pt x="629" y="591"/>
                  <a:pt x="629" y="591"/>
                </a:cubicBezTo>
                <a:cubicBezTo>
                  <a:pt x="632" y="595"/>
                  <a:pt x="632" y="595"/>
                  <a:pt x="632" y="595"/>
                </a:cubicBezTo>
                <a:cubicBezTo>
                  <a:pt x="632" y="595"/>
                  <a:pt x="637" y="594"/>
                  <a:pt x="638" y="592"/>
                </a:cubicBezTo>
                <a:cubicBezTo>
                  <a:pt x="638" y="591"/>
                  <a:pt x="639" y="588"/>
                  <a:pt x="639" y="588"/>
                </a:cubicBezTo>
                <a:cubicBezTo>
                  <a:pt x="641" y="588"/>
                  <a:pt x="641" y="588"/>
                  <a:pt x="641" y="588"/>
                </a:cubicBezTo>
                <a:cubicBezTo>
                  <a:pt x="641" y="588"/>
                  <a:pt x="641" y="584"/>
                  <a:pt x="643" y="582"/>
                </a:cubicBezTo>
                <a:cubicBezTo>
                  <a:pt x="644" y="579"/>
                  <a:pt x="645" y="576"/>
                  <a:pt x="644" y="574"/>
                </a:cubicBezTo>
                <a:cubicBezTo>
                  <a:pt x="644" y="572"/>
                  <a:pt x="641" y="565"/>
                  <a:pt x="641" y="563"/>
                </a:cubicBezTo>
                <a:cubicBezTo>
                  <a:pt x="641" y="561"/>
                  <a:pt x="643" y="558"/>
                  <a:pt x="643" y="555"/>
                </a:cubicBezTo>
                <a:cubicBezTo>
                  <a:pt x="643" y="551"/>
                  <a:pt x="639" y="546"/>
                  <a:pt x="639" y="543"/>
                </a:cubicBezTo>
                <a:cubicBezTo>
                  <a:pt x="640" y="540"/>
                  <a:pt x="639" y="532"/>
                  <a:pt x="641" y="529"/>
                </a:cubicBezTo>
                <a:cubicBezTo>
                  <a:pt x="644" y="526"/>
                  <a:pt x="645" y="520"/>
                  <a:pt x="645" y="520"/>
                </a:cubicBezTo>
                <a:cubicBezTo>
                  <a:pt x="647" y="519"/>
                  <a:pt x="647" y="519"/>
                  <a:pt x="647" y="519"/>
                </a:cubicBezTo>
                <a:cubicBezTo>
                  <a:pt x="650" y="517"/>
                  <a:pt x="650" y="517"/>
                  <a:pt x="650" y="517"/>
                </a:cubicBezTo>
                <a:cubicBezTo>
                  <a:pt x="651" y="513"/>
                  <a:pt x="651" y="513"/>
                  <a:pt x="651" y="513"/>
                </a:cubicBezTo>
                <a:cubicBezTo>
                  <a:pt x="653" y="514"/>
                  <a:pt x="653" y="514"/>
                  <a:pt x="653" y="514"/>
                </a:cubicBezTo>
                <a:cubicBezTo>
                  <a:pt x="654" y="511"/>
                  <a:pt x="654" y="511"/>
                  <a:pt x="654" y="511"/>
                </a:cubicBezTo>
                <a:cubicBezTo>
                  <a:pt x="654" y="511"/>
                  <a:pt x="660" y="512"/>
                  <a:pt x="661" y="511"/>
                </a:cubicBezTo>
                <a:cubicBezTo>
                  <a:pt x="662" y="510"/>
                  <a:pt x="661" y="508"/>
                  <a:pt x="661" y="508"/>
                </a:cubicBezTo>
                <a:cubicBezTo>
                  <a:pt x="664" y="508"/>
                  <a:pt x="664" y="508"/>
                  <a:pt x="664" y="508"/>
                </a:cubicBezTo>
                <a:cubicBezTo>
                  <a:pt x="665" y="506"/>
                  <a:pt x="665" y="506"/>
                  <a:pt x="665" y="506"/>
                </a:cubicBezTo>
                <a:cubicBezTo>
                  <a:pt x="667" y="506"/>
                  <a:pt x="667" y="506"/>
                  <a:pt x="667" y="506"/>
                </a:cubicBezTo>
                <a:cubicBezTo>
                  <a:pt x="671" y="502"/>
                  <a:pt x="671" y="502"/>
                  <a:pt x="671" y="502"/>
                </a:cubicBezTo>
                <a:cubicBezTo>
                  <a:pt x="671" y="502"/>
                  <a:pt x="672" y="498"/>
                  <a:pt x="676" y="497"/>
                </a:cubicBezTo>
                <a:cubicBezTo>
                  <a:pt x="680" y="496"/>
                  <a:pt x="682" y="498"/>
                  <a:pt x="684" y="496"/>
                </a:cubicBezTo>
                <a:cubicBezTo>
                  <a:pt x="686" y="494"/>
                  <a:pt x="687" y="491"/>
                  <a:pt x="687" y="491"/>
                </a:cubicBezTo>
                <a:cubicBezTo>
                  <a:pt x="689" y="491"/>
                  <a:pt x="689" y="491"/>
                  <a:pt x="689" y="491"/>
                </a:cubicBezTo>
                <a:cubicBezTo>
                  <a:pt x="690" y="488"/>
                  <a:pt x="690" y="488"/>
                  <a:pt x="690" y="488"/>
                </a:cubicBezTo>
                <a:cubicBezTo>
                  <a:pt x="701" y="487"/>
                  <a:pt x="701" y="487"/>
                  <a:pt x="701" y="487"/>
                </a:cubicBezTo>
                <a:cubicBezTo>
                  <a:pt x="702" y="484"/>
                  <a:pt x="702" y="484"/>
                  <a:pt x="702" y="484"/>
                </a:cubicBezTo>
                <a:cubicBezTo>
                  <a:pt x="697" y="484"/>
                  <a:pt x="697" y="484"/>
                  <a:pt x="697" y="484"/>
                </a:cubicBezTo>
                <a:cubicBezTo>
                  <a:pt x="697" y="484"/>
                  <a:pt x="700" y="483"/>
                  <a:pt x="699" y="482"/>
                </a:cubicBezTo>
                <a:cubicBezTo>
                  <a:pt x="699" y="480"/>
                  <a:pt x="697" y="479"/>
                  <a:pt x="697" y="479"/>
                </a:cubicBezTo>
                <a:cubicBezTo>
                  <a:pt x="702" y="478"/>
                  <a:pt x="702" y="478"/>
                  <a:pt x="702" y="478"/>
                </a:cubicBezTo>
                <a:cubicBezTo>
                  <a:pt x="705" y="479"/>
                  <a:pt x="705" y="479"/>
                  <a:pt x="705" y="479"/>
                </a:cubicBezTo>
                <a:cubicBezTo>
                  <a:pt x="710" y="474"/>
                  <a:pt x="710" y="474"/>
                  <a:pt x="710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0"/>
                  <a:pt x="702" y="470"/>
                  <a:pt x="702" y="470"/>
                </a:cubicBezTo>
                <a:cubicBezTo>
                  <a:pt x="704" y="472"/>
                  <a:pt x="704" y="472"/>
                  <a:pt x="704" y="472"/>
                </a:cubicBezTo>
                <a:cubicBezTo>
                  <a:pt x="710" y="470"/>
                  <a:pt x="710" y="470"/>
                  <a:pt x="710" y="470"/>
                </a:cubicBezTo>
                <a:cubicBezTo>
                  <a:pt x="711" y="462"/>
                  <a:pt x="711" y="462"/>
                  <a:pt x="711" y="462"/>
                </a:cubicBezTo>
                <a:cubicBezTo>
                  <a:pt x="707" y="464"/>
                  <a:pt x="707" y="464"/>
                  <a:pt x="707" y="464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3" y="457"/>
                  <a:pt x="703" y="457"/>
                  <a:pt x="703" y="457"/>
                </a:cubicBezTo>
                <a:cubicBezTo>
                  <a:pt x="709" y="461"/>
                  <a:pt x="709" y="461"/>
                  <a:pt x="709" y="461"/>
                </a:cubicBezTo>
                <a:cubicBezTo>
                  <a:pt x="710" y="459"/>
                  <a:pt x="710" y="459"/>
                  <a:pt x="710" y="459"/>
                </a:cubicBezTo>
                <a:cubicBezTo>
                  <a:pt x="707" y="457"/>
                  <a:pt x="707" y="457"/>
                  <a:pt x="707" y="457"/>
                </a:cubicBezTo>
                <a:cubicBezTo>
                  <a:pt x="711" y="457"/>
                  <a:pt x="711" y="457"/>
                  <a:pt x="711" y="457"/>
                </a:cubicBezTo>
                <a:cubicBezTo>
                  <a:pt x="711" y="457"/>
                  <a:pt x="707" y="451"/>
                  <a:pt x="707" y="450"/>
                </a:cubicBezTo>
                <a:cubicBezTo>
                  <a:pt x="707" y="448"/>
                  <a:pt x="708" y="448"/>
                  <a:pt x="708" y="448"/>
                </a:cubicBezTo>
                <a:cubicBezTo>
                  <a:pt x="708" y="448"/>
                  <a:pt x="704" y="445"/>
                  <a:pt x="704" y="445"/>
                </a:cubicBezTo>
                <a:cubicBezTo>
                  <a:pt x="705" y="444"/>
                  <a:pt x="709" y="442"/>
                  <a:pt x="709" y="442"/>
                </a:cubicBezTo>
                <a:cubicBezTo>
                  <a:pt x="708" y="445"/>
                  <a:pt x="708" y="445"/>
                  <a:pt x="708" y="445"/>
                </a:cubicBezTo>
                <a:cubicBezTo>
                  <a:pt x="712" y="449"/>
                  <a:pt x="712" y="449"/>
                  <a:pt x="712" y="449"/>
                </a:cubicBezTo>
                <a:cubicBezTo>
                  <a:pt x="712" y="449"/>
                  <a:pt x="714" y="444"/>
                  <a:pt x="714" y="441"/>
                </a:cubicBezTo>
                <a:cubicBezTo>
                  <a:pt x="714" y="438"/>
                  <a:pt x="722" y="432"/>
                  <a:pt x="722" y="434"/>
                </a:cubicBezTo>
                <a:cubicBezTo>
                  <a:pt x="721" y="435"/>
                  <a:pt x="717" y="442"/>
                  <a:pt x="717" y="442"/>
                </a:cubicBezTo>
                <a:cubicBezTo>
                  <a:pt x="715" y="447"/>
                  <a:pt x="715" y="447"/>
                  <a:pt x="715" y="447"/>
                </a:cubicBezTo>
                <a:cubicBezTo>
                  <a:pt x="718" y="447"/>
                  <a:pt x="718" y="447"/>
                  <a:pt x="718" y="447"/>
                </a:cubicBezTo>
                <a:cubicBezTo>
                  <a:pt x="718" y="447"/>
                  <a:pt x="717" y="452"/>
                  <a:pt x="716" y="452"/>
                </a:cubicBezTo>
                <a:cubicBezTo>
                  <a:pt x="715" y="453"/>
                  <a:pt x="712" y="460"/>
                  <a:pt x="713" y="460"/>
                </a:cubicBezTo>
                <a:cubicBezTo>
                  <a:pt x="714" y="460"/>
                  <a:pt x="717" y="455"/>
                  <a:pt x="718" y="454"/>
                </a:cubicBezTo>
                <a:cubicBezTo>
                  <a:pt x="719" y="453"/>
                  <a:pt x="725" y="450"/>
                  <a:pt x="726" y="447"/>
                </a:cubicBezTo>
                <a:cubicBezTo>
                  <a:pt x="726" y="445"/>
                  <a:pt x="725" y="440"/>
                  <a:pt x="725" y="438"/>
                </a:cubicBezTo>
                <a:cubicBezTo>
                  <a:pt x="725" y="436"/>
                  <a:pt x="726" y="430"/>
                  <a:pt x="728" y="429"/>
                </a:cubicBezTo>
                <a:cubicBezTo>
                  <a:pt x="729" y="429"/>
                  <a:pt x="728" y="430"/>
                  <a:pt x="727" y="433"/>
                </a:cubicBezTo>
                <a:cubicBezTo>
                  <a:pt x="727" y="435"/>
                  <a:pt x="729" y="436"/>
                  <a:pt x="729" y="436"/>
                </a:cubicBezTo>
                <a:cubicBezTo>
                  <a:pt x="729" y="436"/>
                  <a:pt x="728" y="441"/>
                  <a:pt x="729" y="441"/>
                </a:cubicBezTo>
                <a:cubicBezTo>
                  <a:pt x="729" y="441"/>
                  <a:pt x="736" y="433"/>
                  <a:pt x="738" y="431"/>
                </a:cubicBezTo>
                <a:cubicBezTo>
                  <a:pt x="740" y="429"/>
                  <a:pt x="745" y="426"/>
                  <a:pt x="744" y="425"/>
                </a:cubicBezTo>
                <a:cubicBezTo>
                  <a:pt x="743" y="424"/>
                  <a:pt x="741" y="425"/>
                  <a:pt x="741" y="423"/>
                </a:cubicBezTo>
                <a:cubicBezTo>
                  <a:pt x="741" y="420"/>
                  <a:pt x="745" y="422"/>
                  <a:pt x="749" y="422"/>
                </a:cubicBezTo>
                <a:cubicBezTo>
                  <a:pt x="754" y="422"/>
                  <a:pt x="763" y="417"/>
                  <a:pt x="763" y="417"/>
                </a:cubicBezTo>
                <a:cubicBezTo>
                  <a:pt x="760" y="416"/>
                  <a:pt x="760" y="416"/>
                  <a:pt x="760" y="416"/>
                </a:cubicBezTo>
                <a:cubicBezTo>
                  <a:pt x="760" y="416"/>
                  <a:pt x="755" y="418"/>
                  <a:pt x="753" y="418"/>
                </a:cubicBezTo>
                <a:cubicBezTo>
                  <a:pt x="750" y="418"/>
                  <a:pt x="746" y="420"/>
                  <a:pt x="747" y="417"/>
                </a:cubicBezTo>
                <a:cubicBezTo>
                  <a:pt x="748" y="415"/>
                  <a:pt x="755" y="414"/>
                  <a:pt x="755" y="414"/>
                </a:cubicBezTo>
                <a:cubicBezTo>
                  <a:pt x="767" y="414"/>
                  <a:pt x="767" y="414"/>
                  <a:pt x="767" y="414"/>
                </a:cubicBezTo>
                <a:cubicBezTo>
                  <a:pt x="773" y="408"/>
                  <a:pt x="773" y="408"/>
                  <a:pt x="773" y="408"/>
                </a:cubicBezTo>
                <a:cubicBezTo>
                  <a:pt x="775" y="410"/>
                  <a:pt x="775" y="410"/>
                  <a:pt x="775" y="410"/>
                </a:cubicBezTo>
                <a:cubicBezTo>
                  <a:pt x="778" y="408"/>
                  <a:pt x="778" y="408"/>
                  <a:pt x="778" y="408"/>
                </a:cubicBezTo>
                <a:cubicBezTo>
                  <a:pt x="778" y="413"/>
                  <a:pt x="778" y="413"/>
                  <a:pt x="778" y="413"/>
                </a:cubicBezTo>
                <a:cubicBezTo>
                  <a:pt x="782" y="410"/>
                  <a:pt x="782" y="410"/>
                  <a:pt x="782" y="410"/>
                </a:cubicBezTo>
                <a:cubicBezTo>
                  <a:pt x="786" y="410"/>
                  <a:pt x="786" y="410"/>
                  <a:pt x="786" y="410"/>
                </a:cubicBezTo>
                <a:cubicBezTo>
                  <a:pt x="787" y="405"/>
                  <a:pt x="787" y="405"/>
                  <a:pt x="787" y="405"/>
                </a:cubicBezTo>
                <a:cubicBezTo>
                  <a:pt x="785" y="403"/>
                  <a:pt x="785" y="403"/>
                  <a:pt x="785" y="403"/>
                </a:cubicBezTo>
                <a:cubicBezTo>
                  <a:pt x="784" y="407"/>
                  <a:pt x="784" y="407"/>
                  <a:pt x="784" y="407"/>
                </a:cubicBezTo>
                <a:cubicBezTo>
                  <a:pt x="781" y="408"/>
                  <a:pt x="781" y="408"/>
                  <a:pt x="781" y="408"/>
                </a:cubicBezTo>
                <a:cubicBezTo>
                  <a:pt x="781" y="404"/>
                  <a:pt x="781" y="404"/>
                  <a:pt x="781" y="404"/>
                </a:cubicBezTo>
                <a:cubicBezTo>
                  <a:pt x="778" y="401"/>
                  <a:pt x="778" y="401"/>
                  <a:pt x="778" y="401"/>
                </a:cubicBezTo>
                <a:cubicBezTo>
                  <a:pt x="782" y="399"/>
                  <a:pt x="782" y="399"/>
                  <a:pt x="782" y="399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6" y="391"/>
                  <a:pt x="788" y="390"/>
                </a:cubicBezTo>
                <a:cubicBezTo>
                  <a:pt x="790" y="389"/>
                  <a:pt x="791" y="385"/>
                  <a:pt x="791" y="385"/>
                </a:cubicBezTo>
                <a:cubicBezTo>
                  <a:pt x="795" y="386"/>
                  <a:pt x="795" y="386"/>
                  <a:pt x="795" y="386"/>
                </a:cubicBezTo>
                <a:cubicBezTo>
                  <a:pt x="797" y="383"/>
                  <a:pt x="797" y="383"/>
                  <a:pt x="797" y="383"/>
                </a:cubicBezTo>
                <a:cubicBezTo>
                  <a:pt x="797" y="383"/>
                  <a:pt x="798" y="385"/>
                  <a:pt x="799" y="384"/>
                </a:cubicBezTo>
                <a:cubicBezTo>
                  <a:pt x="801" y="383"/>
                  <a:pt x="807" y="378"/>
                  <a:pt x="807" y="378"/>
                </a:cubicBezTo>
                <a:cubicBezTo>
                  <a:pt x="807" y="382"/>
                  <a:pt x="807" y="382"/>
                  <a:pt x="807" y="382"/>
                </a:cubicBezTo>
                <a:cubicBezTo>
                  <a:pt x="807" y="382"/>
                  <a:pt x="814" y="378"/>
                  <a:pt x="816" y="377"/>
                </a:cubicBezTo>
                <a:cubicBezTo>
                  <a:pt x="817" y="375"/>
                  <a:pt x="824" y="375"/>
                  <a:pt x="824" y="375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5" y="371"/>
                  <a:pt x="827" y="372"/>
                  <a:pt x="830" y="371"/>
                </a:cubicBezTo>
                <a:cubicBezTo>
                  <a:pt x="833" y="370"/>
                  <a:pt x="835" y="366"/>
                  <a:pt x="835" y="366"/>
                </a:cubicBezTo>
                <a:cubicBezTo>
                  <a:pt x="837" y="369"/>
                  <a:pt x="837" y="369"/>
                  <a:pt x="837" y="369"/>
                </a:cubicBezTo>
                <a:cubicBezTo>
                  <a:pt x="837" y="369"/>
                  <a:pt x="843" y="366"/>
                  <a:pt x="844" y="366"/>
                </a:cubicBezTo>
                <a:cubicBezTo>
                  <a:pt x="845" y="365"/>
                  <a:pt x="850" y="364"/>
                  <a:pt x="850" y="364"/>
                </a:cubicBezTo>
                <a:cubicBezTo>
                  <a:pt x="852" y="364"/>
                  <a:pt x="852" y="364"/>
                  <a:pt x="852" y="364"/>
                </a:cubicBezTo>
                <a:cubicBezTo>
                  <a:pt x="846" y="369"/>
                  <a:pt x="846" y="369"/>
                  <a:pt x="846" y="369"/>
                </a:cubicBezTo>
                <a:cubicBezTo>
                  <a:pt x="859" y="367"/>
                  <a:pt x="859" y="367"/>
                  <a:pt x="859" y="367"/>
                </a:cubicBezTo>
                <a:cubicBezTo>
                  <a:pt x="859" y="367"/>
                  <a:pt x="853" y="368"/>
                  <a:pt x="852" y="369"/>
                </a:cubicBezTo>
                <a:cubicBezTo>
                  <a:pt x="852" y="370"/>
                  <a:pt x="851" y="372"/>
                  <a:pt x="851" y="372"/>
                </a:cubicBezTo>
                <a:cubicBezTo>
                  <a:pt x="851" y="372"/>
                  <a:pt x="847" y="370"/>
                  <a:pt x="846" y="370"/>
                </a:cubicBezTo>
                <a:cubicBezTo>
                  <a:pt x="844" y="371"/>
                  <a:pt x="830" y="378"/>
                  <a:pt x="830" y="380"/>
                </a:cubicBezTo>
                <a:cubicBezTo>
                  <a:pt x="829" y="381"/>
                  <a:pt x="828" y="386"/>
                  <a:pt x="829" y="387"/>
                </a:cubicBezTo>
                <a:cubicBezTo>
                  <a:pt x="830" y="387"/>
                  <a:pt x="831" y="386"/>
                  <a:pt x="831" y="386"/>
                </a:cubicBezTo>
                <a:cubicBezTo>
                  <a:pt x="831" y="386"/>
                  <a:pt x="831" y="389"/>
                  <a:pt x="833" y="388"/>
                </a:cubicBezTo>
                <a:cubicBezTo>
                  <a:pt x="835" y="388"/>
                  <a:pt x="836" y="385"/>
                  <a:pt x="836" y="385"/>
                </a:cubicBezTo>
                <a:cubicBezTo>
                  <a:pt x="836" y="385"/>
                  <a:pt x="841" y="385"/>
                  <a:pt x="844" y="382"/>
                </a:cubicBezTo>
                <a:cubicBezTo>
                  <a:pt x="847" y="380"/>
                  <a:pt x="850" y="375"/>
                  <a:pt x="850" y="375"/>
                </a:cubicBezTo>
                <a:cubicBezTo>
                  <a:pt x="850" y="375"/>
                  <a:pt x="850" y="379"/>
                  <a:pt x="853" y="378"/>
                </a:cubicBezTo>
                <a:cubicBezTo>
                  <a:pt x="856" y="377"/>
                  <a:pt x="863" y="374"/>
                  <a:pt x="866" y="374"/>
                </a:cubicBezTo>
                <a:cubicBezTo>
                  <a:pt x="868" y="373"/>
                  <a:pt x="879" y="370"/>
                  <a:pt x="879" y="370"/>
                </a:cubicBezTo>
                <a:cubicBezTo>
                  <a:pt x="877" y="368"/>
                  <a:pt x="877" y="368"/>
                  <a:pt x="877" y="368"/>
                </a:cubicBezTo>
                <a:cubicBezTo>
                  <a:pt x="878" y="365"/>
                  <a:pt x="878" y="365"/>
                  <a:pt x="878" y="365"/>
                </a:cubicBezTo>
                <a:cubicBezTo>
                  <a:pt x="873" y="366"/>
                  <a:pt x="873" y="366"/>
                  <a:pt x="873" y="366"/>
                </a:cubicBezTo>
                <a:cubicBezTo>
                  <a:pt x="873" y="363"/>
                  <a:pt x="873" y="363"/>
                  <a:pt x="873" y="363"/>
                </a:cubicBezTo>
                <a:cubicBezTo>
                  <a:pt x="873" y="363"/>
                  <a:pt x="868" y="366"/>
                  <a:pt x="867" y="366"/>
                </a:cubicBezTo>
                <a:cubicBezTo>
                  <a:pt x="866" y="365"/>
                  <a:pt x="866" y="364"/>
                  <a:pt x="866" y="364"/>
                </a:cubicBezTo>
                <a:cubicBezTo>
                  <a:pt x="866" y="364"/>
                  <a:pt x="859" y="364"/>
                  <a:pt x="858" y="363"/>
                </a:cubicBezTo>
                <a:cubicBezTo>
                  <a:pt x="857" y="362"/>
                  <a:pt x="855" y="360"/>
                  <a:pt x="857" y="360"/>
                </a:cubicBezTo>
                <a:cubicBezTo>
                  <a:pt x="859" y="360"/>
                  <a:pt x="856" y="357"/>
                  <a:pt x="854" y="358"/>
                </a:cubicBezTo>
                <a:cubicBezTo>
                  <a:pt x="852" y="359"/>
                  <a:pt x="851" y="355"/>
                  <a:pt x="851" y="353"/>
                </a:cubicBezTo>
                <a:cubicBezTo>
                  <a:pt x="851" y="352"/>
                  <a:pt x="853" y="350"/>
                  <a:pt x="853" y="350"/>
                </a:cubicBezTo>
                <a:cubicBezTo>
                  <a:pt x="850" y="350"/>
                  <a:pt x="850" y="350"/>
                  <a:pt x="850" y="350"/>
                </a:cubicBezTo>
                <a:cubicBezTo>
                  <a:pt x="850" y="350"/>
                  <a:pt x="854" y="346"/>
                  <a:pt x="855" y="345"/>
                </a:cubicBezTo>
                <a:cubicBezTo>
                  <a:pt x="857" y="343"/>
                  <a:pt x="861" y="339"/>
                  <a:pt x="861" y="339"/>
                </a:cubicBezTo>
                <a:cubicBezTo>
                  <a:pt x="859" y="338"/>
                  <a:pt x="859" y="338"/>
                  <a:pt x="859" y="338"/>
                </a:cubicBezTo>
                <a:cubicBezTo>
                  <a:pt x="856" y="342"/>
                  <a:pt x="856" y="342"/>
                  <a:pt x="856" y="342"/>
                </a:cubicBezTo>
                <a:cubicBezTo>
                  <a:pt x="853" y="341"/>
                  <a:pt x="853" y="341"/>
                  <a:pt x="853" y="341"/>
                </a:cubicBezTo>
                <a:cubicBezTo>
                  <a:pt x="849" y="343"/>
                  <a:pt x="849" y="343"/>
                  <a:pt x="849" y="343"/>
                </a:cubicBezTo>
                <a:cubicBezTo>
                  <a:pt x="848" y="341"/>
                  <a:pt x="848" y="341"/>
                  <a:pt x="848" y="341"/>
                </a:cubicBezTo>
                <a:cubicBezTo>
                  <a:pt x="844" y="339"/>
                  <a:pt x="844" y="339"/>
                  <a:pt x="844" y="339"/>
                </a:cubicBezTo>
                <a:cubicBezTo>
                  <a:pt x="841" y="340"/>
                  <a:pt x="841" y="340"/>
                  <a:pt x="841" y="340"/>
                </a:cubicBezTo>
                <a:cubicBezTo>
                  <a:pt x="849" y="337"/>
                  <a:pt x="849" y="337"/>
                  <a:pt x="849" y="337"/>
                </a:cubicBezTo>
                <a:cubicBezTo>
                  <a:pt x="849" y="337"/>
                  <a:pt x="850" y="339"/>
                  <a:pt x="852" y="339"/>
                </a:cubicBezTo>
                <a:cubicBezTo>
                  <a:pt x="854" y="339"/>
                  <a:pt x="859" y="335"/>
                  <a:pt x="859" y="335"/>
                </a:cubicBezTo>
                <a:cubicBezTo>
                  <a:pt x="859" y="335"/>
                  <a:pt x="864" y="336"/>
                  <a:pt x="865" y="334"/>
                </a:cubicBezTo>
                <a:cubicBezTo>
                  <a:pt x="865" y="333"/>
                  <a:pt x="863" y="331"/>
                  <a:pt x="863" y="331"/>
                </a:cubicBezTo>
                <a:cubicBezTo>
                  <a:pt x="867" y="330"/>
                  <a:pt x="867" y="330"/>
                  <a:pt x="867" y="330"/>
                </a:cubicBezTo>
                <a:cubicBezTo>
                  <a:pt x="867" y="330"/>
                  <a:pt x="865" y="326"/>
                  <a:pt x="856" y="326"/>
                </a:cubicBezTo>
                <a:cubicBezTo>
                  <a:pt x="847" y="326"/>
                  <a:pt x="837" y="330"/>
                  <a:pt x="832" y="331"/>
                </a:cubicBezTo>
                <a:cubicBezTo>
                  <a:pt x="827" y="332"/>
                  <a:pt x="819" y="337"/>
                  <a:pt x="818" y="338"/>
                </a:cubicBezTo>
                <a:cubicBezTo>
                  <a:pt x="816" y="339"/>
                  <a:pt x="808" y="346"/>
                  <a:pt x="805" y="348"/>
                </a:cubicBezTo>
                <a:cubicBezTo>
                  <a:pt x="803" y="350"/>
                  <a:pt x="796" y="351"/>
                  <a:pt x="796" y="351"/>
                </a:cubicBezTo>
                <a:cubicBezTo>
                  <a:pt x="796" y="351"/>
                  <a:pt x="806" y="345"/>
                  <a:pt x="808" y="343"/>
                </a:cubicBezTo>
                <a:cubicBezTo>
                  <a:pt x="810" y="341"/>
                  <a:pt x="813" y="338"/>
                  <a:pt x="813" y="338"/>
                </a:cubicBezTo>
                <a:cubicBezTo>
                  <a:pt x="810" y="336"/>
                  <a:pt x="810" y="336"/>
                  <a:pt x="810" y="336"/>
                </a:cubicBezTo>
                <a:cubicBezTo>
                  <a:pt x="810" y="336"/>
                  <a:pt x="814" y="338"/>
                  <a:pt x="815" y="337"/>
                </a:cubicBezTo>
                <a:cubicBezTo>
                  <a:pt x="816" y="336"/>
                  <a:pt x="827" y="329"/>
                  <a:pt x="829" y="327"/>
                </a:cubicBezTo>
                <a:cubicBezTo>
                  <a:pt x="832" y="325"/>
                  <a:pt x="840" y="324"/>
                  <a:pt x="840" y="324"/>
                </a:cubicBezTo>
                <a:cubicBezTo>
                  <a:pt x="841" y="325"/>
                  <a:pt x="846" y="317"/>
                  <a:pt x="852" y="316"/>
                </a:cubicBezTo>
                <a:cubicBezTo>
                  <a:pt x="858" y="315"/>
                  <a:pt x="874" y="314"/>
                  <a:pt x="878" y="314"/>
                </a:cubicBezTo>
                <a:cubicBezTo>
                  <a:pt x="881" y="314"/>
                  <a:pt x="893" y="318"/>
                  <a:pt x="895" y="317"/>
                </a:cubicBezTo>
                <a:cubicBezTo>
                  <a:pt x="898" y="317"/>
                  <a:pt x="902" y="314"/>
                  <a:pt x="904" y="314"/>
                </a:cubicBezTo>
                <a:cubicBezTo>
                  <a:pt x="906" y="314"/>
                  <a:pt x="913" y="313"/>
                  <a:pt x="915" y="311"/>
                </a:cubicBezTo>
                <a:cubicBezTo>
                  <a:pt x="918" y="309"/>
                  <a:pt x="923" y="304"/>
                  <a:pt x="925" y="303"/>
                </a:cubicBezTo>
                <a:cubicBezTo>
                  <a:pt x="927" y="303"/>
                  <a:pt x="931" y="303"/>
                  <a:pt x="931" y="303"/>
                </a:cubicBezTo>
                <a:cubicBezTo>
                  <a:pt x="931" y="303"/>
                  <a:pt x="934" y="301"/>
                  <a:pt x="936" y="301"/>
                </a:cubicBezTo>
                <a:cubicBezTo>
                  <a:pt x="938" y="301"/>
                  <a:pt x="938" y="302"/>
                  <a:pt x="941" y="300"/>
                </a:cubicBezTo>
                <a:cubicBezTo>
                  <a:pt x="941" y="300"/>
                  <a:pt x="955" y="297"/>
                  <a:pt x="954" y="294"/>
                </a:cubicBezTo>
                <a:cubicBezTo>
                  <a:pt x="953" y="292"/>
                  <a:pt x="949" y="290"/>
                  <a:pt x="949" y="290"/>
                </a:cubicBezTo>
                <a:cubicBezTo>
                  <a:pt x="949" y="290"/>
                  <a:pt x="954" y="290"/>
                  <a:pt x="954" y="288"/>
                </a:cubicBezTo>
                <a:cubicBezTo>
                  <a:pt x="954" y="286"/>
                  <a:pt x="953" y="284"/>
                  <a:pt x="953" y="284"/>
                </a:cubicBezTo>
                <a:cubicBezTo>
                  <a:pt x="953" y="284"/>
                  <a:pt x="959" y="285"/>
                  <a:pt x="957" y="281"/>
                </a:cubicBezTo>
                <a:cubicBezTo>
                  <a:pt x="956" y="278"/>
                  <a:pt x="951" y="276"/>
                  <a:pt x="950" y="277"/>
                </a:cubicBezTo>
                <a:cubicBezTo>
                  <a:pt x="948" y="279"/>
                  <a:pt x="949" y="282"/>
                  <a:pt x="945" y="280"/>
                </a:cubicBezTo>
                <a:cubicBezTo>
                  <a:pt x="942" y="278"/>
                  <a:pt x="947" y="276"/>
                  <a:pt x="947" y="276"/>
                </a:cubicBezTo>
                <a:cubicBezTo>
                  <a:pt x="947" y="273"/>
                  <a:pt x="947" y="273"/>
                  <a:pt x="947" y="273"/>
                </a:cubicBezTo>
                <a:cubicBezTo>
                  <a:pt x="943" y="272"/>
                  <a:pt x="943" y="272"/>
                  <a:pt x="943" y="272"/>
                </a:cubicBezTo>
                <a:cubicBezTo>
                  <a:pt x="943" y="272"/>
                  <a:pt x="933" y="276"/>
                  <a:pt x="932" y="277"/>
                </a:cubicBezTo>
                <a:cubicBezTo>
                  <a:pt x="932" y="278"/>
                  <a:pt x="924" y="279"/>
                  <a:pt x="924" y="279"/>
                </a:cubicBezTo>
                <a:cubicBezTo>
                  <a:pt x="920" y="282"/>
                  <a:pt x="920" y="282"/>
                  <a:pt x="920" y="282"/>
                </a:cubicBezTo>
                <a:cubicBezTo>
                  <a:pt x="921" y="279"/>
                  <a:pt x="921" y="279"/>
                  <a:pt x="921" y="279"/>
                </a:cubicBezTo>
                <a:cubicBezTo>
                  <a:pt x="918" y="276"/>
                  <a:pt x="918" y="276"/>
                  <a:pt x="918" y="276"/>
                </a:cubicBezTo>
                <a:cubicBezTo>
                  <a:pt x="923" y="278"/>
                  <a:pt x="923" y="278"/>
                  <a:pt x="923" y="278"/>
                </a:cubicBezTo>
                <a:cubicBezTo>
                  <a:pt x="925" y="276"/>
                  <a:pt x="925" y="276"/>
                  <a:pt x="925" y="276"/>
                </a:cubicBezTo>
                <a:cubicBezTo>
                  <a:pt x="929" y="276"/>
                  <a:pt x="929" y="276"/>
                  <a:pt x="929" y="276"/>
                </a:cubicBezTo>
                <a:cubicBezTo>
                  <a:pt x="929" y="273"/>
                  <a:pt x="929" y="273"/>
                  <a:pt x="929" y="273"/>
                </a:cubicBezTo>
                <a:cubicBezTo>
                  <a:pt x="929" y="273"/>
                  <a:pt x="934" y="274"/>
                  <a:pt x="936" y="273"/>
                </a:cubicBezTo>
                <a:cubicBezTo>
                  <a:pt x="939" y="271"/>
                  <a:pt x="942" y="270"/>
                  <a:pt x="942" y="270"/>
                </a:cubicBezTo>
                <a:cubicBezTo>
                  <a:pt x="942" y="270"/>
                  <a:pt x="952" y="271"/>
                  <a:pt x="952" y="270"/>
                </a:cubicBezTo>
                <a:cubicBezTo>
                  <a:pt x="952" y="269"/>
                  <a:pt x="948" y="267"/>
                  <a:pt x="948" y="267"/>
                </a:cubicBezTo>
                <a:cubicBezTo>
                  <a:pt x="948" y="264"/>
                  <a:pt x="948" y="264"/>
                  <a:pt x="948" y="264"/>
                </a:cubicBezTo>
                <a:cubicBezTo>
                  <a:pt x="948" y="264"/>
                  <a:pt x="942" y="265"/>
                  <a:pt x="941" y="265"/>
                </a:cubicBezTo>
                <a:cubicBezTo>
                  <a:pt x="940" y="265"/>
                  <a:pt x="939" y="262"/>
                  <a:pt x="939" y="262"/>
                </a:cubicBezTo>
                <a:cubicBezTo>
                  <a:pt x="931" y="265"/>
                  <a:pt x="931" y="265"/>
                  <a:pt x="931" y="265"/>
                </a:cubicBezTo>
                <a:cubicBezTo>
                  <a:pt x="931" y="261"/>
                  <a:pt x="931" y="261"/>
                  <a:pt x="931" y="261"/>
                </a:cubicBezTo>
                <a:cubicBezTo>
                  <a:pt x="925" y="263"/>
                  <a:pt x="925" y="263"/>
                  <a:pt x="925" y="263"/>
                </a:cubicBezTo>
                <a:cubicBezTo>
                  <a:pt x="925" y="263"/>
                  <a:pt x="932" y="256"/>
                  <a:pt x="930" y="255"/>
                </a:cubicBezTo>
                <a:cubicBezTo>
                  <a:pt x="928" y="254"/>
                  <a:pt x="923" y="254"/>
                  <a:pt x="923" y="254"/>
                </a:cubicBezTo>
                <a:cubicBezTo>
                  <a:pt x="924" y="251"/>
                  <a:pt x="924" y="251"/>
                  <a:pt x="924" y="251"/>
                </a:cubicBezTo>
                <a:cubicBezTo>
                  <a:pt x="919" y="251"/>
                  <a:pt x="919" y="251"/>
                  <a:pt x="919" y="251"/>
                </a:cubicBezTo>
                <a:cubicBezTo>
                  <a:pt x="921" y="248"/>
                  <a:pt x="921" y="248"/>
                  <a:pt x="921" y="248"/>
                </a:cubicBezTo>
                <a:cubicBezTo>
                  <a:pt x="917" y="244"/>
                  <a:pt x="917" y="244"/>
                  <a:pt x="917" y="244"/>
                </a:cubicBezTo>
                <a:cubicBezTo>
                  <a:pt x="917" y="244"/>
                  <a:pt x="923" y="246"/>
                  <a:pt x="925" y="244"/>
                </a:cubicBezTo>
                <a:cubicBezTo>
                  <a:pt x="927" y="243"/>
                  <a:pt x="929" y="242"/>
                  <a:pt x="929" y="242"/>
                </a:cubicBezTo>
                <a:cubicBezTo>
                  <a:pt x="923" y="238"/>
                  <a:pt x="923" y="238"/>
                  <a:pt x="923" y="238"/>
                </a:cubicBezTo>
                <a:cubicBezTo>
                  <a:pt x="930" y="234"/>
                  <a:pt x="930" y="234"/>
                  <a:pt x="930" y="234"/>
                </a:cubicBezTo>
                <a:cubicBezTo>
                  <a:pt x="923" y="231"/>
                  <a:pt x="923" y="231"/>
                  <a:pt x="923" y="231"/>
                </a:cubicBezTo>
                <a:cubicBezTo>
                  <a:pt x="917" y="232"/>
                  <a:pt x="917" y="232"/>
                  <a:pt x="917" y="232"/>
                </a:cubicBezTo>
                <a:cubicBezTo>
                  <a:pt x="924" y="229"/>
                  <a:pt x="924" y="229"/>
                  <a:pt x="924" y="229"/>
                </a:cubicBezTo>
                <a:cubicBezTo>
                  <a:pt x="919" y="228"/>
                  <a:pt x="919" y="228"/>
                  <a:pt x="919" y="228"/>
                </a:cubicBezTo>
                <a:cubicBezTo>
                  <a:pt x="925" y="225"/>
                  <a:pt x="925" y="225"/>
                  <a:pt x="925" y="225"/>
                </a:cubicBezTo>
                <a:cubicBezTo>
                  <a:pt x="924" y="221"/>
                  <a:pt x="924" y="221"/>
                  <a:pt x="924" y="221"/>
                </a:cubicBezTo>
                <a:cubicBezTo>
                  <a:pt x="920" y="221"/>
                  <a:pt x="920" y="221"/>
                  <a:pt x="920" y="221"/>
                </a:cubicBezTo>
                <a:cubicBezTo>
                  <a:pt x="920" y="221"/>
                  <a:pt x="923" y="219"/>
                  <a:pt x="922" y="215"/>
                </a:cubicBezTo>
                <a:cubicBezTo>
                  <a:pt x="920" y="211"/>
                  <a:pt x="918" y="211"/>
                  <a:pt x="918" y="211"/>
                </a:cubicBezTo>
                <a:cubicBezTo>
                  <a:pt x="920" y="208"/>
                  <a:pt x="920" y="208"/>
                  <a:pt x="920" y="208"/>
                </a:cubicBezTo>
                <a:cubicBezTo>
                  <a:pt x="920" y="208"/>
                  <a:pt x="915" y="211"/>
                  <a:pt x="914" y="212"/>
                </a:cubicBezTo>
                <a:cubicBezTo>
                  <a:pt x="913" y="214"/>
                  <a:pt x="914" y="215"/>
                  <a:pt x="914" y="215"/>
                </a:cubicBezTo>
                <a:cubicBezTo>
                  <a:pt x="910" y="214"/>
                  <a:pt x="910" y="214"/>
                  <a:pt x="910" y="214"/>
                </a:cubicBezTo>
                <a:cubicBezTo>
                  <a:pt x="911" y="218"/>
                  <a:pt x="911" y="218"/>
                  <a:pt x="911" y="218"/>
                </a:cubicBezTo>
                <a:cubicBezTo>
                  <a:pt x="907" y="218"/>
                  <a:pt x="907" y="218"/>
                  <a:pt x="907" y="218"/>
                </a:cubicBezTo>
                <a:cubicBezTo>
                  <a:pt x="905" y="221"/>
                  <a:pt x="905" y="221"/>
                  <a:pt x="905" y="221"/>
                </a:cubicBezTo>
                <a:cubicBezTo>
                  <a:pt x="906" y="222"/>
                  <a:pt x="906" y="222"/>
                  <a:pt x="906" y="222"/>
                </a:cubicBezTo>
                <a:cubicBezTo>
                  <a:pt x="903" y="223"/>
                  <a:pt x="903" y="223"/>
                  <a:pt x="903" y="223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8" y="229"/>
                  <a:pt x="898" y="229"/>
                  <a:pt x="898" y="229"/>
                </a:cubicBezTo>
                <a:cubicBezTo>
                  <a:pt x="900" y="224"/>
                  <a:pt x="900" y="224"/>
                  <a:pt x="900" y="224"/>
                </a:cubicBezTo>
                <a:cubicBezTo>
                  <a:pt x="900" y="224"/>
                  <a:pt x="898" y="220"/>
                  <a:pt x="896" y="222"/>
                </a:cubicBezTo>
                <a:cubicBezTo>
                  <a:pt x="894" y="224"/>
                  <a:pt x="892" y="227"/>
                  <a:pt x="890" y="227"/>
                </a:cubicBezTo>
                <a:cubicBezTo>
                  <a:pt x="889" y="227"/>
                  <a:pt x="883" y="232"/>
                  <a:pt x="883" y="232"/>
                </a:cubicBezTo>
                <a:cubicBezTo>
                  <a:pt x="884" y="229"/>
                  <a:pt x="884" y="229"/>
                  <a:pt x="884" y="229"/>
                </a:cubicBezTo>
                <a:cubicBezTo>
                  <a:pt x="884" y="226"/>
                  <a:pt x="884" y="226"/>
                  <a:pt x="884" y="226"/>
                </a:cubicBezTo>
                <a:cubicBezTo>
                  <a:pt x="879" y="231"/>
                  <a:pt x="879" y="231"/>
                  <a:pt x="879" y="231"/>
                </a:cubicBezTo>
                <a:cubicBezTo>
                  <a:pt x="869" y="233"/>
                  <a:pt x="869" y="233"/>
                  <a:pt x="869" y="233"/>
                </a:cubicBez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83" y="224"/>
                  <a:pt x="880" y="223"/>
                </a:cubicBezTo>
                <a:cubicBezTo>
                  <a:pt x="878" y="222"/>
                  <a:pt x="875" y="223"/>
                  <a:pt x="875" y="223"/>
                </a:cubicBezTo>
                <a:cubicBezTo>
                  <a:pt x="875" y="223"/>
                  <a:pt x="868" y="226"/>
                  <a:pt x="868" y="224"/>
                </a:cubicBezTo>
                <a:cubicBezTo>
                  <a:pt x="868" y="221"/>
                  <a:pt x="872" y="221"/>
                  <a:pt x="872" y="221"/>
                </a:cubicBezTo>
                <a:cubicBezTo>
                  <a:pt x="872" y="222"/>
                  <a:pt x="872" y="222"/>
                  <a:pt x="872" y="222"/>
                </a:cubicBezTo>
                <a:cubicBezTo>
                  <a:pt x="875" y="221"/>
                  <a:pt x="875" y="221"/>
                  <a:pt x="875" y="221"/>
                </a:cubicBezTo>
                <a:cubicBezTo>
                  <a:pt x="874" y="217"/>
                  <a:pt x="874" y="217"/>
                  <a:pt x="874" y="217"/>
                </a:cubicBezTo>
                <a:cubicBezTo>
                  <a:pt x="874" y="217"/>
                  <a:pt x="879" y="214"/>
                  <a:pt x="877" y="213"/>
                </a:cubicBezTo>
                <a:cubicBezTo>
                  <a:pt x="876" y="211"/>
                  <a:pt x="870" y="211"/>
                  <a:pt x="870" y="211"/>
                </a:cubicBezTo>
                <a:cubicBezTo>
                  <a:pt x="870" y="211"/>
                  <a:pt x="879" y="211"/>
                  <a:pt x="880" y="208"/>
                </a:cubicBezTo>
                <a:cubicBezTo>
                  <a:pt x="881" y="206"/>
                  <a:pt x="881" y="205"/>
                  <a:pt x="882" y="205"/>
                </a:cubicBezTo>
                <a:cubicBezTo>
                  <a:pt x="884" y="204"/>
                  <a:pt x="888" y="203"/>
                  <a:pt x="886" y="202"/>
                </a:cubicBezTo>
                <a:cubicBezTo>
                  <a:pt x="884" y="200"/>
                  <a:pt x="882" y="203"/>
                  <a:pt x="882" y="203"/>
                </a:cubicBezTo>
                <a:cubicBezTo>
                  <a:pt x="880" y="199"/>
                  <a:pt x="880" y="199"/>
                  <a:pt x="880" y="199"/>
                </a:cubicBezTo>
                <a:cubicBezTo>
                  <a:pt x="880" y="199"/>
                  <a:pt x="874" y="200"/>
                  <a:pt x="872" y="200"/>
                </a:cubicBezTo>
                <a:cubicBezTo>
                  <a:pt x="870" y="200"/>
                  <a:pt x="870" y="197"/>
                  <a:pt x="871" y="196"/>
                </a:cubicBezTo>
                <a:cubicBezTo>
                  <a:pt x="873" y="195"/>
                  <a:pt x="873" y="194"/>
                  <a:pt x="872" y="193"/>
                </a:cubicBezTo>
                <a:cubicBezTo>
                  <a:pt x="870" y="193"/>
                  <a:pt x="869" y="194"/>
                  <a:pt x="869" y="194"/>
                </a:cubicBezTo>
                <a:cubicBezTo>
                  <a:pt x="870" y="191"/>
                  <a:pt x="870" y="191"/>
                  <a:pt x="870" y="191"/>
                </a:cubicBezTo>
                <a:cubicBezTo>
                  <a:pt x="865" y="192"/>
                  <a:pt x="865" y="192"/>
                  <a:pt x="865" y="192"/>
                </a:cubicBezTo>
                <a:cubicBezTo>
                  <a:pt x="865" y="192"/>
                  <a:pt x="866" y="186"/>
                  <a:pt x="862" y="186"/>
                </a:cubicBezTo>
                <a:cubicBezTo>
                  <a:pt x="859" y="186"/>
                  <a:pt x="853" y="189"/>
                  <a:pt x="853" y="189"/>
                </a:cubicBezTo>
                <a:cubicBezTo>
                  <a:pt x="853" y="189"/>
                  <a:pt x="851" y="187"/>
                  <a:pt x="850" y="187"/>
                </a:cubicBezTo>
                <a:cubicBezTo>
                  <a:pt x="848" y="187"/>
                  <a:pt x="844" y="189"/>
                  <a:pt x="844" y="189"/>
                </a:cubicBezTo>
                <a:cubicBezTo>
                  <a:pt x="844" y="189"/>
                  <a:pt x="835" y="184"/>
                  <a:pt x="831" y="185"/>
                </a:cubicBezTo>
                <a:cubicBezTo>
                  <a:pt x="828" y="186"/>
                  <a:pt x="827" y="188"/>
                  <a:pt x="827" y="188"/>
                </a:cubicBezTo>
                <a:cubicBezTo>
                  <a:pt x="827" y="188"/>
                  <a:pt x="822" y="190"/>
                  <a:pt x="824" y="192"/>
                </a:cubicBezTo>
                <a:cubicBezTo>
                  <a:pt x="825" y="194"/>
                  <a:pt x="828" y="194"/>
                  <a:pt x="827" y="196"/>
                </a:cubicBezTo>
                <a:cubicBezTo>
                  <a:pt x="826" y="197"/>
                  <a:pt x="820" y="201"/>
                  <a:pt x="820" y="201"/>
                </a:cubicBezTo>
                <a:cubicBezTo>
                  <a:pt x="817" y="202"/>
                  <a:pt x="817" y="202"/>
                  <a:pt x="817" y="202"/>
                </a:cubicBezTo>
                <a:cubicBezTo>
                  <a:pt x="820" y="204"/>
                  <a:pt x="820" y="204"/>
                  <a:pt x="820" y="204"/>
                </a:cubicBezTo>
                <a:cubicBezTo>
                  <a:pt x="820" y="204"/>
                  <a:pt x="817" y="205"/>
                  <a:pt x="817" y="207"/>
                </a:cubicBezTo>
                <a:cubicBezTo>
                  <a:pt x="817" y="209"/>
                  <a:pt x="818" y="211"/>
                  <a:pt x="817" y="213"/>
                </a:cubicBezTo>
                <a:cubicBezTo>
                  <a:pt x="815" y="215"/>
                  <a:pt x="813" y="213"/>
                  <a:pt x="811" y="215"/>
                </a:cubicBezTo>
                <a:cubicBezTo>
                  <a:pt x="808" y="216"/>
                  <a:pt x="808" y="219"/>
                  <a:pt x="808" y="219"/>
                </a:cubicBezTo>
                <a:cubicBezTo>
                  <a:pt x="808" y="219"/>
                  <a:pt x="805" y="220"/>
                  <a:pt x="804" y="221"/>
                </a:cubicBezTo>
                <a:cubicBezTo>
                  <a:pt x="803" y="222"/>
                  <a:pt x="798" y="223"/>
                  <a:pt x="799" y="225"/>
                </a:cubicBezTo>
                <a:cubicBezTo>
                  <a:pt x="799" y="227"/>
                  <a:pt x="807" y="230"/>
                  <a:pt x="807" y="232"/>
                </a:cubicBezTo>
                <a:cubicBezTo>
                  <a:pt x="807" y="233"/>
                  <a:pt x="807" y="247"/>
                  <a:pt x="799" y="251"/>
                </a:cubicBezTo>
                <a:cubicBezTo>
                  <a:pt x="792" y="255"/>
                  <a:pt x="783" y="263"/>
                  <a:pt x="779" y="263"/>
                </a:cubicBezTo>
                <a:cubicBezTo>
                  <a:pt x="775" y="263"/>
                  <a:pt x="765" y="264"/>
                  <a:pt x="764" y="266"/>
                </a:cubicBezTo>
                <a:cubicBezTo>
                  <a:pt x="764" y="267"/>
                  <a:pt x="766" y="273"/>
                  <a:pt x="766" y="274"/>
                </a:cubicBezTo>
                <a:cubicBezTo>
                  <a:pt x="766" y="275"/>
                  <a:pt x="762" y="280"/>
                  <a:pt x="761" y="283"/>
                </a:cubicBezTo>
                <a:cubicBezTo>
                  <a:pt x="760" y="286"/>
                  <a:pt x="761" y="293"/>
                  <a:pt x="761" y="293"/>
                </a:cubicBezTo>
                <a:cubicBezTo>
                  <a:pt x="761" y="293"/>
                  <a:pt x="754" y="297"/>
                  <a:pt x="753" y="298"/>
                </a:cubicBezTo>
                <a:cubicBezTo>
                  <a:pt x="753" y="299"/>
                  <a:pt x="753" y="302"/>
                  <a:pt x="753" y="302"/>
                </a:cubicBezTo>
                <a:cubicBezTo>
                  <a:pt x="750" y="306"/>
                  <a:pt x="750" y="306"/>
                  <a:pt x="750" y="306"/>
                </a:cubicBezTo>
                <a:cubicBezTo>
                  <a:pt x="750" y="306"/>
                  <a:pt x="752" y="301"/>
                  <a:pt x="749" y="300"/>
                </a:cubicBezTo>
                <a:cubicBezTo>
                  <a:pt x="747" y="300"/>
                  <a:pt x="743" y="303"/>
                  <a:pt x="744" y="305"/>
                </a:cubicBezTo>
                <a:cubicBezTo>
                  <a:pt x="745" y="308"/>
                  <a:pt x="743" y="310"/>
                  <a:pt x="743" y="310"/>
                </a:cubicBezTo>
                <a:cubicBezTo>
                  <a:pt x="743" y="310"/>
                  <a:pt x="743" y="305"/>
                  <a:pt x="742" y="304"/>
                </a:cubicBezTo>
                <a:cubicBezTo>
                  <a:pt x="740" y="303"/>
                  <a:pt x="732" y="306"/>
                  <a:pt x="732" y="306"/>
                </a:cubicBezTo>
                <a:cubicBezTo>
                  <a:pt x="732" y="306"/>
                  <a:pt x="740" y="301"/>
                  <a:pt x="739" y="298"/>
                </a:cubicBezTo>
                <a:cubicBezTo>
                  <a:pt x="738" y="296"/>
                  <a:pt x="731" y="293"/>
                  <a:pt x="731" y="293"/>
                </a:cubicBezTo>
                <a:cubicBezTo>
                  <a:pt x="731" y="293"/>
                  <a:pt x="734" y="293"/>
                  <a:pt x="734" y="291"/>
                </a:cubicBezTo>
                <a:cubicBezTo>
                  <a:pt x="734" y="290"/>
                  <a:pt x="732" y="284"/>
                  <a:pt x="732" y="284"/>
                </a:cubicBezTo>
                <a:cubicBezTo>
                  <a:pt x="736" y="281"/>
                  <a:pt x="736" y="281"/>
                  <a:pt x="736" y="281"/>
                </a:cubicBezTo>
                <a:cubicBezTo>
                  <a:pt x="736" y="278"/>
                  <a:pt x="736" y="278"/>
                  <a:pt x="736" y="278"/>
                </a:cubicBezTo>
                <a:cubicBezTo>
                  <a:pt x="740" y="276"/>
                  <a:pt x="740" y="276"/>
                  <a:pt x="740" y="276"/>
                </a:cubicBezTo>
                <a:cubicBezTo>
                  <a:pt x="740" y="271"/>
                  <a:pt x="740" y="271"/>
                  <a:pt x="740" y="271"/>
                </a:cubicBezTo>
                <a:cubicBezTo>
                  <a:pt x="740" y="271"/>
                  <a:pt x="750" y="265"/>
                  <a:pt x="745" y="262"/>
                </a:cubicBezTo>
                <a:cubicBezTo>
                  <a:pt x="740" y="260"/>
                  <a:pt x="725" y="261"/>
                  <a:pt x="725" y="261"/>
                </a:cubicBezTo>
                <a:cubicBezTo>
                  <a:pt x="720" y="262"/>
                  <a:pt x="720" y="262"/>
                  <a:pt x="720" y="262"/>
                </a:cubicBezTo>
                <a:cubicBezTo>
                  <a:pt x="720" y="262"/>
                  <a:pt x="723" y="258"/>
                  <a:pt x="721" y="257"/>
                </a:cubicBezTo>
                <a:cubicBezTo>
                  <a:pt x="719" y="256"/>
                  <a:pt x="709" y="254"/>
                  <a:pt x="709" y="254"/>
                </a:cubicBezTo>
                <a:cubicBezTo>
                  <a:pt x="709" y="254"/>
                  <a:pt x="710" y="249"/>
                  <a:pt x="706" y="246"/>
                </a:cubicBezTo>
                <a:cubicBezTo>
                  <a:pt x="702" y="243"/>
                  <a:pt x="697" y="243"/>
                  <a:pt x="697" y="243"/>
                </a:cubicBezTo>
                <a:cubicBezTo>
                  <a:pt x="697" y="243"/>
                  <a:pt x="697" y="241"/>
                  <a:pt x="691" y="240"/>
                </a:cubicBezTo>
                <a:cubicBezTo>
                  <a:pt x="686" y="240"/>
                  <a:pt x="671" y="243"/>
                  <a:pt x="671" y="243"/>
                </a:cubicBezTo>
                <a:cubicBezTo>
                  <a:pt x="671" y="243"/>
                  <a:pt x="678" y="241"/>
                  <a:pt x="678" y="238"/>
                </a:cubicBezTo>
                <a:cubicBezTo>
                  <a:pt x="678" y="236"/>
                  <a:pt x="682" y="225"/>
                  <a:pt x="682" y="225"/>
                </a:cubicBezTo>
                <a:cubicBezTo>
                  <a:pt x="682" y="225"/>
                  <a:pt x="676" y="224"/>
                  <a:pt x="675" y="224"/>
                </a:cubicBezTo>
                <a:cubicBezTo>
                  <a:pt x="675" y="224"/>
                  <a:pt x="670" y="228"/>
                  <a:pt x="670" y="228"/>
                </a:cubicBezTo>
                <a:cubicBezTo>
                  <a:pt x="672" y="224"/>
                  <a:pt x="672" y="224"/>
                  <a:pt x="672" y="224"/>
                </a:cubicBezTo>
                <a:cubicBezTo>
                  <a:pt x="671" y="221"/>
                  <a:pt x="671" y="221"/>
                  <a:pt x="671" y="221"/>
                </a:cubicBezTo>
                <a:cubicBezTo>
                  <a:pt x="671" y="221"/>
                  <a:pt x="677" y="216"/>
                  <a:pt x="679" y="212"/>
                </a:cubicBezTo>
                <a:cubicBezTo>
                  <a:pt x="682" y="207"/>
                  <a:pt x="696" y="199"/>
                  <a:pt x="696" y="199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704" y="194"/>
                  <a:pt x="704" y="194"/>
                  <a:pt x="704" y="194"/>
                </a:cubicBezTo>
                <a:cubicBezTo>
                  <a:pt x="704" y="192"/>
                  <a:pt x="704" y="192"/>
                  <a:pt x="704" y="192"/>
                </a:cubicBezTo>
                <a:cubicBezTo>
                  <a:pt x="709" y="191"/>
                  <a:pt x="709" y="191"/>
                  <a:pt x="709" y="191"/>
                </a:cubicBezTo>
                <a:cubicBezTo>
                  <a:pt x="710" y="188"/>
                  <a:pt x="710" y="188"/>
                  <a:pt x="710" y="188"/>
                </a:cubicBezTo>
                <a:cubicBezTo>
                  <a:pt x="714" y="188"/>
                  <a:pt x="714" y="188"/>
                  <a:pt x="714" y="188"/>
                </a:cubicBezTo>
                <a:cubicBezTo>
                  <a:pt x="721" y="182"/>
                  <a:pt x="721" y="182"/>
                  <a:pt x="721" y="182"/>
                </a:cubicBezTo>
                <a:cubicBezTo>
                  <a:pt x="721" y="182"/>
                  <a:pt x="737" y="183"/>
                  <a:pt x="737" y="180"/>
                </a:cubicBezTo>
                <a:cubicBezTo>
                  <a:pt x="737" y="177"/>
                  <a:pt x="733" y="174"/>
                  <a:pt x="733" y="174"/>
                </a:cubicBezTo>
                <a:cubicBezTo>
                  <a:pt x="724" y="175"/>
                  <a:pt x="724" y="175"/>
                  <a:pt x="724" y="175"/>
                </a:cubicBezTo>
                <a:cubicBezTo>
                  <a:pt x="726" y="173"/>
                  <a:pt x="726" y="173"/>
                  <a:pt x="726" y="173"/>
                </a:cubicBezTo>
                <a:cubicBezTo>
                  <a:pt x="718" y="170"/>
                  <a:pt x="718" y="170"/>
                  <a:pt x="718" y="170"/>
                </a:cubicBezTo>
                <a:cubicBezTo>
                  <a:pt x="721" y="169"/>
                  <a:pt x="721" y="169"/>
                  <a:pt x="721" y="169"/>
                </a:cubicBezTo>
                <a:cubicBezTo>
                  <a:pt x="733" y="172"/>
                  <a:pt x="733" y="172"/>
                  <a:pt x="733" y="172"/>
                </a:cubicBezTo>
                <a:cubicBezTo>
                  <a:pt x="733" y="172"/>
                  <a:pt x="737" y="177"/>
                  <a:pt x="741" y="175"/>
                </a:cubicBezTo>
                <a:cubicBezTo>
                  <a:pt x="745" y="174"/>
                  <a:pt x="749" y="167"/>
                  <a:pt x="750" y="168"/>
                </a:cubicBezTo>
                <a:cubicBezTo>
                  <a:pt x="752" y="169"/>
                  <a:pt x="756" y="171"/>
                  <a:pt x="758" y="171"/>
                </a:cubicBezTo>
                <a:cubicBezTo>
                  <a:pt x="758" y="171"/>
                  <a:pt x="767" y="167"/>
                  <a:pt x="771" y="165"/>
                </a:cubicBezTo>
                <a:cubicBezTo>
                  <a:pt x="775" y="164"/>
                  <a:pt x="782" y="160"/>
                  <a:pt x="779" y="159"/>
                </a:cubicBezTo>
                <a:cubicBezTo>
                  <a:pt x="777" y="158"/>
                  <a:pt x="765" y="158"/>
                  <a:pt x="765" y="158"/>
                </a:cubicBezTo>
                <a:cubicBezTo>
                  <a:pt x="764" y="155"/>
                  <a:pt x="764" y="155"/>
                  <a:pt x="764" y="155"/>
                </a:cubicBezTo>
                <a:cubicBezTo>
                  <a:pt x="753" y="151"/>
                  <a:pt x="753" y="151"/>
                  <a:pt x="753" y="151"/>
                </a:cubicBezTo>
                <a:cubicBezTo>
                  <a:pt x="753" y="151"/>
                  <a:pt x="764" y="149"/>
                  <a:pt x="767" y="151"/>
                </a:cubicBezTo>
                <a:cubicBezTo>
                  <a:pt x="771" y="152"/>
                  <a:pt x="773" y="157"/>
                  <a:pt x="777" y="157"/>
                </a:cubicBezTo>
                <a:cubicBezTo>
                  <a:pt x="780" y="157"/>
                  <a:pt x="796" y="149"/>
                  <a:pt x="796" y="149"/>
                </a:cubicBezTo>
                <a:cubicBezTo>
                  <a:pt x="792" y="148"/>
                  <a:pt x="792" y="148"/>
                  <a:pt x="792" y="148"/>
                </a:cubicBezTo>
                <a:cubicBezTo>
                  <a:pt x="792" y="148"/>
                  <a:pt x="795" y="145"/>
                  <a:pt x="799" y="145"/>
                </a:cubicBezTo>
                <a:cubicBezTo>
                  <a:pt x="803" y="145"/>
                  <a:pt x="804" y="148"/>
                  <a:pt x="804" y="148"/>
                </a:cubicBezTo>
                <a:cubicBezTo>
                  <a:pt x="808" y="149"/>
                  <a:pt x="808" y="149"/>
                  <a:pt x="808" y="149"/>
                </a:cubicBezTo>
                <a:cubicBezTo>
                  <a:pt x="808" y="147"/>
                  <a:pt x="808" y="147"/>
                  <a:pt x="808" y="147"/>
                </a:cubicBezTo>
                <a:cubicBezTo>
                  <a:pt x="808" y="147"/>
                  <a:pt x="811" y="150"/>
                  <a:pt x="812" y="148"/>
                </a:cubicBezTo>
                <a:cubicBezTo>
                  <a:pt x="813" y="147"/>
                  <a:pt x="810" y="143"/>
                  <a:pt x="810" y="143"/>
                </a:cubicBezTo>
                <a:cubicBezTo>
                  <a:pt x="807" y="142"/>
                  <a:pt x="807" y="142"/>
                  <a:pt x="807" y="142"/>
                </a:cubicBezTo>
                <a:cubicBezTo>
                  <a:pt x="812" y="140"/>
                  <a:pt x="812" y="140"/>
                  <a:pt x="812" y="140"/>
                </a:cubicBezTo>
                <a:cubicBezTo>
                  <a:pt x="812" y="140"/>
                  <a:pt x="815" y="149"/>
                  <a:pt x="817" y="148"/>
                </a:cubicBezTo>
                <a:cubicBezTo>
                  <a:pt x="819" y="148"/>
                  <a:pt x="843" y="141"/>
                  <a:pt x="840" y="137"/>
                </a:cubicBezTo>
                <a:cubicBezTo>
                  <a:pt x="837" y="133"/>
                  <a:pt x="835" y="130"/>
                  <a:pt x="837" y="128"/>
                </a:cubicBezTo>
                <a:cubicBezTo>
                  <a:pt x="839" y="127"/>
                  <a:pt x="850" y="126"/>
                  <a:pt x="850" y="125"/>
                </a:cubicBezTo>
                <a:cubicBezTo>
                  <a:pt x="850" y="124"/>
                  <a:pt x="848" y="119"/>
                  <a:pt x="848" y="119"/>
                </a:cubicBezTo>
                <a:cubicBezTo>
                  <a:pt x="845" y="115"/>
                  <a:pt x="845" y="115"/>
                  <a:pt x="845" y="115"/>
                </a:cubicBezTo>
                <a:cubicBezTo>
                  <a:pt x="845" y="115"/>
                  <a:pt x="832" y="112"/>
                  <a:pt x="827" y="115"/>
                </a:cubicBezTo>
                <a:cubicBezTo>
                  <a:pt x="821" y="119"/>
                  <a:pt x="826" y="122"/>
                  <a:pt x="826" y="122"/>
                </a:cubicBezTo>
                <a:cubicBezTo>
                  <a:pt x="821" y="125"/>
                  <a:pt x="821" y="125"/>
                  <a:pt x="821" y="125"/>
                </a:cubicBezTo>
                <a:cubicBezTo>
                  <a:pt x="818" y="125"/>
                  <a:pt x="818" y="125"/>
                  <a:pt x="818" y="125"/>
                </a:cubicBezTo>
                <a:cubicBezTo>
                  <a:pt x="809" y="131"/>
                  <a:pt x="809" y="131"/>
                  <a:pt x="809" y="131"/>
                </a:cubicBezTo>
                <a:cubicBezTo>
                  <a:pt x="805" y="133"/>
                  <a:pt x="805" y="133"/>
                  <a:pt x="805" y="133"/>
                </a:cubicBezTo>
                <a:cubicBezTo>
                  <a:pt x="805" y="133"/>
                  <a:pt x="803" y="136"/>
                  <a:pt x="802" y="137"/>
                </a:cubicBezTo>
                <a:cubicBezTo>
                  <a:pt x="801" y="138"/>
                  <a:pt x="797" y="138"/>
                  <a:pt x="797" y="138"/>
                </a:cubicBezTo>
                <a:cubicBezTo>
                  <a:pt x="792" y="140"/>
                  <a:pt x="792" y="140"/>
                  <a:pt x="792" y="140"/>
                </a:cubicBezTo>
                <a:cubicBezTo>
                  <a:pt x="792" y="140"/>
                  <a:pt x="790" y="133"/>
                  <a:pt x="791" y="131"/>
                </a:cubicBezTo>
                <a:cubicBezTo>
                  <a:pt x="792" y="129"/>
                  <a:pt x="799" y="130"/>
                  <a:pt x="800" y="126"/>
                </a:cubicBezTo>
                <a:cubicBezTo>
                  <a:pt x="801" y="123"/>
                  <a:pt x="798" y="120"/>
                  <a:pt x="797" y="120"/>
                </a:cubicBezTo>
                <a:cubicBezTo>
                  <a:pt x="796" y="120"/>
                  <a:pt x="785" y="125"/>
                  <a:pt x="785" y="125"/>
                </a:cubicBezTo>
                <a:cubicBezTo>
                  <a:pt x="781" y="129"/>
                  <a:pt x="781" y="129"/>
                  <a:pt x="781" y="129"/>
                </a:cubicBezTo>
                <a:cubicBezTo>
                  <a:pt x="780" y="127"/>
                  <a:pt x="780" y="127"/>
                  <a:pt x="780" y="127"/>
                </a:cubicBezTo>
                <a:cubicBezTo>
                  <a:pt x="784" y="123"/>
                  <a:pt x="784" y="123"/>
                  <a:pt x="784" y="123"/>
                </a:cubicBezTo>
                <a:cubicBezTo>
                  <a:pt x="783" y="121"/>
                  <a:pt x="783" y="121"/>
                  <a:pt x="783" y="121"/>
                </a:cubicBezTo>
                <a:cubicBezTo>
                  <a:pt x="790" y="118"/>
                  <a:pt x="790" y="118"/>
                  <a:pt x="790" y="118"/>
                </a:cubicBezTo>
                <a:cubicBezTo>
                  <a:pt x="784" y="117"/>
                  <a:pt x="784" y="117"/>
                  <a:pt x="784" y="117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78" y="117"/>
                  <a:pt x="778" y="117"/>
                  <a:pt x="778" y="117"/>
                </a:cubicBezTo>
                <a:cubicBezTo>
                  <a:pt x="775" y="116"/>
                  <a:pt x="775" y="116"/>
                  <a:pt x="775" y="116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8" y="113"/>
                  <a:pt x="788" y="111"/>
                </a:cubicBezTo>
                <a:cubicBezTo>
                  <a:pt x="787" y="108"/>
                  <a:pt x="782" y="108"/>
                  <a:pt x="784" y="105"/>
                </a:cubicBezTo>
                <a:cubicBezTo>
                  <a:pt x="787" y="101"/>
                  <a:pt x="789" y="96"/>
                  <a:pt x="786" y="96"/>
                </a:cubicBezTo>
                <a:cubicBezTo>
                  <a:pt x="780" y="94"/>
                  <a:pt x="780" y="94"/>
                  <a:pt x="780" y="94"/>
                </a:cubicBezTo>
                <a:cubicBezTo>
                  <a:pt x="776" y="95"/>
                  <a:pt x="776" y="95"/>
                  <a:pt x="776" y="95"/>
                </a:cubicBezTo>
                <a:cubicBezTo>
                  <a:pt x="776" y="95"/>
                  <a:pt x="771" y="96"/>
                  <a:pt x="771" y="97"/>
                </a:cubicBezTo>
                <a:cubicBezTo>
                  <a:pt x="770" y="98"/>
                  <a:pt x="772" y="99"/>
                  <a:pt x="771" y="100"/>
                </a:cubicBezTo>
                <a:cubicBezTo>
                  <a:pt x="769" y="100"/>
                  <a:pt x="762" y="98"/>
                  <a:pt x="760" y="100"/>
                </a:cubicBezTo>
                <a:cubicBezTo>
                  <a:pt x="759" y="102"/>
                  <a:pt x="755" y="104"/>
                  <a:pt x="757" y="105"/>
                </a:cubicBezTo>
                <a:cubicBezTo>
                  <a:pt x="759" y="106"/>
                  <a:pt x="761" y="106"/>
                  <a:pt x="761" y="106"/>
                </a:cubicBezTo>
                <a:cubicBezTo>
                  <a:pt x="761" y="106"/>
                  <a:pt x="751" y="109"/>
                  <a:pt x="751" y="112"/>
                </a:cubicBezTo>
                <a:cubicBezTo>
                  <a:pt x="752" y="114"/>
                  <a:pt x="757" y="116"/>
                  <a:pt x="757" y="116"/>
                </a:cubicBezTo>
                <a:cubicBezTo>
                  <a:pt x="761" y="115"/>
                  <a:pt x="761" y="115"/>
                  <a:pt x="761" y="115"/>
                </a:cubicBezTo>
                <a:cubicBezTo>
                  <a:pt x="761" y="115"/>
                  <a:pt x="760" y="119"/>
                  <a:pt x="762" y="119"/>
                </a:cubicBezTo>
                <a:cubicBezTo>
                  <a:pt x="763" y="118"/>
                  <a:pt x="769" y="117"/>
                  <a:pt x="767" y="119"/>
                </a:cubicBezTo>
                <a:cubicBezTo>
                  <a:pt x="764" y="120"/>
                  <a:pt x="763" y="120"/>
                  <a:pt x="763" y="120"/>
                </a:cubicBezTo>
                <a:cubicBezTo>
                  <a:pt x="760" y="119"/>
                  <a:pt x="760" y="119"/>
                  <a:pt x="760" y="119"/>
                </a:cubicBezTo>
                <a:cubicBezTo>
                  <a:pt x="759" y="121"/>
                  <a:pt x="759" y="121"/>
                  <a:pt x="759" y="121"/>
                </a:cubicBezTo>
                <a:cubicBezTo>
                  <a:pt x="759" y="121"/>
                  <a:pt x="752" y="122"/>
                  <a:pt x="754" y="123"/>
                </a:cubicBezTo>
                <a:cubicBezTo>
                  <a:pt x="757" y="124"/>
                  <a:pt x="763" y="120"/>
                  <a:pt x="761" y="122"/>
                </a:cubicBezTo>
                <a:cubicBezTo>
                  <a:pt x="760" y="125"/>
                  <a:pt x="756" y="127"/>
                  <a:pt x="753" y="128"/>
                </a:cubicBezTo>
                <a:cubicBezTo>
                  <a:pt x="751" y="129"/>
                  <a:pt x="746" y="132"/>
                  <a:pt x="746" y="132"/>
                </a:cubicBezTo>
                <a:cubicBezTo>
                  <a:pt x="746" y="132"/>
                  <a:pt x="742" y="129"/>
                  <a:pt x="741" y="131"/>
                </a:cubicBezTo>
                <a:cubicBezTo>
                  <a:pt x="740" y="132"/>
                  <a:pt x="736" y="134"/>
                  <a:pt x="736" y="136"/>
                </a:cubicBezTo>
                <a:cubicBezTo>
                  <a:pt x="736" y="138"/>
                  <a:pt x="735" y="140"/>
                  <a:pt x="735" y="140"/>
                </a:cubicBezTo>
                <a:cubicBezTo>
                  <a:pt x="734" y="138"/>
                  <a:pt x="734" y="138"/>
                  <a:pt x="734" y="138"/>
                </a:cubicBezTo>
                <a:cubicBezTo>
                  <a:pt x="734" y="138"/>
                  <a:pt x="729" y="138"/>
                  <a:pt x="729" y="136"/>
                </a:cubicBezTo>
                <a:cubicBezTo>
                  <a:pt x="730" y="135"/>
                  <a:pt x="738" y="129"/>
                  <a:pt x="738" y="129"/>
                </a:cubicBezTo>
                <a:cubicBezTo>
                  <a:pt x="733" y="129"/>
                  <a:pt x="733" y="129"/>
                  <a:pt x="733" y="129"/>
                </a:cubicBezTo>
                <a:cubicBezTo>
                  <a:pt x="733" y="129"/>
                  <a:pt x="732" y="126"/>
                  <a:pt x="730" y="126"/>
                </a:cubicBezTo>
                <a:cubicBezTo>
                  <a:pt x="729" y="126"/>
                  <a:pt x="725" y="128"/>
                  <a:pt x="725" y="128"/>
                </a:cubicBezTo>
                <a:cubicBezTo>
                  <a:pt x="725" y="128"/>
                  <a:pt x="721" y="126"/>
                  <a:pt x="720" y="128"/>
                </a:cubicBezTo>
                <a:cubicBezTo>
                  <a:pt x="720" y="129"/>
                  <a:pt x="719" y="131"/>
                  <a:pt x="720" y="131"/>
                </a:cubicBezTo>
                <a:cubicBezTo>
                  <a:pt x="721" y="131"/>
                  <a:pt x="727" y="134"/>
                  <a:pt x="725" y="135"/>
                </a:cubicBezTo>
                <a:cubicBezTo>
                  <a:pt x="723" y="135"/>
                  <a:pt x="719" y="132"/>
                  <a:pt x="719" y="132"/>
                </a:cubicBezTo>
                <a:cubicBezTo>
                  <a:pt x="716" y="130"/>
                  <a:pt x="716" y="130"/>
                  <a:pt x="716" y="130"/>
                </a:cubicBezTo>
                <a:cubicBezTo>
                  <a:pt x="716" y="134"/>
                  <a:pt x="716" y="134"/>
                  <a:pt x="716" y="134"/>
                </a:cubicBezTo>
                <a:cubicBezTo>
                  <a:pt x="716" y="134"/>
                  <a:pt x="713" y="136"/>
                  <a:pt x="711" y="136"/>
                </a:cubicBezTo>
                <a:cubicBezTo>
                  <a:pt x="709" y="135"/>
                  <a:pt x="702" y="134"/>
                  <a:pt x="700" y="134"/>
                </a:cubicBezTo>
                <a:cubicBezTo>
                  <a:pt x="698" y="134"/>
                  <a:pt x="693" y="134"/>
                  <a:pt x="691" y="134"/>
                </a:cubicBezTo>
                <a:cubicBezTo>
                  <a:pt x="688" y="134"/>
                  <a:pt x="685" y="130"/>
                  <a:pt x="685" y="130"/>
                </a:cubicBezTo>
                <a:cubicBezTo>
                  <a:pt x="677" y="131"/>
                  <a:pt x="677" y="131"/>
                  <a:pt x="677" y="131"/>
                </a:cubicBezTo>
                <a:cubicBezTo>
                  <a:pt x="677" y="131"/>
                  <a:pt x="673" y="128"/>
                  <a:pt x="672" y="128"/>
                </a:cubicBezTo>
                <a:cubicBezTo>
                  <a:pt x="670" y="127"/>
                  <a:pt x="667" y="127"/>
                  <a:pt x="664" y="129"/>
                </a:cubicBezTo>
                <a:cubicBezTo>
                  <a:pt x="662" y="130"/>
                  <a:pt x="663" y="130"/>
                  <a:pt x="660" y="130"/>
                </a:cubicBezTo>
                <a:cubicBezTo>
                  <a:pt x="657" y="130"/>
                  <a:pt x="651" y="129"/>
                  <a:pt x="650" y="131"/>
                </a:cubicBezTo>
                <a:cubicBezTo>
                  <a:pt x="648" y="133"/>
                  <a:pt x="646" y="138"/>
                  <a:pt x="646" y="138"/>
                </a:cubicBezTo>
                <a:cubicBezTo>
                  <a:pt x="644" y="142"/>
                  <a:pt x="644" y="142"/>
                  <a:pt x="644" y="142"/>
                </a:cubicBezTo>
                <a:cubicBezTo>
                  <a:pt x="640" y="143"/>
                  <a:pt x="640" y="143"/>
                  <a:pt x="640" y="143"/>
                </a:cubicBezTo>
                <a:cubicBezTo>
                  <a:pt x="639" y="147"/>
                  <a:pt x="639" y="147"/>
                  <a:pt x="639" y="147"/>
                </a:cubicBezTo>
                <a:cubicBezTo>
                  <a:pt x="636" y="140"/>
                  <a:pt x="636" y="140"/>
                  <a:pt x="636" y="140"/>
                </a:cubicBezTo>
                <a:cubicBezTo>
                  <a:pt x="636" y="140"/>
                  <a:pt x="644" y="142"/>
                  <a:pt x="642" y="138"/>
                </a:cubicBezTo>
                <a:cubicBezTo>
                  <a:pt x="640" y="134"/>
                  <a:pt x="633" y="134"/>
                  <a:pt x="633" y="134"/>
                </a:cubicBezTo>
                <a:cubicBezTo>
                  <a:pt x="634" y="132"/>
                  <a:pt x="634" y="132"/>
                  <a:pt x="634" y="132"/>
                </a:cubicBezTo>
                <a:cubicBezTo>
                  <a:pt x="634" y="132"/>
                  <a:pt x="619" y="134"/>
                  <a:pt x="611" y="134"/>
                </a:cubicBezTo>
                <a:cubicBezTo>
                  <a:pt x="604" y="134"/>
                  <a:pt x="590" y="134"/>
                  <a:pt x="593" y="132"/>
                </a:cubicBezTo>
                <a:cubicBezTo>
                  <a:pt x="595" y="131"/>
                  <a:pt x="613" y="132"/>
                  <a:pt x="609" y="127"/>
                </a:cubicBezTo>
                <a:cubicBezTo>
                  <a:pt x="604" y="122"/>
                  <a:pt x="600" y="122"/>
                  <a:pt x="595" y="122"/>
                </a:cubicBezTo>
                <a:cubicBezTo>
                  <a:pt x="590" y="123"/>
                  <a:pt x="582" y="120"/>
                  <a:pt x="581" y="119"/>
                </a:cubicBezTo>
                <a:cubicBezTo>
                  <a:pt x="580" y="119"/>
                  <a:pt x="576" y="119"/>
                  <a:pt x="576" y="119"/>
                </a:cubicBezTo>
                <a:cubicBezTo>
                  <a:pt x="576" y="119"/>
                  <a:pt x="566" y="113"/>
                  <a:pt x="562" y="113"/>
                </a:cubicBezTo>
                <a:cubicBezTo>
                  <a:pt x="558" y="113"/>
                  <a:pt x="552" y="119"/>
                  <a:pt x="552" y="119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48" y="116"/>
                  <a:pt x="548" y="116"/>
                  <a:pt x="548" y="116"/>
                </a:cubicBezTo>
                <a:cubicBezTo>
                  <a:pt x="548" y="115"/>
                  <a:pt x="548" y="115"/>
                  <a:pt x="548" y="115"/>
                </a:cubicBezTo>
                <a:cubicBezTo>
                  <a:pt x="552" y="110"/>
                  <a:pt x="552" y="110"/>
                  <a:pt x="552" y="110"/>
                </a:cubicBezTo>
                <a:cubicBezTo>
                  <a:pt x="552" y="110"/>
                  <a:pt x="544" y="114"/>
                  <a:pt x="542" y="116"/>
                </a:cubicBezTo>
                <a:cubicBezTo>
                  <a:pt x="541" y="117"/>
                  <a:pt x="537" y="122"/>
                  <a:pt x="534" y="119"/>
                </a:cubicBezTo>
                <a:cubicBezTo>
                  <a:pt x="531" y="115"/>
                  <a:pt x="536" y="112"/>
                  <a:pt x="535" y="110"/>
                </a:cubicBezTo>
                <a:cubicBezTo>
                  <a:pt x="534" y="107"/>
                  <a:pt x="530" y="105"/>
                  <a:pt x="529" y="107"/>
                </a:cubicBezTo>
                <a:cubicBezTo>
                  <a:pt x="528" y="109"/>
                  <a:pt x="531" y="110"/>
                  <a:pt x="531" y="110"/>
                </a:cubicBezTo>
                <a:cubicBezTo>
                  <a:pt x="531" y="110"/>
                  <a:pt x="527" y="110"/>
                  <a:pt x="525" y="111"/>
                </a:cubicBezTo>
                <a:cubicBezTo>
                  <a:pt x="522" y="111"/>
                  <a:pt x="519" y="114"/>
                  <a:pt x="518" y="115"/>
                </a:cubicBezTo>
                <a:cubicBezTo>
                  <a:pt x="517" y="115"/>
                  <a:pt x="513" y="114"/>
                  <a:pt x="513" y="114"/>
                </a:cubicBezTo>
                <a:cubicBezTo>
                  <a:pt x="513" y="114"/>
                  <a:pt x="503" y="116"/>
                  <a:pt x="502" y="117"/>
                </a:cubicBezTo>
                <a:cubicBezTo>
                  <a:pt x="501" y="117"/>
                  <a:pt x="496" y="120"/>
                  <a:pt x="496" y="120"/>
                </a:cubicBezTo>
                <a:cubicBezTo>
                  <a:pt x="493" y="117"/>
                  <a:pt x="493" y="117"/>
                  <a:pt x="493" y="117"/>
                </a:cubicBezTo>
                <a:cubicBezTo>
                  <a:pt x="493" y="117"/>
                  <a:pt x="486" y="121"/>
                  <a:pt x="484" y="121"/>
                </a:cubicBezTo>
                <a:cubicBezTo>
                  <a:pt x="482" y="121"/>
                  <a:pt x="478" y="124"/>
                  <a:pt x="478" y="124"/>
                </a:cubicBezTo>
                <a:cubicBezTo>
                  <a:pt x="474" y="124"/>
                  <a:pt x="474" y="124"/>
                  <a:pt x="474" y="124"/>
                </a:cubicBezTo>
                <a:cubicBezTo>
                  <a:pt x="474" y="124"/>
                  <a:pt x="477" y="120"/>
                  <a:pt x="481" y="120"/>
                </a:cubicBezTo>
                <a:cubicBezTo>
                  <a:pt x="484" y="119"/>
                  <a:pt x="491" y="116"/>
                  <a:pt x="491" y="116"/>
                </a:cubicBezTo>
                <a:cubicBezTo>
                  <a:pt x="491" y="116"/>
                  <a:pt x="497" y="117"/>
                  <a:pt x="500" y="116"/>
                </a:cubicBezTo>
                <a:cubicBezTo>
                  <a:pt x="502" y="115"/>
                  <a:pt x="515" y="112"/>
                  <a:pt x="515" y="112"/>
                </a:cubicBezTo>
                <a:cubicBezTo>
                  <a:pt x="515" y="112"/>
                  <a:pt x="517" y="111"/>
                  <a:pt x="516" y="110"/>
                </a:cubicBezTo>
                <a:cubicBezTo>
                  <a:pt x="514" y="109"/>
                  <a:pt x="510" y="111"/>
                  <a:pt x="510" y="111"/>
                </a:cubicBezTo>
                <a:cubicBezTo>
                  <a:pt x="510" y="111"/>
                  <a:pt x="506" y="111"/>
                  <a:pt x="505" y="111"/>
                </a:cubicBezTo>
                <a:cubicBezTo>
                  <a:pt x="503" y="111"/>
                  <a:pt x="502" y="113"/>
                  <a:pt x="501" y="113"/>
                </a:cubicBezTo>
                <a:cubicBezTo>
                  <a:pt x="500" y="113"/>
                  <a:pt x="496" y="113"/>
                  <a:pt x="496" y="113"/>
                </a:cubicBezTo>
                <a:cubicBezTo>
                  <a:pt x="492" y="114"/>
                  <a:pt x="492" y="114"/>
                  <a:pt x="492" y="114"/>
                </a:cubicBezTo>
                <a:cubicBezTo>
                  <a:pt x="492" y="114"/>
                  <a:pt x="489" y="114"/>
                  <a:pt x="486" y="115"/>
                </a:cubicBezTo>
                <a:cubicBezTo>
                  <a:pt x="484" y="115"/>
                  <a:pt x="482" y="118"/>
                  <a:pt x="482" y="118"/>
                </a:cubicBezTo>
                <a:cubicBezTo>
                  <a:pt x="479" y="118"/>
                  <a:pt x="479" y="118"/>
                  <a:pt x="479" y="118"/>
                </a:cubicBezTo>
                <a:cubicBezTo>
                  <a:pt x="471" y="121"/>
                  <a:pt x="471" y="121"/>
                  <a:pt x="471" y="121"/>
                </a:cubicBezTo>
                <a:cubicBezTo>
                  <a:pt x="471" y="121"/>
                  <a:pt x="468" y="122"/>
                  <a:pt x="468" y="122"/>
                </a:cubicBezTo>
                <a:cubicBezTo>
                  <a:pt x="467" y="123"/>
                  <a:pt x="467" y="126"/>
                  <a:pt x="465" y="125"/>
                </a:cubicBezTo>
                <a:cubicBezTo>
                  <a:pt x="464" y="125"/>
                  <a:pt x="463" y="121"/>
                  <a:pt x="466" y="121"/>
                </a:cubicBezTo>
                <a:cubicBezTo>
                  <a:pt x="468" y="121"/>
                  <a:pt x="474" y="119"/>
                  <a:pt x="476" y="117"/>
                </a:cubicBezTo>
                <a:cubicBezTo>
                  <a:pt x="478" y="116"/>
                  <a:pt x="469" y="115"/>
                  <a:pt x="468" y="117"/>
                </a:cubicBezTo>
                <a:cubicBezTo>
                  <a:pt x="466" y="119"/>
                  <a:pt x="460" y="120"/>
                  <a:pt x="459" y="120"/>
                </a:cubicBezTo>
                <a:cubicBezTo>
                  <a:pt x="458" y="120"/>
                  <a:pt x="458" y="125"/>
                  <a:pt x="458" y="125"/>
                </a:cubicBezTo>
                <a:cubicBezTo>
                  <a:pt x="454" y="123"/>
                  <a:pt x="454" y="123"/>
                  <a:pt x="454" y="123"/>
                </a:cubicBezTo>
                <a:cubicBezTo>
                  <a:pt x="445" y="122"/>
                  <a:pt x="445" y="122"/>
                  <a:pt x="445" y="122"/>
                </a:cubicBezTo>
                <a:cubicBezTo>
                  <a:pt x="445" y="122"/>
                  <a:pt x="440" y="120"/>
                  <a:pt x="440" y="119"/>
                </a:cubicBezTo>
                <a:cubicBezTo>
                  <a:pt x="441" y="117"/>
                  <a:pt x="442" y="116"/>
                  <a:pt x="442" y="116"/>
                </a:cubicBezTo>
                <a:cubicBezTo>
                  <a:pt x="426" y="116"/>
                  <a:pt x="426" y="116"/>
                  <a:pt x="426" y="116"/>
                </a:cubicBezTo>
                <a:cubicBezTo>
                  <a:pt x="426" y="116"/>
                  <a:pt x="426" y="111"/>
                  <a:pt x="420" y="111"/>
                </a:cubicBezTo>
                <a:cubicBezTo>
                  <a:pt x="415" y="112"/>
                  <a:pt x="408" y="114"/>
                  <a:pt x="407" y="114"/>
                </a:cubicBezTo>
                <a:cubicBezTo>
                  <a:pt x="407" y="114"/>
                  <a:pt x="401" y="111"/>
                  <a:pt x="400" y="110"/>
                </a:cubicBezTo>
                <a:cubicBezTo>
                  <a:pt x="399" y="110"/>
                  <a:pt x="389" y="110"/>
                  <a:pt x="389" y="110"/>
                </a:cubicBezTo>
                <a:cubicBezTo>
                  <a:pt x="389" y="110"/>
                  <a:pt x="385" y="108"/>
                  <a:pt x="382" y="108"/>
                </a:cubicBezTo>
                <a:cubicBezTo>
                  <a:pt x="378" y="108"/>
                  <a:pt x="363" y="108"/>
                  <a:pt x="362" y="108"/>
                </a:cubicBezTo>
                <a:cubicBezTo>
                  <a:pt x="362" y="108"/>
                  <a:pt x="363" y="105"/>
                  <a:pt x="363" y="105"/>
                </a:cubicBezTo>
                <a:cubicBezTo>
                  <a:pt x="363" y="105"/>
                  <a:pt x="355" y="104"/>
                  <a:pt x="354" y="104"/>
                </a:cubicBezTo>
                <a:cubicBezTo>
                  <a:pt x="353" y="104"/>
                  <a:pt x="346" y="105"/>
                  <a:pt x="346" y="105"/>
                </a:cubicBezTo>
                <a:cubicBezTo>
                  <a:pt x="351" y="101"/>
                  <a:pt x="351" y="101"/>
                  <a:pt x="351" y="101"/>
                </a:cubicBezTo>
                <a:cubicBezTo>
                  <a:pt x="339" y="105"/>
                  <a:pt x="339" y="105"/>
                  <a:pt x="339" y="105"/>
                </a:cubicBezTo>
                <a:cubicBezTo>
                  <a:pt x="344" y="101"/>
                  <a:pt x="344" y="101"/>
                  <a:pt x="344" y="101"/>
                </a:cubicBezTo>
                <a:cubicBezTo>
                  <a:pt x="339" y="100"/>
                  <a:pt x="339" y="100"/>
                  <a:pt x="339" y="100"/>
                </a:cubicBezTo>
                <a:cubicBezTo>
                  <a:pt x="339" y="100"/>
                  <a:pt x="333" y="105"/>
                  <a:pt x="327" y="105"/>
                </a:cubicBezTo>
                <a:cubicBezTo>
                  <a:pt x="320" y="105"/>
                  <a:pt x="311" y="104"/>
                  <a:pt x="309" y="105"/>
                </a:cubicBezTo>
                <a:cubicBezTo>
                  <a:pt x="307" y="107"/>
                  <a:pt x="301" y="108"/>
                  <a:pt x="301" y="108"/>
                </a:cubicBezTo>
                <a:cubicBezTo>
                  <a:pt x="301" y="108"/>
                  <a:pt x="291" y="108"/>
                  <a:pt x="285" y="109"/>
                </a:cubicBezTo>
                <a:cubicBezTo>
                  <a:pt x="280" y="110"/>
                  <a:pt x="267" y="119"/>
                  <a:pt x="258" y="121"/>
                </a:cubicBezTo>
                <a:cubicBezTo>
                  <a:pt x="250" y="122"/>
                  <a:pt x="239" y="123"/>
                  <a:pt x="239" y="123"/>
                </a:cubicBezTo>
                <a:cubicBezTo>
                  <a:pt x="239" y="123"/>
                  <a:pt x="226" y="127"/>
                  <a:pt x="226" y="128"/>
                </a:cubicBezTo>
                <a:cubicBezTo>
                  <a:pt x="227" y="129"/>
                  <a:pt x="231" y="131"/>
                  <a:pt x="231" y="131"/>
                </a:cubicBezTo>
                <a:cubicBezTo>
                  <a:pt x="231" y="131"/>
                  <a:pt x="234" y="136"/>
                  <a:pt x="233" y="137"/>
                </a:cubicBezTo>
                <a:cubicBezTo>
                  <a:pt x="231" y="138"/>
                  <a:pt x="230" y="139"/>
                  <a:pt x="230" y="139"/>
                </a:cubicBezTo>
                <a:cubicBezTo>
                  <a:pt x="242" y="140"/>
                  <a:pt x="242" y="140"/>
                  <a:pt x="242" y="140"/>
                </a:cubicBezTo>
                <a:cubicBezTo>
                  <a:pt x="238" y="144"/>
                  <a:pt x="238" y="144"/>
                  <a:pt x="238" y="144"/>
                </a:cubicBezTo>
                <a:cubicBezTo>
                  <a:pt x="247" y="145"/>
                  <a:pt x="247" y="145"/>
                  <a:pt x="247" y="145"/>
                </a:cubicBezTo>
                <a:cubicBezTo>
                  <a:pt x="246" y="147"/>
                  <a:pt x="246" y="147"/>
                  <a:pt x="246" y="147"/>
                </a:cubicBezTo>
                <a:cubicBezTo>
                  <a:pt x="238" y="147"/>
                  <a:pt x="238" y="147"/>
                  <a:pt x="238" y="147"/>
                </a:cubicBezTo>
                <a:cubicBezTo>
                  <a:pt x="237" y="149"/>
                  <a:pt x="237" y="149"/>
                  <a:pt x="237" y="149"/>
                </a:cubicBezTo>
                <a:cubicBezTo>
                  <a:pt x="232" y="149"/>
                  <a:pt x="232" y="149"/>
                  <a:pt x="232" y="149"/>
                </a:cubicBezTo>
                <a:cubicBezTo>
                  <a:pt x="232" y="149"/>
                  <a:pt x="225" y="150"/>
                  <a:pt x="220" y="150"/>
                </a:cubicBezTo>
                <a:cubicBezTo>
                  <a:pt x="215" y="150"/>
                  <a:pt x="216" y="148"/>
                  <a:pt x="219" y="147"/>
                </a:cubicBezTo>
                <a:cubicBezTo>
                  <a:pt x="222" y="146"/>
                  <a:pt x="213" y="145"/>
                  <a:pt x="213" y="145"/>
                </a:cubicBezTo>
                <a:cubicBezTo>
                  <a:pt x="213" y="145"/>
                  <a:pt x="203" y="145"/>
                  <a:pt x="202" y="147"/>
                </a:cubicBezTo>
                <a:cubicBezTo>
                  <a:pt x="202" y="148"/>
                  <a:pt x="203" y="149"/>
                  <a:pt x="203" y="149"/>
                </a:cubicBezTo>
                <a:cubicBezTo>
                  <a:pt x="203" y="149"/>
                  <a:pt x="195" y="150"/>
                  <a:pt x="191" y="150"/>
                </a:cubicBezTo>
                <a:cubicBezTo>
                  <a:pt x="186" y="151"/>
                  <a:pt x="172" y="154"/>
                  <a:pt x="175" y="155"/>
                </a:cubicBezTo>
                <a:cubicBezTo>
                  <a:pt x="179" y="156"/>
                  <a:pt x="183" y="157"/>
                  <a:pt x="183" y="157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6" y="165"/>
                  <a:pt x="181" y="165"/>
                  <a:pt x="184" y="165"/>
                </a:cubicBezTo>
                <a:cubicBezTo>
                  <a:pt x="187" y="165"/>
                  <a:pt x="190" y="165"/>
                  <a:pt x="190" y="165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4"/>
                  <a:pt x="198" y="164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00" y="166"/>
                  <a:pt x="207" y="162"/>
                  <a:pt x="208" y="162"/>
                </a:cubicBezTo>
                <a:cubicBezTo>
                  <a:pt x="209" y="162"/>
                  <a:pt x="211" y="164"/>
                  <a:pt x="213" y="163"/>
                </a:cubicBezTo>
                <a:cubicBezTo>
                  <a:pt x="215" y="162"/>
                  <a:pt x="219" y="159"/>
                  <a:pt x="219" y="161"/>
                </a:cubicBezTo>
                <a:cubicBezTo>
                  <a:pt x="219" y="163"/>
                  <a:pt x="217" y="165"/>
                  <a:pt x="217" y="165"/>
                </a:cubicBezTo>
                <a:cubicBezTo>
                  <a:pt x="209" y="166"/>
                  <a:pt x="209" y="166"/>
                  <a:pt x="209" y="166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10" y="170"/>
                  <a:pt x="204" y="176"/>
                  <a:pt x="200" y="176"/>
                </a:cubicBezTo>
                <a:cubicBezTo>
                  <a:pt x="197" y="176"/>
                  <a:pt x="192" y="176"/>
                  <a:pt x="192" y="176"/>
                </a:cubicBezTo>
                <a:cubicBezTo>
                  <a:pt x="190" y="174"/>
                  <a:pt x="190" y="174"/>
                  <a:pt x="190" y="174"/>
                </a:cubicBezTo>
                <a:cubicBezTo>
                  <a:pt x="188" y="175"/>
                  <a:pt x="188" y="175"/>
                  <a:pt x="188" y="175"/>
                </a:cubicBezTo>
                <a:cubicBezTo>
                  <a:pt x="188" y="177"/>
                  <a:pt x="188" y="177"/>
                  <a:pt x="188" y="177"/>
                </a:cubicBezTo>
                <a:cubicBezTo>
                  <a:pt x="188" y="177"/>
                  <a:pt x="179" y="182"/>
                  <a:pt x="177" y="180"/>
                </a:cubicBezTo>
                <a:cubicBezTo>
                  <a:pt x="174" y="178"/>
                  <a:pt x="172" y="178"/>
                  <a:pt x="172" y="178"/>
                </a:cubicBezTo>
                <a:cubicBezTo>
                  <a:pt x="159" y="185"/>
                  <a:pt x="159" y="185"/>
                  <a:pt x="159" y="185"/>
                </a:cubicBezTo>
                <a:cubicBezTo>
                  <a:pt x="157" y="188"/>
                  <a:pt x="157" y="188"/>
                  <a:pt x="157" y="188"/>
                </a:cubicBezTo>
                <a:cubicBezTo>
                  <a:pt x="156" y="185"/>
                  <a:pt x="156" y="185"/>
                  <a:pt x="156" y="185"/>
                </a:cubicBezTo>
                <a:cubicBezTo>
                  <a:pt x="156" y="185"/>
                  <a:pt x="151" y="187"/>
                  <a:pt x="148" y="188"/>
                </a:cubicBezTo>
                <a:cubicBezTo>
                  <a:pt x="145" y="189"/>
                  <a:pt x="143" y="192"/>
                  <a:pt x="143" y="192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39" y="194"/>
                  <a:pt x="139" y="194"/>
                  <a:pt x="139" y="194"/>
                </a:cubicBezTo>
                <a:cubicBezTo>
                  <a:pt x="139" y="194"/>
                  <a:pt x="136" y="193"/>
                  <a:pt x="135" y="194"/>
                </a:cubicBezTo>
                <a:cubicBezTo>
                  <a:pt x="135" y="195"/>
                  <a:pt x="135" y="197"/>
                  <a:pt x="135" y="197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41" y="196"/>
                  <a:pt x="141" y="196"/>
                  <a:pt x="141" y="196"/>
                </a:cubicBezTo>
                <a:cubicBezTo>
                  <a:pt x="138" y="198"/>
                  <a:pt x="138" y="198"/>
                  <a:pt x="138" y="198"/>
                </a:cubicBezTo>
                <a:cubicBezTo>
                  <a:pt x="138" y="200"/>
                  <a:pt x="138" y="200"/>
                  <a:pt x="138" y="200"/>
                </a:cubicBezTo>
                <a:cubicBezTo>
                  <a:pt x="136" y="201"/>
                  <a:pt x="136" y="201"/>
                  <a:pt x="136" y="201"/>
                </a:cubicBezTo>
                <a:cubicBezTo>
                  <a:pt x="136" y="201"/>
                  <a:pt x="146" y="201"/>
                  <a:pt x="144" y="203"/>
                </a:cubicBezTo>
                <a:cubicBezTo>
                  <a:pt x="142" y="205"/>
                  <a:pt x="138" y="205"/>
                  <a:pt x="138" y="205"/>
                </a:cubicBezTo>
                <a:cubicBezTo>
                  <a:pt x="134" y="205"/>
                  <a:pt x="134" y="205"/>
                  <a:pt x="134" y="205"/>
                </a:cubicBezTo>
                <a:cubicBezTo>
                  <a:pt x="136" y="204"/>
                  <a:pt x="136" y="204"/>
                  <a:pt x="136" y="204"/>
                </a:cubicBezTo>
                <a:cubicBezTo>
                  <a:pt x="134" y="203"/>
                  <a:pt x="134" y="203"/>
                  <a:pt x="134" y="203"/>
                </a:cubicBezTo>
                <a:cubicBezTo>
                  <a:pt x="134" y="203"/>
                  <a:pt x="128" y="205"/>
                  <a:pt x="128" y="206"/>
                </a:cubicBezTo>
                <a:cubicBezTo>
                  <a:pt x="128" y="206"/>
                  <a:pt x="130" y="207"/>
                  <a:pt x="130" y="207"/>
                </a:cubicBezTo>
                <a:cubicBezTo>
                  <a:pt x="130" y="207"/>
                  <a:pt x="127" y="213"/>
                  <a:pt x="128" y="213"/>
                </a:cubicBezTo>
                <a:cubicBezTo>
                  <a:pt x="129" y="213"/>
                  <a:pt x="138" y="212"/>
                  <a:pt x="138" y="212"/>
                </a:cubicBezTo>
                <a:cubicBezTo>
                  <a:pt x="145" y="209"/>
                  <a:pt x="145" y="209"/>
                  <a:pt x="145" y="209"/>
                </a:cubicBezTo>
                <a:cubicBezTo>
                  <a:pt x="154" y="205"/>
                  <a:pt x="154" y="205"/>
                  <a:pt x="154" y="205"/>
                </a:cubicBezTo>
                <a:cubicBezTo>
                  <a:pt x="154" y="205"/>
                  <a:pt x="145" y="209"/>
                  <a:pt x="144" y="211"/>
                </a:cubicBezTo>
                <a:cubicBezTo>
                  <a:pt x="143" y="212"/>
                  <a:pt x="143" y="216"/>
                  <a:pt x="142" y="216"/>
                </a:cubicBezTo>
                <a:cubicBezTo>
                  <a:pt x="140" y="217"/>
                  <a:pt x="138" y="215"/>
                  <a:pt x="137" y="217"/>
                </a:cubicBezTo>
                <a:cubicBezTo>
                  <a:pt x="135" y="219"/>
                  <a:pt x="135" y="221"/>
                  <a:pt x="133" y="222"/>
                </a:cubicBezTo>
                <a:cubicBezTo>
                  <a:pt x="132" y="223"/>
                  <a:pt x="129" y="225"/>
                  <a:pt x="129" y="225"/>
                </a:cubicBezTo>
                <a:cubicBezTo>
                  <a:pt x="137" y="224"/>
                  <a:pt x="137" y="224"/>
                  <a:pt x="137" y="224"/>
                </a:cubicBezTo>
                <a:cubicBezTo>
                  <a:pt x="135" y="227"/>
                  <a:pt x="135" y="227"/>
                  <a:pt x="135" y="227"/>
                </a:cubicBezTo>
                <a:cubicBezTo>
                  <a:pt x="135" y="227"/>
                  <a:pt x="142" y="220"/>
                  <a:pt x="145" y="221"/>
                </a:cubicBezTo>
                <a:cubicBezTo>
                  <a:pt x="149" y="221"/>
                  <a:pt x="147" y="223"/>
                  <a:pt x="147" y="223"/>
                </a:cubicBezTo>
                <a:cubicBezTo>
                  <a:pt x="150" y="222"/>
                  <a:pt x="150" y="222"/>
                  <a:pt x="150" y="222"/>
                </a:cubicBezTo>
                <a:cubicBezTo>
                  <a:pt x="150" y="222"/>
                  <a:pt x="148" y="227"/>
                  <a:pt x="150" y="227"/>
                </a:cubicBezTo>
                <a:cubicBezTo>
                  <a:pt x="153" y="227"/>
                  <a:pt x="157" y="223"/>
                  <a:pt x="157" y="223"/>
                </a:cubicBezTo>
                <a:cubicBezTo>
                  <a:pt x="163" y="220"/>
                  <a:pt x="163" y="220"/>
                  <a:pt x="163" y="220"/>
                </a:cubicBezTo>
                <a:cubicBezTo>
                  <a:pt x="164" y="222"/>
                  <a:pt x="164" y="222"/>
                  <a:pt x="164" y="222"/>
                </a:cubicBezTo>
                <a:cubicBezTo>
                  <a:pt x="160" y="222"/>
                  <a:pt x="160" y="222"/>
                  <a:pt x="160" y="222"/>
                </a:cubicBezTo>
                <a:cubicBezTo>
                  <a:pt x="160" y="222"/>
                  <a:pt x="157" y="225"/>
                  <a:pt x="159" y="225"/>
                </a:cubicBezTo>
                <a:cubicBezTo>
                  <a:pt x="162" y="225"/>
                  <a:pt x="171" y="222"/>
                  <a:pt x="171" y="222"/>
                </a:cubicBezTo>
                <a:cubicBezTo>
                  <a:pt x="177" y="220"/>
                  <a:pt x="177" y="220"/>
                  <a:pt x="177" y="220"/>
                </a:cubicBezTo>
                <a:cubicBezTo>
                  <a:pt x="171" y="223"/>
                  <a:pt x="171" y="223"/>
                  <a:pt x="171" y="223"/>
                </a:cubicBezTo>
                <a:cubicBezTo>
                  <a:pt x="171" y="225"/>
                  <a:pt x="171" y="225"/>
                  <a:pt x="171" y="225"/>
                </a:cubicBezTo>
                <a:cubicBezTo>
                  <a:pt x="171" y="225"/>
                  <a:pt x="167" y="226"/>
                  <a:pt x="164" y="226"/>
                </a:cubicBezTo>
                <a:cubicBezTo>
                  <a:pt x="162" y="227"/>
                  <a:pt x="160" y="230"/>
                  <a:pt x="160" y="23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51" y="235"/>
                  <a:pt x="151" y="235"/>
                  <a:pt x="151" y="235"/>
                </a:cubicBezTo>
                <a:cubicBezTo>
                  <a:pt x="151" y="237"/>
                  <a:pt x="151" y="237"/>
                  <a:pt x="151" y="237"/>
                </a:cubicBezTo>
                <a:cubicBezTo>
                  <a:pt x="146" y="237"/>
                  <a:pt x="146" y="237"/>
                  <a:pt x="146" y="237"/>
                </a:cubicBezTo>
                <a:cubicBezTo>
                  <a:pt x="146" y="237"/>
                  <a:pt x="136" y="239"/>
                  <a:pt x="135" y="240"/>
                </a:cubicBezTo>
                <a:cubicBezTo>
                  <a:pt x="134" y="242"/>
                  <a:pt x="135" y="245"/>
                  <a:pt x="133" y="245"/>
                </a:cubicBezTo>
                <a:cubicBezTo>
                  <a:pt x="131" y="245"/>
                  <a:pt x="126" y="245"/>
                  <a:pt x="122" y="245"/>
                </a:cubicBezTo>
                <a:cubicBezTo>
                  <a:pt x="119" y="246"/>
                  <a:pt x="108" y="254"/>
                  <a:pt x="108" y="254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3" y="257"/>
                  <a:pt x="103" y="257"/>
                  <a:pt x="103" y="257"/>
                </a:cubicBezTo>
                <a:cubicBezTo>
                  <a:pt x="103" y="254"/>
                  <a:pt x="103" y="254"/>
                  <a:pt x="103" y="254"/>
                </a:cubicBezTo>
                <a:cubicBezTo>
                  <a:pt x="103" y="254"/>
                  <a:pt x="96" y="253"/>
                  <a:pt x="94" y="255"/>
                </a:cubicBezTo>
                <a:cubicBezTo>
                  <a:pt x="91" y="256"/>
                  <a:pt x="86" y="258"/>
                  <a:pt x="86" y="258"/>
                </a:cubicBezTo>
                <a:cubicBezTo>
                  <a:pt x="84" y="258"/>
                  <a:pt x="84" y="258"/>
                  <a:pt x="84" y="258"/>
                </a:cubicBezTo>
                <a:cubicBezTo>
                  <a:pt x="85" y="259"/>
                  <a:pt x="85" y="259"/>
                  <a:pt x="85" y="259"/>
                </a:cubicBezTo>
                <a:cubicBezTo>
                  <a:pt x="81" y="260"/>
                  <a:pt x="81" y="260"/>
                  <a:pt x="81" y="260"/>
                </a:cubicBezTo>
                <a:cubicBezTo>
                  <a:pt x="79" y="261"/>
                  <a:pt x="79" y="261"/>
                  <a:pt x="79" y="261"/>
                </a:cubicBezTo>
                <a:cubicBezTo>
                  <a:pt x="76" y="261"/>
                  <a:pt x="76" y="261"/>
                  <a:pt x="76" y="261"/>
                </a:cubicBezTo>
                <a:cubicBezTo>
                  <a:pt x="72" y="264"/>
                  <a:pt x="72" y="264"/>
                  <a:pt x="72" y="264"/>
                </a:cubicBezTo>
                <a:cubicBezTo>
                  <a:pt x="73" y="265"/>
                  <a:pt x="73" y="265"/>
                  <a:pt x="73" y="265"/>
                </a:cubicBezTo>
                <a:cubicBezTo>
                  <a:pt x="75" y="263"/>
                  <a:pt x="75" y="263"/>
                  <a:pt x="75" y="263"/>
                </a:cubicBezTo>
                <a:cubicBezTo>
                  <a:pt x="78" y="264"/>
                  <a:pt x="78" y="264"/>
                  <a:pt x="78" y="264"/>
                </a:cubicBezTo>
                <a:cubicBezTo>
                  <a:pt x="81" y="262"/>
                  <a:pt x="81" y="262"/>
                  <a:pt x="81" y="262"/>
                </a:cubicBezTo>
                <a:cubicBezTo>
                  <a:pt x="81" y="263"/>
                  <a:pt x="81" y="263"/>
                  <a:pt x="81" y="263"/>
                </a:cubicBezTo>
                <a:cubicBezTo>
                  <a:pt x="81" y="263"/>
                  <a:pt x="86" y="263"/>
                  <a:pt x="87" y="262"/>
                </a:cubicBezTo>
                <a:cubicBezTo>
                  <a:pt x="89" y="260"/>
                  <a:pt x="92" y="257"/>
                  <a:pt x="94" y="257"/>
                </a:cubicBezTo>
                <a:cubicBezTo>
                  <a:pt x="96" y="256"/>
                  <a:pt x="94" y="260"/>
                  <a:pt x="97" y="260"/>
                </a:cubicBezTo>
                <a:cubicBezTo>
                  <a:pt x="100" y="260"/>
                  <a:pt x="108" y="256"/>
                  <a:pt x="108" y="256"/>
                </a:cubicBezTo>
                <a:cubicBezTo>
                  <a:pt x="112" y="258"/>
                  <a:pt x="112" y="258"/>
                  <a:pt x="112" y="258"/>
                </a:cubicBezTo>
                <a:cubicBezTo>
                  <a:pt x="115" y="255"/>
                  <a:pt x="115" y="255"/>
                  <a:pt x="115" y="255"/>
                </a:cubicBezTo>
                <a:cubicBezTo>
                  <a:pt x="115" y="255"/>
                  <a:pt x="122" y="255"/>
                  <a:pt x="125" y="253"/>
                </a:cubicBezTo>
                <a:cubicBezTo>
                  <a:pt x="127" y="251"/>
                  <a:pt x="130" y="248"/>
                  <a:pt x="131" y="248"/>
                </a:cubicBezTo>
                <a:cubicBezTo>
                  <a:pt x="133" y="248"/>
                  <a:pt x="136" y="248"/>
                  <a:pt x="136" y="248"/>
                </a:cubicBezTo>
                <a:cubicBezTo>
                  <a:pt x="137" y="246"/>
                  <a:pt x="137" y="246"/>
                  <a:pt x="137" y="246"/>
                </a:cubicBezTo>
                <a:cubicBezTo>
                  <a:pt x="142" y="246"/>
                  <a:pt x="142" y="246"/>
                  <a:pt x="142" y="246"/>
                </a:cubicBezTo>
                <a:cubicBezTo>
                  <a:pt x="143" y="245"/>
                  <a:pt x="143" y="245"/>
                  <a:pt x="143" y="245"/>
                </a:cubicBezTo>
                <a:cubicBezTo>
                  <a:pt x="143" y="245"/>
                  <a:pt x="150" y="243"/>
                  <a:pt x="153" y="242"/>
                </a:cubicBezTo>
                <a:cubicBezTo>
                  <a:pt x="156" y="240"/>
                  <a:pt x="159" y="238"/>
                  <a:pt x="159" y="238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176" y="232"/>
                  <a:pt x="176" y="232"/>
                  <a:pt x="176" y="232"/>
                </a:cubicBezTo>
                <a:cubicBezTo>
                  <a:pt x="176" y="232"/>
                  <a:pt x="185" y="232"/>
                  <a:pt x="187" y="230"/>
                </a:cubicBezTo>
                <a:cubicBezTo>
                  <a:pt x="188" y="229"/>
                  <a:pt x="191" y="226"/>
                  <a:pt x="191" y="226"/>
                </a:cubicBezTo>
                <a:cubicBezTo>
                  <a:pt x="191" y="226"/>
                  <a:pt x="200" y="225"/>
                  <a:pt x="200" y="223"/>
                </a:cubicBezTo>
                <a:cubicBezTo>
                  <a:pt x="201" y="221"/>
                  <a:pt x="198" y="221"/>
                  <a:pt x="198" y="221"/>
                </a:cubicBezTo>
                <a:cubicBezTo>
                  <a:pt x="198" y="221"/>
                  <a:pt x="203" y="218"/>
                  <a:pt x="205" y="217"/>
                </a:cubicBezTo>
                <a:cubicBezTo>
                  <a:pt x="207" y="216"/>
                  <a:pt x="212" y="214"/>
                  <a:pt x="212" y="214"/>
                </a:cubicBezTo>
                <a:cubicBezTo>
                  <a:pt x="223" y="210"/>
                  <a:pt x="223" y="210"/>
                  <a:pt x="223" y="210"/>
                </a:cubicBezTo>
                <a:cubicBezTo>
                  <a:pt x="222" y="208"/>
                  <a:pt x="222" y="208"/>
                  <a:pt x="222" y="208"/>
                </a:cubicBezTo>
                <a:cubicBezTo>
                  <a:pt x="222" y="208"/>
                  <a:pt x="227" y="209"/>
                  <a:pt x="228" y="208"/>
                </a:cubicBezTo>
                <a:cubicBezTo>
                  <a:pt x="230" y="207"/>
                  <a:pt x="236" y="204"/>
                  <a:pt x="236" y="204"/>
                </a:cubicBezTo>
                <a:cubicBezTo>
                  <a:pt x="236" y="204"/>
                  <a:pt x="249" y="199"/>
                  <a:pt x="250" y="198"/>
                </a:cubicBezTo>
                <a:cubicBezTo>
                  <a:pt x="252" y="197"/>
                  <a:pt x="258" y="202"/>
                  <a:pt x="258" y="202"/>
                </a:cubicBezTo>
                <a:cubicBezTo>
                  <a:pt x="253" y="202"/>
                  <a:pt x="253" y="202"/>
                  <a:pt x="253" y="202"/>
                </a:cubicBezTo>
                <a:cubicBezTo>
                  <a:pt x="250" y="200"/>
                  <a:pt x="250" y="200"/>
                  <a:pt x="250" y="200"/>
                </a:cubicBezTo>
                <a:cubicBezTo>
                  <a:pt x="246" y="203"/>
                  <a:pt x="246" y="203"/>
                  <a:pt x="246" y="203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241" y="203"/>
                  <a:pt x="236" y="208"/>
                  <a:pt x="234" y="209"/>
                </a:cubicBezTo>
                <a:cubicBezTo>
                  <a:pt x="232" y="209"/>
                  <a:pt x="224" y="211"/>
                  <a:pt x="225" y="212"/>
                </a:cubicBezTo>
                <a:cubicBezTo>
                  <a:pt x="226" y="214"/>
                  <a:pt x="230" y="214"/>
                  <a:pt x="230" y="214"/>
                </a:cubicBezTo>
                <a:cubicBezTo>
                  <a:pt x="230" y="214"/>
                  <a:pt x="226" y="216"/>
                  <a:pt x="225" y="216"/>
                </a:cubicBezTo>
                <a:cubicBezTo>
                  <a:pt x="224" y="216"/>
                  <a:pt x="218" y="216"/>
                  <a:pt x="218" y="217"/>
                </a:cubicBezTo>
                <a:cubicBezTo>
                  <a:pt x="218" y="218"/>
                  <a:pt x="219" y="221"/>
                  <a:pt x="223" y="219"/>
                </a:cubicBezTo>
                <a:cubicBezTo>
                  <a:pt x="227" y="217"/>
                  <a:pt x="236" y="212"/>
                  <a:pt x="240" y="212"/>
                </a:cubicBezTo>
                <a:cubicBezTo>
                  <a:pt x="244" y="211"/>
                  <a:pt x="250" y="213"/>
                  <a:pt x="253" y="211"/>
                </a:cubicBezTo>
                <a:cubicBezTo>
                  <a:pt x="256" y="210"/>
                  <a:pt x="261" y="205"/>
                  <a:pt x="261" y="205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203"/>
                  <a:pt x="272" y="199"/>
                  <a:pt x="274" y="199"/>
                </a:cubicBezTo>
                <a:cubicBezTo>
                  <a:pt x="276" y="199"/>
                  <a:pt x="277" y="201"/>
                  <a:pt x="277" y="201"/>
                </a:cubicBezTo>
                <a:cubicBezTo>
                  <a:pt x="285" y="199"/>
                  <a:pt x="285" y="199"/>
                  <a:pt x="285" y="199"/>
                </a:cubicBezTo>
                <a:cubicBezTo>
                  <a:pt x="280" y="203"/>
                  <a:pt x="280" y="203"/>
                  <a:pt x="280" y="203"/>
                </a:cubicBezTo>
                <a:cubicBezTo>
                  <a:pt x="282" y="205"/>
                  <a:pt x="282" y="205"/>
                  <a:pt x="282" y="205"/>
                </a:cubicBezTo>
                <a:cubicBezTo>
                  <a:pt x="282" y="205"/>
                  <a:pt x="282" y="207"/>
                  <a:pt x="282" y="207"/>
                </a:cubicBezTo>
                <a:cubicBezTo>
                  <a:pt x="283" y="207"/>
                  <a:pt x="292" y="202"/>
                  <a:pt x="292" y="202"/>
                </a:cubicBezTo>
                <a:cubicBezTo>
                  <a:pt x="292" y="202"/>
                  <a:pt x="284" y="208"/>
                  <a:pt x="286" y="209"/>
                </a:cubicBezTo>
                <a:cubicBezTo>
                  <a:pt x="288" y="210"/>
                  <a:pt x="294" y="210"/>
                  <a:pt x="294" y="210"/>
                </a:cubicBezTo>
                <a:cubicBezTo>
                  <a:pt x="308" y="212"/>
                  <a:pt x="308" y="212"/>
                  <a:pt x="308" y="212"/>
                </a:cubicBezTo>
                <a:cubicBezTo>
                  <a:pt x="312" y="209"/>
                  <a:pt x="312" y="209"/>
                  <a:pt x="312" y="209"/>
                </a:cubicBezTo>
                <a:cubicBezTo>
                  <a:pt x="312" y="209"/>
                  <a:pt x="310" y="214"/>
                  <a:pt x="312" y="214"/>
                </a:cubicBezTo>
                <a:cubicBezTo>
                  <a:pt x="314" y="214"/>
                  <a:pt x="321" y="214"/>
                  <a:pt x="321" y="214"/>
                </a:cubicBezTo>
                <a:cubicBezTo>
                  <a:pt x="326" y="212"/>
                  <a:pt x="326" y="212"/>
                  <a:pt x="326" y="212"/>
                </a:cubicBezTo>
                <a:cubicBezTo>
                  <a:pt x="326" y="212"/>
                  <a:pt x="317" y="215"/>
                  <a:pt x="318" y="217"/>
                </a:cubicBezTo>
                <a:cubicBezTo>
                  <a:pt x="319" y="219"/>
                  <a:pt x="322" y="220"/>
                  <a:pt x="322" y="220"/>
                </a:cubicBezTo>
                <a:cubicBezTo>
                  <a:pt x="322" y="220"/>
                  <a:pt x="322" y="228"/>
                  <a:pt x="324" y="228"/>
                </a:cubicBezTo>
                <a:cubicBezTo>
                  <a:pt x="327" y="228"/>
                  <a:pt x="333" y="227"/>
                  <a:pt x="333" y="227"/>
                </a:cubicBezTo>
                <a:cubicBezTo>
                  <a:pt x="332" y="223"/>
                  <a:pt x="332" y="223"/>
                  <a:pt x="332" y="223"/>
                </a:cubicBezTo>
                <a:cubicBezTo>
                  <a:pt x="335" y="222"/>
                  <a:pt x="335" y="222"/>
                  <a:pt x="335" y="222"/>
                </a:cubicBezTo>
                <a:cubicBezTo>
                  <a:pt x="337" y="224"/>
                  <a:pt x="337" y="224"/>
                  <a:pt x="337" y="224"/>
                </a:cubicBezTo>
                <a:cubicBezTo>
                  <a:pt x="341" y="223"/>
                  <a:pt x="341" y="223"/>
                  <a:pt x="341" y="223"/>
                </a:cubicBezTo>
                <a:cubicBezTo>
                  <a:pt x="341" y="223"/>
                  <a:pt x="337" y="228"/>
                  <a:pt x="339" y="228"/>
                </a:cubicBezTo>
                <a:cubicBezTo>
                  <a:pt x="341" y="229"/>
                  <a:pt x="345" y="223"/>
                  <a:pt x="345" y="223"/>
                </a:cubicBezTo>
                <a:cubicBezTo>
                  <a:pt x="349" y="217"/>
                  <a:pt x="349" y="217"/>
                  <a:pt x="349" y="217"/>
                </a:cubicBezTo>
                <a:cubicBezTo>
                  <a:pt x="346" y="226"/>
                  <a:pt x="346" y="226"/>
                  <a:pt x="346" y="226"/>
                </a:cubicBezTo>
                <a:cubicBezTo>
                  <a:pt x="346" y="229"/>
                  <a:pt x="346" y="229"/>
                  <a:pt x="346" y="229"/>
                </a:cubicBezTo>
                <a:cubicBezTo>
                  <a:pt x="351" y="227"/>
                  <a:pt x="351" y="227"/>
                  <a:pt x="351" y="227"/>
                </a:cubicBezTo>
                <a:cubicBezTo>
                  <a:pt x="348" y="231"/>
                  <a:pt x="348" y="231"/>
                  <a:pt x="348" y="231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49" y="233"/>
                  <a:pt x="349" y="233"/>
                  <a:pt x="349" y="233"/>
                </a:cubicBezTo>
                <a:cubicBezTo>
                  <a:pt x="349" y="236"/>
                  <a:pt x="349" y="236"/>
                  <a:pt x="349" y="236"/>
                </a:cubicBezTo>
                <a:cubicBezTo>
                  <a:pt x="345" y="238"/>
                  <a:pt x="345" y="238"/>
                  <a:pt x="345" y="238"/>
                </a:cubicBezTo>
                <a:cubicBezTo>
                  <a:pt x="342" y="240"/>
                  <a:pt x="342" y="240"/>
                  <a:pt x="342" y="240"/>
                </a:cubicBezTo>
                <a:cubicBezTo>
                  <a:pt x="347" y="243"/>
                  <a:pt x="347" y="243"/>
                  <a:pt x="347" y="243"/>
                </a:cubicBezTo>
                <a:cubicBezTo>
                  <a:pt x="346" y="247"/>
                  <a:pt x="346" y="247"/>
                  <a:pt x="346" y="247"/>
                </a:cubicBezTo>
                <a:cubicBezTo>
                  <a:pt x="344" y="250"/>
                  <a:pt x="344" y="250"/>
                  <a:pt x="344" y="250"/>
                </a:cubicBezTo>
                <a:cubicBezTo>
                  <a:pt x="346" y="251"/>
                  <a:pt x="346" y="251"/>
                  <a:pt x="346" y="251"/>
                </a:cubicBezTo>
                <a:cubicBezTo>
                  <a:pt x="343" y="254"/>
                  <a:pt x="343" y="254"/>
                  <a:pt x="343" y="254"/>
                </a:cubicBezTo>
                <a:cubicBezTo>
                  <a:pt x="347" y="254"/>
                  <a:pt x="347" y="254"/>
                  <a:pt x="347" y="254"/>
                </a:cubicBezTo>
                <a:cubicBezTo>
                  <a:pt x="353" y="252"/>
                  <a:pt x="353" y="252"/>
                  <a:pt x="353" y="252"/>
                </a:cubicBezTo>
                <a:cubicBezTo>
                  <a:pt x="348" y="257"/>
                  <a:pt x="348" y="257"/>
                  <a:pt x="348" y="257"/>
                </a:cubicBezTo>
                <a:cubicBezTo>
                  <a:pt x="346" y="259"/>
                  <a:pt x="346" y="259"/>
                  <a:pt x="346" y="259"/>
                </a:cubicBezTo>
                <a:cubicBezTo>
                  <a:pt x="349" y="260"/>
                  <a:pt x="349" y="260"/>
                  <a:pt x="349" y="260"/>
                </a:cubicBezTo>
                <a:cubicBezTo>
                  <a:pt x="342" y="263"/>
                  <a:pt x="342" y="263"/>
                  <a:pt x="342" y="263"/>
                </a:cubicBezTo>
                <a:cubicBezTo>
                  <a:pt x="340" y="265"/>
                  <a:pt x="340" y="265"/>
                  <a:pt x="340" y="265"/>
                </a:cubicBezTo>
                <a:cubicBezTo>
                  <a:pt x="342" y="266"/>
                  <a:pt x="342" y="266"/>
                  <a:pt x="342" y="266"/>
                </a:cubicBezTo>
                <a:cubicBezTo>
                  <a:pt x="342" y="266"/>
                  <a:pt x="342" y="266"/>
                  <a:pt x="342" y="267"/>
                </a:cubicBezTo>
                <a:cubicBezTo>
                  <a:pt x="341" y="268"/>
                  <a:pt x="341" y="269"/>
                  <a:pt x="341" y="270"/>
                </a:cubicBezTo>
                <a:cubicBezTo>
                  <a:pt x="341" y="272"/>
                  <a:pt x="340" y="275"/>
                  <a:pt x="340" y="275"/>
                </a:cubicBezTo>
                <a:cubicBezTo>
                  <a:pt x="338" y="276"/>
                  <a:pt x="338" y="276"/>
                  <a:pt x="338" y="276"/>
                </a:cubicBezTo>
                <a:cubicBezTo>
                  <a:pt x="338" y="276"/>
                  <a:pt x="340" y="277"/>
                  <a:pt x="340" y="278"/>
                </a:cubicBezTo>
                <a:cubicBezTo>
                  <a:pt x="340" y="280"/>
                  <a:pt x="342" y="280"/>
                  <a:pt x="342" y="280"/>
                </a:cubicBezTo>
                <a:cubicBezTo>
                  <a:pt x="342" y="280"/>
                  <a:pt x="352" y="272"/>
                  <a:pt x="352" y="274"/>
                </a:cubicBezTo>
                <a:cubicBezTo>
                  <a:pt x="352" y="276"/>
                  <a:pt x="349" y="276"/>
                  <a:pt x="348" y="277"/>
                </a:cubicBezTo>
                <a:cubicBezTo>
                  <a:pt x="348" y="278"/>
                  <a:pt x="349" y="280"/>
                  <a:pt x="349" y="280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45" y="282"/>
                  <a:pt x="345" y="282"/>
                  <a:pt x="345" y="282"/>
                </a:cubicBezTo>
                <a:cubicBezTo>
                  <a:pt x="345" y="282"/>
                  <a:pt x="340" y="287"/>
                  <a:pt x="342" y="287"/>
                </a:cubicBezTo>
                <a:cubicBezTo>
                  <a:pt x="344" y="288"/>
                  <a:pt x="345" y="289"/>
                  <a:pt x="345" y="289"/>
                </a:cubicBezTo>
                <a:cubicBezTo>
                  <a:pt x="345" y="289"/>
                  <a:pt x="343" y="293"/>
                  <a:pt x="344" y="293"/>
                </a:cubicBezTo>
                <a:cubicBezTo>
                  <a:pt x="346" y="292"/>
                  <a:pt x="354" y="286"/>
                  <a:pt x="354" y="286"/>
                </a:cubicBezTo>
                <a:cubicBezTo>
                  <a:pt x="354" y="288"/>
                  <a:pt x="354" y="288"/>
                  <a:pt x="354" y="288"/>
                </a:cubicBezTo>
                <a:cubicBezTo>
                  <a:pt x="350" y="290"/>
                  <a:pt x="350" y="290"/>
                  <a:pt x="350" y="290"/>
                </a:cubicBezTo>
                <a:cubicBezTo>
                  <a:pt x="353" y="292"/>
                  <a:pt x="353" y="292"/>
                  <a:pt x="353" y="292"/>
                </a:cubicBezTo>
                <a:cubicBezTo>
                  <a:pt x="353" y="292"/>
                  <a:pt x="352" y="296"/>
                  <a:pt x="351" y="295"/>
                </a:cubicBezTo>
                <a:cubicBezTo>
                  <a:pt x="349" y="295"/>
                  <a:pt x="349" y="293"/>
                  <a:pt x="349" y="293"/>
                </a:cubicBezTo>
                <a:cubicBezTo>
                  <a:pt x="349" y="293"/>
                  <a:pt x="342" y="295"/>
                  <a:pt x="340" y="296"/>
                </a:cubicBezTo>
                <a:cubicBezTo>
                  <a:pt x="339" y="298"/>
                  <a:pt x="338" y="299"/>
                  <a:pt x="338" y="299"/>
                </a:cubicBezTo>
                <a:cubicBezTo>
                  <a:pt x="338" y="299"/>
                  <a:pt x="342" y="298"/>
                  <a:pt x="343" y="298"/>
                </a:cubicBezTo>
                <a:cubicBezTo>
                  <a:pt x="344" y="298"/>
                  <a:pt x="348" y="298"/>
                  <a:pt x="348" y="298"/>
                </a:cubicBezTo>
                <a:cubicBezTo>
                  <a:pt x="348" y="298"/>
                  <a:pt x="341" y="300"/>
                  <a:pt x="339" y="301"/>
                </a:cubicBezTo>
                <a:cubicBezTo>
                  <a:pt x="338" y="301"/>
                  <a:pt x="339" y="303"/>
                  <a:pt x="339" y="303"/>
                </a:cubicBezTo>
                <a:cubicBezTo>
                  <a:pt x="339" y="303"/>
                  <a:pt x="332" y="301"/>
                  <a:pt x="334" y="303"/>
                </a:cubicBezTo>
                <a:cubicBezTo>
                  <a:pt x="336" y="306"/>
                  <a:pt x="338" y="307"/>
                  <a:pt x="338" y="307"/>
                </a:cubicBezTo>
                <a:cubicBezTo>
                  <a:pt x="344" y="305"/>
                  <a:pt x="344" y="305"/>
                  <a:pt x="344" y="305"/>
                </a:cubicBezTo>
                <a:cubicBezTo>
                  <a:pt x="346" y="308"/>
                  <a:pt x="346" y="308"/>
                  <a:pt x="346" y="308"/>
                </a:cubicBezTo>
                <a:cubicBezTo>
                  <a:pt x="351" y="305"/>
                  <a:pt x="351" y="305"/>
                  <a:pt x="351" y="305"/>
                </a:cubicBezTo>
                <a:cubicBezTo>
                  <a:pt x="351" y="305"/>
                  <a:pt x="345" y="312"/>
                  <a:pt x="347" y="312"/>
                </a:cubicBezTo>
                <a:cubicBezTo>
                  <a:pt x="349" y="312"/>
                  <a:pt x="355" y="307"/>
                  <a:pt x="355" y="307"/>
                </a:cubicBezTo>
                <a:cubicBezTo>
                  <a:pt x="355" y="307"/>
                  <a:pt x="350" y="313"/>
                  <a:pt x="351" y="313"/>
                </a:cubicBezTo>
                <a:cubicBezTo>
                  <a:pt x="351" y="313"/>
                  <a:pt x="355" y="312"/>
                  <a:pt x="355" y="312"/>
                </a:cubicBezTo>
                <a:cubicBezTo>
                  <a:pt x="355" y="312"/>
                  <a:pt x="347" y="318"/>
                  <a:pt x="350" y="319"/>
                </a:cubicBezTo>
                <a:cubicBezTo>
                  <a:pt x="352" y="319"/>
                  <a:pt x="358" y="315"/>
                  <a:pt x="358" y="315"/>
                </a:cubicBezTo>
                <a:cubicBezTo>
                  <a:pt x="358" y="315"/>
                  <a:pt x="353" y="320"/>
                  <a:pt x="354" y="321"/>
                </a:cubicBezTo>
                <a:cubicBezTo>
                  <a:pt x="355" y="321"/>
                  <a:pt x="359" y="322"/>
                  <a:pt x="359" y="323"/>
                </a:cubicBezTo>
                <a:cubicBezTo>
                  <a:pt x="359" y="323"/>
                  <a:pt x="358" y="327"/>
                  <a:pt x="358" y="329"/>
                </a:cubicBezTo>
                <a:cubicBezTo>
                  <a:pt x="358" y="329"/>
                  <a:pt x="358" y="329"/>
                  <a:pt x="358" y="329"/>
                </a:cubicBezTo>
                <a:cubicBezTo>
                  <a:pt x="358" y="331"/>
                  <a:pt x="357" y="332"/>
                  <a:pt x="357" y="333"/>
                </a:cubicBezTo>
                <a:cubicBezTo>
                  <a:pt x="356" y="334"/>
                  <a:pt x="356" y="339"/>
                  <a:pt x="356" y="339"/>
                </a:cubicBezTo>
                <a:cubicBezTo>
                  <a:pt x="351" y="341"/>
                  <a:pt x="351" y="341"/>
                  <a:pt x="351" y="341"/>
                </a:cubicBezTo>
                <a:cubicBezTo>
                  <a:pt x="351" y="344"/>
                  <a:pt x="351" y="344"/>
                  <a:pt x="351" y="344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4" y="346"/>
                  <a:pt x="344" y="346"/>
                  <a:pt x="344" y="346"/>
                </a:cubicBezTo>
                <a:cubicBezTo>
                  <a:pt x="344" y="346"/>
                  <a:pt x="346" y="342"/>
                  <a:pt x="347" y="341"/>
                </a:cubicBezTo>
                <a:cubicBezTo>
                  <a:pt x="348" y="341"/>
                  <a:pt x="352" y="338"/>
                  <a:pt x="350" y="338"/>
                </a:cubicBezTo>
                <a:cubicBezTo>
                  <a:pt x="348" y="338"/>
                  <a:pt x="346" y="338"/>
                  <a:pt x="344" y="338"/>
                </a:cubicBezTo>
                <a:cubicBezTo>
                  <a:pt x="342" y="338"/>
                  <a:pt x="340" y="334"/>
                  <a:pt x="338" y="335"/>
                </a:cubicBezTo>
                <a:cubicBezTo>
                  <a:pt x="336" y="336"/>
                  <a:pt x="335" y="334"/>
                  <a:pt x="334" y="338"/>
                </a:cubicBezTo>
                <a:cubicBezTo>
                  <a:pt x="334" y="343"/>
                  <a:pt x="334" y="345"/>
                  <a:pt x="333" y="346"/>
                </a:cubicBezTo>
                <a:cubicBezTo>
                  <a:pt x="333" y="346"/>
                  <a:pt x="331" y="349"/>
                  <a:pt x="331" y="349"/>
                </a:cubicBezTo>
                <a:cubicBezTo>
                  <a:pt x="335" y="350"/>
                  <a:pt x="335" y="350"/>
                  <a:pt x="335" y="350"/>
                </a:cubicBezTo>
                <a:cubicBezTo>
                  <a:pt x="331" y="351"/>
                  <a:pt x="331" y="351"/>
                  <a:pt x="331" y="351"/>
                </a:cubicBezTo>
                <a:cubicBezTo>
                  <a:pt x="331" y="353"/>
                  <a:pt x="331" y="353"/>
                  <a:pt x="331" y="353"/>
                </a:cubicBezTo>
                <a:cubicBezTo>
                  <a:pt x="329" y="357"/>
                  <a:pt x="329" y="357"/>
                  <a:pt x="329" y="357"/>
                </a:cubicBezTo>
                <a:cubicBezTo>
                  <a:pt x="329" y="357"/>
                  <a:pt x="333" y="358"/>
                  <a:pt x="333" y="359"/>
                </a:cubicBezTo>
                <a:cubicBezTo>
                  <a:pt x="333" y="360"/>
                  <a:pt x="326" y="359"/>
                  <a:pt x="326" y="359"/>
                </a:cubicBezTo>
                <a:cubicBezTo>
                  <a:pt x="326" y="359"/>
                  <a:pt x="318" y="371"/>
                  <a:pt x="316" y="374"/>
                </a:cubicBezTo>
                <a:cubicBezTo>
                  <a:pt x="314" y="376"/>
                  <a:pt x="304" y="388"/>
                  <a:pt x="304" y="388"/>
                </a:cubicBezTo>
                <a:cubicBezTo>
                  <a:pt x="305" y="391"/>
                  <a:pt x="305" y="391"/>
                  <a:pt x="305" y="391"/>
                </a:cubicBezTo>
                <a:cubicBezTo>
                  <a:pt x="305" y="391"/>
                  <a:pt x="302" y="392"/>
                  <a:pt x="300" y="394"/>
                </a:cubicBezTo>
                <a:cubicBezTo>
                  <a:pt x="297" y="397"/>
                  <a:pt x="297" y="400"/>
                  <a:pt x="297" y="400"/>
                </a:cubicBezTo>
                <a:cubicBezTo>
                  <a:pt x="295" y="403"/>
                  <a:pt x="295" y="403"/>
                  <a:pt x="295" y="403"/>
                </a:cubicBezTo>
                <a:cubicBezTo>
                  <a:pt x="294" y="410"/>
                  <a:pt x="294" y="410"/>
                  <a:pt x="294" y="410"/>
                </a:cubicBezTo>
                <a:cubicBezTo>
                  <a:pt x="294" y="410"/>
                  <a:pt x="289" y="417"/>
                  <a:pt x="288" y="418"/>
                </a:cubicBezTo>
                <a:cubicBezTo>
                  <a:pt x="286" y="419"/>
                  <a:pt x="282" y="422"/>
                  <a:pt x="282" y="424"/>
                </a:cubicBezTo>
                <a:cubicBezTo>
                  <a:pt x="283" y="427"/>
                  <a:pt x="286" y="428"/>
                  <a:pt x="286" y="430"/>
                </a:cubicBezTo>
                <a:cubicBezTo>
                  <a:pt x="285" y="432"/>
                  <a:pt x="281" y="437"/>
                  <a:pt x="281" y="440"/>
                </a:cubicBezTo>
                <a:cubicBezTo>
                  <a:pt x="281" y="442"/>
                  <a:pt x="283" y="451"/>
                  <a:pt x="283" y="451"/>
                </a:cubicBezTo>
                <a:cubicBezTo>
                  <a:pt x="287" y="449"/>
                  <a:pt x="287" y="449"/>
                  <a:pt x="287" y="449"/>
                </a:cubicBezTo>
                <a:cubicBezTo>
                  <a:pt x="296" y="450"/>
                  <a:pt x="296" y="450"/>
                  <a:pt x="296" y="450"/>
                </a:cubicBezTo>
                <a:cubicBezTo>
                  <a:pt x="296" y="450"/>
                  <a:pt x="288" y="450"/>
                  <a:pt x="288" y="451"/>
                </a:cubicBezTo>
                <a:cubicBezTo>
                  <a:pt x="287" y="452"/>
                  <a:pt x="287" y="455"/>
                  <a:pt x="287" y="455"/>
                </a:cubicBezTo>
                <a:cubicBezTo>
                  <a:pt x="287" y="455"/>
                  <a:pt x="285" y="452"/>
                  <a:pt x="284" y="453"/>
                </a:cubicBezTo>
                <a:cubicBezTo>
                  <a:pt x="283" y="454"/>
                  <a:pt x="281" y="458"/>
                  <a:pt x="282" y="460"/>
                </a:cubicBezTo>
                <a:cubicBezTo>
                  <a:pt x="283" y="462"/>
                  <a:pt x="286" y="462"/>
                  <a:pt x="286" y="462"/>
                </a:cubicBezTo>
                <a:cubicBezTo>
                  <a:pt x="286" y="462"/>
                  <a:pt x="286" y="466"/>
                  <a:pt x="285" y="466"/>
                </a:cubicBezTo>
                <a:cubicBezTo>
                  <a:pt x="284" y="466"/>
                  <a:pt x="282" y="469"/>
                  <a:pt x="282" y="470"/>
                </a:cubicBezTo>
                <a:cubicBezTo>
                  <a:pt x="282" y="472"/>
                  <a:pt x="285" y="475"/>
                  <a:pt x="285" y="475"/>
                </a:cubicBezTo>
                <a:cubicBezTo>
                  <a:pt x="285" y="475"/>
                  <a:pt x="289" y="482"/>
                  <a:pt x="289" y="483"/>
                </a:cubicBezTo>
                <a:cubicBezTo>
                  <a:pt x="289" y="485"/>
                  <a:pt x="284" y="489"/>
                  <a:pt x="287" y="490"/>
                </a:cubicBezTo>
                <a:cubicBezTo>
                  <a:pt x="289" y="491"/>
                  <a:pt x="294" y="491"/>
                  <a:pt x="294" y="491"/>
                </a:cubicBezTo>
                <a:cubicBezTo>
                  <a:pt x="294" y="491"/>
                  <a:pt x="295" y="495"/>
                  <a:pt x="297" y="495"/>
                </a:cubicBezTo>
                <a:cubicBezTo>
                  <a:pt x="300" y="495"/>
                  <a:pt x="303" y="494"/>
                  <a:pt x="303" y="494"/>
                </a:cubicBezTo>
                <a:cubicBezTo>
                  <a:pt x="304" y="498"/>
                  <a:pt x="304" y="498"/>
                  <a:pt x="304" y="498"/>
                </a:cubicBezTo>
                <a:cubicBezTo>
                  <a:pt x="304" y="498"/>
                  <a:pt x="311" y="500"/>
                  <a:pt x="311" y="504"/>
                </a:cubicBezTo>
                <a:cubicBezTo>
                  <a:pt x="311" y="505"/>
                  <a:pt x="310" y="508"/>
                  <a:pt x="310" y="511"/>
                </a:cubicBezTo>
                <a:cubicBezTo>
                  <a:pt x="309" y="513"/>
                  <a:pt x="309" y="514"/>
                  <a:pt x="309" y="515"/>
                </a:cubicBezTo>
                <a:cubicBezTo>
                  <a:pt x="309" y="518"/>
                  <a:pt x="312" y="522"/>
                  <a:pt x="312" y="522"/>
                </a:cubicBezTo>
                <a:cubicBezTo>
                  <a:pt x="309" y="523"/>
                  <a:pt x="309" y="523"/>
                  <a:pt x="309" y="523"/>
                </a:cubicBezTo>
                <a:cubicBezTo>
                  <a:pt x="311" y="526"/>
                  <a:pt x="311" y="526"/>
                  <a:pt x="311" y="526"/>
                </a:cubicBezTo>
                <a:cubicBezTo>
                  <a:pt x="309" y="528"/>
                  <a:pt x="309" y="528"/>
                  <a:pt x="309" y="528"/>
                </a:cubicBezTo>
                <a:cubicBezTo>
                  <a:pt x="312" y="531"/>
                  <a:pt x="312" y="531"/>
                  <a:pt x="312" y="531"/>
                </a:cubicBezTo>
                <a:cubicBezTo>
                  <a:pt x="310" y="535"/>
                  <a:pt x="310" y="535"/>
                  <a:pt x="310" y="535"/>
                </a:cubicBezTo>
                <a:cubicBezTo>
                  <a:pt x="312" y="536"/>
                  <a:pt x="312" y="536"/>
                  <a:pt x="312" y="536"/>
                </a:cubicBezTo>
                <a:cubicBezTo>
                  <a:pt x="312" y="536"/>
                  <a:pt x="311" y="544"/>
                  <a:pt x="313" y="546"/>
                </a:cubicBezTo>
                <a:cubicBezTo>
                  <a:pt x="315" y="548"/>
                  <a:pt x="318" y="547"/>
                  <a:pt x="318" y="547"/>
                </a:cubicBezTo>
                <a:cubicBezTo>
                  <a:pt x="318" y="547"/>
                  <a:pt x="323" y="556"/>
                  <a:pt x="323" y="558"/>
                </a:cubicBezTo>
                <a:cubicBezTo>
                  <a:pt x="323" y="559"/>
                  <a:pt x="319" y="565"/>
                  <a:pt x="319" y="565"/>
                </a:cubicBezTo>
                <a:cubicBezTo>
                  <a:pt x="321" y="566"/>
                  <a:pt x="321" y="566"/>
                  <a:pt x="321" y="566"/>
                </a:cubicBezTo>
                <a:cubicBezTo>
                  <a:pt x="319" y="568"/>
                  <a:pt x="319" y="568"/>
                  <a:pt x="319" y="568"/>
                </a:cubicBezTo>
                <a:cubicBezTo>
                  <a:pt x="317" y="565"/>
                  <a:pt x="317" y="565"/>
                  <a:pt x="317" y="565"/>
                </a:cubicBezTo>
                <a:cubicBezTo>
                  <a:pt x="310" y="565"/>
                  <a:pt x="310" y="565"/>
                  <a:pt x="310" y="565"/>
                </a:cubicBezTo>
                <a:cubicBezTo>
                  <a:pt x="314" y="569"/>
                  <a:pt x="314" y="569"/>
                  <a:pt x="314" y="569"/>
                </a:cubicBezTo>
                <a:cubicBezTo>
                  <a:pt x="315" y="572"/>
                  <a:pt x="315" y="572"/>
                  <a:pt x="315" y="572"/>
                </a:cubicBezTo>
                <a:cubicBezTo>
                  <a:pt x="318" y="572"/>
                  <a:pt x="318" y="572"/>
                  <a:pt x="318" y="572"/>
                </a:cubicBezTo>
                <a:cubicBezTo>
                  <a:pt x="318" y="572"/>
                  <a:pt x="321" y="577"/>
                  <a:pt x="322" y="577"/>
                </a:cubicBezTo>
                <a:cubicBezTo>
                  <a:pt x="323" y="576"/>
                  <a:pt x="327" y="574"/>
                  <a:pt x="327" y="574"/>
                </a:cubicBezTo>
                <a:cubicBezTo>
                  <a:pt x="327" y="574"/>
                  <a:pt x="326" y="579"/>
                  <a:pt x="328" y="581"/>
                </a:cubicBezTo>
                <a:cubicBezTo>
                  <a:pt x="329" y="583"/>
                  <a:pt x="332" y="585"/>
                  <a:pt x="332" y="587"/>
                </a:cubicBezTo>
                <a:cubicBezTo>
                  <a:pt x="332" y="589"/>
                  <a:pt x="329" y="594"/>
                  <a:pt x="330" y="596"/>
                </a:cubicBezTo>
                <a:cubicBezTo>
                  <a:pt x="331" y="599"/>
                  <a:pt x="336" y="603"/>
                  <a:pt x="339" y="606"/>
                </a:cubicBezTo>
                <a:cubicBezTo>
                  <a:pt x="341" y="610"/>
                  <a:pt x="345" y="614"/>
                  <a:pt x="345" y="614"/>
                </a:cubicBezTo>
                <a:cubicBezTo>
                  <a:pt x="345" y="614"/>
                  <a:pt x="343" y="620"/>
                  <a:pt x="346" y="620"/>
                </a:cubicBezTo>
                <a:cubicBezTo>
                  <a:pt x="349" y="620"/>
                  <a:pt x="353" y="616"/>
                  <a:pt x="353" y="616"/>
                </a:cubicBezTo>
                <a:cubicBezTo>
                  <a:pt x="352" y="613"/>
                  <a:pt x="352" y="613"/>
                  <a:pt x="352" y="613"/>
                </a:cubicBezTo>
                <a:cubicBezTo>
                  <a:pt x="352" y="613"/>
                  <a:pt x="350" y="606"/>
                  <a:pt x="349" y="605"/>
                </a:cubicBezTo>
                <a:cubicBezTo>
                  <a:pt x="347" y="604"/>
                  <a:pt x="345" y="605"/>
                  <a:pt x="345" y="605"/>
                </a:cubicBezTo>
                <a:cubicBezTo>
                  <a:pt x="342" y="601"/>
                  <a:pt x="342" y="601"/>
                  <a:pt x="342" y="601"/>
                </a:cubicBezTo>
                <a:cubicBezTo>
                  <a:pt x="342" y="601"/>
                  <a:pt x="343" y="599"/>
                  <a:pt x="343" y="597"/>
                </a:cubicBezTo>
                <a:cubicBezTo>
                  <a:pt x="342" y="595"/>
                  <a:pt x="343" y="591"/>
                  <a:pt x="343" y="591"/>
                </a:cubicBezTo>
                <a:cubicBezTo>
                  <a:pt x="340" y="587"/>
                  <a:pt x="340" y="587"/>
                  <a:pt x="340" y="587"/>
                </a:cubicBezTo>
                <a:cubicBezTo>
                  <a:pt x="340" y="587"/>
                  <a:pt x="342" y="582"/>
                  <a:pt x="341" y="579"/>
                </a:cubicBezTo>
                <a:cubicBezTo>
                  <a:pt x="341" y="577"/>
                  <a:pt x="336" y="577"/>
                  <a:pt x="336" y="577"/>
                </a:cubicBezTo>
                <a:cubicBezTo>
                  <a:pt x="336" y="570"/>
                  <a:pt x="336" y="570"/>
                  <a:pt x="336" y="570"/>
                </a:cubicBezTo>
                <a:cubicBezTo>
                  <a:pt x="333" y="566"/>
                  <a:pt x="333" y="566"/>
                  <a:pt x="333" y="566"/>
                </a:cubicBezTo>
                <a:cubicBezTo>
                  <a:pt x="333" y="558"/>
                  <a:pt x="333" y="558"/>
                  <a:pt x="333" y="558"/>
                </a:cubicBezTo>
                <a:cubicBezTo>
                  <a:pt x="333" y="558"/>
                  <a:pt x="330" y="554"/>
                  <a:pt x="329" y="552"/>
                </a:cubicBezTo>
                <a:cubicBezTo>
                  <a:pt x="328" y="551"/>
                  <a:pt x="327" y="546"/>
                  <a:pt x="327" y="546"/>
                </a:cubicBezTo>
                <a:cubicBezTo>
                  <a:pt x="327" y="546"/>
                  <a:pt x="322" y="538"/>
                  <a:pt x="323" y="537"/>
                </a:cubicBezTo>
                <a:cubicBezTo>
                  <a:pt x="323" y="536"/>
                  <a:pt x="325" y="533"/>
                  <a:pt x="324" y="530"/>
                </a:cubicBezTo>
                <a:cubicBezTo>
                  <a:pt x="324" y="528"/>
                  <a:pt x="327" y="524"/>
                  <a:pt x="327" y="52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19"/>
                  <a:pt x="331" y="523"/>
                  <a:pt x="332" y="523"/>
                </a:cubicBezTo>
                <a:cubicBezTo>
                  <a:pt x="334" y="523"/>
                  <a:pt x="337" y="522"/>
                  <a:pt x="337" y="522"/>
                </a:cubicBezTo>
                <a:cubicBezTo>
                  <a:pt x="337" y="522"/>
                  <a:pt x="336" y="525"/>
                  <a:pt x="338" y="526"/>
                </a:cubicBezTo>
                <a:cubicBezTo>
                  <a:pt x="339" y="526"/>
                  <a:pt x="341" y="526"/>
                  <a:pt x="341" y="526"/>
                </a:cubicBezTo>
                <a:cubicBezTo>
                  <a:pt x="341" y="526"/>
                  <a:pt x="341" y="529"/>
                  <a:pt x="341" y="532"/>
                </a:cubicBezTo>
                <a:cubicBezTo>
                  <a:pt x="341" y="536"/>
                  <a:pt x="342" y="548"/>
                  <a:pt x="342" y="548"/>
                </a:cubicBezTo>
                <a:cubicBezTo>
                  <a:pt x="342" y="548"/>
                  <a:pt x="347" y="564"/>
                  <a:pt x="348" y="564"/>
                </a:cubicBezTo>
                <a:cubicBezTo>
                  <a:pt x="350" y="564"/>
                  <a:pt x="354" y="564"/>
                  <a:pt x="354" y="564"/>
                </a:cubicBezTo>
                <a:cubicBezTo>
                  <a:pt x="354" y="564"/>
                  <a:pt x="350" y="566"/>
                  <a:pt x="352" y="570"/>
                </a:cubicBezTo>
                <a:cubicBezTo>
                  <a:pt x="354" y="573"/>
                  <a:pt x="358" y="573"/>
                  <a:pt x="358" y="573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63" y="577"/>
                  <a:pt x="363" y="577"/>
                  <a:pt x="363" y="577"/>
                </a:cubicBezTo>
                <a:cubicBezTo>
                  <a:pt x="363" y="583"/>
                  <a:pt x="363" y="583"/>
                  <a:pt x="363" y="583"/>
                </a:cubicBezTo>
                <a:cubicBezTo>
                  <a:pt x="363" y="583"/>
                  <a:pt x="357" y="585"/>
                  <a:pt x="359" y="588"/>
                </a:cubicBezTo>
                <a:cubicBezTo>
                  <a:pt x="361" y="592"/>
                  <a:pt x="362" y="589"/>
                  <a:pt x="362" y="589"/>
                </a:cubicBezTo>
                <a:cubicBezTo>
                  <a:pt x="362" y="589"/>
                  <a:pt x="364" y="593"/>
                  <a:pt x="365" y="593"/>
                </a:cubicBezTo>
                <a:cubicBezTo>
                  <a:pt x="367" y="594"/>
                  <a:pt x="370" y="594"/>
                  <a:pt x="370" y="595"/>
                </a:cubicBezTo>
                <a:cubicBezTo>
                  <a:pt x="370" y="595"/>
                  <a:pt x="370" y="598"/>
                  <a:pt x="370" y="598"/>
                </a:cubicBezTo>
                <a:cubicBezTo>
                  <a:pt x="370" y="598"/>
                  <a:pt x="367" y="602"/>
                  <a:pt x="369" y="602"/>
                </a:cubicBezTo>
                <a:cubicBezTo>
                  <a:pt x="372" y="602"/>
                  <a:pt x="374" y="602"/>
                  <a:pt x="374" y="602"/>
                </a:cubicBezTo>
                <a:cubicBezTo>
                  <a:pt x="374" y="606"/>
                  <a:pt x="374" y="606"/>
                  <a:pt x="374" y="606"/>
                </a:cubicBezTo>
                <a:cubicBezTo>
                  <a:pt x="374" y="606"/>
                  <a:pt x="379" y="611"/>
                  <a:pt x="381" y="614"/>
                </a:cubicBezTo>
                <a:cubicBezTo>
                  <a:pt x="383" y="617"/>
                  <a:pt x="387" y="623"/>
                  <a:pt x="387" y="625"/>
                </a:cubicBezTo>
                <a:cubicBezTo>
                  <a:pt x="387" y="627"/>
                  <a:pt x="386" y="628"/>
                  <a:pt x="386" y="631"/>
                </a:cubicBezTo>
                <a:cubicBezTo>
                  <a:pt x="387" y="633"/>
                  <a:pt x="390" y="635"/>
                  <a:pt x="389" y="637"/>
                </a:cubicBezTo>
                <a:cubicBezTo>
                  <a:pt x="389" y="639"/>
                  <a:pt x="385" y="641"/>
                  <a:pt x="385" y="642"/>
                </a:cubicBezTo>
                <a:cubicBezTo>
                  <a:pt x="385" y="644"/>
                  <a:pt x="387" y="645"/>
                  <a:pt x="387" y="645"/>
                </a:cubicBezTo>
                <a:cubicBezTo>
                  <a:pt x="387" y="645"/>
                  <a:pt x="382" y="645"/>
                  <a:pt x="382" y="648"/>
                </a:cubicBezTo>
                <a:cubicBezTo>
                  <a:pt x="382" y="652"/>
                  <a:pt x="382" y="660"/>
                  <a:pt x="387" y="661"/>
                </a:cubicBezTo>
                <a:cubicBezTo>
                  <a:pt x="392" y="661"/>
                  <a:pt x="396" y="662"/>
                  <a:pt x="397" y="665"/>
                </a:cubicBezTo>
                <a:cubicBezTo>
                  <a:pt x="399" y="668"/>
                  <a:pt x="400" y="673"/>
                  <a:pt x="404" y="674"/>
                </a:cubicBezTo>
                <a:cubicBezTo>
                  <a:pt x="407" y="674"/>
                  <a:pt x="413" y="673"/>
                  <a:pt x="415" y="675"/>
                </a:cubicBezTo>
                <a:cubicBezTo>
                  <a:pt x="417" y="677"/>
                  <a:pt x="419" y="683"/>
                  <a:pt x="425" y="686"/>
                </a:cubicBezTo>
                <a:cubicBezTo>
                  <a:pt x="432" y="688"/>
                  <a:pt x="441" y="688"/>
                  <a:pt x="442" y="690"/>
                </a:cubicBezTo>
                <a:cubicBezTo>
                  <a:pt x="444" y="692"/>
                  <a:pt x="445" y="695"/>
                  <a:pt x="447" y="695"/>
                </a:cubicBezTo>
                <a:cubicBezTo>
                  <a:pt x="449" y="695"/>
                  <a:pt x="450" y="698"/>
                  <a:pt x="450" y="698"/>
                </a:cubicBezTo>
                <a:cubicBezTo>
                  <a:pt x="450" y="698"/>
                  <a:pt x="459" y="697"/>
                  <a:pt x="460" y="698"/>
                </a:cubicBezTo>
                <a:cubicBezTo>
                  <a:pt x="460" y="699"/>
                  <a:pt x="462" y="703"/>
                  <a:pt x="465" y="702"/>
                </a:cubicBezTo>
                <a:cubicBezTo>
                  <a:pt x="468" y="701"/>
                  <a:pt x="482" y="693"/>
                  <a:pt x="485" y="694"/>
                </a:cubicBezTo>
                <a:cubicBezTo>
                  <a:pt x="487" y="695"/>
                  <a:pt x="501" y="707"/>
                  <a:pt x="502" y="708"/>
                </a:cubicBezTo>
                <a:cubicBezTo>
                  <a:pt x="503" y="709"/>
                  <a:pt x="503" y="712"/>
                  <a:pt x="504" y="714"/>
                </a:cubicBezTo>
                <a:cubicBezTo>
                  <a:pt x="505" y="715"/>
                  <a:pt x="505" y="716"/>
                  <a:pt x="507" y="717"/>
                </a:cubicBezTo>
                <a:cubicBezTo>
                  <a:pt x="511" y="718"/>
                  <a:pt x="512" y="720"/>
                  <a:pt x="514" y="721"/>
                </a:cubicBezTo>
                <a:cubicBezTo>
                  <a:pt x="516" y="722"/>
                  <a:pt x="521" y="721"/>
                  <a:pt x="521" y="721"/>
                </a:cubicBezTo>
                <a:cubicBezTo>
                  <a:pt x="521" y="721"/>
                  <a:pt x="522" y="722"/>
                  <a:pt x="523" y="723"/>
                </a:cubicBezTo>
                <a:cubicBezTo>
                  <a:pt x="525" y="724"/>
                  <a:pt x="527" y="725"/>
                  <a:pt x="527" y="726"/>
                </a:cubicBezTo>
                <a:cubicBezTo>
                  <a:pt x="529" y="726"/>
                  <a:pt x="533" y="726"/>
                  <a:pt x="533" y="726"/>
                </a:cubicBezTo>
                <a:cubicBezTo>
                  <a:pt x="537" y="729"/>
                  <a:pt x="537" y="729"/>
                  <a:pt x="537" y="729"/>
                </a:cubicBezTo>
                <a:cubicBezTo>
                  <a:pt x="541" y="728"/>
                  <a:pt x="541" y="728"/>
                  <a:pt x="541" y="728"/>
                </a:cubicBezTo>
                <a:cubicBezTo>
                  <a:pt x="544" y="730"/>
                  <a:pt x="544" y="730"/>
                  <a:pt x="544" y="730"/>
                </a:cubicBezTo>
                <a:cubicBezTo>
                  <a:pt x="546" y="726"/>
                  <a:pt x="546" y="726"/>
                  <a:pt x="546" y="726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51" y="728"/>
                  <a:pt x="551" y="728"/>
                  <a:pt x="551" y="728"/>
                </a:cubicBezTo>
                <a:cubicBezTo>
                  <a:pt x="553" y="730"/>
                  <a:pt x="552" y="732"/>
                  <a:pt x="552" y="732"/>
                </a:cubicBezTo>
                <a:cubicBezTo>
                  <a:pt x="548" y="732"/>
                  <a:pt x="548" y="732"/>
                  <a:pt x="548" y="732"/>
                </a:cubicBezTo>
                <a:cubicBezTo>
                  <a:pt x="555" y="739"/>
                  <a:pt x="555" y="739"/>
                  <a:pt x="555" y="739"/>
                </a:cubicBezTo>
                <a:cubicBezTo>
                  <a:pt x="555" y="739"/>
                  <a:pt x="556" y="745"/>
                  <a:pt x="558" y="747"/>
                </a:cubicBezTo>
                <a:cubicBezTo>
                  <a:pt x="560" y="748"/>
                  <a:pt x="564" y="751"/>
                  <a:pt x="565" y="752"/>
                </a:cubicBezTo>
                <a:cubicBezTo>
                  <a:pt x="565" y="752"/>
                  <a:pt x="565" y="752"/>
                  <a:pt x="565" y="752"/>
                </a:cubicBezTo>
                <a:cubicBezTo>
                  <a:pt x="563" y="755"/>
                  <a:pt x="563" y="755"/>
                  <a:pt x="563" y="755"/>
                </a:cubicBezTo>
                <a:cubicBezTo>
                  <a:pt x="563" y="755"/>
                  <a:pt x="566" y="757"/>
                  <a:pt x="565" y="758"/>
                </a:cubicBezTo>
                <a:cubicBezTo>
                  <a:pt x="564" y="759"/>
                  <a:pt x="561" y="761"/>
                  <a:pt x="563" y="764"/>
                </a:cubicBezTo>
                <a:cubicBezTo>
                  <a:pt x="564" y="767"/>
                  <a:pt x="568" y="767"/>
                  <a:pt x="568" y="767"/>
                </a:cubicBezTo>
                <a:cubicBezTo>
                  <a:pt x="568" y="767"/>
                  <a:pt x="571" y="771"/>
                  <a:pt x="572" y="769"/>
                </a:cubicBezTo>
                <a:cubicBezTo>
                  <a:pt x="572" y="768"/>
                  <a:pt x="571" y="766"/>
                  <a:pt x="571" y="766"/>
                </a:cubicBezTo>
                <a:cubicBezTo>
                  <a:pt x="571" y="766"/>
                  <a:pt x="566" y="762"/>
                  <a:pt x="568" y="762"/>
                </a:cubicBezTo>
                <a:cubicBezTo>
                  <a:pt x="569" y="762"/>
                  <a:pt x="575" y="766"/>
                  <a:pt x="575" y="766"/>
                </a:cubicBezTo>
                <a:cubicBezTo>
                  <a:pt x="575" y="766"/>
                  <a:pt x="574" y="770"/>
                  <a:pt x="575" y="770"/>
                </a:cubicBezTo>
                <a:cubicBezTo>
                  <a:pt x="576" y="770"/>
                  <a:pt x="581" y="771"/>
                  <a:pt x="581" y="771"/>
                </a:cubicBezTo>
                <a:cubicBezTo>
                  <a:pt x="583" y="777"/>
                  <a:pt x="583" y="777"/>
                  <a:pt x="583" y="777"/>
                </a:cubicBezTo>
                <a:cubicBezTo>
                  <a:pt x="583" y="777"/>
                  <a:pt x="581" y="778"/>
                  <a:pt x="583" y="780"/>
                </a:cubicBezTo>
                <a:cubicBezTo>
                  <a:pt x="585" y="782"/>
                  <a:pt x="588" y="783"/>
                  <a:pt x="588" y="783"/>
                </a:cubicBezTo>
                <a:cubicBezTo>
                  <a:pt x="586" y="779"/>
                  <a:pt x="586" y="779"/>
                  <a:pt x="586" y="779"/>
                </a:cubicBezTo>
                <a:cubicBezTo>
                  <a:pt x="591" y="784"/>
                  <a:pt x="591" y="784"/>
                  <a:pt x="591" y="784"/>
                </a:cubicBezTo>
                <a:cubicBezTo>
                  <a:pt x="597" y="783"/>
                  <a:pt x="597" y="783"/>
                  <a:pt x="597" y="783"/>
                </a:cubicBezTo>
                <a:cubicBezTo>
                  <a:pt x="598" y="786"/>
                  <a:pt x="598" y="786"/>
                  <a:pt x="598" y="786"/>
                </a:cubicBezTo>
                <a:cubicBezTo>
                  <a:pt x="602" y="785"/>
                  <a:pt x="602" y="785"/>
                  <a:pt x="602" y="785"/>
                </a:cubicBezTo>
                <a:cubicBezTo>
                  <a:pt x="602" y="785"/>
                  <a:pt x="601" y="790"/>
                  <a:pt x="603" y="791"/>
                </a:cubicBezTo>
                <a:cubicBezTo>
                  <a:pt x="605" y="792"/>
                  <a:pt x="607" y="790"/>
                  <a:pt x="607" y="790"/>
                </a:cubicBezTo>
                <a:cubicBezTo>
                  <a:pt x="607" y="787"/>
                  <a:pt x="607" y="787"/>
                  <a:pt x="607" y="787"/>
                </a:cubicBezTo>
                <a:cubicBezTo>
                  <a:pt x="609" y="787"/>
                  <a:pt x="609" y="787"/>
                  <a:pt x="609" y="787"/>
                </a:cubicBezTo>
                <a:cubicBezTo>
                  <a:pt x="609" y="787"/>
                  <a:pt x="610" y="798"/>
                  <a:pt x="613" y="797"/>
                </a:cubicBezTo>
                <a:cubicBezTo>
                  <a:pt x="616" y="795"/>
                  <a:pt x="619" y="793"/>
                  <a:pt x="619" y="793"/>
                </a:cubicBezTo>
                <a:cubicBezTo>
                  <a:pt x="619" y="793"/>
                  <a:pt x="611" y="788"/>
                  <a:pt x="613" y="786"/>
                </a:cubicBezTo>
                <a:cubicBezTo>
                  <a:pt x="616" y="784"/>
                  <a:pt x="618" y="783"/>
                  <a:pt x="620" y="782"/>
                </a:cubicBezTo>
                <a:cubicBezTo>
                  <a:pt x="622" y="780"/>
                  <a:pt x="624" y="776"/>
                  <a:pt x="626" y="776"/>
                </a:cubicBezTo>
                <a:cubicBezTo>
                  <a:pt x="628" y="777"/>
                  <a:pt x="631" y="778"/>
                  <a:pt x="633" y="778"/>
                </a:cubicBezTo>
                <a:cubicBezTo>
                  <a:pt x="634" y="779"/>
                  <a:pt x="636" y="782"/>
                  <a:pt x="636" y="782"/>
                </a:cubicBezTo>
                <a:cubicBezTo>
                  <a:pt x="637" y="782"/>
                  <a:pt x="637" y="782"/>
                  <a:pt x="637" y="782"/>
                </a:cubicBezTo>
                <a:cubicBezTo>
                  <a:pt x="642" y="786"/>
                  <a:pt x="642" y="786"/>
                  <a:pt x="642" y="786"/>
                </a:cubicBezTo>
                <a:cubicBezTo>
                  <a:pt x="637" y="784"/>
                  <a:pt x="637" y="784"/>
                  <a:pt x="637" y="784"/>
                </a:cubicBezTo>
                <a:cubicBezTo>
                  <a:pt x="637" y="784"/>
                  <a:pt x="637" y="790"/>
                  <a:pt x="637" y="791"/>
                </a:cubicBezTo>
                <a:cubicBezTo>
                  <a:pt x="637" y="792"/>
                  <a:pt x="639" y="795"/>
                  <a:pt x="640" y="795"/>
                </a:cubicBezTo>
                <a:cubicBezTo>
                  <a:pt x="641" y="799"/>
                  <a:pt x="641" y="799"/>
                  <a:pt x="641" y="799"/>
                </a:cubicBezTo>
                <a:cubicBezTo>
                  <a:pt x="641" y="800"/>
                  <a:pt x="641" y="800"/>
                  <a:pt x="641" y="800"/>
                </a:cubicBezTo>
                <a:cubicBezTo>
                  <a:pt x="641" y="800"/>
                  <a:pt x="643" y="801"/>
                  <a:pt x="644" y="804"/>
                </a:cubicBezTo>
                <a:cubicBezTo>
                  <a:pt x="645" y="806"/>
                  <a:pt x="642" y="806"/>
                  <a:pt x="642" y="806"/>
                </a:cubicBezTo>
                <a:cubicBezTo>
                  <a:pt x="644" y="809"/>
                  <a:pt x="644" y="809"/>
                  <a:pt x="644" y="809"/>
                </a:cubicBezTo>
                <a:cubicBezTo>
                  <a:pt x="645" y="814"/>
                  <a:pt x="645" y="814"/>
                  <a:pt x="645" y="814"/>
                </a:cubicBezTo>
                <a:cubicBezTo>
                  <a:pt x="642" y="815"/>
                  <a:pt x="642" y="815"/>
                  <a:pt x="642" y="815"/>
                </a:cubicBezTo>
                <a:cubicBezTo>
                  <a:pt x="644" y="817"/>
                  <a:pt x="644" y="817"/>
                  <a:pt x="644" y="817"/>
                </a:cubicBezTo>
                <a:cubicBezTo>
                  <a:pt x="644" y="826"/>
                  <a:pt x="644" y="826"/>
                  <a:pt x="644" y="826"/>
                </a:cubicBezTo>
                <a:cubicBezTo>
                  <a:pt x="644" y="826"/>
                  <a:pt x="641" y="828"/>
                  <a:pt x="641" y="831"/>
                </a:cubicBezTo>
                <a:cubicBezTo>
                  <a:pt x="641" y="833"/>
                  <a:pt x="645" y="833"/>
                  <a:pt x="645" y="836"/>
                </a:cubicBezTo>
                <a:cubicBezTo>
                  <a:pt x="645" y="840"/>
                  <a:pt x="640" y="843"/>
                  <a:pt x="640" y="843"/>
                </a:cubicBezTo>
                <a:cubicBezTo>
                  <a:pt x="641" y="845"/>
                  <a:pt x="641" y="845"/>
                  <a:pt x="641" y="845"/>
                </a:cubicBezTo>
                <a:cubicBezTo>
                  <a:pt x="637" y="848"/>
                  <a:pt x="637" y="848"/>
                  <a:pt x="637" y="848"/>
                </a:cubicBezTo>
                <a:cubicBezTo>
                  <a:pt x="637" y="848"/>
                  <a:pt x="633" y="848"/>
                  <a:pt x="631" y="850"/>
                </a:cubicBezTo>
                <a:cubicBezTo>
                  <a:pt x="630" y="852"/>
                  <a:pt x="631" y="857"/>
                  <a:pt x="631" y="857"/>
                </a:cubicBezTo>
                <a:cubicBezTo>
                  <a:pt x="631" y="857"/>
                  <a:pt x="626" y="855"/>
                  <a:pt x="626" y="858"/>
                </a:cubicBezTo>
                <a:cubicBezTo>
                  <a:pt x="626" y="859"/>
                  <a:pt x="626" y="859"/>
                  <a:pt x="626" y="859"/>
                </a:cubicBezTo>
                <a:cubicBezTo>
                  <a:pt x="626" y="862"/>
                  <a:pt x="627" y="862"/>
                  <a:pt x="627" y="864"/>
                </a:cubicBezTo>
                <a:cubicBezTo>
                  <a:pt x="626" y="866"/>
                  <a:pt x="620" y="867"/>
                  <a:pt x="620" y="867"/>
                </a:cubicBezTo>
                <a:cubicBezTo>
                  <a:pt x="619" y="865"/>
                  <a:pt x="619" y="865"/>
                  <a:pt x="619" y="865"/>
                </a:cubicBezTo>
                <a:cubicBezTo>
                  <a:pt x="619" y="865"/>
                  <a:pt x="615" y="867"/>
                  <a:pt x="615" y="869"/>
                </a:cubicBezTo>
                <a:cubicBezTo>
                  <a:pt x="614" y="871"/>
                  <a:pt x="616" y="873"/>
                  <a:pt x="616" y="876"/>
                </a:cubicBezTo>
                <a:cubicBezTo>
                  <a:pt x="616" y="878"/>
                  <a:pt x="613" y="878"/>
                  <a:pt x="612" y="880"/>
                </a:cubicBezTo>
                <a:cubicBezTo>
                  <a:pt x="611" y="881"/>
                  <a:pt x="614" y="884"/>
                  <a:pt x="614" y="884"/>
                </a:cubicBezTo>
                <a:cubicBezTo>
                  <a:pt x="611" y="884"/>
                  <a:pt x="611" y="884"/>
                  <a:pt x="611" y="884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06" y="890"/>
                  <a:pt x="606" y="890"/>
                  <a:pt x="606" y="890"/>
                </a:cubicBezTo>
                <a:cubicBezTo>
                  <a:pt x="609" y="892"/>
                  <a:pt x="609" y="892"/>
                  <a:pt x="609" y="892"/>
                </a:cubicBezTo>
                <a:cubicBezTo>
                  <a:pt x="607" y="896"/>
                  <a:pt x="607" y="896"/>
                  <a:pt x="607" y="896"/>
                </a:cubicBezTo>
                <a:cubicBezTo>
                  <a:pt x="607" y="896"/>
                  <a:pt x="609" y="896"/>
                  <a:pt x="609" y="899"/>
                </a:cubicBezTo>
                <a:cubicBezTo>
                  <a:pt x="609" y="901"/>
                  <a:pt x="606" y="902"/>
                  <a:pt x="606" y="902"/>
                </a:cubicBezTo>
                <a:cubicBezTo>
                  <a:pt x="608" y="903"/>
                  <a:pt x="608" y="903"/>
                  <a:pt x="608" y="903"/>
                </a:cubicBezTo>
                <a:cubicBezTo>
                  <a:pt x="608" y="903"/>
                  <a:pt x="605" y="906"/>
                  <a:pt x="610" y="907"/>
                </a:cubicBezTo>
                <a:cubicBezTo>
                  <a:pt x="615" y="909"/>
                  <a:pt x="616" y="904"/>
                  <a:pt x="616" y="904"/>
                </a:cubicBezTo>
                <a:cubicBezTo>
                  <a:pt x="619" y="905"/>
                  <a:pt x="619" y="905"/>
                  <a:pt x="619" y="905"/>
                </a:cubicBezTo>
                <a:cubicBezTo>
                  <a:pt x="621" y="907"/>
                  <a:pt x="619" y="911"/>
                  <a:pt x="618" y="913"/>
                </a:cubicBezTo>
                <a:cubicBezTo>
                  <a:pt x="618" y="916"/>
                  <a:pt x="613" y="916"/>
                  <a:pt x="613" y="916"/>
                </a:cubicBezTo>
                <a:cubicBezTo>
                  <a:pt x="613" y="916"/>
                  <a:pt x="608" y="922"/>
                  <a:pt x="606" y="924"/>
                </a:cubicBezTo>
                <a:cubicBezTo>
                  <a:pt x="604" y="925"/>
                  <a:pt x="604" y="927"/>
                  <a:pt x="604" y="930"/>
                </a:cubicBezTo>
                <a:cubicBezTo>
                  <a:pt x="604" y="933"/>
                  <a:pt x="607" y="932"/>
                  <a:pt x="607" y="932"/>
                </a:cubicBezTo>
                <a:cubicBezTo>
                  <a:pt x="606" y="936"/>
                  <a:pt x="606" y="936"/>
                  <a:pt x="606" y="936"/>
                </a:cubicBezTo>
                <a:cubicBezTo>
                  <a:pt x="606" y="936"/>
                  <a:pt x="609" y="938"/>
                  <a:pt x="610" y="940"/>
                </a:cubicBezTo>
                <a:cubicBezTo>
                  <a:pt x="610" y="943"/>
                  <a:pt x="606" y="943"/>
                  <a:pt x="606" y="946"/>
                </a:cubicBezTo>
                <a:cubicBezTo>
                  <a:pt x="606" y="949"/>
                  <a:pt x="613" y="949"/>
                  <a:pt x="615" y="951"/>
                </a:cubicBezTo>
                <a:cubicBezTo>
                  <a:pt x="616" y="952"/>
                  <a:pt x="621" y="958"/>
                  <a:pt x="622" y="959"/>
                </a:cubicBezTo>
                <a:cubicBezTo>
                  <a:pt x="622" y="960"/>
                  <a:pt x="625" y="964"/>
                  <a:pt x="625" y="966"/>
                </a:cubicBezTo>
                <a:cubicBezTo>
                  <a:pt x="625" y="967"/>
                  <a:pt x="630" y="972"/>
                  <a:pt x="630" y="974"/>
                </a:cubicBezTo>
                <a:cubicBezTo>
                  <a:pt x="631" y="975"/>
                  <a:pt x="638" y="986"/>
                  <a:pt x="638" y="986"/>
                </a:cubicBezTo>
                <a:cubicBezTo>
                  <a:pt x="639" y="991"/>
                  <a:pt x="639" y="991"/>
                  <a:pt x="639" y="991"/>
                </a:cubicBezTo>
                <a:cubicBezTo>
                  <a:pt x="639" y="991"/>
                  <a:pt x="645" y="1003"/>
                  <a:pt x="645" y="1004"/>
                </a:cubicBezTo>
                <a:cubicBezTo>
                  <a:pt x="645" y="1006"/>
                  <a:pt x="647" y="1006"/>
                  <a:pt x="649" y="1007"/>
                </a:cubicBezTo>
                <a:cubicBezTo>
                  <a:pt x="650" y="1008"/>
                  <a:pt x="650" y="1010"/>
                  <a:pt x="650" y="1012"/>
                </a:cubicBezTo>
                <a:cubicBezTo>
                  <a:pt x="650" y="1015"/>
                  <a:pt x="657" y="1023"/>
                  <a:pt x="660" y="1026"/>
                </a:cubicBezTo>
                <a:cubicBezTo>
                  <a:pt x="662" y="1030"/>
                  <a:pt x="660" y="1035"/>
                  <a:pt x="660" y="1036"/>
                </a:cubicBezTo>
                <a:cubicBezTo>
                  <a:pt x="660" y="1038"/>
                  <a:pt x="665" y="1043"/>
                  <a:pt x="668" y="1045"/>
                </a:cubicBezTo>
                <a:cubicBezTo>
                  <a:pt x="670" y="1046"/>
                  <a:pt x="672" y="1050"/>
                  <a:pt x="673" y="1052"/>
                </a:cubicBezTo>
                <a:cubicBezTo>
                  <a:pt x="675" y="1053"/>
                  <a:pt x="685" y="1057"/>
                  <a:pt x="688" y="1059"/>
                </a:cubicBezTo>
                <a:cubicBezTo>
                  <a:pt x="691" y="1060"/>
                  <a:pt x="696" y="1062"/>
                  <a:pt x="701" y="1065"/>
                </a:cubicBezTo>
                <a:cubicBezTo>
                  <a:pt x="705" y="1069"/>
                  <a:pt x="712" y="1073"/>
                  <a:pt x="712" y="1073"/>
                </a:cubicBezTo>
                <a:cubicBezTo>
                  <a:pt x="713" y="1076"/>
                  <a:pt x="713" y="1076"/>
                  <a:pt x="713" y="1076"/>
                </a:cubicBezTo>
                <a:cubicBezTo>
                  <a:pt x="713" y="1076"/>
                  <a:pt x="716" y="1078"/>
                  <a:pt x="717" y="1079"/>
                </a:cubicBezTo>
                <a:cubicBezTo>
                  <a:pt x="718" y="1081"/>
                  <a:pt x="724" y="1084"/>
                  <a:pt x="724" y="1084"/>
                </a:cubicBezTo>
                <a:cubicBezTo>
                  <a:pt x="724" y="1085"/>
                  <a:pt x="724" y="1085"/>
                  <a:pt x="724" y="1085"/>
                </a:cubicBezTo>
                <a:cubicBezTo>
                  <a:pt x="724" y="1090"/>
                  <a:pt x="724" y="1090"/>
                  <a:pt x="724" y="1090"/>
                </a:cubicBezTo>
                <a:cubicBezTo>
                  <a:pt x="724" y="1090"/>
                  <a:pt x="727" y="1096"/>
                  <a:pt x="728" y="1100"/>
                </a:cubicBezTo>
                <a:cubicBezTo>
                  <a:pt x="729" y="1104"/>
                  <a:pt x="729" y="1110"/>
                  <a:pt x="729" y="1113"/>
                </a:cubicBezTo>
                <a:cubicBezTo>
                  <a:pt x="729" y="1116"/>
                  <a:pt x="731" y="1118"/>
                  <a:pt x="731" y="1123"/>
                </a:cubicBezTo>
                <a:cubicBezTo>
                  <a:pt x="731" y="1128"/>
                  <a:pt x="731" y="1136"/>
                  <a:pt x="731" y="1136"/>
                </a:cubicBezTo>
                <a:cubicBezTo>
                  <a:pt x="728" y="1137"/>
                  <a:pt x="728" y="1137"/>
                  <a:pt x="728" y="1137"/>
                </a:cubicBezTo>
                <a:cubicBezTo>
                  <a:pt x="729" y="1142"/>
                  <a:pt x="729" y="1142"/>
                  <a:pt x="729" y="1142"/>
                </a:cubicBezTo>
                <a:cubicBezTo>
                  <a:pt x="732" y="1143"/>
                  <a:pt x="732" y="1143"/>
                  <a:pt x="732" y="1143"/>
                </a:cubicBezTo>
                <a:cubicBezTo>
                  <a:pt x="731" y="1156"/>
                  <a:pt x="731" y="1156"/>
                  <a:pt x="731" y="1156"/>
                </a:cubicBezTo>
                <a:cubicBezTo>
                  <a:pt x="734" y="1162"/>
                  <a:pt x="734" y="1162"/>
                  <a:pt x="734" y="1162"/>
                </a:cubicBezTo>
                <a:cubicBezTo>
                  <a:pt x="731" y="1165"/>
                  <a:pt x="731" y="1165"/>
                  <a:pt x="731" y="1165"/>
                </a:cubicBezTo>
                <a:cubicBezTo>
                  <a:pt x="733" y="1174"/>
                  <a:pt x="733" y="1174"/>
                  <a:pt x="733" y="1174"/>
                </a:cubicBezTo>
                <a:cubicBezTo>
                  <a:pt x="733" y="1174"/>
                  <a:pt x="734" y="1174"/>
                  <a:pt x="735" y="1178"/>
                </a:cubicBezTo>
                <a:cubicBezTo>
                  <a:pt x="735" y="1181"/>
                  <a:pt x="733" y="1182"/>
                  <a:pt x="733" y="1182"/>
                </a:cubicBezTo>
                <a:cubicBezTo>
                  <a:pt x="732" y="1186"/>
                  <a:pt x="732" y="1186"/>
                  <a:pt x="732" y="1186"/>
                </a:cubicBezTo>
                <a:cubicBezTo>
                  <a:pt x="734" y="1188"/>
                  <a:pt x="734" y="1188"/>
                  <a:pt x="734" y="1188"/>
                </a:cubicBezTo>
                <a:cubicBezTo>
                  <a:pt x="734" y="1188"/>
                  <a:pt x="732" y="1189"/>
                  <a:pt x="731" y="1192"/>
                </a:cubicBezTo>
                <a:cubicBezTo>
                  <a:pt x="730" y="1195"/>
                  <a:pt x="732" y="1195"/>
                  <a:pt x="732" y="1195"/>
                </a:cubicBezTo>
                <a:cubicBezTo>
                  <a:pt x="732" y="1195"/>
                  <a:pt x="733" y="1196"/>
                  <a:pt x="733" y="1199"/>
                </a:cubicBezTo>
                <a:cubicBezTo>
                  <a:pt x="733" y="1201"/>
                  <a:pt x="731" y="1200"/>
                  <a:pt x="731" y="1205"/>
                </a:cubicBezTo>
                <a:cubicBezTo>
                  <a:pt x="731" y="1209"/>
                  <a:pt x="734" y="1209"/>
                  <a:pt x="735" y="1211"/>
                </a:cubicBezTo>
                <a:cubicBezTo>
                  <a:pt x="736" y="1212"/>
                  <a:pt x="735" y="1218"/>
                  <a:pt x="735" y="1218"/>
                </a:cubicBezTo>
                <a:cubicBezTo>
                  <a:pt x="735" y="1218"/>
                  <a:pt x="733" y="1217"/>
                  <a:pt x="732" y="1218"/>
                </a:cubicBezTo>
                <a:cubicBezTo>
                  <a:pt x="731" y="1218"/>
                  <a:pt x="732" y="1221"/>
                  <a:pt x="734" y="1226"/>
                </a:cubicBezTo>
                <a:cubicBezTo>
                  <a:pt x="735" y="1230"/>
                  <a:pt x="738" y="1236"/>
                  <a:pt x="738" y="1236"/>
                </a:cubicBezTo>
                <a:cubicBezTo>
                  <a:pt x="738" y="1236"/>
                  <a:pt x="738" y="1239"/>
                  <a:pt x="740" y="1240"/>
                </a:cubicBezTo>
                <a:cubicBezTo>
                  <a:pt x="741" y="1242"/>
                  <a:pt x="740" y="1248"/>
                  <a:pt x="740" y="1248"/>
                </a:cubicBezTo>
                <a:cubicBezTo>
                  <a:pt x="740" y="1252"/>
                  <a:pt x="740" y="1252"/>
                  <a:pt x="740" y="1252"/>
                </a:cubicBezTo>
                <a:cubicBezTo>
                  <a:pt x="743" y="1255"/>
                  <a:pt x="743" y="1255"/>
                  <a:pt x="743" y="1255"/>
                </a:cubicBezTo>
                <a:cubicBezTo>
                  <a:pt x="743" y="1255"/>
                  <a:pt x="741" y="1261"/>
                  <a:pt x="741" y="1264"/>
                </a:cubicBezTo>
                <a:cubicBezTo>
                  <a:pt x="741" y="1267"/>
                  <a:pt x="741" y="1273"/>
                  <a:pt x="741" y="1273"/>
                </a:cubicBezTo>
                <a:cubicBezTo>
                  <a:pt x="738" y="1278"/>
                  <a:pt x="738" y="1278"/>
                  <a:pt x="738" y="1278"/>
                </a:cubicBezTo>
                <a:cubicBezTo>
                  <a:pt x="740" y="1280"/>
                  <a:pt x="740" y="1280"/>
                  <a:pt x="740" y="1280"/>
                </a:cubicBezTo>
                <a:cubicBezTo>
                  <a:pt x="740" y="1280"/>
                  <a:pt x="739" y="1283"/>
                  <a:pt x="739" y="1285"/>
                </a:cubicBezTo>
                <a:cubicBezTo>
                  <a:pt x="739" y="1287"/>
                  <a:pt x="738" y="1296"/>
                  <a:pt x="738" y="1296"/>
                </a:cubicBezTo>
                <a:cubicBezTo>
                  <a:pt x="736" y="1296"/>
                  <a:pt x="736" y="1296"/>
                  <a:pt x="736" y="1296"/>
                </a:cubicBezTo>
                <a:cubicBezTo>
                  <a:pt x="736" y="1299"/>
                  <a:pt x="736" y="1299"/>
                  <a:pt x="736" y="1299"/>
                </a:cubicBezTo>
                <a:cubicBezTo>
                  <a:pt x="739" y="1306"/>
                  <a:pt x="739" y="1306"/>
                  <a:pt x="739" y="1306"/>
                </a:cubicBezTo>
                <a:cubicBezTo>
                  <a:pt x="739" y="1306"/>
                  <a:pt x="739" y="1310"/>
                  <a:pt x="739" y="1312"/>
                </a:cubicBezTo>
                <a:cubicBezTo>
                  <a:pt x="739" y="1314"/>
                  <a:pt x="744" y="1315"/>
                  <a:pt x="745" y="1319"/>
                </a:cubicBezTo>
                <a:cubicBezTo>
                  <a:pt x="746" y="1322"/>
                  <a:pt x="744" y="1330"/>
                  <a:pt x="744" y="1330"/>
                </a:cubicBezTo>
                <a:cubicBezTo>
                  <a:pt x="746" y="1331"/>
                  <a:pt x="746" y="1331"/>
                  <a:pt x="746" y="1331"/>
                </a:cubicBezTo>
                <a:cubicBezTo>
                  <a:pt x="746" y="1331"/>
                  <a:pt x="746" y="1337"/>
                  <a:pt x="746" y="1340"/>
                </a:cubicBezTo>
                <a:cubicBezTo>
                  <a:pt x="746" y="1342"/>
                  <a:pt x="752" y="1344"/>
                  <a:pt x="752" y="1344"/>
                </a:cubicBezTo>
                <a:cubicBezTo>
                  <a:pt x="751" y="1347"/>
                  <a:pt x="751" y="1347"/>
                  <a:pt x="751" y="1347"/>
                </a:cubicBezTo>
                <a:cubicBezTo>
                  <a:pt x="757" y="1347"/>
                  <a:pt x="757" y="1347"/>
                  <a:pt x="757" y="1347"/>
                </a:cubicBezTo>
                <a:cubicBezTo>
                  <a:pt x="757" y="1343"/>
                  <a:pt x="757" y="1343"/>
                  <a:pt x="757" y="1343"/>
                </a:cubicBezTo>
                <a:cubicBezTo>
                  <a:pt x="757" y="1343"/>
                  <a:pt x="759" y="1345"/>
                  <a:pt x="761" y="1345"/>
                </a:cubicBezTo>
                <a:cubicBezTo>
                  <a:pt x="763" y="1345"/>
                  <a:pt x="763" y="1342"/>
                  <a:pt x="763" y="1342"/>
                </a:cubicBezTo>
                <a:cubicBezTo>
                  <a:pt x="764" y="1345"/>
                  <a:pt x="764" y="1345"/>
                  <a:pt x="764" y="1345"/>
                </a:cubicBezTo>
                <a:cubicBezTo>
                  <a:pt x="764" y="1345"/>
                  <a:pt x="760" y="1347"/>
                  <a:pt x="760" y="1349"/>
                </a:cubicBezTo>
                <a:cubicBezTo>
                  <a:pt x="759" y="1352"/>
                  <a:pt x="763" y="1349"/>
                  <a:pt x="764" y="1350"/>
                </a:cubicBezTo>
                <a:cubicBezTo>
                  <a:pt x="766" y="1351"/>
                  <a:pt x="765" y="1353"/>
                  <a:pt x="765" y="1353"/>
                </a:cubicBezTo>
                <a:cubicBezTo>
                  <a:pt x="761" y="1353"/>
                  <a:pt x="761" y="1353"/>
                  <a:pt x="761" y="1353"/>
                </a:cubicBezTo>
                <a:cubicBezTo>
                  <a:pt x="764" y="1356"/>
                  <a:pt x="764" y="1356"/>
                  <a:pt x="764" y="1356"/>
                </a:cubicBezTo>
                <a:cubicBezTo>
                  <a:pt x="762" y="1357"/>
                  <a:pt x="762" y="1357"/>
                  <a:pt x="762" y="1357"/>
                </a:cubicBezTo>
                <a:cubicBezTo>
                  <a:pt x="765" y="1361"/>
                  <a:pt x="765" y="1361"/>
                  <a:pt x="765" y="1361"/>
                </a:cubicBezTo>
                <a:cubicBezTo>
                  <a:pt x="765" y="1361"/>
                  <a:pt x="763" y="1363"/>
                  <a:pt x="762" y="1365"/>
                </a:cubicBezTo>
                <a:cubicBezTo>
                  <a:pt x="760" y="1367"/>
                  <a:pt x="768" y="1369"/>
                  <a:pt x="768" y="1369"/>
                </a:cubicBezTo>
                <a:cubicBezTo>
                  <a:pt x="768" y="1369"/>
                  <a:pt x="767" y="1370"/>
                  <a:pt x="766" y="1371"/>
                </a:cubicBezTo>
                <a:cubicBezTo>
                  <a:pt x="765" y="1371"/>
                  <a:pt x="766" y="1374"/>
                  <a:pt x="768" y="1375"/>
                </a:cubicBezTo>
                <a:cubicBezTo>
                  <a:pt x="770" y="1376"/>
                  <a:pt x="773" y="1375"/>
                  <a:pt x="773" y="1375"/>
                </a:cubicBezTo>
                <a:cubicBezTo>
                  <a:pt x="774" y="1380"/>
                  <a:pt x="774" y="1380"/>
                  <a:pt x="774" y="1380"/>
                </a:cubicBezTo>
                <a:cubicBezTo>
                  <a:pt x="774" y="1380"/>
                  <a:pt x="770" y="1383"/>
                  <a:pt x="769" y="1384"/>
                </a:cubicBezTo>
                <a:cubicBezTo>
                  <a:pt x="768" y="1386"/>
                  <a:pt x="772" y="1386"/>
                  <a:pt x="772" y="1386"/>
                </a:cubicBezTo>
                <a:cubicBezTo>
                  <a:pt x="772" y="1386"/>
                  <a:pt x="777" y="1387"/>
                  <a:pt x="777" y="1388"/>
                </a:cubicBezTo>
                <a:cubicBezTo>
                  <a:pt x="777" y="1390"/>
                  <a:pt x="773" y="1388"/>
                  <a:pt x="771" y="1387"/>
                </a:cubicBezTo>
                <a:cubicBezTo>
                  <a:pt x="769" y="1386"/>
                  <a:pt x="769" y="1390"/>
                  <a:pt x="769" y="1390"/>
                </a:cubicBezTo>
                <a:cubicBezTo>
                  <a:pt x="773" y="1390"/>
                  <a:pt x="773" y="1390"/>
                  <a:pt x="773" y="1390"/>
                </a:cubicBezTo>
                <a:cubicBezTo>
                  <a:pt x="770" y="1392"/>
                  <a:pt x="770" y="1392"/>
                  <a:pt x="770" y="1392"/>
                </a:cubicBezTo>
                <a:cubicBezTo>
                  <a:pt x="770" y="1395"/>
                  <a:pt x="770" y="1395"/>
                  <a:pt x="770" y="1395"/>
                </a:cubicBezTo>
                <a:cubicBezTo>
                  <a:pt x="770" y="1395"/>
                  <a:pt x="774" y="1394"/>
                  <a:pt x="772" y="1398"/>
                </a:cubicBezTo>
                <a:cubicBezTo>
                  <a:pt x="771" y="1403"/>
                  <a:pt x="769" y="1396"/>
                  <a:pt x="769" y="1396"/>
                </a:cubicBezTo>
                <a:cubicBezTo>
                  <a:pt x="764" y="1396"/>
                  <a:pt x="764" y="1396"/>
                  <a:pt x="764" y="1396"/>
                </a:cubicBezTo>
                <a:cubicBezTo>
                  <a:pt x="767" y="1395"/>
                  <a:pt x="767" y="1395"/>
                  <a:pt x="767" y="1395"/>
                </a:cubicBezTo>
                <a:cubicBezTo>
                  <a:pt x="767" y="1395"/>
                  <a:pt x="763" y="1391"/>
                  <a:pt x="763" y="1391"/>
                </a:cubicBezTo>
                <a:cubicBezTo>
                  <a:pt x="762" y="1392"/>
                  <a:pt x="763" y="1394"/>
                  <a:pt x="763" y="1394"/>
                </a:cubicBezTo>
                <a:cubicBezTo>
                  <a:pt x="761" y="1392"/>
                  <a:pt x="761" y="1392"/>
                  <a:pt x="761" y="1392"/>
                </a:cubicBezTo>
                <a:cubicBezTo>
                  <a:pt x="756" y="1394"/>
                  <a:pt x="756" y="1394"/>
                  <a:pt x="756" y="1394"/>
                </a:cubicBezTo>
                <a:cubicBezTo>
                  <a:pt x="761" y="1395"/>
                  <a:pt x="761" y="1395"/>
                  <a:pt x="761" y="1395"/>
                </a:cubicBezTo>
                <a:cubicBezTo>
                  <a:pt x="761" y="1395"/>
                  <a:pt x="760" y="1395"/>
                  <a:pt x="759" y="1397"/>
                </a:cubicBezTo>
                <a:cubicBezTo>
                  <a:pt x="758" y="1398"/>
                  <a:pt x="755" y="1399"/>
                  <a:pt x="755" y="1401"/>
                </a:cubicBezTo>
                <a:cubicBezTo>
                  <a:pt x="754" y="1403"/>
                  <a:pt x="759" y="1404"/>
                  <a:pt x="759" y="1404"/>
                </a:cubicBezTo>
                <a:cubicBezTo>
                  <a:pt x="760" y="1403"/>
                  <a:pt x="758" y="1401"/>
                  <a:pt x="758" y="1401"/>
                </a:cubicBezTo>
                <a:cubicBezTo>
                  <a:pt x="761" y="1401"/>
                  <a:pt x="761" y="1401"/>
                  <a:pt x="761" y="1401"/>
                </a:cubicBezTo>
                <a:cubicBezTo>
                  <a:pt x="761" y="1401"/>
                  <a:pt x="762" y="1402"/>
                  <a:pt x="763" y="1403"/>
                </a:cubicBezTo>
                <a:cubicBezTo>
                  <a:pt x="764" y="1404"/>
                  <a:pt x="769" y="1403"/>
                  <a:pt x="769" y="1403"/>
                </a:cubicBezTo>
                <a:cubicBezTo>
                  <a:pt x="769" y="1403"/>
                  <a:pt x="772" y="1404"/>
                  <a:pt x="773" y="1406"/>
                </a:cubicBezTo>
                <a:cubicBezTo>
                  <a:pt x="774" y="1408"/>
                  <a:pt x="770" y="1409"/>
                  <a:pt x="770" y="1409"/>
                </a:cubicBezTo>
                <a:cubicBezTo>
                  <a:pt x="772" y="1411"/>
                  <a:pt x="772" y="1411"/>
                  <a:pt x="772" y="1411"/>
                </a:cubicBezTo>
                <a:cubicBezTo>
                  <a:pt x="774" y="1411"/>
                  <a:pt x="774" y="1411"/>
                  <a:pt x="774" y="1411"/>
                </a:cubicBezTo>
                <a:cubicBezTo>
                  <a:pt x="774" y="1413"/>
                  <a:pt x="774" y="1413"/>
                  <a:pt x="774" y="1413"/>
                </a:cubicBezTo>
                <a:cubicBezTo>
                  <a:pt x="777" y="1414"/>
                  <a:pt x="777" y="1414"/>
                  <a:pt x="777" y="1414"/>
                </a:cubicBezTo>
                <a:cubicBezTo>
                  <a:pt x="778" y="1411"/>
                  <a:pt x="778" y="1411"/>
                  <a:pt x="778" y="1411"/>
                </a:cubicBezTo>
                <a:cubicBezTo>
                  <a:pt x="780" y="1414"/>
                  <a:pt x="780" y="1414"/>
                  <a:pt x="780" y="1414"/>
                </a:cubicBezTo>
                <a:cubicBezTo>
                  <a:pt x="780" y="1414"/>
                  <a:pt x="784" y="1414"/>
                  <a:pt x="783" y="1417"/>
                </a:cubicBezTo>
                <a:cubicBezTo>
                  <a:pt x="782" y="1420"/>
                  <a:pt x="778" y="1417"/>
                  <a:pt x="776" y="1416"/>
                </a:cubicBezTo>
                <a:cubicBezTo>
                  <a:pt x="774" y="1416"/>
                  <a:pt x="776" y="1419"/>
                  <a:pt x="776" y="1419"/>
                </a:cubicBezTo>
                <a:cubicBezTo>
                  <a:pt x="776" y="1419"/>
                  <a:pt x="780" y="1420"/>
                  <a:pt x="780" y="1423"/>
                </a:cubicBezTo>
                <a:cubicBezTo>
                  <a:pt x="781" y="1426"/>
                  <a:pt x="777" y="1425"/>
                  <a:pt x="777" y="1425"/>
                </a:cubicBezTo>
                <a:cubicBezTo>
                  <a:pt x="779" y="1428"/>
                  <a:pt x="779" y="1428"/>
                  <a:pt x="779" y="1428"/>
                </a:cubicBezTo>
                <a:cubicBezTo>
                  <a:pt x="781" y="1433"/>
                  <a:pt x="781" y="1433"/>
                  <a:pt x="781" y="1433"/>
                </a:cubicBezTo>
                <a:cubicBezTo>
                  <a:pt x="783" y="1427"/>
                  <a:pt x="783" y="1427"/>
                  <a:pt x="783" y="1427"/>
                </a:cubicBezTo>
                <a:cubicBezTo>
                  <a:pt x="783" y="1431"/>
                  <a:pt x="783" y="1431"/>
                  <a:pt x="783" y="1431"/>
                </a:cubicBezTo>
                <a:cubicBezTo>
                  <a:pt x="786" y="1434"/>
                  <a:pt x="786" y="1434"/>
                  <a:pt x="786" y="1434"/>
                </a:cubicBezTo>
                <a:cubicBezTo>
                  <a:pt x="782" y="1434"/>
                  <a:pt x="782" y="1434"/>
                  <a:pt x="782" y="1434"/>
                </a:cubicBezTo>
                <a:cubicBezTo>
                  <a:pt x="783" y="1437"/>
                  <a:pt x="783" y="1437"/>
                  <a:pt x="783" y="1437"/>
                </a:cubicBezTo>
                <a:cubicBezTo>
                  <a:pt x="786" y="1437"/>
                  <a:pt x="786" y="1437"/>
                  <a:pt x="786" y="1437"/>
                </a:cubicBezTo>
                <a:cubicBezTo>
                  <a:pt x="784" y="1439"/>
                  <a:pt x="784" y="1439"/>
                  <a:pt x="784" y="1439"/>
                </a:cubicBezTo>
                <a:cubicBezTo>
                  <a:pt x="789" y="1440"/>
                  <a:pt x="789" y="1440"/>
                  <a:pt x="789" y="1440"/>
                </a:cubicBezTo>
                <a:cubicBezTo>
                  <a:pt x="786" y="1442"/>
                  <a:pt x="786" y="1442"/>
                  <a:pt x="786" y="1442"/>
                </a:cubicBezTo>
                <a:cubicBezTo>
                  <a:pt x="790" y="1443"/>
                  <a:pt x="790" y="1443"/>
                  <a:pt x="790" y="1443"/>
                </a:cubicBezTo>
                <a:cubicBezTo>
                  <a:pt x="789" y="1445"/>
                  <a:pt x="789" y="1445"/>
                  <a:pt x="789" y="1445"/>
                </a:cubicBezTo>
                <a:cubicBezTo>
                  <a:pt x="791" y="1446"/>
                  <a:pt x="791" y="1446"/>
                  <a:pt x="791" y="1446"/>
                </a:cubicBezTo>
                <a:cubicBezTo>
                  <a:pt x="791" y="1446"/>
                  <a:pt x="792" y="1441"/>
                  <a:pt x="793" y="1444"/>
                </a:cubicBezTo>
                <a:cubicBezTo>
                  <a:pt x="795" y="1446"/>
                  <a:pt x="793" y="1447"/>
                  <a:pt x="791" y="1448"/>
                </a:cubicBezTo>
                <a:cubicBezTo>
                  <a:pt x="790" y="1449"/>
                  <a:pt x="791" y="1450"/>
                  <a:pt x="791" y="1450"/>
                </a:cubicBezTo>
                <a:cubicBezTo>
                  <a:pt x="796" y="1451"/>
                  <a:pt x="796" y="1451"/>
                  <a:pt x="796" y="1451"/>
                </a:cubicBezTo>
                <a:cubicBezTo>
                  <a:pt x="796" y="1451"/>
                  <a:pt x="796" y="1453"/>
                  <a:pt x="797" y="1454"/>
                </a:cubicBezTo>
                <a:cubicBezTo>
                  <a:pt x="798" y="1455"/>
                  <a:pt x="802" y="1457"/>
                  <a:pt x="802" y="1457"/>
                </a:cubicBezTo>
                <a:cubicBezTo>
                  <a:pt x="801" y="1452"/>
                  <a:pt x="801" y="1452"/>
                  <a:pt x="801" y="1452"/>
                </a:cubicBezTo>
                <a:cubicBezTo>
                  <a:pt x="801" y="1452"/>
                  <a:pt x="806" y="1454"/>
                  <a:pt x="809" y="1456"/>
                </a:cubicBezTo>
                <a:cubicBezTo>
                  <a:pt x="812" y="1458"/>
                  <a:pt x="809" y="1460"/>
                  <a:pt x="809" y="1460"/>
                </a:cubicBezTo>
                <a:cubicBezTo>
                  <a:pt x="812" y="1462"/>
                  <a:pt x="812" y="1462"/>
                  <a:pt x="812" y="1462"/>
                </a:cubicBezTo>
                <a:cubicBezTo>
                  <a:pt x="812" y="1464"/>
                  <a:pt x="812" y="1464"/>
                  <a:pt x="812" y="1464"/>
                </a:cubicBezTo>
                <a:cubicBezTo>
                  <a:pt x="820" y="1464"/>
                  <a:pt x="820" y="1464"/>
                  <a:pt x="820" y="1464"/>
                </a:cubicBezTo>
                <a:cubicBezTo>
                  <a:pt x="821" y="1466"/>
                  <a:pt x="821" y="1466"/>
                  <a:pt x="821" y="1466"/>
                </a:cubicBezTo>
                <a:cubicBezTo>
                  <a:pt x="816" y="1466"/>
                  <a:pt x="816" y="1466"/>
                  <a:pt x="816" y="1466"/>
                </a:cubicBezTo>
                <a:cubicBezTo>
                  <a:pt x="815" y="1468"/>
                  <a:pt x="815" y="1468"/>
                  <a:pt x="815" y="1468"/>
                </a:cubicBezTo>
                <a:cubicBezTo>
                  <a:pt x="812" y="1468"/>
                  <a:pt x="812" y="1468"/>
                  <a:pt x="812" y="1468"/>
                </a:cubicBezTo>
                <a:cubicBezTo>
                  <a:pt x="810" y="1470"/>
                  <a:pt x="810" y="1470"/>
                  <a:pt x="810" y="1470"/>
                </a:cubicBezTo>
                <a:cubicBezTo>
                  <a:pt x="814" y="1471"/>
                  <a:pt x="814" y="1471"/>
                  <a:pt x="814" y="1471"/>
                </a:cubicBezTo>
                <a:cubicBezTo>
                  <a:pt x="813" y="1473"/>
                  <a:pt x="813" y="1473"/>
                  <a:pt x="813" y="1473"/>
                </a:cubicBezTo>
                <a:cubicBezTo>
                  <a:pt x="816" y="1473"/>
                  <a:pt x="816" y="1473"/>
                  <a:pt x="816" y="1473"/>
                </a:cubicBezTo>
                <a:cubicBezTo>
                  <a:pt x="817" y="1470"/>
                  <a:pt x="817" y="1470"/>
                  <a:pt x="817" y="1470"/>
                </a:cubicBezTo>
                <a:cubicBezTo>
                  <a:pt x="820" y="1471"/>
                  <a:pt x="820" y="1471"/>
                  <a:pt x="820" y="1471"/>
                </a:cubicBezTo>
                <a:cubicBezTo>
                  <a:pt x="820" y="1471"/>
                  <a:pt x="824" y="1466"/>
                  <a:pt x="826" y="1467"/>
                </a:cubicBezTo>
                <a:cubicBezTo>
                  <a:pt x="828" y="1469"/>
                  <a:pt x="822" y="1474"/>
                  <a:pt x="822" y="1474"/>
                </a:cubicBezTo>
                <a:cubicBezTo>
                  <a:pt x="822" y="1474"/>
                  <a:pt x="821" y="1473"/>
                  <a:pt x="819" y="1473"/>
                </a:cubicBezTo>
                <a:cubicBezTo>
                  <a:pt x="817" y="1473"/>
                  <a:pt x="818" y="1475"/>
                  <a:pt x="818" y="1475"/>
                </a:cubicBezTo>
                <a:cubicBezTo>
                  <a:pt x="816" y="1475"/>
                  <a:pt x="816" y="1475"/>
                  <a:pt x="816" y="1475"/>
                </a:cubicBezTo>
                <a:cubicBezTo>
                  <a:pt x="814" y="1475"/>
                  <a:pt x="812" y="1477"/>
                  <a:pt x="812" y="1477"/>
                </a:cubicBezTo>
                <a:cubicBezTo>
                  <a:pt x="813" y="1478"/>
                  <a:pt x="813" y="1478"/>
                  <a:pt x="813" y="1478"/>
                </a:cubicBezTo>
                <a:cubicBezTo>
                  <a:pt x="814" y="1482"/>
                  <a:pt x="814" y="1482"/>
                  <a:pt x="814" y="1482"/>
                </a:cubicBezTo>
                <a:cubicBezTo>
                  <a:pt x="818" y="1480"/>
                  <a:pt x="818" y="1480"/>
                  <a:pt x="818" y="1480"/>
                </a:cubicBezTo>
                <a:cubicBezTo>
                  <a:pt x="818" y="1480"/>
                  <a:pt x="819" y="1482"/>
                  <a:pt x="820" y="1482"/>
                </a:cubicBezTo>
                <a:cubicBezTo>
                  <a:pt x="821" y="1482"/>
                  <a:pt x="822" y="1478"/>
                  <a:pt x="823" y="1477"/>
                </a:cubicBezTo>
                <a:cubicBezTo>
                  <a:pt x="825" y="1476"/>
                  <a:pt x="825" y="1478"/>
                  <a:pt x="825" y="1478"/>
                </a:cubicBezTo>
                <a:cubicBezTo>
                  <a:pt x="825" y="1478"/>
                  <a:pt x="828" y="1478"/>
                  <a:pt x="831" y="1478"/>
                </a:cubicBezTo>
                <a:cubicBezTo>
                  <a:pt x="834" y="1477"/>
                  <a:pt x="828" y="1472"/>
                  <a:pt x="828" y="1472"/>
                </a:cubicBezTo>
                <a:cubicBezTo>
                  <a:pt x="828" y="1467"/>
                  <a:pt x="828" y="1467"/>
                  <a:pt x="828" y="1467"/>
                </a:cubicBezTo>
                <a:cubicBezTo>
                  <a:pt x="833" y="1467"/>
                  <a:pt x="833" y="1467"/>
                  <a:pt x="833" y="1467"/>
                </a:cubicBezTo>
                <a:cubicBezTo>
                  <a:pt x="833" y="1464"/>
                  <a:pt x="833" y="1464"/>
                  <a:pt x="833" y="1464"/>
                </a:cubicBezTo>
                <a:cubicBezTo>
                  <a:pt x="836" y="1465"/>
                  <a:pt x="836" y="1465"/>
                  <a:pt x="836" y="1465"/>
                </a:cubicBezTo>
                <a:cubicBezTo>
                  <a:pt x="837" y="1462"/>
                  <a:pt x="837" y="1462"/>
                  <a:pt x="837" y="1462"/>
                </a:cubicBezTo>
                <a:cubicBezTo>
                  <a:pt x="837" y="1464"/>
                  <a:pt x="837" y="1464"/>
                  <a:pt x="837" y="1464"/>
                </a:cubicBezTo>
                <a:cubicBezTo>
                  <a:pt x="838" y="1461"/>
                  <a:pt x="838" y="1461"/>
                  <a:pt x="838" y="1461"/>
                </a:cubicBezTo>
                <a:cubicBezTo>
                  <a:pt x="839" y="1459"/>
                  <a:pt x="845" y="1463"/>
                  <a:pt x="845" y="1463"/>
                </a:cubicBezTo>
                <a:cubicBezTo>
                  <a:pt x="840" y="1455"/>
                  <a:pt x="840" y="1455"/>
                  <a:pt x="840" y="1455"/>
                </a:cubicBezTo>
                <a:cubicBezTo>
                  <a:pt x="837" y="1456"/>
                  <a:pt x="837" y="1456"/>
                  <a:pt x="837" y="1456"/>
                </a:cubicBezTo>
                <a:cubicBezTo>
                  <a:pt x="837" y="1454"/>
                  <a:pt x="837" y="1454"/>
                  <a:pt x="837" y="1454"/>
                </a:cubicBezTo>
                <a:cubicBezTo>
                  <a:pt x="832" y="1450"/>
                  <a:pt x="832" y="1450"/>
                  <a:pt x="832" y="1450"/>
                </a:cubicBezTo>
                <a:cubicBezTo>
                  <a:pt x="833" y="1445"/>
                  <a:pt x="833" y="1445"/>
                  <a:pt x="833" y="1445"/>
                </a:cubicBezTo>
                <a:cubicBezTo>
                  <a:pt x="831" y="1444"/>
                  <a:pt x="831" y="1444"/>
                  <a:pt x="831" y="1444"/>
                </a:cubicBezTo>
                <a:cubicBezTo>
                  <a:pt x="832" y="1442"/>
                  <a:pt x="832" y="1442"/>
                  <a:pt x="832" y="1442"/>
                </a:cubicBezTo>
                <a:cubicBezTo>
                  <a:pt x="832" y="1442"/>
                  <a:pt x="834" y="1442"/>
                  <a:pt x="834" y="1440"/>
                </a:cubicBezTo>
                <a:cubicBezTo>
                  <a:pt x="835" y="1438"/>
                  <a:pt x="829" y="1438"/>
                  <a:pt x="829" y="1438"/>
                </a:cubicBezTo>
                <a:cubicBezTo>
                  <a:pt x="831" y="1437"/>
                  <a:pt x="831" y="1437"/>
                  <a:pt x="831" y="1437"/>
                </a:cubicBezTo>
                <a:cubicBezTo>
                  <a:pt x="831" y="1435"/>
                  <a:pt x="831" y="1435"/>
                  <a:pt x="831" y="1435"/>
                </a:cubicBezTo>
                <a:cubicBezTo>
                  <a:pt x="834" y="1438"/>
                  <a:pt x="834" y="1438"/>
                  <a:pt x="834" y="1438"/>
                </a:cubicBezTo>
                <a:cubicBezTo>
                  <a:pt x="834" y="1438"/>
                  <a:pt x="837" y="1440"/>
                  <a:pt x="839" y="1438"/>
                </a:cubicBezTo>
                <a:cubicBezTo>
                  <a:pt x="841" y="1435"/>
                  <a:pt x="837" y="1430"/>
                  <a:pt x="837" y="1427"/>
                </a:cubicBezTo>
                <a:cubicBezTo>
                  <a:pt x="838" y="1424"/>
                  <a:pt x="847" y="1418"/>
                  <a:pt x="847" y="1416"/>
                </a:cubicBezTo>
                <a:cubicBezTo>
                  <a:pt x="848" y="1414"/>
                  <a:pt x="843" y="1414"/>
                  <a:pt x="843" y="1414"/>
                </a:cubicBezTo>
                <a:cubicBezTo>
                  <a:pt x="846" y="1414"/>
                  <a:pt x="846" y="1414"/>
                  <a:pt x="846" y="1414"/>
                </a:cubicBezTo>
                <a:cubicBezTo>
                  <a:pt x="846" y="1414"/>
                  <a:pt x="846" y="1410"/>
                  <a:pt x="845" y="1408"/>
                </a:cubicBezTo>
                <a:cubicBezTo>
                  <a:pt x="843" y="1405"/>
                  <a:pt x="841" y="1406"/>
                  <a:pt x="841" y="1406"/>
                </a:cubicBezTo>
                <a:cubicBezTo>
                  <a:pt x="838" y="1405"/>
                  <a:pt x="838" y="1405"/>
                  <a:pt x="838" y="1405"/>
                </a:cubicBezTo>
                <a:cubicBezTo>
                  <a:pt x="835" y="1405"/>
                  <a:pt x="835" y="1405"/>
                  <a:pt x="835" y="1405"/>
                </a:cubicBezTo>
                <a:cubicBezTo>
                  <a:pt x="835" y="1405"/>
                  <a:pt x="827" y="1401"/>
                  <a:pt x="825" y="1395"/>
                </a:cubicBezTo>
                <a:cubicBezTo>
                  <a:pt x="822" y="1390"/>
                  <a:pt x="826" y="1389"/>
                  <a:pt x="826" y="1389"/>
                </a:cubicBezTo>
                <a:cubicBezTo>
                  <a:pt x="827" y="1385"/>
                  <a:pt x="827" y="1385"/>
                  <a:pt x="827" y="1385"/>
                </a:cubicBezTo>
                <a:cubicBezTo>
                  <a:pt x="829" y="1385"/>
                  <a:pt x="829" y="1385"/>
                  <a:pt x="829" y="1385"/>
                </a:cubicBezTo>
                <a:cubicBezTo>
                  <a:pt x="830" y="1383"/>
                  <a:pt x="830" y="1383"/>
                  <a:pt x="830" y="1383"/>
                </a:cubicBezTo>
                <a:cubicBezTo>
                  <a:pt x="838" y="1382"/>
                  <a:pt x="838" y="1382"/>
                  <a:pt x="838" y="1382"/>
                </a:cubicBezTo>
                <a:cubicBezTo>
                  <a:pt x="836" y="1381"/>
                  <a:pt x="836" y="1381"/>
                  <a:pt x="836" y="1381"/>
                </a:cubicBezTo>
                <a:cubicBezTo>
                  <a:pt x="836" y="1378"/>
                  <a:pt x="836" y="1378"/>
                  <a:pt x="836" y="1378"/>
                </a:cubicBezTo>
                <a:cubicBezTo>
                  <a:pt x="838" y="1378"/>
                  <a:pt x="838" y="1378"/>
                  <a:pt x="838" y="1378"/>
                </a:cubicBezTo>
                <a:cubicBezTo>
                  <a:pt x="838" y="1378"/>
                  <a:pt x="839" y="1374"/>
                  <a:pt x="837" y="1372"/>
                </a:cubicBezTo>
                <a:cubicBezTo>
                  <a:pt x="836" y="1371"/>
                  <a:pt x="834" y="1368"/>
                  <a:pt x="835" y="1364"/>
                </a:cubicBezTo>
                <a:cubicBezTo>
                  <a:pt x="836" y="1361"/>
                  <a:pt x="841" y="1361"/>
                  <a:pt x="841" y="1361"/>
                </a:cubicBezTo>
                <a:cubicBezTo>
                  <a:pt x="841" y="1360"/>
                  <a:pt x="841" y="1360"/>
                  <a:pt x="841" y="1360"/>
                </a:cubicBezTo>
                <a:cubicBezTo>
                  <a:pt x="841" y="1360"/>
                  <a:pt x="837" y="1360"/>
                  <a:pt x="835" y="1359"/>
                </a:cubicBezTo>
                <a:cubicBezTo>
                  <a:pt x="834" y="1358"/>
                  <a:pt x="836" y="1356"/>
                  <a:pt x="837" y="1356"/>
                </a:cubicBezTo>
                <a:cubicBezTo>
                  <a:pt x="839" y="1355"/>
                  <a:pt x="842" y="1359"/>
                  <a:pt x="843" y="1359"/>
                </a:cubicBezTo>
                <a:cubicBezTo>
                  <a:pt x="845" y="1359"/>
                  <a:pt x="847" y="1358"/>
                  <a:pt x="847" y="1356"/>
                </a:cubicBezTo>
                <a:cubicBezTo>
                  <a:pt x="847" y="1354"/>
                  <a:pt x="844" y="1349"/>
                  <a:pt x="842" y="1350"/>
                </a:cubicBezTo>
                <a:cubicBezTo>
                  <a:pt x="839" y="1351"/>
                  <a:pt x="843" y="1353"/>
                  <a:pt x="841" y="1354"/>
                </a:cubicBezTo>
                <a:cubicBezTo>
                  <a:pt x="838" y="1356"/>
                  <a:pt x="835" y="1352"/>
                  <a:pt x="835" y="1352"/>
                </a:cubicBezTo>
                <a:cubicBezTo>
                  <a:pt x="835" y="1352"/>
                  <a:pt x="830" y="1352"/>
                  <a:pt x="830" y="1351"/>
                </a:cubicBezTo>
                <a:cubicBezTo>
                  <a:pt x="829" y="1350"/>
                  <a:pt x="830" y="1344"/>
                  <a:pt x="830" y="1343"/>
                </a:cubicBezTo>
                <a:cubicBezTo>
                  <a:pt x="830" y="1343"/>
                  <a:pt x="826" y="1339"/>
                  <a:pt x="827" y="1336"/>
                </a:cubicBezTo>
                <a:cubicBezTo>
                  <a:pt x="828" y="1333"/>
                  <a:pt x="831" y="1336"/>
                  <a:pt x="834" y="1337"/>
                </a:cubicBezTo>
                <a:cubicBezTo>
                  <a:pt x="837" y="1338"/>
                  <a:pt x="841" y="1341"/>
                  <a:pt x="843" y="1341"/>
                </a:cubicBezTo>
                <a:cubicBezTo>
                  <a:pt x="844" y="1341"/>
                  <a:pt x="851" y="1337"/>
                  <a:pt x="853" y="1336"/>
                </a:cubicBezTo>
                <a:cubicBezTo>
                  <a:pt x="855" y="1334"/>
                  <a:pt x="848" y="1331"/>
                  <a:pt x="848" y="1331"/>
                </a:cubicBezTo>
                <a:cubicBezTo>
                  <a:pt x="848" y="1327"/>
                  <a:pt x="848" y="1327"/>
                  <a:pt x="848" y="1327"/>
                </a:cubicBezTo>
                <a:cubicBezTo>
                  <a:pt x="848" y="1327"/>
                  <a:pt x="849" y="1324"/>
                  <a:pt x="850" y="1322"/>
                </a:cubicBezTo>
                <a:cubicBezTo>
                  <a:pt x="850" y="1319"/>
                  <a:pt x="846" y="1319"/>
                  <a:pt x="846" y="1319"/>
                </a:cubicBezTo>
                <a:cubicBezTo>
                  <a:pt x="845" y="1316"/>
                  <a:pt x="845" y="1316"/>
                  <a:pt x="845" y="1316"/>
                </a:cubicBezTo>
                <a:cubicBezTo>
                  <a:pt x="845" y="1316"/>
                  <a:pt x="844" y="1315"/>
                  <a:pt x="845" y="1313"/>
                </a:cubicBezTo>
                <a:cubicBezTo>
                  <a:pt x="846" y="1311"/>
                  <a:pt x="849" y="1319"/>
                  <a:pt x="849" y="1319"/>
                </a:cubicBezTo>
                <a:cubicBezTo>
                  <a:pt x="850" y="1318"/>
                  <a:pt x="850" y="1318"/>
                  <a:pt x="850" y="1318"/>
                </a:cubicBezTo>
                <a:cubicBezTo>
                  <a:pt x="849" y="1315"/>
                  <a:pt x="849" y="1315"/>
                  <a:pt x="849" y="1315"/>
                </a:cubicBezTo>
                <a:cubicBezTo>
                  <a:pt x="861" y="1317"/>
                  <a:pt x="861" y="1317"/>
                  <a:pt x="861" y="1317"/>
                </a:cubicBezTo>
                <a:cubicBezTo>
                  <a:pt x="861" y="1316"/>
                  <a:pt x="861" y="1316"/>
                  <a:pt x="861" y="1316"/>
                </a:cubicBezTo>
                <a:cubicBezTo>
                  <a:pt x="861" y="1316"/>
                  <a:pt x="864" y="1314"/>
                  <a:pt x="870" y="1313"/>
                </a:cubicBezTo>
                <a:cubicBezTo>
                  <a:pt x="876" y="1313"/>
                  <a:pt x="887" y="1307"/>
                  <a:pt x="887" y="1307"/>
                </a:cubicBezTo>
                <a:cubicBezTo>
                  <a:pt x="886" y="1302"/>
                  <a:pt x="886" y="1302"/>
                  <a:pt x="886" y="1302"/>
                </a:cubicBezTo>
                <a:cubicBezTo>
                  <a:pt x="889" y="1300"/>
                  <a:pt x="889" y="1300"/>
                  <a:pt x="889" y="1300"/>
                </a:cubicBezTo>
                <a:cubicBezTo>
                  <a:pt x="891" y="1293"/>
                  <a:pt x="891" y="1293"/>
                  <a:pt x="891" y="1293"/>
                </a:cubicBezTo>
                <a:cubicBezTo>
                  <a:pt x="889" y="1290"/>
                  <a:pt x="889" y="1290"/>
                  <a:pt x="889" y="1290"/>
                </a:cubicBezTo>
                <a:cubicBezTo>
                  <a:pt x="889" y="1286"/>
                  <a:pt x="889" y="1286"/>
                  <a:pt x="889" y="1286"/>
                </a:cubicBezTo>
                <a:cubicBezTo>
                  <a:pt x="889" y="1286"/>
                  <a:pt x="887" y="1284"/>
                  <a:pt x="885" y="1283"/>
                </a:cubicBezTo>
                <a:cubicBezTo>
                  <a:pt x="884" y="1283"/>
                  <a:pt x="882" y="1284"/>
                  <a:pt x="881" y="1283"/>
                </a:cubicBezTo>
                <a:cubicBezTo>
                  <a:pt x="879" y="1282"/>
                  <a:pt x="882" y="1281"/>
                  <a:pt x="883" y="1280"/>
                </a:cubicBezTo>
                <a:cubicBezTo>
                  <a:pt x="884" y="1278"/>
                  <a:pt x="883" y="1277"/>
                  <a:pt x="883" y="1275"/>
                </a:cubicBezTo>
                <a:cubicBezTo>
                  <a:pt x="883" y="1272"/>
                  <a:pt x="876" y="1271"/>
                  <a:pt x="871" y="1269"/>
                </a:cubicBezTo>
                <a:cubicBezTo>
                  <a:pt x="866" y="1266"/>
                  <a:pt x="866" y="1264"/>
                  <a:pt x="868" y="1261"/>
                </a:cubicBezTo>
                <a:cubicBezTo>
                  <a:pt x="868" y="1261"/>
                  <a:pt x="868" y="1261"/>
                  <a:pt x="869" y="1261"/>
                </a:cubicBezTo>
                <a:cubicBezTo>
                  <a:pt x="864" y="1256"/>
                  <a:pt x="864" y="1256"/>
                  <a:pt x="864" y="1256"/>
                </a:cubicBezTo>
                <a:cubicBezTo>
                  <a:pt x="869" y="1261"/>
                  <a:pt x="869" y="1261"/>
                  <a:pt x="869" y="1261"/>
                </a:cubicBezTo>
                <a:cubicBezTo>
                  <a:pt x="870" y="1260"/>
                  <a:pt x="873" y="1263"/>
                  <a:pt x="874" y="1265"/>
                </a:cubicBezTo>
                <a:cubicBezTo>
                  <a:pt x="874" y="1265"/>
                  <a:pt x="874" y="1265"/>
                  <a:pt x="874" y="1265"/>
                </a:cubicBezTo>
                <a:cubicBezTo>
                  <a:pt x="875" y="1265"/>
                  <a:pt x="875" y="1266"/>
                  <a:pt x="875" y="1266"/>
                </a:cubicBezTo>
                <a:cubicBezTo>
                  <a:pt x="881" y="1266"/>
                  <a:pt x="881" y="1266"/>
                  <a:pt x="881" y="1266"/>
                </a:cubicBezTo>
                <a:cubicBezTo>
                  <a:pt x="883" y="1268"/>
                  <a:pt x="883" y="1268"/>
                  <a:pt x="883" y="1268"/>
                </a:cubicBezTo>
                <a:cubicBezTo>
                  <a:pt x="883" y="1268"/>
                  <a:pt x="889" y="1268"/>
                  <a:pt x="895" y="1269"/>
                </a:cubicBezTo>
                <a:cubicBezTo>
                  <a:pt x="902" y="1270"/>
                  <a:pt x="906" y="1270"/>
                  <a:pt x="910" y="1267"/>
                </a:cubicBezTo>
                <a:cubicBezTo>
                  <a:pt x="913" y="1265"/>
                  <a:pt x="914" y="1258"/>
                  <a:pt x="914" y="1257"/>
                </a:cubicBezTo>
                <a:cubicBezTo>
                  <a:pt x="914" y="1256"/>
                  <a:pt x="914" y="1256"/>
                  <a:pt x="914" y="1256"/>
                </a:cubicBezTo>
                <a:cubicBezTo>
                  <a:pt x="914" y="1256"/>
                  <a:pt x="919" y="1251"/>
                  <a:pt x="920" y="1249"/>
                </a:cubicBezTo>
                <a:cubicBezTo>
                  <a:pt x="921" y="1247"/>
                  <a:pt x="920" y="1243"/>
                  <a:pt x="920" y="1243"/>
                </a:cubicBezTo>
                <a:cubicBezTo>
                  <a:pt x="922" y="1239"/>
                  <a:pt x="922" y="1239"/>
                  <a:pt x="922" y="1239"/>
                </a:cubicBezTo>
                <a:cubicBezTo>
                  <a:pt x="922" y="1239"/>
                  <a:pt x="920" y="1237"/>
                  <a:pt x="920" y="1235"/>
                </a:cubicBezTo>
                <a:cubicBezTo>
                  <a:pt x="920" y="1233"/>
                  <a:pt x="922" y="1233"/>
                  <a:pt x="922" y="1233"/>
                </a:cubicBezTo>
                <a:cubicBezTo>
                  <a:pt x="923" y="1230"/>
                  <a:pt x="923" y="1230"/>
                  <a:pt x="923" y="1230"/>
                </a:cubicBezTo>
                <a:cubicBezTo>
                  <a:pt x="923" y="1230"/>
                  <a:pt x="925" y="1229"/>
                  <a:pt x="926" y="1228"/>
                </a:cubicBezTo>
                <a:cubicBezTo>
                  <a:pt x="927" y="1228"/>
                  <a:pt x="927" y="1225"/>
                  <a:pt x="927" y="1223"/>
                </a:cubicBezTo>
                <a:cubicBezTo>
                  <a:pt x="927" y="1221"/>
                  <a:pt x="930" y="1218"/>
                  <a:pt x="932" y="1217"/>
                </a:cubicBezTo>
                <a:cubicBezTo>
                  <a:pt x="934" y="1217"/>
                  <a:pt x="934" y="1222"/>
                  <a:pt x="934" y="1222"/>
                </a:cubicBezTo>
                <a:cubicBezTo>
                  <a:pt x="934" y="1222"/>
                  <a:pt x="932" y="1224"/>
                  <a:pt x="932" y="1224"/>
                </a:cubicBezTo>
                <a:cubicBezTo>
                  <a:pt x="931" y="1225"/>
                  <a:pt x="931" y="1227"/>
                  <a:pt x="931" y="1227"/>
                </a:cubicBezTo>
                <a:cubicBezTo>
                  <a:pt x="930" y="1228"/>
                  <a:pt x="930" y="1228"/>
                  <a:pt x="930" y="1228"/>
                </a:cubicBezTo>
                <a:cubicBezTo>
                  <a:pt x="930" y="1230"/>
                  <a:pt x="930" y="1230"/>
                  <a:pt x="930" y="1230"/>
                </a:cubicBezTo>
                <a:cubicBezTo>
                  <a:pt x="926" y="1234"/>
                  <a:pt x="926" y="1234"/>
                  <a:pt x="926" y="1234"/>
                </a:cubicBezTo>
                <a:cubicBezTo>
                  <a:pt x="922" y="1237"/>
                  <a:pt x="922" y="1237"/>
                  <a:pt x="922" y="1237"/>
                </a:cubicBezTo>
                <a:cubicBezTo>
                  <a:pt x="922" y="1237"/>
                  <a:pt x="923" y="1238"/>
                  <a:pt x="925" y="1238"/>
                </a:cubicBezTo>
                <a:cubicBezTo>
                  <a:pt x="926" y="1237"/>
                  <a:pt x="926" y="1235"/>
                  <a:pt x="927" y="1234"/>
                </a:cubicBezTo>
                <a:cubicBezTo>
                  <a:pt x="928" y="1233"/>
                  <a:pt x="929" y="1234"/>
                  <a:pt x="930" y="1234"/>
                </a:cubicBezTo>
                <a:cubicBezTo>
                  <a:pt x="931" y="1232"/>
                  <a:pt x="935" y="1225"/>
                  <a:pt x="936" y="1220"/>
                </a:cubicBezTo>
                <a:cubicBezTo>
                  <a:pt x="937" y="1215"/>
                  <a:pt x="940" y="1210"/>
                  <a:pt x="940" y="1207"/>
                </a:cubicBezTo>
                <a:cubicBezTo>
                  <a:pt x="941" y="1204"/>
                  <a:pt x="947" y="1201"/>
                  <a:pt x="948" y="1200"/>
                </a:cubicBezTo>
                <a:cubicBezTo>
                  <a:pt x="948" y="1199"/>
                  <a:pt x="946" y="1197"/>
                  <a:pt x="946" y="1197"/>
                </a:cubicBezTo>
                <a:cubicBezTo>
                  <a:pt x="949" y="1195"/>
                  <a:pt x="949" y="1195"/>
                  <a:pt x="949" y="1195"/>
                </a:cubicBezTo>
                <a:cubicBezTo>
                  <a:pt x="948" y="1190"/>
                  <a:pt x="948" y="1190"/>
                  <a:pt x="948" y="1190"/>
                </a:cubicBezTo>
                <a:cubicBezTo>
                  <a:pt x="949" y="1187"/>
                  <a:pt x="949" y="1187"/>
                  <a:pt x="949" y="1187"/>
                </a:cubicBezTo>
                <a:cubicBezTo>
                  <a:pt x="947" y="1186"/>
                  <a:pt x="947" y="1186"/>
                  <a:pt x="947" y="1186"/>
                </a:cubicBezTo>
                <a:cubicBezTo>
                  <a:pt x="947" y="1186"/>
                  <a:pt x="949" y="1184"/>
                  <a:pt x="949" y="1182"/>
                </a:cubicBezTo>
                <a:cubicBezTo>
                  <a:pt x="949" y="1181"/>
                  <a:pt x="946" y="1179"/>
                  <a:pt x="946" y="1179"/>
                </a:cubicBezTo>
                <a:cubicBezTo>
                  <a:pt x="945" y="1175"/>
                  <a:pt x="945" y="1175"/>
                  <a:pt x="945" y="1175"/>
                </a:cubicBezTo>
                <a:cubicBezTo>
                  <a:pt x="943" y="1172"/>
                  <a:pt x="943" y="1172"/>
                  <a:pt x="943" y="1172"/>
                </a:cubicBezTo>
                <a:cubicBezTo>
                  <a:pt x="946" y="1173"/>
                  <a:pt x="946" y="1173"/>
                  <a:pt x="946" y="1173"/>
                </a:cubicBezTo>
                <a:cubicBezTo>
                  <a:pt x="946" y="1169"/>
                  <a:pt x="946" y="1169"/>
                  <a:pt x="946" y="1169"/>
                </a:cubicBezTo>
                <a:cubicBezTo>
                  <a:pt x="944" y="1168"/>
                  <a:pt x="944" y="1168"/>
                  <a:pt x="944" y="1168"/>
                </a:cubicBezTo>
                <a:cubicBezTo>
                  <a:pt x="944" y="1168"/>
                  <a:pt x="947" y="1167"/>
                  <a:pt x="947" y="1166"/>
                </a:cubicBezTo>
                <a:cubicBezTo>
                  <a:pt x="947" y="1165"/>
                  <a:pt x="943" y="1163"/>
                  <a:pt x="943" y="1163"/>
                </a:cubicBezTo>
                <a:cubicBezTo>
                  <a:pt x="947" y="1161"/>
                  <a:pt x="947" y="1161"/>
                  <a:pt x="947" y="1161"/>
                </a:cubicBezTo>
                <a:cubicBezTo>
                  <a:pt x="947" y="1161"/>
                  <a:pt x="949" y="1164"/>
                  <a:pt x="951" y="1164"/>
                </a:cubicBezTo>
                <a:cubicBezTo>
                  <a:pt x="952" y="1163"/>
                  <a:pt x="951" y="1161"/>
                  <a:pt x="951" y="1161"/>
                </a:cubicBezTo>
                <a:cubicBezTo>
                  <a:pt x="951" y="1161"/>
                  <a:pt x="951" y="1158"/>
                  <a:pt x="953" y="1156"/>
                </a:cubicBezTo>
                <a:cubicBezTo>
                  <a:pt x="954" y="1154"/>
                  <a:pt x="957" y="1155"/>
                  <a:pt x="958" y="1154"/>
                </a:cubicBezTo>
                <a:cubicBezTo>
                  <a:pt x="959" y="1153"/>
                  <a:pt x="959" y="1152"/>
                  <a:pt x="959" y="1150"/>
                </a:cubicBezTo>
                <a:cubicBezTo>
                  <a:pt x="960" y="1149"/>
                  <a:pt x="964" y="1148"/>
                  <a:pt x="964" y="1148"/>
                </a:cubicBezTo>
                <a:cubicBezTo>
                  <a:pt x="964" y="1147"/>
                  <a:pt x="964" y="1147"/>
                  <a:pt x="964" y="1147"/>
                </a:cubicBezTo>
                <a:cubicBezTo>
                  <a:pt x="964" y="1147"/>
                  <a:pt x="966" y="1147"/>
                  <a:pt x="967" y="1147"/>
                </a:cubicBezTo>
                <a:cubicBezTo>
                  <a:pt x="968" y="1147"/>
                  <a:pt x="967" y="1144"/>
                  <a:pt x="969" y="1144"/>
                </a:cubicBezTo>
                <a:cubicBezTo>
                  <a:pt x="970" y="1144"/>
                  <a:pt x="974" y="1144"/>
                  <a:pt x="974" y="1144"/>
                </a:cubicBezTo>
                <a:cubicBezTo>
                  <a:pt x="975" y="1147"/>
                  <a:pt x="975" y="1147"/>
                  <a:pt x="975" y="1147"/>
                </a:cubicBezTo>
                <a:cubicBezTo>
                  <a:pt x="977" y="1146"/>
                  <a:pt x="977" y="1146"/>
                  <a:pt x="977" y="1146"/>
                </a:cubicBezTo>
                <a:cubicBezTo>
                  <a:pt x="974" y="1143"/>
                  <a:pt x="974" y="1143"/>
                  <a:pt x="974" y="1143"/>
                </a:cubicBezTo>
                <a:cubicBezTo>
                  <a:pt x="974" y="1143"/>
                  <a:pt x="976" y="1142"/>
                  <a:pt x="977" y="1141"/>
                </a:cubicBezTo>
                <a:cubicBezTo>
                  <a:pt x="978" y="1140"/>
                  <a:pt x="982" y="1140"/>
                  <a:pt x="982" y="1140"/>
                </a:cubicBezTo>
                <a:cubicBezTo>
                  <a:pt x="980" y="1138"/>
                  <a:pt x="980" y="1138"/>
                  <a:pt x="980" y="1138"/>
                </a:cubicBezTo>
                <a:cubicBezTo>
                  <a:pt x="980" y="1138"/>
                  <a:pt x="983" y="1136"/>
                  <a:pt x="984" y="1136"/>
                </a:cubicBezTo>
                <a:cubicBezTo>
                  <a:pt x="985" y="1136"/>
                  <a:pt x="984" y="1139"/>
                  <a:pt x="985" y="1139"/>
                </a:cubicBezTo>
                <a:cubicBezTo>
                  <a:pt x="985" y="1139"/>
                  <a:pt x="986" y="1135"/>
                  <a:pt x="986" y="1135"/>
                </a:cubicBezTo>
                <a:cubicBezTo>
                  <a:pt x="992" y="1137"/>
                  <a:pt x="992" y="1137"/>
                  <a:pt x="992" y="1137"/>
                </a:cubicBezTo>
                <a:cubicBezTo>
                  <a:pt x="992" y="1137"/>
                  <a:pt x="993" y="1132"/>
                  <a:pt x="995" y="1132"/>
                </a:cubicBezTo>
                <a:cubicBezTo>
                  <a:pt x="997" y="1132"/>
                  <a:pt x="997" y="1137"/>
                  <a:pt x="997" y="1137"/>
                </a:cubicBezTo>
                <a:cubicBezTo>
                  <a:pt x="1006" y="1135"/>
                  <a:pt x="1006" y="1135"/>
                  <a:pt x="1006" y="1135"/>
                </a:cubicBezTo>
                <a:cubicBezTo>
                  <a:pt x="1007" y="1133"/>
                  <a:pt x="1007" y="1133"/>
                  <a:pt x="1007" y="1133"/>
                </a:cubicBezTo>
                <a:cubicBezTo>
                  <a:pt x="1006" y="1132"/>
                  <a:pt x="1006" y="1132"/>
                  <a:pt x="1006" y="1132"/>
                </a:cubicBezTo>
                <a:cubicBezTo>
                  <a:pt x="1006" y="1132"/>
                  <a:pt x="1007" y="1130"/>
                  <a:pt x="1008" y="1128"/>
                </a:cubicBezTo>
                <a:cubicBezTo>
                  <a:pt x="1010" y="1126"/>
                  <a:pt x="1016" y="1125"/>
                  <a:pt x="1016" y="1125"/>
                </a:cubicBezTo>
                <a:cubicBezTo>
                  <a:pt x="1016" y="1125"/>
                  <a:pt x="1015" y="1122"/>
                  <a:pt x="1015" y="1122"/>
                </a:cubicBezTo>
                <a:cubicBezTo>
                  <a:pt x="1015" y="1121"/>
                  <a:pt x="1016" y="1112"/>
                  <a:pt x="1016" y="1112"/>
                </a:cubicBezTo>
                <a:cubicBezTo>
                  <a:pt x="1019" y="1108"/>
                  <a:pt x="1019" y="1108"/>
                  <a:pt x="1019" y="1108"/>
                </a:cubicBezTo>
                <a:cubicBezTo>
                  <a:pt x="1019" y="1105"/>
                  <a:pt x="1019" y="1105"/>
                  <a:pt x="1019" y="1105"/>
                </a:cubicBezTo>
                <a:cubicBezTo>
                  <a:pt x="1022" y="1104"/>
                  <a:pt x="1022" y="1104"/>
                  <a:pt x="1022" y="1104"/>
                </a:cubicBezTo>
                <a:cubicBezTo>
                  <a:pt x="1022" y="1100"/>
                  <a:pt x="1022" y="1100"/>
                  <a:pt x="1022" y="1100"/>
                </a:cubicBezTo>
                <a:cubicBezTo>
                  <a:pt x="1022" y="1100"/>
                  <a:pt x="1024" y="1099"/>
                  <a:pt x="1025" y="1099"/>
                </a:cubicBezTo>
                <a:cubicBezTo>
                  <a:pt x="1026" y="1099"/>
                  <a:pt x="1026" y="1093"/>
                  <a:pt x="1026" y="1093"/>
                </a:cubicBezTo>
                <a:cubicBezTo>
                  <a:pt x="1026" y="1093"/>
                  <a:pt x="1024" y="1087"/>
                  <a:pt x="1024" y="1084"/>
                </a:cubicBezTo>
                <a:cubicBezTo>
                  <a:pt x="1023" y="1081"/>
                  <a:pt x="1027" y="1079"/>
                  <a:pt x="1029" y="1077"/>
                </a:cubicBezTo>
                <a:cubicBezTo>
                  <a:pt x="1030" y="1076"/>
                  <a:pt x="1028" y="1072"/>
                  <a:pt x="1028" y="1072"/>
                </a:cubicBezTo>
                <a:cubicBezTo>
                  <a:pt x="1029" y="1064"/>
                  <a:pt x="1029" y="1064"/>
                  <a:pt x="1029" y="1064"/>
                </a:cubicBezTo>
                <a:cubicBezTo>
                  <a:pt x="1029" y="1064"/>
                  <a:pt x="1031" y="1057"/>
                  <a:pt x="1030" y="1055"/>
                </a:cubicBezTo>
                <a:cubicBezTo>
                  <a:pt x="1030" y="1053"/>
                  <a:pt x="1028" y="1041"/>
                  <a:pt x="1028" y="1041"/>
                </a:cubicBezTo>
                <a:cubicBezTo>
                  <a:pt x="1029" y="1036"/>
                  <a:pt x="1029" y="1036"/>
                  <a:pt x="1029" y="1036"/>
                </a:cubicBezTo>
                <a:cubicBezTo>
                  <a:pt x="1029" y="1036"/>
                  <a:pt x="1027" y="1029"/>
                  <a:pt x="1027" y="1028"/>
                </a:cubicBezTo>
                <a:cubicBezTo>
                  <a:pt x="1028" y="1026"/>
                  <a:pt x="1030" y="1024"/>
                  <a:pt x="1030" y="1024"/>
                </a:cubicBezTo>
                <a:cubicBezTo>
                  <a:pt x="1029" y="1021"/>
                  <a:pt x="1029" y="1021"/>
                  <a:pt x="1029" y="1021"/>
                </a:cubicBezTo>
                <a:cubicBezTo>
                  <a:pt x="1029" y="1021"/>
                  <a:pt x="1030" y="1019"/>
                  <a:pt x="1031" y="1019"/>
                </a:cubicBezTo>
                <a:cubicBezTo>
                  <a:pt x="1032" y="1019"/>
                  <a:pt x="1034" y="1023"/>
                  <a:pt x="1034" y="1023"/>
                </a:cubicBezTo>
                <a:cubicBezTo>
                  <a:pt x="1034" y="1023"/>
                  <a:pt x="1038" y="1019"/>
                  <a:pt x="1040" y="1017"/>
                </a:cubicBezTo>
                <a:cubicBezTo>
                  <a:pt x="1041" y="1015"/>
                  <a:pt x="1042" y="1006"/>
                  <a:pt x="1042" y="1006"/>
                </a:cubicBezTo>
                <a:cubicBezTo>
                  <a:pt x="1042" y="1006"/>
                  <a:pt x="1044" y="1005"/>
                  <a:pt x="1045" y="1004"/>
                </a:cubicBezTo>
                <a:cubicBezTo>
                  <a:pt x="1046" y="1003"/>
                  <a:pt x="1047" y="998"/>
                  <a:pt x="1047" y="998"/>
                </a:cubicBezTo>
                <a:cubicBezTo>
                  <a:pt x="1047" y="998"/>
                  <a:pt x="1050" y="997"/>
                  <a:pt x="1051" y="997"/>
                </a:cubicBezTo>
                <a:cubicBezTo>
                  <a:pt x="1053" y="997"/>
                  <a:pt x="1053" y="992"/>
                  <a:pt x="1053" y="992"/>
                </a:cubicBezTo>
                <a:cubicBezTo>
                  <a:pt x="1053" y="992"/>
                  <a:pt x="1056" y="991"/>
                  <a:pt x="1058" y="988"/>
                </a:cubicBezTo>
                <a:cubicBezTo>
                  <a:pt x="1061" y="984"/>
                  <a:pt x="1064" y="974"/>
                  <a:pt x="1064" y="974"/>
                </a:cubicBezTo>
                <a:cubicBezTo>
                  <a:pt x="1064" y="974"/>
                  <a:pt x="1067" y="971"/>
                  <a:pt x="1067" y="970"/>
                </a:cubicBezTo>
                <a:cubicBezTo>
                  <a:pt x="1067" y="969"/>
                  <a:pt x="1066" y="965"/>
                  <a:pt x="1066" y="965"/>
                </a:cubicBezTo>
                <a:cubicBezTo>
                  <a:pt x="1066" y="965"/>
                  <a:pt x="1067" y="961"/>
                  <a:pt x="1067" y="957"/>
                </a:cubicBezTo>
                <a:close/>
                <a:moveTo>
                  <a:pt x="660" y="375"/>
                </a:moveTo>
                <a:cubicBezTo>
                  <a:pt x="657" y="375"/>
                  <a:pt x="661" y="371"/>
                  <a:pt x="659" y="371"/>
                </a:cubicBezTo>
                <a:cubicBezTo>
                  <a:pt x="658" y="370"/>
                  <a:pt x="656" y="373"/>
                  <a:pt x="656" y="373"/>
                </a:cubicBezTo>
                <a:cubicBezTo>
                  <a:pt x="655" y="373"/>
                  <a:pt x="655" y="373"/>
                  <a:pt x="655" y="373"/>
                </a:cubicBezTo>
                <a:cubicBezTo>
                  <a:pt x="654" y="375"/>
                  <a:pt x="654" y="375"/>
                  <a:pt x="654" y="375"/>
                </a:cubicBezTo>
                <a:cubicBezTo>
                  <a:pt x="652" y="375"/>
                  <a:pt x="652" y="375"/>
                  <a:pt x="652" y="375"/>
                </a:cubicBezTo>
                <a:cubicBezTo>
                  <a:pt x="652" y="375"/>
                  <a:pt x="652" y="377"/>
                  <a:pt x="651" y="378"/>
                </a:cubicBezTo>
                <a:cubicBezTo>
                  <a:pt x="650" y="380"/>
                  <a:pt x="648" y="380"/>
                  <a:pt x="647" y="382"/>
                </a:cubicBezTo>
                <a:cubicBezTo>
                  <a:pt x="646" y="383"/>
                  <a:pt x="648" y="384"/>
                  <a:pt x="648" y="384"/>
                </a:cubicBezTo>
                <a:cubicBezTo>
                  <a:pt x="648" y="384"/>
                  <a:pt x="647" y="384"/>
                  <a:pt x="644" y="387"/>
                </a:cubicBezTo>
                <a:cubicBezTo>
                  <a:pt x="641" y="390"/>
                  <a:pt x="645" y="390"/>
                  <a:pt x="645" y="392"/>
                </a:cubicBezTo>
                <a:cubicBezTo>
                  <a:pt x="645" y="393"/>
                  <a:pt x="644" y="394"/>
                  <a:pt x="644" y="394"/>
                </a:cubicBezTo>
                <a:cubicBezTo>
                  <a:pt x="644" y="394"/>
                  <a:pt x="645" y="395"/>
                  <a:pt x="640" y="401"/>
                </a:cubicBezTo>
                <a:cubicBezTo>
                  <a:pt x="636" y="408"/>
                  <a:pt x="626" y="410"/>
                  <a:pt x="626" y="410"/>
                </a:cubicBezTo>
                <a:cubicBezTo>
                  <a:pt x="627" y="406"/>
                  <a:pt x="627" y="406"/>
                  <a:pt x="627" y="406"/>
                </a:cubicBezTo>
                <a:cubicBezTo>
                  <a:pt x="627" y="406"/>
                  <a:pt x="626" y="404"/>
                  <a:pt x="626" y="404"/>
                </a:cubicBezTo>
                <a:cubicBezTo>
                  <a:pt x="625" y="403"/>
                  <a:pt x="629" y="398"/>
                  <a:pt x="629" y="397"/>
                </a:cubicBezTo>
                <a:cubicBezTo>
                  <a:pt x="630" y="396"/>
                  <a:pt x="628" y="395"/>
                  <a:pt x="629" y="393"/>
                </a:cubicBezTo>
                <a:cubicBezTo>
                  <a:pt x="629" y="390"/>
                  <a:pt x="634" y="386"/>
                  <a:pt x="634" y="386"/>
                </a:cubicBezTo>
                <a:cubicBezTo>
                  <a:pt x="634" y="384"/>
                  <a:pt x="634" y="384"/>
                  <a:pt x="634" y="384"/>
                </a:cubicBezTo>
                <a:cubicBezTo>
                  <a:pt x="634" y="384"/>
                  <a:pt x="638" y="381"/>
                  <a:pt x="639" y="380"/>
                </a:cubicBezTo>
                <a:cubicBezTo>
                  <a:pt x="639" y="379"/>
                  <a:pt x="646" y="372"/>
                  <a:pt x="646" y="372"/>
                </a:cubicBezTo>
                <a:cubicBezTo>
                  <a:pt x="642" y="374"/>
                  <a:pt x="642" y="374"/>
                  <a:pt x="642" y="374"/>
                </a:cubicBezTo>
                <a:cubicBezTo>
                  <a:pt x="642" y="374"/>
                  <a:pt x="637" y="378"/>
                  <a:pt x="636" y="377"/>
                </a:cubicBezTo>
                <a:cubicBezTo>
                  <a:pt x="635" y="375"/>
                  <a:pt x="644" y="370"/>
                  <a:pt x="645" y="369"/>
                </a:cubicBezTo>
                <a:cubicBezTo>
                  <a:pt x="646" y="367"/>
                  <a:pt x="651" y="363"/>
                  <a:pt x="651" y="363"/>
                </a:cubicBezTo>
                <a:cubicBezTo>
                  <a:pt x="653" y="364"/>
                  <a:pt x="653" y="364"/>
                  <a:pt x="653" y="364"/>
                </a:cubicBezTo>
                <a:cubicBezTo>
                  <a:pt x="655" y="363"/>
                  <a:pt x="655" y="363"/>
                  <a:pt x="655" y="363"/>
                </a:cubicBezTo>
                <a:cubicBezTo>
                  <a:pt x="655" y="363"/>
                  <a:pt x="654" y="365"/>
                  <a:pt x="656" y="364"/>
                </a:cubicBezTo>
                <a:cubicBezTo>
                  <a:pt x="658" y="364"/>
                  <a:pt x="657" y="361"/>
                  <a:pt x="657" y="361"/>
                </a:cubicBezTo>
                <a:cubicBezTo>
                  <a:pt x="660" y="362"/>
                  <a:pt x="660" y="362"/>
                  <a:pt x="660" y="362"/>
                </a:cubicBezTo>
                <a:cubicBezTo>
                  <a:pt x="660" y="362"/>
                  <a:pt x="665" y="360"/>
                  <a:pt x="667" y="361"/>
                </a:cubicBezTo>
                <a:cubicBezTo>
                  <a:pt x="669" y="361"/>
                  <a:pt x="670" y="364"/>
                  <a:pt x="670" y="364"/>
                </a:cubicBezTo>
                <a:cubicBezTo>
                  <a:pt x="667" y="365"/>
                  <a:pt x="667" y="365"/>
                  <a:pt x="667" y="365"/>
                </a:cubicBezTo>
                <a:cubicBezTo>
                  <a:pt x="667" y="369"/>
                  <a:pt x="667" y="369"/>
                  <a:pt x="667" y="369"/>
                </a:cubicBezTo>
                <a:cubicBezTo>
                  <a:pt x="667" y="369"/>
                  <a:pt x="665" y="368"/>
                  <a:pt x="663" y="368"/>
                </a:cubicBezTo>
                <a:cubicBezTo>
                  <a:pt x="662" y="368"/>
                  <a:pt x="662" y="372"/>
                  <a:pt x="662" y="372"/>
                </a:cubicBezTo>
                <a:cubicBezTo>
                  <a:pt x="662" y="372"/>
                  <a:pt x="663" y="375"/>
                  <a:pt x="660" y="375"/>
                </a:cubicBezTo>
                <a:close/>
                <a:moveTo>
                  <a:pt x="691" y="406"/>
                </a:moveTo>
                <a:cubicBezTo>
                  <a:pt x="689" y="407"/>
                  <a:pt x="688" y="407"/>
                  <a:pt x="684" y="408"/>
                </a:cubicBezTo>
                <a:cubicBezTo>
                  <a:pt x="679" y="409"/>
                  <a:pt x="678" y="411"/>
                  <a:pt x="676" y="411"/>
                </a:cubicBezTo>
                <a:cubicBezTo>
                  <a:pt x="675" y="412"/>
                  <a:pt x="672" y="411"/>
                  <a:pt x="672" y="411"/>
                </a:cubicBezTo>
                <a:cubicBezTo>
                  <a:pt x="672" y="411"/>
                  <a:pt x="672" y="413"/>
                  <a:pt x="670" y="413"/>
                </a:cubicBezTo>
                <a:cubicBezTo>
                  <a:pt x="667" y="413"/>
                  <a:pt x="667" y="411"/>
                  <a:pt x="667" y="411"/>
                </a:cubicBezTo>
                <a:cubicBezTo>
                  <a:pt x="667" y="411"/>
                  <a:pt x="662" y="410"/>
                  <a:pt x="662" y="409"/>
                </a:cubicBezTo>
                <a:cubicBezTo>
                  <a:pt x="662" y="409"/>
                  <a:pt x="665" y="407"/>
                  <a:pt x="667" y="406"/>
                </a:cubicBezTo>
                <a:cubicBezTo>
                  <a:pt x="669" y="405"/>
                  <a:pt x="671" y="405"/>
                  <a:pt x="671" y="405"/>
                </a:cubicBezTo>
                <a:cubicBezTo>
                  <a:pt x="671" y="405"/>
                  <a:pt x="672" y="406"/>
                  <a:pt x="672" y="406"/>
                </a:cubicBezTo>
                <a:cubicBezTo>
                  <a:pt x="672" y="406"/>
                  <a:pt x="675" y="403"/>
                  <a:pt x="677" y="402"/>
                </a:cubicBezTo>
                <a:cubicBezTo>
                  <a:pt x="679" y="402"/>
                  <a:pt x="680" y="403"/>
                  <a:pt x="680" y="403"/>
                </a:cubicBezTo>
                <a:cubicBezTo>
                  <a:pt x="680" y="403"/>
                  <a:pt x="681" y="398"/>
                  <a:pt x="687" y="398"/>
                </a:cubicBezTo>
                <a:cubicBezTo>
                  <a:pt x="692" y="398"/>
                  <a:pt x="695" y="399"/>
                  <a:pt x="695" y="399"/>
                </a:cubicBezTo>
                <a:cubicBezTo>
                  <a:pt x="699" y="396"/>
                  <a:pt x="699" y="396"/>
                  <a:pt x="699" y="396"/>
                </a:cubicBezTo>
                <a:cubicBezTo>
                  <a:pt x="708" y="397"/>
                  <a:pt x="708" y="397"/>
                  <a:pt x="708" y="397"/>
                </a:cubicBezTo>
                <a:cubicBezTo>
                  <a:pt x="709" y="397"/>
                  <a:pt x="709" y="397"/>
                  <a:pt x="709" y="397"/>
                </a:cubicBezTo>
                <a:cubicBezTo>
                  <a:pt x="709" y="397"/>
                  <a:pt x="693" y="405"/>
                  <a:pt x="691" y="406"/>
                </a:cubicBezTo>
                <a:close/>
                <a:moveTo>
                  <a:pt x="721" y="384"/>
                </a:moveTo>
                <a:cubicBezTo>
                  <a:pt x="722" y="384"/>
                  <a:pt x="725" y="383"/>
                  <a:pt x="725" y="383"/>
                </a:cubicBezTo>
                <a:cubicBezTo>
                  <a:pt x="725" y="383"/>
                  <a:pt x="731" y="385"/>
                  <a:pt x="732" y="385"/>
                </a:cubicBezTo>
                <a:cubicBezTo>
                  <a:pt x="733" y="385"/>
                  <a:pt x="733" y="381"/>
                  <a:pt x="733" y="381"/>
                </a:cubicBezTo>
                <a:cubicBezTo>
                  <a:pt x="733" y="381"/>
                  <a:pt x="734" y="379"/>
                  <a:pt x="736" y="380"/>
                </a:cubicBezTo>
                <a:cubicBezTo>
                  <a:pt x="737" y="380"/>
                  <a:pt x="737" y="380"/>
                  <a:pt x="737" y="381"/>
                </a:cubicBezTo>
                <a:cubicBezTo>
                  <a:pt x="739" y="382"/>
                  <a:pt x="739" y="383"/>
                  <a:pt x="739" y="383"/>
                </a:cubicBezTo>
                <a:cubicBezTo>
                  <a:pt x="739" y="383"/>
                  <a:pt x="739" y="385"/>
                  <a:pt x="737" y="386"/>
                </a:cubicBezTo>
                <a:cubicBezTo>
                  <a:pt x="736" y="387"/>
                  <a:pt x="736" y="389"/>
                  <a:pt x="736" y="389"/>
                </a:cubicBezTo>
                <a:cubicBezTo>
                  <a:pt x="733" y="389"/>
                  <a:pt x="733" y="389"/>
                  <a:pt x="733" y="389"/>
                </a:cubicBezTo>
                <a:cubicBezTo>
                  <a:pt x="733" y="389"/>
                  <a:pt x="733" y="390"/>
                  <a:pt x="731" y="391"/>
                </a:cubicBezTo>
                <a:cubicBezTo>
                  <a:pt x="728" y="392"/>
                  <a:pt x="727" y="390"/>
                  <a:pt x="727" y="390"/>
                </a:cubicBezTo>
                <a:cubicBezTo>
                  <a:pt x="727" y="390"/>
                  <a:pt x="726" y="392"/>
                  <a:pt x="723" y="392"/>
                </a:cubicBezTo>
                <a:cubicBezTo>
                  <a:pt x="720" y="392"/>
                  <a:pt x="719" y="390"/>
                  <a:pt x="718" y="390"/>
                </a:cubicBezTo>
                <a:cubicBezTo>
                  <a:pt x="716" y="389"/>
                  <a:pt x="714" y="391"/>
                  <a:pt x="710" y="392"/>
                </a:cubicBezTo>
                <a:cubicBezTo>
                  <a:pt x="710" y="392"/>
                  <a:pt x="709" y="392"/>
                  <a:pt x="709" y="392"/>
                </a:cubicBezTo>
                <a:cubicBezTo>
                  <a:pt x="705" y="393"/>
                  <a:pt x="704" y="393"/>
                  <a:pt x="704" y="392"/>
                </a:cubicBezTo>
                <a:cubicBezTo>
                  <a:pt x="704" y="389"/>
                  <a:pt x="711" y="385"/>
                  <a:pt x="713" y="385"/>
                </a:cubicBezTo>
                <a:cubicBezTo>
                  <a:pt x="716" y="385"/>
                  <a:pt x="720" y="384"/>
                  <a:pt x="721" y="384"/>
                </a:cubicBezTo>
                <a:close/>
                <a:moveTo>
                  <a:pt x="683" y="359"/>
                </a:moveTo>
                <a:cubicBezTo>
                  <a:pt x="684" y="359"/>
                  <a:pt x="685" y="359"/>
                  <a:pt x="688" y="359"/>
                </a:cubicBezTo>
                <a:cubicBezTo>
                  <a:pt x="690" y="360"/>
                  <a:pt x="692" y="359"/>
                  <a:pt x="692" y="359"/>
                </a:cubicBezTo>
                <a:cubicBezTo>
                  <a:pt x="694" y="359"/>
                  <a:pt x="698" y="362"/>
                  <a:pt x="700" y="362"/>
                </a:cubicBezTo>
                <a:cubicBezTo>
                  <a:pt x="702" y="362"/>
                  <a:pt x="704" y="362"/>
                  <a:pt x="704" y="362"/>
                </a:cubicBezTo>
                <a:cubicBezTo>
                  <a:pt x="709" y="362"/>
                  <a:pt x="708" y="365"/>
                  <a:pt x="708" y="366"/>
                </a:cubicBezTo>
                <a:cubicBezTo>
                  <a:pt x="708" y="368"/>
                  <a:pt x="710" y="366"/>
                  <a:pt x="710" y="368"/>
                </a:cubicBezTo>
                <a:cubicBezTo>
                  <a:pt x="710" y="370"/>
                  <a:pt x="710" y="371"/>
                  <a:pt x="709" y="372"/>
                </a:cubicBezTo>
                <a:cubicBezTo>
                  <a:pt x="708" y="373"/>
                  <a:pt x="711" y="375"/>
                  <a:pt x="711" y="375"/>
                </a:cubicBezTo>
                <a:cubicBezTo>
                  <a:pt x="708" y="374"/>
                  <a:pt x="708" y="374"/>
                  <a:pt x="708" y="374"/>
                </a:cubicBezTo>
                <a:cubicBezTo>
                  <a:pt x="708" y="374"/>
                  <a:pt x="708" y="376"/>
                  <a:pt x="707" y="378"/>
                </a:cubicBezTo>
                <a:cubicBezTo>
                  <a:pt x="705" y="379"/>
                  <a:pt x="705" y="378"/>
                  <a:pt x="701" y="376"/>
                </a:cubicBezTo>
                <a:cubicBezTo>
                  <a:pt x="697" y="374"/>
                  <a:pt x="698" y="370"/>
                  <a:pt x="698" y="370"/>
                </a:cubicBezTo>
                <a:cubicBezTo>
                  <a:pt x="696" y="369"/>
                  <a:pt x="696" y="369"/>
                  <a:pt x="696" y="369"/>
                </a:cubicBezTo>
                <a:cubicBezTo>
                  <a:pt x="696" y="371"/>
                  <a:pt x="696" y="371"/>
                  <a:pt x="696" y="371"/>
                </a:cubicBezTo>
                <a:cubicBezTo>
                  <a:pt x="696" y="371"/>
                  <a:pt x="698" y="374"/>
                  <a:pt x="696" y="377"/>
                </a:cubicBezTo>
                <a:cubicBezTo>
                  <a:pt x="695" y="380"/>
                  <a:pt x="691" y="381"/>
                  <a:pt x="689" y="383"/>
                </a:cubicBezTo>
                <a:cubicBezTo>
                  <a:pt x="687" y="386"/>
                  <a:pt x="687" y="389"/>
                  <a:pt x="685" y="391"/>
                </a:cubicBezTo>
                <a:cubicBezTo>
                  <a:pt x="684" y="392"/>
                  <a:pt x="680" y="394"/>
                  <a:pt x="679" y="393"/>
                </a:cubicBezTo>
                <a:cubicBezTo>
                  <a:pt x="679" y="393"/>
                  <a:pt x="678" y="393"/>
                  <a:pt x="678" y="393"/>
                </a:cubicBezTo>
                <a:cubicBezTo>
                  <a:pt x="677" y="391"/>
                  <a:pt x="680" y="385"/>
                  <a:pt x="680" y="384"/>
                </a:cubicBezTo>
                <a:cubicBezTo>
                  <a:pt x="679" y="382"/>
                  <a:pt x="676" y="383"/>
                  <a:pt x="675" y="384"/>
                </a:cubicBezTo>
                <a:cubicBezTo>
                  <a:pt x="674" y="386"/>
                  <a:pt x="668" y="389"/>
                  <a:pt x="667" y="387"/>
                </a:cubicBezTo>
                <a:cubicBezTo>
                  <a:pt x="667" y="385"/>
                  <a:pt x="672" y="382"/>
                  <a:pt x="673" y="381"/>
                </a:cubicBezTo>
                <a:cubicBezTo>
                  <a:pt x="673" y="380"/>
                  <a:pt x="676" y="380"/>
                  <a:pt x="678" y="378"/>
                </a:cubicBezTo>
                <a:cubicBezTo>
                  <a:pt x="680" y="377"/>
                  <a:pt x="678" y="372"/>
                  <a:pt x="678" y="372"/>
                </a:cubicBezTo>
                <a:cubicBezTo>
                  <a:pt x="678" y="372"/>
                  <a:pt x="678" y="373"/>
                  <a:pt x="680" y="370"/>
                </a:cubicBezTo>
                <a:cubicBezTo>
                  <a:pt x="682" y="366"/>
                  <a:pt x="678" y="368"/>
                  <a:pt x="676" y="366"/>
                </a:cubicBezTo>
                <a:cubicBezTo>
                  <a:pt x="674" y="365"/>
                  <a:pt x="674" y="364"/>
                  <a:pt x="674" y="364"/>
                </a:cubicBezTo>
                <a:cubicBezTo>
                  <a:pt x="674" y="364"/>
                  <a:pt x="673" y="365"/>
                  <a:pt x="672" y="364"/>
                </a:cubicBezTo>
                <a:cubicBezTo>
                  <a:pt x="671" y="363"/>
                  <a:pt x="672" y="361"/>
                  <a:pt x="672" y="361"/>
                </a:cubicBezTo>
                <a:cubicBezTo>
                  <a:pt x="677" y="362"/>
                  <a:pt x="677" y="362"/>
                  <a:pt x="677" y="362"/>
                </a:cubicBezTo>
                <a:cubicBezTo>
                  <a:pt x="677" y="362"/>
                  <a:pt x="678" y="361"/>
                  <a:pt x="678" y="359"/>
                </a:cubicBezTo>
                <a:cubicBezTo>
                  <a:pt x="677" y="359"/>
                  <a:pt x="678" y="359"/>
                  <a:pt x="679" y="359"/>
                </a:cubicBezTo>
                <a:cubicBezTo>
                  <a:pt x="681" y="359"/>
                  <a:pt x="682" y="359"/>
                  <a:pt x="683" y="359"/>
                </a:cubicBezTo>
                <a:close/>
                <a:moveTo>
                  <a:pt x="630" y="343"/>
                </a:moveTo>
                <a:cubicBezTo>
                  <a:pt x="632" y="342"/>
                  <a:pt x="635" y="341"/>
                  <a:pt x="639" y="340"/>
                </a:cubicBezTo>
                <a:cubicBezTo>
                  <a:pt x="640" y="340"/>
                  <a:pt x="641" y="339"/>
                  <a:pt x="642" y="339"/>
                </a:cubicBezTo>
                <a:cubicBezTo>
                  <a:pt x="644" y="337"/>
                  <a:pt x="646" y="334"/>
                  <a:pt x="646" y="334"/>
                </a:cubicBezTo>
                <a:cubicBezTo>
                  <a:pt x="646" y="333"/>
                  <a:pt x="650" y="335"/>
                  <a:pt x="650" y="335"/>
                </a:cubicBezTo>
                <a:cubicBezTo>
                  <a:pt x="652" y="333"/>
                  <a:pt x="652" y="333"/>
                  <a:pt x="652" y="333"/>
                </a:cubicBezTo>
                <a:cubicBezTo>
                  <a:pt x="652" y="333"/>
                  <a:pt x="653" y="331"/>
                  <a:pt x="654" y="330"/>
                </a:cubicBezTo>
                <a:cubicBezTo>
                  <a:pt x="654" y="330"/>
                  <a:pt x="655" y="332"/>
                  <a:pt x="655" y="332"/>
                </a:cubicBezTo>
                <a:cubicBezTo>
                  <a:pt x="659" y="332"/>
                  <a:pt x="659" y="332"/>
                  <a:pt x="659" y="332"/>
                </a:cubicBezTo>
                <a:cubicBezTo>
                  <a:pt x="659" y="332"/>
                  <a:pt x="657" y="330"/>
                  <a:pt x="659" y="328"/>
                </a:cubicBezTo>
                <a:cubicBezTo>
                  <a:pt x="661" y="327"/>
                  <a:pt x="663" y="330"/>
                  <a:pt x="663" y="330"/>
                </a:cubicBezTo>
                <a:cubicBezTo>
                  <a:pt x="667" y="330"/>
                  <a:pt x="667" y="330"/>
                  <a:pt x="667" y="330"/>
                </a:cubicBezTo>
                <a:cubicBezTo>
                  <a:pt x="667" y="331"/>
                  <a:pt x="667" y="331"/>
                  <a:pt x="667" y="331"/>
                </a:cubicBezTo>
                <a:cubicBezTo>
                  <a:pt x="667" y="331"/>
                  <a:pt x="672" y="331"/>
                  <a:pt x="673" y="332"/>
                </a:cubicBezTo>
                <a:cubicBezTo>
                  <a:pt x="674" y="333"/>
                  <a:pt x="671" y="338"/>
                  <a:pt x="671" y="338"/>
                </a:cubicBezTo>
                <a:cubicBezTo>
                  <a:pt x="673" y="340"/>
                  <a:pt x="673" y="340"/>
                  <a:pt x="673" y="340"/>
                </a:cubicBezTo>
                <a:cubicBezTo>
                  <a:pt x="671" y="343"/>
                  <a:pt x="671" y="343"/>
                  <a:pt x="671" y="343"/>
                </a:cubicBezTo>
                <a:cubicBezTo>
                  <a:pt x="671" y="343"/>
                  <a:pt x="680" y="338"/>
                  <a:pt x="682" y="340"/>
                </a:cubicBezTo>
                <a:cubicBezTo>
                  <a:pt x="684" y="341"/>
                  <a:pt x="678" y="343"/>
                  <a:pt x="678" y="344"/>
                </a:cubicBezTo>
                <a:cubicBezTo>
                  <a:pt x="678" y="345"/>
                  <a:pt x="681" y="346"/>
                  <a:pt x="681" y="347"/>
                </a:cubicBezTo>
                <a:cubicBezTo>
                  <a:pt x="681" y="348"/>
                  <a:pt x="678" y="349"/>
                  <a:pt x="678" y="350"/>
                </a:cubicBezTo>
                <a:cubicBezTo>
                  <a:pt x="678" y="351"/>
                  <a:pt x="680" y="351"/>
                  <a:pt x="680" y="352"/>
                </a:cubicBezTo>
                <a:cubicBezTo>
                  <a:pt x="679" y="354"/>
                  <a:pt x="678" y="354"/>
                  <a:pt x="678" y="354"/>
                </a:cubicBezTo>
                <a:cubicBezTo>
                  <a:pt x="677" y="355"/>
                  <a:pt x="677" y="355"/>
                  <a:pt x="677" y="355"/>
                </a:cubicBezTo>
                <a:cubicBezTo>
                  <a:pt x="677" y="357"/>
                  <a:pt x="677" y="357"/>
                  <a:pt x="677" y="357"/>
                </a:cubicBezTo>
                <a:cubicBezTo>
                  <a:pt x="674" y="356"/>
                  <a:pt x="674" y="356"/>
                  <a:pt x="674" y="356"/>
                </a:cubicBezTo>
                <a:cubicBezTo>
                  <a:pt x="673" y="353"/>
                  <a:pt x="673" y="353"/>
                  <a:pt x="673" y="353"/>
                </a:cubicBezTo>
                <a:cubicBezTo>
                  <a:pt x="672" y="353"/>
                  <a:pt x="672" y="353"/>
                  <a:pt x="672" y="353"/>
                </a:cubicBezTo>
                <a:cubicBezTo>
                  <a:pt x="669" y="354"/>
                  <a:pt x="669" y="354"/>
                  <a:pt x="669" y="354"/>
                </a:cubicBezTo>
                <a:cubicBezTo>
                  <a:pt x="662" y="354"/>
                  <a:pt x="662" y="354"/>
                  <a:pt x="662" y="354"/>
                </a:cubicBezTo>
                <a:cubicBezTo>
                  <a:pt x="662" y="354"/>
                  <a:pt x="659" y="356"/>
                  <a:pt x="655" y="356"/>
                </a:cubicBezTo>
                <a:cubicBezTo>
                  <a:pt x="650" y="355"/>
                  <a:pt x="651" y="352"/>
                  <a:pt x="650" y="351"/>
                </a:cubicBezTo>
                <a:cubicBezTo>
                  <a:pt x="650" y="350"/>
                  <a:pt x="645" y="352"/>
                  <a:pt x="645" y="351"/>
                </a:cubicBezTo>
                <a:cubicBezTo>
                  <a:pt x="653" y="346"/>
                  <a:pt x="653" y="346"/>
                  <a:pt x="653" y="346"/>
                </a:cubicBezTo>
                <a:cubicBezTo>
                  <a:pt x="653" y="346"/>
                  <a:pt x="651" y="345"/>
                  <a:pt x="650" y="345"/>
                </a:cubicBezTo>
                <a:cubicBezTo>
                  <a:pt x="649" y="345"/>
                  <a:pt x="646" y="348"/>
                  <a:pt x="645" y="348"/>
                </a:cubicBezTo>
                <a:cubicBezTo>
                  <a:pt x="644" y="348"/>
                  <a:pt x="639" y="351"/>
                  <a:pt x="636" y="352"/>
                </a:cubicBezTo>
                <a:cubicBezTo>
                  <a:pt x="634" y="353"/>
                  <a:pt x="630" y="352"/>
                  <a:pt x="630" y="352"/>
                </a:cubicBezTo>
                <a:cubicBezTo>
                  <a:pt x="629" y="354"/>
                  <a:pt x="629" y="354"/>
                  <a:pt x="629" y="354"/>
                </a:cubicBezTo>
                <a:cubicBezTo>
                  <a:pt x="629" y="354"/>
                  <a:pt x="624" y="355"/>
                  <a:pt x="622" y="354"/>
                </a:cubicBezTo>
                <a:cubicBezTo>
                  <a:pt x="620" y="354"/>
                  <a:pt x="625" y="351"/>
                  <a:pt x="625" y="351"/>
                </a:cubicBezTo>
                <a:cubicBezTo>
                  <a:pt x="625" y="351"/>
                  <a:pt x="623" y="351"/>
                  <a:pt x="619" y="352"/>
                </a:cubicBezTo>
                <a:cubicBezTo>
                  <a:pt x="615" y="352"/>
                  <a:pt x="615" y="354"/>
                  <a:pt x="611" y="353"/>
                </a:cubicBezTo>
                <a:cubicBezTo>
                  <a:pt x="608" y="352"/>
                  <a:pt x="627" y="345"/>
                  <a:pt x="630" y="343"/>
                </a:cubicBezTo>
                <a:close/>
                <a:moveTo>
                  <a:pt x="599" y="275"/>
                </a:moveTo>
                <a:cubicBezTo>
                  <a:pt x="601" y="275"/>
                  <a:pt x="601" y="276"/>
                  <a:pt x="602" y="276"/>
                </a:cubicBezTo>
                <a:cubicBezTo>
                  <a:pt x="603" y="276"/>
                  <a:pt x="605" y="276"/>
                  <a:pt x="607" y="279"/>
                </a:cubicBezTo>
                <a:cubicBezTo>
                  <a:pt x="608" y="283"/>
                  <a:pt x="604" y="286"/>
                  <a:pt x="604" y="286"/>
                </a:cubicBezTo>
                <a:cubicBezTo>
                  <a:pt x="604" y="286"/>
                  <a:pt x="603" y="292"/>
                  <a:pt x="604" y="294"/>
                </a:cubicBezTo>
                <a:cubicBezTo>
                  <a:pt x="604" y="296"/>
                  <a:pt x="603" y="298"/>
                  <a:pt x="602" y="299"/>
                </a:cubicBezTo>
                <a:cubicBezTo>
                  <a:pt x="601" y="300"/>
                  <a:pt x="603" y="300"/>
                  <a:pt x="604" y="303"/>
                </a:cubicBezTo>
                <a:cubicBezTo>
                  <a:pt x="604" y="305"/>
                  <a:pt x="599" y="311"/>
                  <a:pt x="599" y="311"/>
                </a:cubicBezTo>
                <a:cubicBezTo>
                  <a:pt x="596" y="310"/>
                  <a:pt x="596" y="310"/>
                  <a:pt x="596" y="310"/>
                </a:cubicBezTo>
                <a:cubicBezTo>
                  <a:pt x="596" y="310"/>
                  <a:pt x="596" y="314"/>
                  <a:pt x="592" y="313"/>
                </a:cubicBezTo>
                <a:cubicBezTo>
                  <a:pt x="589" y="312"/>
                  <a:pt x="600" y="302"/>
                  <a:pt x="600" y="300"/>
                </a:cubicBezTo>
                <a:cubicBezTo>
                  <a:pt x="600" y="297"/>
                  <a:pt x="596" y="301"/>
                  <a:pt x="596" y="301"/>
                </a:cubicBezTo>
                <a:cubicBezTo>
                  <a:pt x="599" y="297"/>
                  <a:pt x="599" y="297"/>
                  <a:pt x="599" y="297"/>
                </a:cubicBezTo>
                <a:cubicBezTo>
                  <a:pt x="599" y="297"/>
                  <a:pt x="599" y="294"/>
                  <a:pt x="597" y="294"/>
                </a:cubicBezTo>
                <a:cubicBezTo>
                  <a:pt x="595" y="293"/>
                  <a:pt x="596" y="297"/>
                  <a:pt x="593" y="297"/>
                </a:cubicBezTo>
                <a:cubicBezTo>
                  <a:pt x="591" y="297"/>
                  <a:pt x="593" y="291"/>
                  <a:pt x="593" y="291"/>
                </a:cubicBezTo>
                <a:cubicBezTo>
                  <a:pt x="593" y="291"/>
                  <a:pt x="591" y="289"/>
                  <a:pt x="591" y="288"/>
                </a:cubicBezTo>
                <a:cubicBezTo>
                  <a:pt x="591" y="286"/>
                  <a:pt x="596" y="286"/>
                  <a:pt x="596" y="284"/>
                </a:cubicBezTo>
                <a:cubicBezTo>
                  <a:pt x="596" y="283"/>
                  <a:pt x="592" y="285"/>
                  <a:pt x="591" y="283"/>
                </a:cubicBezTo>
                <a:cubicBezTo>
                  <a:pt x="591" y="283"/>
                  <a:pt x="597" y="276"/>
                  <a:pt x="599" y="275"/>
                </a:cubicBezTo>
                <a:close/>
                <a:moveTo>
                  <a:pt x="581" y="181"/>
                </a:moveTo>
                <a:cubicBezTo>
                  <a:pt x="585" y="181"/>
                  <a:pt x="593" y="182"/>
                  <a:pt x="592" y="183"/>
                </a:cubicBezTo>
                <a:cubicBezTo>
                  <a:pt x="591" y="184"/>
                  <a:pt x="587" y="186"/>
                  <a:pt x="587" y="185"/>
                </a:cubicBezTo>
                <a:cubicBezTo>
                  <a:pt x="587" y="185"/>
                  <a:pt x="585" y="182"/>
                  <a:pt x="584" y="183"/>
                </a:cubicBezTo>
                <a:cubicBezTo>
                  <a:pt x="583" y="185"/>
                  <a:pt x="583" y="186"/>
                  <a:pt x="583" y="186"/>
                </a:cubicBezTo>
                <a:cubicBezTo>
                  <a:pt x="583" y="186"/>
                  <a:pt x="580" y="184"/>
                  <a:pt x="579" y="185"/>
                </a:cubicBezTo>
                <a:cubicBezTo>
                  <a:pt x="578" y="185"/>
                  <a:pt x="578" y="187"/>
                  <a:pt x="578" y="187"/>
                </a:cubicBezTo>
                <a:cubicBezTo>
                  <a:pt x="575" y="187"/>
                  <a:pt x="575" y="187"/>
                  <a:pt x="575" y="187"/>
                </a:cubicBezTo>
                <a:cubicBezTo>
                  <a:pt x="575" y="187"/>
                  <a:pt x="572" y="186"/>
                  <a:pt x="569" y="188"/>
                </a:cubicBezTo>
                <a:cubicBezTo>
                  <a:pt x="566" y="190"/>
                  <a:pt x="560" y="194"/>
                  <a:pt x="557" y="195"/>
                </a:cubicBezTo>
                <a:cubicBezTo>
                  <a:pt x="554" y="196"/>
                  <a:pt x="550" y="197"/>
                  <a:pt x="550" y="197"/>
                </a:cubicBezTo>
                <a:cubicBezTo>
                  <a:pt x="550" y="197"/>
                  <a:pt x="544" y="195"/>
                  <a:pt x="542" y="197"/>
                </a:cubicBezTo>
                <a:cubicBezTo>
                  <a:pt x="540" y="199"/>
                  <a:pt x="539" y="201"/>
                  <a:pt x="539" y="201"/>
                </a:cubicBezTo>
                <a:cubicBezTo>
                  <a:pt x="533" y="201"/>
                  <a:pt x="533" y="201"/>
                  <a:pt x="533" y="201"/>
                </a:cubicBezTo>
                <a:cubicBezTo>
                  <a:pt x="532" y="202"/>
                  <a:pt x="532" y="202"/>
                  <a:pt x="532" y="202"/>
                </a:cubicBezTo>
                <a:cubicBezTo>
                  <a:pt x="532" y="202"/>
                  <a:pt x="529" y="202"/>
                  <a:pt x="527" y="202"/>
                </a:cubicBezTo>
                <a:cubicBezTo>
                  <a:pt x="526" y="202"/>
                  <a:pt x="522" y="203"/>
                  <a:pt x="520" y="203"/>
                </a:cubicBezTo>
                <a:cubicBezTo>
                  <a:pt x="519" y="203"/>
                  <a:pt x="517" y="201"/>
                  <a:pt x="516" y="201"/>
                </a:cubicBezTo>
                <a:cubicBezTo>
                  <a:pt x="515" y="201"/>
                  <a:pt x="512" y="201"/>
                  <a:pt x="512" y="200"/>
                </a:cubicBezTo>
                <a:cubicBezTo>
                  <a:pt x="512" y="199"/>
                  <a:pt x="516" y="199"/>
                  <a:pt x="516" y="199"/>
                </a:cubicBezTo>
                <a:cubicBezTo>
                  <a:pt x="516" y="199"/>
                  <a:pt x="518" y="197"/>
                  <a:pt x="519" y="197"/>
                </a:cubicBezTo>
                <a:cubicBezTo>
                  <a:pt x="519" y="197"/>
                  <a:pt x="521" y="199"/>
                  <a:pt x="523" y="199"/>
                </a:cubicBezTo>
                <a:cubicBezTo>
                  <a:pt x="525" y="199"/>
                  <a:pt x="525" y="197"/>
                  <a:pt x="525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7"/>
                  <a:pt x="530" y="193"/>
                  <a:pt x="532" y="193"/>
                </a:cubicBezTo>
                <a:cubicBezTo>
                  <a:pt x="534" y="193"/>
                  <a:pt x="534" y="195"/>
                  <a:pt x="538" y="193"/>
                </a:cubicBezTo>
                <a:cubicBezTo>
                  <a:pt x="542" y="192"/>
                  <a:pt x="539" y="187"/>
                  <a:pt x="539" y="187"/>
                </a:cubicBezTo>
                <a:cubicBezTo>
                  <a:pt x="539" y="187"/>
                  <a:pt x="534" y="184"/>
                  <a:pt x="537" y="183"/>
                </a:cubicBezTo>
                <a:cubicBezTo>
                  <a:pt x="538" y="183"/>
                  <a:pt x="540" y="185"/>
                  <a:pt x="540" y="185"/>
                </a:cubicBezTo>
                <a:cubicBezTo>
                  <a:pt x="542" y="185"/>
                  <a:pt x="542" y="185"/>
                  <a:pt x="542" y="185"/>
                </a:cubicBezTo>
                <a:cubicBezTo>
                  <a:pt x="544" y="187"/>
                  <a:pt x="544" y="187"/>
                  <a:pt x="544" y="187"/>
                </a:cubicBezTo>
                <a:cubicBezTo>
                  <a:pt x="544" y="187"/>
                  <a:pt x="547" y="187"/>
                  <a:pt x="548" y="188"/>
                </a:cubicBezTo>
                <a:cubicBezTo>
                  <a:pt x="549" y="188"/>
                  <a:pt x="546" y="192"/>
                  <a:pt x="551" y="191"/>
                </a:cubicBezTo>
                <a:cubicBezTo>
                  <a:pt x="556" y="191"/>
                  <a:pt x="556" y="190"/>
                  <a:pt x="556" y="190"/>
                </a:cubicBezTo>
                <a:cubicBezTo>
                  <a:pt x="558" y="190"/>
                  <a:pt x="558" y="190"/>
                  <a:pt x="558" y="190"/>
                </a:cubicBezTo>
                <a:cubicBezTo>
                  <a:pt x="558" y="190"/>
                  <a:pt x="567" y="187"/>
                  <a:pt x="570" y="185"/>
                </a:cubicBezTo>
                <a:cubicBezTo>
                  <a:pt x="573" y="183"/>
                  <a:pt x="577" y="182"/>
                  <a:pt x="581" y="181"/>
                </a:cubicBezTo>
                <a:close/>
                <a:moveTo>
                  <a:pt x="511" y="147"/>
                </a:moveTo>
                <a:cubicBezTo>
                  <a:pt x="513" y="146"/>
                  <a:pt x="515" y="147"/>
                  <a:pt x="518" y="147"/>
                </a:cubicBezTo>
                <a:cubicBezTo>
                  <a:pt x="520" y="147"/>
                  <a:pt x="519" y="145"/>
                  <a:pt x="519" y="145"/>
                </a:cubicBezTo>
                <a:cubicBezTo>
                  <a:pt x="534" y="144"/>
                  <a:pt x="534" y="144"/>
                  <a:pt x="534" y="144"/>
                </a:cubicBezTo>
                <a:cubicBezTo>
                  <a:pt x="534" y="144"/>
                  <a:pt x="541" y="142"/>
                  <a:pt x="544" y="142"/>
                </a:cubicBezTo>
                <a:cubicBezTo>
                  <a:pt x="547" y="141"/>
                  <a:pt x="549" y="143"/>
                  <a:pt x="549" y="143"/>
                </a:cubicBezTo>
                <a:cubicBezTo>
                  <a:pt x="549" y="143"/>
                  <a:pt x="549" y="142"/>
                  <a:pt x="551" y="141"/>
                </a:cubicBezTo>
                <a:cubicBezTo>
                  <a:pt x="552" y="140"/>
                  <a:pt x="557" y="142"/>
                  <a:pt x="557" y="142"/>
                </a:cubicBezTo>
                <a:cubicBezTo>
                  <a:pt x="557" y="142"/>
                  <a:pt x="552" y="144"/>
                  <a:pt x="550" y="144"/>
                </a:cubicBezTo>
                <a:cubicBezTo>
                  <a:pt x="549" y="145"/>
                  <a:pt x="542" y="146"/>
                  <a:pt x="542" y="146"/>
                </a:cubicBezTo>
                <a:cubicBezTo>
                  <a:pt x="541" y="147"/>
                  <a:pt x="541" y="147"/>
                  <a:pt x="541" y="147"/>
                </a:cubicBezTo>
                <a:cubicBezTo>
                  <a:pt x="545" y="147"/>
                  <a:pt x="545" y="147"/>
                  <a:pt x="545" y="147"/>
                </a:cubicBezTo>
                <a:cubicBezTo>
                  <a:pt x="545" y="147"/>
                  <a:pt x="547" y="148"/>
                  <a:pt x="548" y="148"/>
                </a:cubicBezTo>
                <a:cubicBezTo>
                  <a:pt x="549" y="148"/>
                  <a:pt x="554" y="147"/>
                  <a:pt x="557" y="147"/>
                </a:cubicBezTo>
                <a:cubicBezTo>
                  <a:pt x="560" y="147"/>
                  <a:pt x="556" y="145"/>
                  <a:pt x="556" y="145"/>
                </a:cubicBezTo>
                <a:cubicBezTo>
                  <a:pt x="564" y="145"/>
                  <a:pt x="564" y="145"/>
                  <a:pt x="564" y="145"/>
                </a:cubicBezTo>
                <a:cubicBezTo>
                  <a:pt x="564" y="145"/>
                  <a:pt x="563" y="148"/>
                  <a:pt x="559" y="149"/>
                </a:cubicBezTo>
                <a:cubicBezTo>
                  <a:pt x="555" y="150"/>
                  <a:pt x="552" y="152"/>
                  <a:pt x="552" y="152"/>
                </a:cubicBezTo>
                <a:cubicBezTo>
                  <a:pt x="552" y="152"/>
                  <a:pt x="552" y="154"/>
                  <a:pt x="550" y="154"/>
                </a:cubicBezTo>
                <a:cubicBezTo>
                  <a:pt x="549" y="155"/>
                  <a:pt x="544" y="153"/>
                  <a:pt x="544" y="153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39" y="154"/>
                  <a:pt x="539" y="154"/>
                  <a:pt x="539" y="154"/>
                </a:cubicBezTo>
                <a:cubicBezTo>
                  <a:pt x="539" y="154"/>
                  <a:pt x="537" y="153"/>
                  <a:pt x="536" y="154"/>
                </a:cubicBezTo>
                <a:cubicBezTo>
                  <a:pt x="535" y="156"/>
                  <a:pt x="537" y="157"/>
                  <a:pt x="537" y="157"/>
                </a:cubicBezTo>
                <a:cubicBezTo>
                  <a:pt x="533" y="158"/>
                  <a:pt x="533" y="158"/>
                  <a:pt x="533" y="158"/>
                </a:cubicBezTo>
                <a:cubicBezTo>
                  <a:pt x="533" y="158"/>
                  <a:pt x="530" y="160"/>
                  <a:pt x="529" y="160"/>
                </a:cubicBezTo>
                <a:cubicBezTo>
                  <a:pt x="528" y="160"/>
                  <a:pt x="519" y="163"/>
                  <a:pt x="517" y="162"/>
                </a:cubicBezTo>
                <a:cubicBezTo>
                  <a:pt x="515" y="161"/>
                  <a:pt x="523" y="160"/>
                  <a:pt x="526" y="159"/>
                </a:cubicBezTo>
                <a:cubicBezTo>
                  <a:pt x="529" y="158"/>
                  <a:pt x="534" y="155"/>
                  <a:pt x="531" y="154"/>
                </a:cubicBezTo>
                <a:cubicBezTo>
                  <a:pt x="528" y="154"/>
                  <a:pt x="518" y="160"/>
                  <a:pt x="515" y="160"/>
                </a:cubicBezTo>
                <a:cubicBezTo>
                  <a:pt x="512" y="161"/>
                  <a:pt x="507" y="160"/>
                  <a:pt x="505" y="159"/>
                </a:cubicBezTo>
                <a:cubicBezTo>
                  <a:pt x="503" y="158"/>
                  <a:pt x="511" y="158"/>
                  <a:pt x="513" y="157"/>
                </a:cubicBezTo>
                <a:cubicBezTo>
                  <a:pt x="514" y="156"/>
                  <a:pt x="520" y="153"/>
                  <a:pt x="520" y="153"/>
                </a:cubicBezTo>
                <a:cubicBezTo>
                  <a:pt x="520" y="153"/>
                  <a:pt x="519" y="152"/>
                  <a:pt x="520" y="151"/>
                </a:cubicBezTo>
                <a:cubicBezTo>
                  <a:pt x="522" y="151"/>
                  <a:pt x="525" y="152"/>
                  <a:pt x="530" y="151"/>
                </a:cubicBezTo>
                <a:cubicBezTo>
                  <a:pt x="535" y="150"/>
                  <a:pt x="530" y="147"/>
                  <a:pt x="526" y="147"/>
                </a:cubicBezTo>
                <a:cubicBezTo>
                  <a:pt x="522" y="147"/>
                  <a:pt x="521" y="149"/>
                  <a:pt x="519" y="150"/>
                </a:cubicBezTo>
                <a:cubicBezTo>
                  <a:pt x="517" y="151"/>
                  <a:pt x="517" y="149"/>
                  <a:pt x="517" y="149"/>
                </a:cubicBezTo>
                <a:cubicBezTo>
                  <a:pt x="514" y="150"/>
                  <a:pt x="514" y="150"/>
                  <a:pt x="514" y="150"/>
                </a:cubicBezTo>
                <a:cubicBezTo>
                  <a:pt x="510" y="149"/>
                  <a:pt x="510" y="149"/>
                  <a:pt x="510" y="149"/>
                </a:cubicBezTo>
                <a:cubicBezTo>
                  <a:pt x="510" y="149"/>
                  <a:pt x="505" y="151"/>
                  <a:pt x="503" y="151"/>
                </a:cubicBezTo>
                <a:cubicBezTo>
                  <a:pt x="501" y="150"/>
                  <a:pt x="509" y="148"/>
                  <a:pt x="511" y="147"/>
                </a:cubicBezTo>
                <a:close/>
                <a:moveTo>
                  <a:pt x="573" y="754"/>
                </a:moveTo>
                <a:cubicBezTo>
                  <a:pt x="573" y="754"/>
                  <a:pt x="569" y="752"/>
                  <a:pt x="568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1"/>
                  <a:pt x="564" y="750"/>
                  <a:pt x="565" y="749"/>
                </a:cubicBezTo>
                <a:cubicBezTo>
                  <a:pt x="566" y="749"/>
                  <a:pt x="569" y="750"/>
                  <a:pt x="568" y="748"/>
                </a:cubicBezTo>
                <a:cubicBezTo>
                  <a:pt x="567" y="747"/>
                  <a:pt x="567" y="747"/>
                  <a:pt x="567" y="747"/>
                </a:cubicBezTo>
                <a:cubicBezTo>
                  <a:pt x="567" y="747"/>
                  <a:pt x="564" y="748"/>
                  <a:pt x="564" y="747"/>
                </a:cubicBezTo>
                <a:cubicBezTo>
                  <a:pt x="564" y="747"/>
                  <a:pt x="563" y="741"/>
                  <a:pt x="564" y="741"/>
                </a:cubicBezTo>
                <a:cubicBezTo>
                  <a:pt x="566" y="742"/>
                  <a:pt x="573" y="747"/>
                  <a:pt x="574" y="749"/>
                </a:cubicBezTo>
                <a:cubicBezTo>
                  <a:pt x="574" y="750"/>
                  <a:pt x="575" y="752"/>
                  <a:pt x="575" y="753"/>
                </a:cubicBezTo>
                <a:cubicBezTo>
                  <a:pt x="575" y="753"/>
                  <a:pt x="575" y="753"/>
                  <a:pt x="575" y="753"/>
                </a:cubicBezTo>
                <a:cubicBezTo>
                  <a:pt x="573" y="753"/>
                  <a:pt x="573" y="754"/>
                  <a:pt x="573" y="754"/>
                </a:cubicBezTo>
                <a:close/>
                <a:moveTo>
                  <a:pt x="737" y="1064"/>
                </a:moveTo>
                <a:cubicBezTo>
                  <a:pt x="736" y="1063"/>
                  <a:pt x="736" y="1063"/>
                  <a:pt x="736" y="1063"/>
                </a:cubicBezTo>
                <a:cubicBezTo>
                  <a:pt x="734" y="1061"/>
                  <a:pt x="734" y="1061"/>
                  <a:pt x="734" y="1061"/>
                </a:cubicBezTo>
                <a:cubicBezTo>
                  <a:pt x="734" y="1061"/>
                  <a:pt x="732" y="1060"/>
                  <a:pt x="730" y="1059"/>
                </a:cubicBezTo>
                <a:cubicBezTo>
                  <a:pt x="729" y="1058"/>
                  <a:pt x="728" y="1056"/>
                  <a:pt x="728" y="1056"/>
                </a:cubicBezTo>
                <a:cubicBezTo>
                  <a:pt x="728" y="1056"/>
                  <a:pt x="725" y="1057"/>
                  <a:pt x="724" y="1056"/>
                </a:cubicBezTo>
                <a:cubicBezTo>
                  <a:pt x="725" y="1053"/>
                  <a:pt x="725" y="1053"/>
                  <a:pt x="725" y="1053"/>
                </a:cubicBezTo>
                <a:cubicBezTo>
                  <a:pt x="725" y="1053"/>
                  <a:pt x="725" y="1049"/>
                  <a:pt x="726" y="1049"/>
                </a:cubicBezTo>
                <a:cubicBezTo>
                  <a:pt x="726" y="1048"/>
                  <a:pt x="729" y="1051"/>
                  <a:pt x="731" y="1052"/>
                </a:cubicBezTo>
                <a:cubicBezTo>
                  <a:pt x="732" y="1053"/>
                  <a:pt x="733" y="1054"/>
                  <a:pt x="733" y="1054"/>
                </a:cubicBezTo>
                <a:cubicBezTo>
                  <a:pt x="736" y="1057"/>
                  <a:pt x="736" y="1057"/>
                  <a:pt x="736" y="1057"/>
                </a:cubicBezTo>
                <a:cubicBezTo>
                  <a:pt x="736" y="1059"/>
                  <a:pt x="736" y="1059"/>
                  <a:pt x="736" y="1059"/>
                </a:cubicBezTo>
                <a:cubicBezTo>
                  <a:pt x="739" y="1061"/>
                  <a:pt x="739" y="1061"/>
                  <a:pt x="739" y="1061"/>
                </a:cubicBezTo>
                <a:cubicBezTo>
                  <a:pt x="737" y="1064"/>
                  <a:pt x="737" y="1064"/>
                  <a:pt x="737" y="1064"/>
                </a:cubicBezTo>
                <a:cubicBezTo>
                  <a:pt x="737" y="1064"/>
                  <a:pt x="737" y="1064"/>
                  <a:pt x="737" y="1064"/>
                </a:cubicBezTo>
                <a:close/>
                <a:moveTo>
                  <a:pt x="718" y="743"/>
                </a:moveTo>
                <a:cubicBezTo>
                  <a:pt x="718" y="744"/>
                  <a:pt x="719" y="747"/>
                  <a:pt x="719" y="747"/>
                </a:cubicBezTo>
                <a:cubicBezTo>
                  <a:pt x="723" y="747"/>
                  <a:pt x="723" y="747"/>
                  <a:pt x="723" y="747"/>
                </a:cubicBezTo>
                <a:cubicBezTo>
                  <a:pt x="723" y="747"/>
                  <a:pt x="724" y="741"/>
                  <a:pt x="722" y="740"/>
                </a:cubicBezTo>
                <a:cubicBezTo>
                  <a:pt x="719" y="740"/>
                  <a:pt x="718" y="741"/>
                  <a:pt x="718" y="743"/>
                </a:cubicBezTo>
                <a:close/>
                <a:moveTo>
                  <a:pt x="614" y="912"/>
                </a:moveTo>
                <a:cubicBezTo>
                  <a:pt x="617" y="911"/>
                  <a:pt x="618" y="907"/>
                  <a:pt x="616" y="907"/>
                </a:cubicBezTo>
                <a:cubicBezTo>
                  <a:pt x="614" y="908"/>
                  <a:pt x="613" y="912"/>
                  <a:pt x="614" y="912"/>
                </a:cubicBezTo>
                <a:close/>
                <a:moveTo>
                  <a:pt x="757" y="1376"/>
                </a:moveTo>
                <a:cubicBezTo>
                  <a:pt x="754" y="1376"/>
                  <a:pt x="754" y="1376"/>
                  <a:pt x="754" y="1376"/>
                </a:cubicBezTo>
                <a:cubicBezTo>
                  <a:pt x="755" y="1379"/>
                  <a:pt x="755" y="1379"/>
                  <a:pt x="755" y="1379"/>
                </a:cubicBezTo>
                <a:cubicBezTo>
                  <a:pt x="757" y="1376"/>
                  <a:pt x="757" y="1376"/>
                  <a:pt x="757" y="1376"/>
                </a:cubicBezTo>
                <a:cubicBezTo>
                  <a:pt x="757" y="1376"/>
                  <a:pt x="757" y="1376"/>
                  <a:pt x="757" y="1376"/>
                </a:cubicBezTo>
                <a:close/>
                <a:moveTo>
                  <a:pt x="759" y="1370"/>
                </a:moveTo>
                <a:cubicBezTo>
                  <a:pt x="756" y="1372"/>
                  <a:pt x="757" y="1374"/>
                  <a:pt x="759" y="1374"/>
                </a:cubicBezTo>
                <a:cubicBezTo>
                  <a:pt x="762" y="1373"/>
                  <a:pt x="762" y="1368"/>
                  <a:pt x="759" y="1370"/>
                </a:cubicBezTo>
                <a:close/>
                <a:moveTo>
                  <a:pt x="801" y="1470"/>
                </a:moveTo>
                <a:cubicBezTo>
                  <a:pt x="796" y="1467"/>
                  <a:pt x="796" y="1467"/>
                  <a:pt x="796" y="1467"/>
                </a:cubicBezTo>
                <a:cubicBezTo>
                  <a:pt x="800" y="1471"/>
                  <a:pt x="800" y="1471"/>
                  <a:pt x="800" y="1471"/>
                </a:cubicBezTo>
                <a:cubicBezTo>
                  <a:pt x="806" y="1472"/>
                  <a:pt x="806" y="1472"/>
                  <a:pt x="806" y="1472"/>
                </a:cubicBezTo>
                <a:cubicBezTo>
                  <a:pt x="808" y="1473"/>
                  <a:pt x="808" y="1473"/>
                  <a:pt x="808" y="1473"/>
                </a:cubicBezTo>
                <a:cubicBezTo>
                  <a:pt x="806" y="1470"/>
                  <a:pt x="806" y="1470"/>
                  <a:pt x="806" y="1470"/>
                </a:cubicBezTo>
                <a:cubicBezTo>
                  <a:pt x="801" y="1470"/>
                  <a:pt x="801" y="1470"/>
                  <a:pt x="801" y="1470"/>
                </a:cubicBezTo>
                <a:cubicBezTo>
                  <a:pt x="801" y="1470"/>
                  <a:pt x="801" y="1470"/>
                  <a:pt x="801" y="1470"/>
                </a:cubicBezTo>
                <a:close/>
                <a:moveTo>
                  <a:pt x="763" y="1385"/>
                </a:moveTo>
                <a:cubicBezTo>
                  <a:pt x="763" y="1388"/>
                  <a:pt x="763" y="1388"/>
                  <a:pt x="763" y="1388"/>
                </a:cubicBezTo>
                <a:cubicBezTo>
                  <a:pt x="767" y="1390"/>
                  <a:pt x="767" y="1390"/>
                  <a:pt x="767" y="1390"/>
                </a:cubicBezTo>
                <a:cubicBezTo>
                  <a:pt x="767" y="1387"/>
                  <a:pt x="767" y="1387"/>
                  <a:pt x="767" y="1387"/>
                </a:cubicBezTo>
                <a:cubicBezTo>
                  <a:pt x="765" y="1383"/>
                  <a:pt x="765" y="1383"/>
                  <a:pt x="765" y="1383"/>
                </a:cubicBezTo>
                <a:cubicBezTo>
                  <a:pt x="760" y="1383"/>
                  <a:pt x="760" y="1383"/>
                  <a:pt x="760" y="1383"/>
                </a:cubicBezTo>
                <a:cubicBezTo>
                  <a:pt x="763" y="1385"/>
                  <a:pt x="763" y="1385"/>
                  <a:pt x="763" y="1385"/>
                </a:cubicBezTo>
                <a:cubicBezTo>
                  <a:pt x="763" y="1385"/>
                  <a:pt x="763" y="1385"/>
                  <a:pt x="763" y="1385"/>
                </a:cubicBezTo>
                <a:close/>
                <a:moveTo>
                  <a:pt x="758" y="1379"/>
                </a:moveTo>
                <a:cubicBezTo>
                  <a:pt x="759" y="1381"/>
                  <a:pt x="759" y="1381"/>
                  <a:pt x="759" y="1381"/>
                </a:cubicBezTo>
                <a:cubicBezTo>
                  <a:pt x="763" y="1381"/>
                  <a:pt x="763" y="1381"/>
                  <a:pt x="763" y="1381"/>
                </a:cubicBezTo>
                <a:cubicBezTo>
                  <a:pt x="765" y="1378"/>
                  <a:pt x="765" y="1378"/>
                  <a:pt x="765" y="1378"/>
                </a:cubicBezTo>
                <a:cubicBezTo>
                  <a:pt x="761" y="1379"/>
                  <a:pt x="761" y="1379"/>
                  <a:pt x="761" y="1379"/>
                </a:cubicBezTo>
                <a:cubicBezTo>
                  <a:pt x="758" y="1379"/>
                  <a:pt x="758" y="1379"/>
                  <a:pt x="758" y="1379"/>
                </a:cubicBezTo>
                <a:cubicBezTo>
                  <a:pt x="758" y="1379"/>
                  <a:pt x="758" y="1379"/>
                  <a:pt x="758" y="1379"/>
                </a:cubicBezTo>
                <a:close/>
                <a:moveTo>
                  <a:pt x="776" y="1436"/>
                </a:moveTo>
                <a:cubicBezTo>
                  <a:pt x="777" y="1436"/>
                  <a:pt x="777" y="1434"/>
                  <a:pt x="777" y="1434"/>
                </a:cubicBezTo>
                <a:cubicBezTo>
                  <a:pt x="782" y="1438"/>
                  <a:pt x="782" y="1438"/>
                  <a:pt x="782" y="1438"/>
                </a:cubicBezTo>
                <a:cubicBezTo>
                  <a:pt x="782" y="1435"/>
                  <a:pt x="782" y="1435"/>
                  <a:pt x="782" y="1435"/>
                </a:cubicBezTo>
                <a:cubicBezTo>
                  <a:pt x="778" y="1430"/>
                  <a:pt x="778" y="1430"/>
                  <a:pt x="778" y="1430"/>
                </a:cubicBezTo>
                <a:cubicBezTo>
                  <a:pt x="778" y="1430"/>
                  <a:pt x="774" y="1425"/>
                  <a:pt x="774" y="1423"/>
                </a:cubicBezTo>
                <a:cubicBezTo>
                  <a:pt x="774" y="1420"/>
                  <a:pt x="772" y="1418"/>
                  <a:pt x="770" y="1417"/>
                </a:cubicBezTo>
                <a:cubicBezTo>
                  <a:pt x="768" y="1416"/>
                  <a:pt x="768" y="1418"/>
                  <a:pt x="768" y="1418"/>
                </a:cubicBezTo>
                <a:cubicBezTo>
                  <a:pt x="765" y="1417"/>
                  <a:pt x="765" y="1417"/>
                  <a:pt x="765" y="1417"/>
                </a:cubicBezTo>
                <a:cubicBezTo>
                  <a:pt x="765" y="1417"/>
                  <a:pt x="762" y="1423"/>
                  <a:pt x="764" y="1423"/>
                </a:cubicBezTo>
                <a:cubicBezTo>
                  <a:pt x="766" y="1423"/>
                  <a:pt x="770" y="1423"/>
                  <a:pt x="770" y="1423"/>
                </a:cubicBezTo>
                <a:cubicBezTo>
                  <a:pt x="767" y="1428"/>
                  <a:pt x="767" y="1428"/>
                  <a:pt x="767" y="1428"/>
                </a:cubicBezTo>
                <a:cubicBezTo>
                  <a:pt x="769" y="1428"/>
                  <a:pt x="769" y="1428"/>
                  <a:pt x="769" y="1428"/>
                </a:cubicBezTo>
                <a:cubicBezTo>
                  <a:pt x="772" y="1426"/>
                  <a:pt x="772" y="1426"/>
                  <a:pt x="772" y="1426"/>
                </a:cubicBezTo>
                <a:cubicBezTo>
                  <a:pt x="772" y="1429"/>
                  <a:pt x="772" y="1429"/>
                  <a:pt x="772" y="1429"/>
                </a:cubicBezTo>
                <a:cubicBezTo>
                  <a:pt x="772" y="1429"/>
                  <a:pt x="775" y="1437"/>
                  <a:pt x="776" y="1436"/>
                </a:cubicBezTo>
                <a:close/>
                <a:moveTo>
                  <a:pt x="775" y="1442"/>
                </a:moveTo>
                <a:cubicBezTo>
                  <a:pt x="777" y="1442"/>
                  <a:pt x="777" y="1442"/>
                  <a:pt x="777" y="1442"/>
                </a:cubicBezTo>
                <a:cubicBezTo>
                  <a:pt x="778" y="1446"/>
                  <a:pt x="778" y="1446"/>
                  <a:pt x="778" y="1446"/>
                </a:cubicBezTo>
                <a:cubicBezTo>
                  <a:pt x="780" y="1442"/>
                  <a:pt x="780" y="1442"/>
                  <a:pt x="780" y="1442"/>
                </a:cubicBezTo>
                <a:cubicBezTo>
                  <a:pt x="780" y="1439"/>
                  <a:pt x="780" y="1439"/>
                  <a:pt x="780" y="1439"/>
                </a:cubicBezTo>
                <a:cubicBezTo>
                  <a:pt x="776" y="1438"/>
                  <a:pt x="776" y="1438"/>
                  <a:pt x="776" y="1438"/>
                </a:cubicBezTo>
                <a:cubicBezTo>
                  <a:pt x="775" y="1442"/>
                  <a:pt x="775" y="1442"/>
                  <a:pt x="775" y="1442"/>
                </a:cubicBezTo>
                <a:cubicBezTo>
                  <a:pt x="775" y="1442"/>
                  <a:pt x="775" y="1442"/>
                  <a:pt x="775" y="1442"/>
                </a:cubicBezTo>
                <a:close/>
                <a:moveTo>
                  <a:pt x="786" y="1457"/>
                </a:moveTo>
                <a:cubicBezTo>
                  <a:pt x="791" y="1462"/>
                  <a:pt x="791" y="1462"/>
                  <a:pt x="791" y="1462"/>
                </a:cubicBezTo>
                <a:cubicBezTo>
                  <a:pt x="792" y="1460"/>
                  <a:pt x="792" y="1460"/>
                  <a:pt x="792" y="1460"/>
                </a:cubicBezTo>
                <a:cubicBezTo>
                  <a:pt x="788" y="1455"/>
                  <a:pt x="788" y="1455"/>
                  <a:pt x="788" y="1455"/>
                </a:cubicBezTo>
                <a:cubicBezTo>
                  <a:pt x="786" y="1457"/>
                  <a:pt x="786" y="1457"/>
                  <a:pt x="786" y="1457"/>
                </a:cubicBezTo>
                <a:cubicBezTo>
                  <a:pt x="786" y="1457"/>
                  <a:pt x="786" y="1457"/>
                  <a:pt x="786" y="1457"/>
                </a:cubicBezTo>
                <a:close/>
                <a:moveTo>
                  <a:pt x="801" y="1459"/>
                </a:moveTo>
                <a:cubicBezTo>
                  <a:pt x="798" y="1456"/>
                  <a:pt x="798" y="1456"/>
                  <a:pt x="798" y="1456"/>
                </a:cubicBezTo>
                <a:cubicBezTo>
                  <a:pt x="797" y="1461"/>
                  <a:pt x="797" y="1461"/>
                  <a:pt x="797" y="1461"/>
                </a:cubicBezTo>
                <a:cubicBezTo>
                  <a:pt x="794" y="1462"/>
                  <a:pt x="794" y="1462"/>
                  <a:pt x="794" y="1462"/>
                </a:cubicBezTo>
                <a:cubicBezTo>
                  <a:pt x="800" y="1464"/>
                  <a:pt x="800" y="1464"/>
                  <a:pt x="800" y="1464"/>
                </a:cubicBezTo>
                <a:cubicBezTo>
                  <a:pt x="801" y="1459"/>
                  <a:pt x="801" y="1459"/>
                  <a:pt x="801" y="1459"/>
                </a:cubicBezTo>
                <a:cubicBezTo>
                  <a:pt x="801" y="1459"/>
                  <a:pt x="801" y="1459"/>
                  <a:pt x="801" y="1459"/>
                </a:cubicBezTo>
                <a:close/>
                <a:moveTo>
                  <a:pt x="795" y="1456"/>
                </a:moveTo>
                <a:cubicBezTo>
                  <a:pt x="794" y="1455"/>
                  <a:pt x="794" y="1455"/>
                  <a:pt x="794" y="1455"/>
                </a:cubicBezTo>
                <a:cubicBezTo>
                  <a:pt x="793" y="1457"/>
                  <a:pt x="793" y="1457"/>
                  <a:pt x="793" y="1457"/>
                </a:cubicBezTo>
                <a:cubicBezTo>
                  <a:pt x="794" y="1459"/>
                  <a:pt x="794" y="1459"/>
                  <a:pt x="794" y="1459"/>
                </a:cubicBezTo>
                <a:cubicBezTo>
                  <a:pt x="795" y="1456"/>
                  <a:pt x="795" y="1456"/>
                  <a:pt x="795" y="1456"/>
                </a:cubicBezTo>
                <a:cubicBezTo>
                  <a:pt x="795" y="1456"/>
                  <a:pt x="795" y="1456"/>
                  <a:pt x="795" y="1456"/>
                </a:cubicBezTo>
                <a:close/>
                <a:moveTo>
                  <a:pt x="2034" y="29"/>
                </a:moveTo>
                <a:cubicBezTo>
                  <a:pt x="2034" y="31"/>
                  <a:pt x="2047" y="32"/>
                  <a:pt x="2047" y="32"/>
                </a:cubicBezTo>
                <a:cubicBezTo>
                  <a:pt x="2054" y="31"/>
                  <a:pt x="2054" y="31"/>
                  <a:pt x="2054" y="31"/>
                </a:cubicBezTo>
                <a:cubicBezTo>
                  <a:pt x="2062" y="34"/>
                  <a:pt x="2062" y="34"/>
                  <a:pt x="2062" y="34"/>
                </a:cubicBezTo>
                <a:cubicBezTo>
                  <a:pt x="2071" y="34"/>
                  <a:pt x="2071" y="34"/>
                  <a:pt x="2071" y="34"/>
                </a:cubicBezTo>
                <a:cubicBezTo>
                  <a:pt x="2070" y="30"/>
                  <a:pt x="2066" y="25"/>
                  <a:pt x="2062" y="25"/>
                </a:cubicBezTo>
                <a:cubicBezTo>
                  <a:pt x="2059" y="26"/>
                  <a:pt x="2055" y="28"/>
                  <a:pt x="2055" y="28"/>
                </a:cubicBezTo>
                <a:cubicBezTo>
                  <a:pt x="2052" y="25"/>
                  <a:pt x="2052" y="25"/>
                  <a:pt x="2052" y="25"/>
                </a:cubicBezTo>
                <a:cubicBezTo>
                  <a:pt x="2052" y="25"/>
                  <a:pt x="2034" y="28"/>
                  <a:pt x="2034" y="29"/>
                </a:cubicBezTo>
                <a:close/>
                <a:moveTo>
                  <a:pt x="2026" y="30"/>
                </a:moveTo>
                <a:cubicBezTo>
                  <a:pt x="2028" y="28"/>
                  <a:pt x="2028" y="28"/>
                  <a:pt x="2028" y="28"/>
                </a:cubicBezTo>
                <a:cubicBezTo>
                  <a:pt x="2015" y="28"/>
                  <a:pt x="2015" y="28"/>
                  <a:pt x="2015" y="28"/>
                </a:cubicBezTo>
                <a:cubicBezTo>
                  <a:pt x="2026" y="30"/>
                  <a:pt x="2026" y="30"/>
                  <a:pt x="2026" y="30"/>
                </a:cubicBezTo>
                <a:cubicBezTo>
                  <a:pt x="2026" y="30"/>
                  <a:pt x="2026" y="30"/>
                  <a:pt x="2026" y="30"/>
                </a:cubicBezTo>
                <a:close/>
                <a:moveTo>
                  <a:pt x="2021" y="26"/>
                </a:moveTo>
                <a:cubicBezTo>
                  <a:pt x="2021" y="26"/>
                  <a:pt x="2032" y="27"/>
                  <a:pt x="2035" y="26"/>
                </a:cubicBezTo>
                <a:cubicBezTo>
                  <a:pt x="2037" y="25"/>
                  <a:pt x="2046" y="26"/>
                  <a:pt x="2044" y="23"/>
                </a:cubicBezTo>
                <a:cubicBezTo>
                  <a:pt x="2043" y="19"/>
                  <a:pt x="2027" y="15"/>
                  <a:pt x="2027" y="15"/>
                </a:cubicBezTo>
                <a:cubicBezTo>
                  <a:pt x="2027" y="15"/>
                  <a:pt x="2016" y="13"/>
                  <a:pt x="2015" y="17"/>
                </a:cubicBezTo>
                <a:cubicBezTo>
                  <a:pt x="2015" y="21"/>
                  <a:pt x="2021" y="26"/>
                  <a:pt x="2021" y="26"/>
                </a:cubicBezTo>
                <a:close/>
                <a:moveTo>
                  <a:pt x="2092" y="40"/>
                </a:moveTo>
                <a:cubicBezTo>
                  <a:pt x="2114" y="39"/>
                  <a:pt x="2114" y="39"/>
                  <a:pt x="2114" y="39"/>
                </a:cubicBezTo>
                <a:cubicBezTo>
                  <a:pt x="2108" y="36"/>
                  <a:pt x="2108" y="36"/>
                  <a:pt x="2108" y="36"/>
                </a:cubicBezTo>
                <a:cubicBezTo>
                  <a:pt x="2108" y="36"/>
                  <a:pt x="2101" y="31"/>
                  <a:pt x="2098" y="31"/>
                </a:cubicBezTo>
                <a:cubicBezTo>
                  <a:pt x="2096" y="31"/>
                  <a:pt x="2093" y="34"/>
                  <a:pt x="2093" y="34"/>
                </a:cubicBezTo>
                <a:cubicBezTo>
                  <a:pt x="2093" y="34"/>
                  <a:pt x="2091" y="28"/>
                  <a:pt x="2087" y="28"/>
                </a:cubicBezTo>
                <a:cubicBezTo>
                  <a:pt x="2082" y="28"/>
                  <a:pt x="2080" y="42"/>
                  <a:pt x="2080" y="42"/>
                </a:cubicBezTo>
                <a:cubicBezTo>
                  <a:pt x="2083" y="44"/>
                  <a:pt x="2083" y="44"/>
                  <a:pt x="2083" y="44"/>
                </a:cubicBezTo>
                <a:cubicBezTo>
                  <a:pt x="2087" y="43"/>
                  <a:pt x="2092" y="40"/>
                  <a:pt x="2092" y="40"/>
                </a:cubicBezTo>
                <a:close/>
                <a:moveTo>
                  <a:pt x="2377" y="71"/>
                </a:moveTo>
                <a:cubicBezTo>
                  <a:pt x="2379" y="67"/>
                  <a:pt x="2379" y="67"/>
                  <a:pt x="2379" y="67"/>
                </a:cubicBezTo>
                <a:cubicBezTo>
                  <a:pt x="2379" y="67"/>
                  <a:pt x="2384" y="67"/>
                  <a:pt x="2386" y="67"/>
                </a:cubicBezTo>
                <a:cubicBezTo>
                  <a:pt x="2388" y="67"/>
                  <a:pt x="2395" y="67"/>
                  <a:pt x="2395" y="67"/>
                </a:cubicBezTo>
                <a:cubicBezTo>
                  <a:pt x="2386" y="62"/>
                  <a:pt x="2386" y="62"/>
                  <a:pt x="2386" y="62"/>
                </a:cubicBezTo>
                <a:cubicBezTo>
                  <a:pt x="2388" y="59"/>
                  <a:pt x="2388" y="59"/>
                  <a:pt x="2388" y="59"/>
                </a:cubicBezTo>
                <a:cubicBezTo>
                  <a:pt x="2375" y="57"/>
                  <a:pt x="2375" y="57"/>
                  <a:pt x="2375" y="57"/>
                </a:cubicBezTo>
                <a:cubicBezTo>
                  <a:pt x="2377" y="61"/>
                  <a:pt x="2377" y="61"/>
                  <a:pt x="2377" y="61"/>
                </a:cubicBezTo>
                <a:cubicBezTo>
                  <a:pt x="2377" y="61"/>
                  <a:pt x="2352" y="52"/>
                  <a:pt x="2352" y="59"/>
                </a:cubicBezTo>
                <a:cubicBezTo>
                  <a:pt x="2352" y="65"/>
                  <a:pt x="2377" y="71"/>
                  <a:pt x="2377" y="71"/>
                </a:cubicBezTo>
                <a:close/>
                <a:moveTo>
                  <a:pt x="2349" y="62"/>
                </a:moveTo>
                <a:cubicBezTo>
                  <a:pt x="2341" y="59"/>
                  <a:pt x="2341" y="59"/>
                  <a:pt x="2341" y="59"/>
                </a:cubicBezTo>
                <a:cubicBezTo>
                  <a:pt x="2344" y="64"/>
                  <a:pt x="2344" y="64"/>
                  <a:pt x="2344" y="64"/>
                </a:cubicBezTo>
                <a:cubicBezTo>
                  <a:pt x="2349" y="62"/>
                  <a:pt x="2349" y="62"/>
                  <a:pt x="2349" y="62"/>
                </a:cubicBezTo>
                <a:cubicBezTo>
                  <a:pt x="2349" y="62"/>
                  <a:pt x="2349" y="62"/>
                  <a:pt x="2349" y="62"/>
                </a:cubicBezTo>
                <a:close/>
                <a:moveTo>
                  <a:pt x="2195" y="73"/>
                </a:moveTo>
                <a:cubicBezTo>
                  <a:pt x="2201" y="74"/>
                  <a:pt x="2201" y="74"/>
                  <a:pt x="2201" y="74"/>
                </a:cubicBezTo>
                <a:cubicBezTo>
                  <a:pt x="2206" y="75"/>
                  <a:pt x="2210" y="72"/>
                  <a:pt x="2203" y="71"/>
                </a:cubicBezTo>
                <a:cubicBezTo>
                  <a:pt x="2197" y="70"/>
                  <a:pt x="2195" y="73"/>
                  <a:pt x="2195" y="73"/>
                </a:cubicBezTo>
                <a:close/>
                <a:moveTo>
                  <a:pt x="1988" y="85"/>
                </a:moveTo>
                <a:cubicBezTo>
                  <a:pt x="1983" y="81"/>
                  <a:pt x="1984" y="86"/>
                  <a:pt x="1984" y="86"/>
                </a:cubicBezTo>
                <a:cubicBezTo>
                  <a:pt x="1989" y="88"/>
                  <a:pt x="1993" y="88"/>
                  <a:pt x="1988" y="85"/>
                </a:cubicBezTo>
                <a:close/>
                <a:moveTo>
                  <a:pt x="1718" y="483"/>
                </a:moveTo>
                <a:cubicBezTo>
                  <a:pt x="1719" y="486"/>
                  <a:pt x="1724" y="489"/>
                  <a:pt x="1726" y="489"/>
                </a:cubicBezTo>
                <a:cubicBezTo>
                  <a:pt x="1727" y="488"/>
                  <a:pt x="1731" y="485"/>
                  <a:pt x="1731" y="485"/>
                </a:cubicBezTo>
                <a:cubicBezTo>
                  <a:pt x="1731" y="485"/>
                  <a:pt x="1734" y="486"/>
                  <a:pt x="1735" y="485"/>
                </a:cubicBezTo>
                <a:cubicBezTo>
                  <a:pt x="1736" y="484"/>
                  <a:pt x="1734" y="482"/>
                  <a:pt x="1734" y="482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3" y="480"/>
                  <a:pt x="1733" y="480"/>
                  <a:pt x="1733" y="480"/>
                </a:cubicBezTo>
                <a:cubicBezTo>
                  <a:pt x="1733" y="480"/>
                  <a:pt x="1728" y="479"/>
                  <a:pt x="1726" y="480"/>
                </a:cubicBezTo>
                <a:cubicBezTo>
                  <a:pt x="1724" y="480"/>
                  <a:pt x="1725" y="482"/>
                  <a:pt x="1725" y="482"/>
                </a:cubicBezTo>
                <a:cubicBezTo>
                  <a:pt x="1725" y="482"/>
                  <a:pt x="1718" y="481"/>
                  <a:pt x="1718" y="483"/>
                </a:cubicBezTo>
                <a:close/>
                <a:moveTo>
                  <a:pt x="1649" y="430"/>
                </a:moveTo>
                <a:cubicBezTo>
                  <a:pt x="1652" y="430"/>
                  <a:pt x="1652" y="430"/>
                  <a:pt x="1652" y="430"/>
                </a:cubicBezTo>
                <a:cubicBezTo>
                  <a:pt x="1653" y="428"/>
                  <a:pt x="1653" y="428"/>
                  <a:pt x="1653" y="428"/>
                </a:cubicBezTo>
                <a:cubicBezTo>
                  <a:pt x="1648" y="428"/>
                  <a:pt x="1648" y="428"/>
                  <a:pt x="1648" y="428"/>
                </a:cubicBezTo>
                <a:cubicBezTo>
                  <a:pt x="1649" y="430"/>
                  <a:pt x="1649" y="430"/>
                  <a:pt x="1649" y="430"/>
                </a:cubicBezTo>
                <a:cubicBezTo>
                  <a:pt x="1649" y="430"/>
                  <a:pt x="1649" y="430"/>
                  <a:pt x="1649" y="430"/>
                </a:cubicBezTo>
                <a:close/>
                <a:moveTo>
                  <a:pt x="1654" y="426"/>
                </a:moveTo>
                <a:cubicBezTo>
                  <a:pt x="1655" y="428"/>
                  <a:pt x="1657" y="429"/>
                  <a:pt x="1657" y="426"/>
                </a:cubicBezTo>
                <a:cubicBezTo>
                  <a:pt x="1656" y="422"/>
                  <a:pt x="1654" y="426"/>
                  <a:pt x="1654" y="426"/>
                </a:cubicBezTo>
                <a:close/>
                <a:moveTo>
                  <a:pt x="1924" y="84"/>
                </a:moveTo>
                <a:cubicBezTo>
                  <a:pt x="1931" y="82"/>
                  <a:pt x="1929" y="80"/>
                  <a:pt x="1927" y="79"/>
                </a:cubicBezTo>
                <a:cubicBezTo>
                  <a:pt x="1926" y="78"/>
                  <a:pt x="1919" y="79"/>
                  <a:pt x="1919" y="79"/>
                </a:cubicBezTo>
                <a:cubicBezTo>
                  <a:pt x="1919" y="79"/>
                  <a:pt x="1921" y="85"/>
                  <a:pt x="1924" y="84"/>
                </a:cubicBezTo>
                <a:close/>
                <a:moveTo>
                  <a:pt x="1982" y="89"/>
                </a:moveTo>
                <a:cubicBezTo>
                  <a:pt x="1978" y="88"/>
                  <a:pt x="1978" y="88"/>
                  <a:pt x="1978" y="88"/>
                </a:cubicBezTo>
                <a:cubicBezTo>
                  <a:pt x="1974" y="90"/>
                  <a:pt x="1974" y="90"/>
                  <a:pt x="1974" y="90"/>
                </a:cubicBezTo>
                <a:cubicBezTo>
                  <a:pt x="1980" y="92"/>
                  <a:pt x="1980" y="92"/>
                  <a:pt x="1980" y="92"/>
                </a:cubicBezTo>
                <a:cubicBezTo>
                  <a:pt x="1982" y="89"/>
                  <a:pt x="1982" y="89"/>
                  <a:pt x="1982" y="89"/>
                </a:cubicBezTo>
                <a:cubicBezTo>
                  <a:pt x="1982" y="89"/>
                  <a:pt x="1982" y="89"/>
                  <a:pt x="1982" y="89"/>
                </a:cubicBezTo>
                <a:close/>
                <a:moveTo>
                  <a:pt x="1662" y="423"/>
                </a:moveTo>
                <a:cubicBezTo>
                  <a:pt x="1658" y="423"/>
                  <a:pt x="1658" y="423"/>
                  <a:pt x="1658" y="423"/>
                </a:cubicBezTo>
                <a:cubicBezTo>
                  <a:pt x="1658" y="427"/>
                  <a:pt x="1658" y="427"/>
                  <a:pt x="1658" y="427"/>
                </a:cubicBezTo>
                <a:cubicBezTo>
                  <a:pt x="1659" y="425"/>
                  <a:pt x="1659" y="425"/>
                  <a:pt x="1659" y="425"/>
                </a:cubicBezTo>
                <a:cubicBezTo>
                  <a:pt x="1662" y="423"/>
                  <a:pt x="1662" y="423"/>
                  <a:pt x="1662" y="423"/>
                </a:cubicBezTo>
                <a:cubicBezTo>
                  <a:pt x="1662" y="423"/>
                  <a:pt x="1662" y="423"/>
                  <a:pt x="1662" y="423"/>
                </a:cubicBezTo>
                <a:close/>
                <a:moveTo>
                  <a:pt x="2399" y="65"/>
                </a:moveTo>
                <a:cubicBezTo>
                  <a:pt x="2407" y="66"/>
                  <a:pt x="2407" y="66"/>
                  <a:pt x="2407" y="66"/>
                </a:cubicBezTo>
                <a:cubicBezTo>
                  <a:pt x="2409" y="64"/>
                  <a:pt x="2408" y="62"/>
                  <a:pt x="2405" y="62"/>
                </a:cubicBezTo>
                <a:cubicBezTo>
                  <a:pt x="2401" y="62"/>
                  <a:pt x="2388" y="59"/>
                  <a:pt x="2390" y="61"/>
                </a:cubicBezTo>
                <a:cubicBezTo>
                  <a:pt x="2392" y="64"/>
                  <a:pt x="2399" y="65"/>
                  <a:pt x="2399" y="65"/>
                </a:cubicBezTo>
                <a:close/>
                <a:moveTo>
                  <a:pt x="2652" y="116"/>
                </a:moveTo>
                <a:cubicBezTo>
                  <a:pt x="2654" y="114"/>
                  <a:pt x="2639" y="112"/>
                  <a:pt x="2639" y="112"/>
                </a:cubicBezTo>
                <a:cubicBezTo>
                  <a:pt x="2639" y="113"/>
                  <a:pt x="2651" y="118"/>
                  <a:pt x="2652" y="116"/>
                </a:cubicBezTo>
                <a:close/>
                <a:moveTo>
                  <a:pt x="2390" y="73"/>
                </a:moveTo>
                <a:cubicBezTo>
                  <a:pt x="2385" y="78"/>
                  <a:pt x="2397" y="78"/>
                  <a:pt x="2398" y="76"/>
                </a:cubicBezTo>
                <a:cubicBezTo>
                  <a:pt x="2400" y="74"/>
                  <a:pt x="2392" y="71"/>
                  <a:pt x="2390" y="73"/>
                </a:cubicBezTo>
                <a:close/>
                <a:moveTo>
                  <a:pt x="2760" y="352"/>
                </a:moveTo>
                <a:cubicBezTo>
                  <a:pt x="2761" y="348"/>
                  <a:pt x="2761" y="348"/>
                  <a:pt x="2761" y="348"/>
                </a:cubicBezTo>
                <a:cubicBezTo>
                  <a:pt x="2759" y="352"/>
                  <a:pt x="2759" y="352"/>
                  <a:pt x="2759" y="352"/>
                </a:cubicBezTo>
                <a:cubicBezTo>
                  <a:pt x="2760" y="352"/>
                  <a:pt x="2760" y="352"/>
                  <a:pt x="2760" y="352"/>
                </a:cubicBezTo>
                <a:cubicBezTo>
                  <a:pt x="2760" y="352"/>
                  <a:pt x="2760" y="352"/>
                  <a:pt x="2760" y="352"/>
                </a:cubicBezTo>
                <a:close/>
                <a:moveTo>
                  <a:pt x="2760" y="339"/>
                </a:moveTo>
                <a:cubicBezTo>
                  <a:pt x="2763" y="339"/>
                  <a:pt x="2763" y="339"/>
                  <a:pt x="2763" y="339"/>
                </a:cubicBezTo>
                <a:cubicBezTo>
                  <a:pt x="2760" y="336"/>
                  <a:pt x="2760" y="336"/>
                  <a:pt x="2760" y="336"/>
                </a:cubicBezTo>
                <a:cubicBezTo>
                  <a:pt x="2760" y="339"/>
                  <a:pt x="2760" y="339"/>
                  <a:pt x="2760" y="339"/>
                </a:cubicBezTo>
                <a:cubicBezTo>
                  <a:pt x="2760" y="339"/>
                  <a:pt x="2760" y="339"/>
                  <a:pt x="2760" y="339"/>
                </a:cubicBezTo>
                <a:close/>
                <a:moveTo>
                  <a:pt x="2495" y="653"/>
                </a:moveTo>
                <a:cubicBezTo>
                  <a:pt x="2492" y="651"/>
                  <a:pt x="2482" y="652"/>
                  <a:pt x="2482" y="652"/>
                </a:cubicBezTo>
                <a:cubicBezTo>
                  <a:pt x="2481" y="655"/>
                  <a:pt x="2481" y="655"/>
                  <a:pt x="2481" y="655"/>
                </a:cubicBezTo>
                <a:cubicBezTo>
                  <a:pt x="2479" y="653"/>
                  <a:pt x="2479" y="653"/>
                  <a:pt x="2479" y="653"/>
                </a:cubicBezTo>
                <a:cubicBezTo>
                  <a:pt x="2478" y="657"/>
                  <a:pt x="2478" y="657"/>
                  <a:pt x="2478" y="657"/>
                </a:cubicBezTo>
                <a:cubicBezTo>
                  <a:pt x="2478" y="657"/>
                  <a:pt x="2471" y="662"/>
                  <a:pt x="2475" y="667"/>
                </a:cubicBezTo>
                <a:cubicBezTo>
                  <a:pt x="2479" y="672"/>
                  <a:pt x="2482" y="672"/>
                  <a:pt x="2482" y="672"/>
                </a:cubicBezTo>
                <a:cubicBezTo>
                  <a:pt x="2494" y="671"/>
                  <a:pt x="2493" y="668"/>
                  <a:pt x="2493" y="666"/>
                </a:cubicBezTo>
                <a:cubicBezTo>
                  <a:pt x="2494" y="665"/>
                  <a:pt x="2493" y="662"/>
                  <a:pt x="2493" y="662"/>
                </a:cubicBezTo>
                <a:cubicBezTo>
                  <a:pt x="2493" y="662"/>
                  <a:pt x="2498" y="655"/>
                  <a:pt x="2495" y="653"/>
                </a:cubicBezTo>
                <a:close/>
                <a:moveTo>
                  <a:pt x="2505" y="689"/>
                </a:moveTo>
                <a:cubicBezTo>
                  <a:pt x="2502" y="689"/>
                  <a:pt x="2504" y="692"/>
                  <a:pt x="2504" y="692"/>
                </a:cubicBezTo>
                <a:cubicBezTo>
                  <a:pt x="2507" y="692"/>
                  <a:pt x="2509" y="689"/>
                  <a:pt x="2505" y="689"/>
                </a:cubicBezTo>
                <a:close/>
                <a:moveTo>
                  <a:pt x="2726" y="469"/>
                </a:moveTo>
                <a:cubicBezTo>
                  <a:pt x="2726" y="466"/>
                  <a:pt x="2726" y="460"/>
                  <a:pt x="2725" y="458"/>
                </a:cubicBezTo>
                <a:cubicBezTo>
                  <a:pt x="2724" y="455"/>
                  <a:pt x="2719" y="452"/>
                  <a:pt x="2719" y="448"/>
                </a:cubicBezTo>
                <a:cubicBezTo>
                  <a:pt x="2720" y="445"/>
                  <a:pt x="2723" y="446"/>
                  <a:pt x="2723" y="446"/>
                </a:cubicBezTo>
                <a:cubicBezTo>
                  <a:pt x="2723" y="440"/>
                  <a:pt x="2723" y="440"/>
                  <a:pt x="2723" y="440"/>
                </a:cubicBezTo>
                <a:cubicBezTo>
                  <a:pt x="2721" y="439"/>
                  <a:pt x="2721" y="439"/>
                  <a:pt x="2721" y="439"/>
                </a:cubicBezTo>
                <a:cubicBezTo>
                  <a:pt x="2723" y="437"/>
                  <a:pt x="2723" y="437"/>
                  <a:pt x="2723" y="437"/>
                </a:cubicBezTo>
                <a:cubicBezTo>
                  <a:pt x="2723" y="437"/>
                  <a:pt x="2722" y="434"/>
                  <a:pt x="2721" y="432"/>
                </a:cubicBezTo>
                <a:cubicBezTo>
                  <a:pt x="2720" y="429"/>
                  <a:pt x="2717" y="428"/>
                  <a:pt x="2717" y="428"/>
                </a:cubicBezTo>
                <a:cubicBezTo>
                  <a:pt x="2717" y="425"/>
                  <a:pt x="2717" y="425"/>
                  <a:pt x="2717" y="425"/>
                </a:cubicBezTo>
                <a:cubicBezTo>
                  <a:pt x="2717" y="425"/>
                  <a:pt x="2714" y="424"/>
                  <a:pt x="2712" y="422"/>
                </a:cubicBezTo>
                <a:cubicBezTo>
                  <a:pt x="2710" y="421"/>
                  <a:pt x="2707" y="417"/>
                  <a:pt x="2707" y="415"/>
                </a:cubicBezTo>
                <a:cubicBezTo>
                  <a:pt x="2707" y="414"/>
                  <a:pt x="2706" y="413"/>
                  <a:pt x="2706" y="413"/>
                </a:cubicBezTo>
                <a:cubicBezTo>
                  <a:pt x="2706" y="413"/>
                  <a:pt x="2701" y="409"/>
                  <a:pt x="2701" y="412"/>
                </a:cubicBezTo>
                <a:cubicBezTo>
                  <a:pt x="2700" y="414"/>
                  <a:pt x="2702" y="415"/>
                  <a:pt x="2702" y="415"/>
                </a:cubicBezTo>
                <a:cubicBezTo>
                  <a:pt x="2704" y="414"/>
                  <a:pt x="2704" y="414"/>
                  <a:pt x="2704" y="414"/>
                </a:cubicBezTo>
                <a:cubicBezTo>
                  <a:pt x="2704" y="414"/>
                  <a:pt x="2706" y="418"/>
                  <a:pt x="2705" y="418"/>
                </a:cubicBezTo>
                <a:cubicBezTo>
                  <a:pt x="2704" y="418"/>
                  <a:pt x="2703" y="416"/>
                  <a:pt x="2703" y="416"/>
                </a:cubicBezTo>
                <a:cubicBezTo>
                  <a:pt x="2701" y="418"/>
                  <a:pt x="2701" y="418"/>
                  <a:pt x="2701" y="418"/>
                </a:cubicBezTo>
                <a:cubicBezTo>
                  <a:pt x="2698" y="414"/>
                  <a:pt x="2698" y="414"/>
                  <a:pt x="2698" y="414"/>
                </a:cubicBezTo>
                <a:cubicBezTo>
                  <a:pt x="2696" y="414"/>
                  <a:pt x="2696" y="414"/>
                  <a:pt x="2696" y="414"/>
                </a:cubicBezTo>
                <a:cubicBezTo>
                  <a:pt x="2699" y="419"/>
                  <a:pt x="2699" y="419"/>
                  <a:pt x="2699" y="419"/>
                </a:cubicBezTo>
                <a:cubicBezTo>
                  <a:pt x="2696" y="420"/>
                  <a:pt x="2696" y="420"/>
                  <a:pt x="2696" y="420"/>
                </a:cubicBezTo>
                <a:cubicBezTo>
                  <a:pt x="2700" y="426"/>
                  <a:pt x="2700" y="426"/>
                  <a:pt x="2700" y="426"/>
                </a:cubicBezTo>
                <a:cubicBezTo>
                  <a:pt x="2699" y="428"/>
                  <a:pt x="2699" y="428"/>
                  <a:pt x="2699" y="428"/>
                </a:cubicBezTo>
                <a:cubicBezTo>
                  <a:pt x="2699" y="428"/>
                  <a:pt x="2706" y="432"/>
                  <a:pt x="2706" y="435"/>
                </a:cubicBezTo>
                <a:cubicBezTo>
                  <a:pt x="2705" y="438"/>
                  <a:pt x="2704" y="442"/>
                  <a:pt x="2704" y="442"/>
                </a:cubicBezTo>
                <a:cubicBezTo>
                  <a:pt x="2704" y="446"/>
                  <a:pt x="2704" y="446"/>
                  <a:pt x="2704" y="446"/>
                </a:cubicBezTo>
                <a:cubicBezTo>
                  <a:pt x="2704" y="446"/>
                  <a:pt x="2708" y="449"/>
                  <a:pt x="2706" y="450"/>
                </a:cubicBezTo>
                <a:cubicBezTo>
                  <a:pt x="2704" y="452"/>
                  <a:pt x="2702" y="451"/>
                  <a:pt x="2702" y="451"/>
                </a:cubicBezTo>
                <a:cubicBezTo>
                  <a:pt x="2702" y="451"/>
                  <a:pt x="2704" y="457"/>
                  <a:pt x="2701" y="459"/>
                </a:cubicBezTo>
                <a:cubicBezTo>
                  <a:pt x="2699" y="460"/>
                  <a:pt x="2694" y="461"/>
                  <a:pt x="2694" y="461"/>
                </a:cubicBezTo>
                <a:cubicBezTo>
                  <a:pt x="2694" y="463"/>
                  <a:pt x="2694" y="463"/>
                  <a:pt x="2694" y="463"/>
                </a:cubicBezTo>
                <a:cubicBezTo>
                  <a:pt x="2694" y="463"/>
                  <a:pt x="2692" y="464"/>
                  <a:pt x="2690" y="462"/>
                </a:cubicBezTo>
                <a:cubicBezTo>
                  <a:pt x="2688" y="460"/>
                  <a:pt x="2689" y="458"/>
                  <a:pt x="2689" y="458"/>
                </a:cubicBezTo>
                <a:cubicBezTo>
                  <a:pt x="2689" y="455"/>
                  <a:pt x="2689" y="455"/>
                  <a:pt x="2689" y="455"/>
                </a:cubicBezTo>
                <a:cubicBezTo>
                  <a:pt x="2689" y="455"/>
                  <a:pt x="2684" y="456"/>
                  <a:pt x="2685" y="459"/>
                </a:cubicBezTo>
                <a:cubicBezTo>
                  <a:pt x="2686" y="461"/>
                  <a:pt x="2688" y="464"/>
                  <a:pt x="2688" y="465"/>
                </a:cubicBezTo>
                <a:cubicBezTo>
                  <a:pt x="2688" y="466"/>
                  <a:pt x="2685" y="470"/>
                  <a:pt x="2685" y="472"/>
                </a:cubicBezTo>
                <a:cubicBezTo>
                  <a:pt x="2686" y="474"/>
                  <a:pt x="2689" y="477"/>
                  <a:pt x="2687" y="477"/>
                </a:cubicBezTo>
                <a:cubicBezTo>
                  <a:pt x="2685" y="478"/>
                  <a:pt x="2679" y="475"/>
                  <a:pt x="2678" y="475"/>
                </a:cubicBezTo>
                <a:cubicBezTo>
                  <a:pt x="2676" y="475"/>
                  <a:pt x="2667" y="479"/>
                  <a:pt x="2667" y="479"/>
                </a:cubicBezTo>
                <a:cubicBezTo>
                  <a:pt x="2666" y="479"/>
                  <a:pt x="2663" y="479"/>
                  <a:pt x="2663" y="479"/>
                </a:cubicBezTo>
                <a:cubicBezTo>
                  <a:pt x="2661" y="477"/>
                  <a:pt x="2661" y="477"/>
                  <a:pt x="2661" y="477"/>
                </a:cubicBezTo>
                <a:cubicBezTo>
                  <a:pt x="2657" y="481"/>
                  <a:pt x="2657" y="481"/>
                  <a:pt x="2657" y="481"/>
                </a:cubicBezTo>
                <a:cubicBezTo>
                  <a:pt x="2657" y="481"/>
                  <a:pt x="2651" y="490"/>
                  <a:pt x="2650" y="490"/>
                </a:cubicBezTo>
                <a:cubicBezTo>
                  <a:pt x="2649" y="490"/>
                  <a:pt x="2646" y="490"/>
                  <a:pt x="2646" y="490"/>
                </a:cubicBezTo>
                <a:cubicBezTo>
                  <a:pt x="2646" y="490"/>
                  <a:pt x="2647" y="495"/>
                  <a:pt x="2649" y="495"/>
                </a:cubicBezTo>
                <a:cubicBezTo>
                  <a:pt x="2650" y="495"/>
                  <a:pt x="2653" y="494"/>
                  <a:pt x="2653" y="494"/>
                </a:cubicBezTo>
                <a:cubicBezTo>
                  <a:pt x="2653" y="494"/>
                  <a:pt x="2657" y="497"/>
                  <a:pt x="2658" y="496"/>
                </a:cubicBezTo>
                <a:cubicBezTo>
                  <a:pt x="2659" y="496"/>
                  <a:pt x="2659" y="491"/>
                  <a:pt x="2659" y="491"/>
                </a:cubicBezTo>
                <a:cubicBezTo>
                  <a:pt x="2662" y="493"/>
                  <a:pt x="2662" y="493"/>
                  <a:pt x="2662" y="493"/>
                </a:cubicBezTo>
                <a:cubicBezTo>
                  <a:pt x="2662" y="493"/>
                  <a:pt x="2669" y="490"/>
                  <a:pt x="2670" y="489"/>
                </a:cubicBezTo>
                <a:cubicBezTo>
                  <a:pt x="2671" y="488"/>
                  <a:pt x="2674" y="490"/>
                  <a:pt x="2676" y="490"/>
                </a:cubicBezTo>
                <a:cubicBezTo>
                  <a:pt x="2678" y="490"/>
                  <a:pt x="2674" y="487"/>
                  <a:pt x="2678" y="487"/>
                </a:cubicBezTo>
                <a:cubicBezTo>
                  <a:pt x="2681" y="487"/>
                  <a:pt x="2682" y="488"/>
                  <a:pt x="2682" y="488"/>
                </a:cubicBezTo>
                <a:cubicBezTo>
                  <a:pt x="2682" y="488"/>
                  <a:pt x="2687" y="486"/>
                  <a:pt x="2687" y="487"/>
                </a:cubicBezTo>
                <a:cubicBezTo>
                  <a:pt x="2688" y="489"/>
                  <a:pt x="2685" y="493"/>
                  <a:pt x="2685" y="493"/>
                </a:cubicBezTo>
                <a:cubicBezTo>
                  <a:pt x="2685" y="493"/>
                  <a:pt x="2690" y="501"/>
                  <a:pt x="2694" y="501"/>
                </a:cubicBezTo>
                <a:cubicBezTo>
                  <a:pt x="2698" y="501"/>
                  <a:pt x="2698" y="493"/>
                  <a:pt x="2698" y="493"/>
                </a:cubicBezTo>
                <a:cubicBezTo>
                  <a:pt x="2702" y="492"/>
                  <a:pt x="2702" y="492"/>
                  <a:pt x="2702" y="492"/>
                </a:cubicBezTo>
                <a:cubicBezTo>
                  <a:pt x="2702" y="492"/>
                  <a:pt x="2699" y="488"/>
                  <a:pt x="2698" y="488"/>
                </a:cubicBezTo>
                <a:cubicBezTo>
                  <a:pt x="2697" y="488"/>
                  <a:pt x="2696" y="486"/>
                  <a:pt x="2696" y="486"/>
                </a:cubicBezTo>
                <a:cubicBezTo>
                  <a:pt x="2698" y="483"/>
                  <a:pt x="2698" y="483"/>
                  <a:pt x="2698" y="483"/>
                </a:cubicBezTo>
                <a:cubicBezTo>
                  <a:pt x="2700" y="483"/>
                  <a:pt x="2698" y="486"/>
                  <a:pt x="2701" y="486"/>
                </a:cubicBezTo>
                <a:cubicBezTo>
                  <a:pt x="2703" y="486"/>
                  <a:pt x="2703" y="489"/>
                  <a:pt x="2703" y="489"/>
                </a:cubicBezTo>
                <a:cubicBezTo>
                  <a:pt x="2706" y="487"/>
                  <a:pt x="2706" y="487"/>
                  <a:pt x="2706" y="487"/>
                </a:cubicBezTo>
                <a:cubicBezTo>
                  <a:pt x="2706" y="487"/>
                  <a:pt x="2709" y="488"/>
                  <a:pt x="2712" y="488"/>
                </a:cubicBezTo>
                <a:cubicBezTo>
                  <a:pt x="2715" y="487"/>
                  <a:pt x="2711" y="482"/>
                  <a:pt x="2715" y="483"/>
                </a:cubicBezTo>
                <a:cubicBezTo>
                  <a:pt x="2719" y="483"/>
                  <a:pt x="2717" y="489"/>
                  <a:pt x="2719" y="488"/>
                </a:cubicBezTo>
                <a:cubicBezTo>
                  <a:pt x="2721" y="487"/>
                  <a:pt x="2717" y="482"/>
                  <a:pt x="2719" y="481"/>
                </a:cubicBezTo>
                <a:cubicBezTo>
                  <a:pt x="2721" y="480"/>
                  <a:pt x="2722" y="480"/>
                  <a:pt x="2722" y="480"/>
                </a:cubicBezTo>
                <a:cubicBezTo>
                  <a:pt x="2722" y="480"/>
                  <a:pt x="2722" y="474"/>
                  <a:pt x="2725" y="476"/>
                </a:cubicBezTo>
                <a:cubicBezTo>
                  <a:pt x="2727" y="479"/>
                  <a:pt x="2723" y="484"/>
                  <a:pt x="2728" y="484"/>
                </a:cubicBezTo>
                <a:cubicBezTo>
                  <a:pt x="2732" y="483"/>
                  <a:pt x="2730" y="477"/>
                  <a:pt x="2730" y="477"/>
                </a:cubicBezTo>
                <a:cubicBezTo>
                  <a:pt x="2732" y="475"/>
                  <a:pt x="2732" y="475"/>
                  <a:pt x="2732" y="475"/>
                </a:cubicBezTo>
                <a:cubicBezTo>
                  <a:pt x="2732" y="475"/>
                  <a:pt x="2726" y="472"/>
                  <a:pt x="2726" y="469"/>
                </a:cubicBezTo>
                <a:close/>
                <a:moveTo>
                  <a:pt x="2763" y="327"/>
                </a:moveTo>
                <a:cubicBezTo>
                  <a:pt x="2766" y="324"/>
                  <a:pt x="2766" y="324"/>
                  <a:pt x="2766" y="324"/>
                </a:cubicBezTo>
                <a:cubicBezTo>
                  <a:pt x="2762" y="321"/>
                  <a:pt x="2762" y="321"/>
                  <a:pt x="2762" y="321"/>
                </a:cubicBezTo>
                <a:cubicBezTo>
                  <a:pt x="2763" y="327"/>
                  <a:pt x="2763" y="327"/>
                  <a:pt x="2763" y="327"/>
                </a:cubicBezTo>
                <a:cubicBezTo>
                  <a:pt x="2763" y="327"/>
                  <a:pt x="2763" y="327"/>
                  <a:pt x="2763" y="327"/>
                </a:cubicBezTo>
                <a:close/>
                <a:moveTo>
                  <a:pt x="2749" y="365"/>
                </a:moveTo>
                <a:cubicBezTo>
                  <a:pt x="2752" y="366"/>
                  <a:pt x="2754" y="361"/>
                  <a:pt x="2752" y="360"/>
                </a:cubicBezTo>
                <a:cubicBezTo>
                  <a:pt x="2750" y="360"/>
                  <a:pt x="2748" y="365"/>
                  <a:pt x="2749" y="365"/>
                </a:cubicBezTo>
                <a:close/>
                <a:moveTo>
                  <a:pt x="2448" y="70"/>
                </a:moveTo>
                <a:cubicBezTo>
                  <a:pt x="2454" y="67"/>
                  <a:pt x="2434" y="67"/>
                  <a:pt x="2434" y="67"/>
                </a:cubicBezTo>
                <a:cubicBezTo>
                  <a:pt x="2434" y="67"/>
                  <a:pt x="2430" y="63"/>
                  <a:pt x="2428" y="63"/>
                </a:cubicBezTo>
                <a:cubicBezTo>
                  <a:pt x="2426" y="63"/>
                  <a:pt x="2421" y="64"/>
                  <a:pt x="2421" y="64"/>
                </a:cubicBezTo>
                <a:cubicBezTo>
                  <a:pt x="2416" y="63"/>
                  <a:pt x="2416" y="63"/>
                  <a:pt x="2416" y="63"/>
                </a:cubicBezTo>
                <a:cubicBezTo>
                  <a:pt x="2421" y="67"/>
                  <a:pt x="2421" y="67"/>
                  <a:pt x="2421" y="67"/>
                </a:cubicBezTo>
                <a:cubicBezTo>
                  <a:pt x="2421" y="67"/>
                  <a:pt x="2442" y="72"/>
                  <a:pt x="2448" y="70"/>
                </a:cubicBezTo>
                <a:close/>
                <a:moveTo>
                  <a:pt x="1662" y="443"/>
                </a:moveTo>
                <a:cubicBezTo>
                  <a:pt x="1662" y="442"/>
                  <a:pt x="1661" y="447"/>
                  <a:pt x="1662" y="449"/>
                </a:cubicBezTo>
                <a:cubicBezTo>
                  <a:pt x="1663" y="451"/>
                  <a:pt x="1665" y="447"/>
                  <a:pt x="1665" y="446"/>
                </a:cubicBezTo>
                <a:cubicBezTo>
                  <a:pt x="1666" y="445"/>
                  <a:pt x="1663" y="444"/>
                  <a:pt x="1662" y="443"/>
                </a:cubicBezTo>
                <a:close/>
                <a:moveTo>
                  <a:pt x="2509" y="683"/>
                </a:moveTo>
                <a:cubicBezTo>
                  <a:pt x="2508" y="685"/>
                  <a:pt x="2512" y="687"/>
                  <a:pt x="2512" y="687"/>
                </a:cubicBezTo>
                <a:cubicBezTo>
                  <a:pt x="2514" y="686"/>
                  <a:pt x="2514" y="686"/>
                  <a:pt x="2514" y="686"/>
                </a:cubicBezTo>
                <a:cubicBezTo>
                  <a:pt x="2514" y="686"/>
                  <a:pt x="2511" y="682"/>
                  <a:pt x="2509" y="683"/>
                </a:cubicBezTo>
                <a:close/>
                <a:moveTo>
                  <a:pt x="2398" y="82"/>
                </a:moveTo>
                <a:cubicBezTo>
                  <a:pt x="2408" y="80"/>
                  <a:pt x="2408" y="80"/>
                  <a:pt x="2408" y="80"/>
                </a:cubicBezTo>
                <a:cubicBezTo>
                  <a:pt x="2424" y="83"/>
                  <a:pt x="2424" y="83"/>
                  <a:pt x="2424" y="83"/>
                </a:cubicBezTo>
                <a:cubicBezTo>
                  <a:pt x="2424" y="83"/>
                  <a:pt x="2419" y="77"/>
                  <a:pt x="2416" y="77"/>
                </a:cubicBezTo>
                <a:cubicBezTo>
                  <a:pt x="2412" y="76"/>
                  <a:pt x="2401" y="77"/>
                  <a:pt x="2401" y="77"/>
                </a:cubicBezTo>
                <a:cubicBezTo>
                  <a:pt x="2398" y="82"/>
                  <a:pt x="2398" y="82"/>
                  <a:pt x="2398" y="82"/>
                </a:cubicBezTo>
                <a:cubicBezTo>
                  <a:pt x="2398" y="82"/>
                  <a:pt x="2398" y="82"/>
                  <a:pt x="2398" y="82"/>
                </a:cubicBezTo>
                <a:close/>
                <a:moveTo>
                  <a:pt x="2744" y="227"/>
                </a:moveTo>
                <a:cubicBezTo>
                  <a:pt x="2749" y="222"/>
                  <a:pt x="2749" y="222"/>
                  <a:pt x="2749" y="222"/>
                </a:cubicBezTo>
                <a:cubicBezTo>
                  <a:pt x="2747" y="219"/>
                  <a:pt x="2747" y="219"/>
                  <a:pt x="2747" y="219"/>
                </a:cubicBezTo>
                <a:cubicBezTo>
                  <a:pt x="2742" y="222"/>
                  <a:pt x="2742" y="222"/>
                  <a:pt x="2742" y="222"/>
                </a:cubicBezTo>
                <a:cubicBezTo>
                  <a:pt x="2744" y="227"/>
                  <a:pt x="2744" y="227"/>
                  <a:pt x="2744" y="227"/>
                </a:cubicBezTo>
                <a:cubicBezTo>
                  <a:pt x="2744" y="227"/>
                  <a:pt x="2744" y="227"/>
                  <a:pt x="2744" y="227"/>
                </a:cubicBezTo>
                <a:close/>
                <a:moveTo>
                  <a:pt x="2706" y="105"/>
                </a:moveTo>
                <a:cubicBezTo>
                  <a:pt x="2709" y="104"/>
                  <a:pt x="2713" y="104"/>
                  <a:pt x="2718" y="104"/>
                </a:cubicBezTo>
                <a:cubicBezTo>
                  <a:pt x="2724" y="104"/>
                  <a:pt x="2724" y="101"/>
                  <a:pt x="2721" y="100"/>
                </a:cubicBezTo>
                <a:cubicBezTo>
                  <a:pt x="2717" y="100"/>
                  <a:pt x="2710" y="97"/>
                  <a:pt x="2708" y="97"/>
                </a:cubicBezTo>
                <a:cubicBezTo>
                  <a:pt x="2705" y="97"/>
                  <a:pt x="2699" y="97"/>
                  <a:pt x="2699" y="102"/>
                </a:cubicBezTo>
                <a:cubicBezTo>
                  <a:pt x="2699" y="107"/>
                  <a:pt x="2704" y="106"/>
                  <a:pt x="2706" y="105"/>
                </a:cubicBezTo>
                <a:close/>
                <a:moveTo>
                  <a:pt x="2761" y="318"/>
                </a:moveTo>
                <a:cubicBezTo>
                  <a:pt x="2764" y="317"/>
                  <a:pt x="2764" y="317"/>
                  <a:pt x="2764" y="317"/>
                </a:cubicBezTo>
                <a:cubicBezTo>
                  <a:pt x="2766" y="315"/>
                  <a:pt x="2766" y="315"/>
                  <a:pt x="2766" y="315"/>
                </a:cubicBezTo>
                <a:cubicBezTo>
                  <a:pt x="2764" y="311"/>
                  <a:pt x="2764" y="311"/>
                  <a:pt x="2764" y="311"/>
                </a:cubicBezTo>
                <a:cubicBezTo>
                  <a:pt x="2766" y="310"/>
                  <a:pt x="2766" y="310"/>
                  <a:pt x="2766" y="310"/>
                </a:cubicBezTo>
                <a:cubicBezTo>
                  <a:pt x="2764" y="308"/>
                  <a:pt x="2764" y="308"/>
                  <a:pt x="2764" y="308"/>
                </a:cubicBezTo>
                <a:cubicBezTo>
                  <a:pt x="2762" y="310"/>
                  <a:pt x="2762" y="310"/>
                  <a:pt x="2762" y="310"/>
                </a:cubicBezTo>
                <a:cubicBezTo>
                  <a:pt x="2764" y="313"/>
                  <a:pt x="2764" y="313"/>
                  <a:pt x="2764" y="313"/>
                </a:cubicBezTo>
                <a:cubicBezTo>
                  <a:pt x="2761" y="313"/>
                  <a:pt x="2761" y="313"/>
                  <a:pt x="2761" y="313"/>
                </a:cubicBezTo>
                <a:cubicBezTo>
                  <a:pt x="2761" y="318"/>
                  <a:pt x="2761" y="318"/>
                  <a:pt x="2761" y="318"/>
                </a:cubicBezTo>
                <a:cubicBezTo>
                  <a:pt x="2761" y="318"/>
                  <a:pt x="2761" y="318"/>
                  <a:pt x="2761" y="318"/>
                </a:cubicBezTo>
                <a:close/>
                <a:moveTo>
                  <a:pt x="2587" y="592"/>
                </a:moveTo>
                <a:cubicBezTo>
                  <a:pt x="2583" y="597"/>
                  <a:pt x="2583" y="597"/>
                  <a:pt x="2583" y="597"/>
                </a:cubicBezTo>
                <a:cubicBezTo>
                  <a:pt x="2583" y="597"/>
                  <a:pt x="2575" y="614"/>
                  <a:pt x="2577" y="616"/>
                </a:cubicBezTo>
                <a:cubicBezTo>
                  <a:pt x="2579" y="619"/>
                  <a:pt x="2582" y="623"/>
                  <a:pt x="2582" y="623"/>
                </a:cubicBezTo>
                <a:cubicBezTo>
                  <a:pt x="2582" y="623"/>
                  <a:pt x="2585" y="630"/>
                  <a:pt x="2588" y="630"/>
                </a:cubicBezTo>
                <a:cubicBezTo>
                  <a:pt x="2588" y="623"/>
                  <a:pt x="2588" y="623"/>
                  <a:pt x="2588" y="623"/>
                </a:cubicBezTo>
                <a:cubicBezTo>
                  <a:pt x="2588" y="623"/>
                  <a:pt x="2591" y="622"/>
                  <a:pt x="2591" y="617"/>
                </a:cubicBezTo>
                <a:cubicBezTo>
                  <a:pt x="2591" y="613"/>
                  <a:pt x="2591" y="607"/>
                  <a:pt x="2591" y="607"/>
                </a:cubicBezTo>
                <a:cubicBezTo>
                  <a:pt x="2591" y="607"/>
                  <a:pt x="2593" y="604"/>
                  <a:pt x="2593" y="601"/>
                </a:cubicBezTo>
                <a:cubicBezTo>
                  <a:pt x="2593" y="599"/>
                  <a:pt x="2593" y="596"/>
                  <a:pt x="2593" y="596"/>
                </a:cubicBezTo>
                <a:cubicBezTo>
                  <a:pt x="2587" y="592"/>
                  <a:pt x="2587" y="592"/>
                  <a:pt x="2587" y="592"/>
                </a:cubicBezTo>
                <a:cubicBezTo>
                  <a:pt x="2587" y="592"/>
                  <a:pt x="2587" y="592"/>
                  <a:pt x="2587" y="592"/>
                </a:cubicBezTo>
                <a:close/>
                <a:moveTo>
                  <a:pt x="2647" y="509"/>
                </a:moveTo>
                <a:cubicBezTo>
                  <a:pt x="2645" y="515"/>
                  <a:pt x="2645" y="515"/>
                  <a:pt x="2645" y="515"/>
                </a:cubicBezTo>
                <a:cubicBezTo>
                  <a:pt x="2647" y="514"/>
                  <a:pt x="2647" y="514"/>
                  <a:pt x="2647" y="514"/>
                </a:cubicBezTo>
                <a:cubicBezTo>
                  <a:pt x="2647" y="509"/>
                  <a:pt x="2647" y="509"/>
                  <a:pt x="2647" y="509"/>
                </a:cubicBezTo>
                <a:cubicBezTo>
                  <a:pt x="2647" y="509"/>
                  <a:pt x="2647" y="509"/>
                  <a:pt x="2647" y="509"/>
                </a:cubicBezTo>
                <a:close/>
                <a:moveTo>
                  <a:pt x="2674" y="501"/>
                </a:moveTo>
                <a:cubicBezTo>
                  <a:pt x="2678" y="499"/>
                  <a:pt x="2682" y="505"/>
                  <a:pt x="2682" y="505"/>
                </a:cubicBezTo>
                <a:cubicBezTo>
                  <a:pt x="2682" y="505"/>
                  <a:pt x="2683" y="500"/>
                  <a:pt x="2684" y="498"/>
                </a:cubicBezTo>
                <a:cubicBezTo>
                  <a:pt x="2684" y="495"/>
                  <a:pt x="2682" y="493"/>
                  <a:pt x="2682" y="493"/>
                </a:cubicBezTo>
                <a:cubicBezTo>
                  <a:pt x="2679" y="494"/>
                  <a:pt x="2679" y="494"/>
                  <a:pt x="2679" y="494"/>
                </a:cubicBezTo>
                <a:cubicBezTo>
                  <a:pt x="2679" y="494"/>
                  <a:pt x="2676" y="491"/>
                  <a:pt x="2674" y="491"/>
                </a:cubicBezTo>
                <a:cubicBezTo>
                  <a:pt x="2670" y="492"/>
                  <a:pt x="2671" y="496"/>
                  <a:pt x="2671" y="496"/>
                </a:cubicBezTo>
                <a:cubicBezTo>
                  <a:pt x="2671" y="496"/>
                  <a:pt x="2668" y="495"/>
                  <a:pt x="2666" y="495"/>
                </a:cubicBezTo>
                <a:cubicBezTo>
                  <a:pt x="2663" y="495"/>
                  <a:pt x="2665" y="500"/>
                  <a:pt x="2665" y="500"/>
                </a:cubicBezTo>
                <a:cubicBezTo>
                  <a:pt x="2662" y="502"/>
                  <a:pt x="2662" y="502"/>
                  <a:pt x="2662" y="502"/>
                </a:cubicBezTo>
                <a:cubicBezTo>
                  <a:pt x="2662" y="502"/>
                  <a:pt x="2665" y="504"/>
                  <a:pt x="2666" y="505"/>
                </a:cubicBezTo>
                <a:cubicBezTo>
                  <a:pt x="2668" y="507"/>
                  <a:pt x="2672" y="510"/>
                  <a:pt x="2672" y="510"/>
                </a:cubicBezTo>
                <a:cubicBezTo>
                  <a:pt x="2672" y="510"/>
                  <a:pt x="2671" y="503"/>
                  <a:pt x="2674" y="501"/>
                </a:cubicBezTo>
                <a:close/>
                <a:moveTo>
                  <a:pt x="2653" y="564"/>
                </a:moveTo>
                <a:cubicBezTo>
                  <a:pt x="2651" y="564"/>
                  <a:pt x="2652" y="565"/>
                  <a:pt x="2652" y="565"/>
                </a:cubicBezTo>
                <a:cubicBezTo>
                  <a:pt x="2655" y="567"/>
                  <a:pt x="2656" y="565"/>
                  <a:pt x="2653" y="564"/>
                </a:cubicBezTo>
                <a:close/>
                <a:moveTo>
                  <a:pt x="2656" y="560"/>
                </a:moveTo>
                <a:cubicBezTo>
                  <a:pt x="2656" y="560"/>
                  <a:pt x="2659" y="560"/>
                  <a:pt x="2657" y="557"/>
                </a:cubicBezTo>
                <a:cubicBezTo>
                  <a:pt x="2656" y="555"/>
                  <a:pt x="2652" y="558"/>
                  <a:pt x="2652" y="560"/>
                </a:cubicBezTo>
                <a:cubicBezTo>
                  <a:pt x="2653" y="561"/>
                  <a:pt x="2653" y="561"/>
                  <a:pt x="2653" y="561"/>
                </a:cubicBezTo>
                <a:cubicBezTo>
                  <a:pt x="2656" y="562"/>
                  <a:pt x="2656" y="560"/>
                  <a:pt x="2656" y="560"/>
                </a:cubicBezTo>
                <a:close/>
                <a:moveTo>
                  <a:pt x="1844" y="312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1"/>
                  <a:pt x="1844" y="311"/>
                  <a:pt x="1844" y="311"/>
                </a:cubicBezTo>
                <a:cubicBezTo>
                  <a:pt x="1844" y="312"/>
                  <a:pt x="1844" y="312"/>
                  <a:pt x="1844" y="312"/>
                </a:cubicBezTo>
                <a:close/>
                <a:moveTo>
                  <a:pt x="2657" y="534"/>
                </a:moveTo>
                <a:cubicBezTo>
                  <a:pt x="2657" y="535"/>
                  <a:pt x="2654" y="536"/>
                  <a:pt x="2654" y="536"/>
                </a:cubicBezTo>
                <a:cubicBezTo>
                  <a:pt x="2658" y="538"/>
                  <a:pt x="2658" y="538"/>
                  <a:pt x="2658" y="538"/>
                </a:cubicBezTo>
                <a:cubicBezTo>
                  <a:pt x="2658" y="538"/>
                  <a:pt x="2657" y="533"/>
                  <a:pt x="2657" y="534"/>
                </a:cubicBezTo>
                <a:close/>
                <a:moveTo>
                  <a:pt x="2661" y="530"/>
                </a:moveTo>
                <a:cubicBezTo>
                  <a:pt x="2661" y="531"/>
                  <a:pt x="2661" y="533"/>
                  <a:pt x="2661" y="533"/>
                </a:cubicBezTo>
                <a:cubicBezTo>
                  <a:pt x="2662" y="537"/>
                  <a:pt x="2662" y="537"/>
                  <a:pt x="2662" y="537"/>
                </a:cubicBezTo>
                <a:cubicBezTo>
                  <a:pt x="2663" y="535"/>
                  <a:pt x="2663" y="535"/>
                  <a:pt x="2663" y="535"/>
                </a:cubicBezTo>
                <a:cubicBezTo>
                  <a:pt x="2663" y="535"/>
                  <a:pt x="2661" y="529"/>
                  <a:pt x="2661" y="530"/>
                </a:cubicBezTo>
                <a:close/>
                <a:moveTo>
                  <a:pt x="2221" y="785"/>
                </a:moveTo>
                <a:cubicBezTo>
                  <a:pt x="2218" y="786"/>
                  <a:pt x="2218" y="786"/>
                  <a:pt x="2218" y="786"/>
                </a:cubicBezTo>
                <a:cubicBezTo>
                  <a:pt x="2219" y="781"/>
                  <a:pt x="2219" y="781"/>
                  <a:pt x="2219" y="781"/>
                </a:cubicBezTo>
                <a:cubicBezTo>
                  <a:pt x="2219" y="781"/>
                  <a:pt x="2216" y="778"/>
                  <a:pt x="2212" y="774"/>
                </a:cubicBezTo>
                <a:cubicBezTo>
                  <a:pt x="2209" y="769"/>
                  <a:pt x="2207" y="768"/>
                  <a:pt x="2203" y="770"/>
                </a:cubicBezTo>
                <a:cubicBezTo>
                  <a:pt x="2203" y="774"/>
                  <a:pt x="2203" y="774"/>
                  <a:pt x="2203" y="774"/>
                </a:cubicBezTo>
                <a:cubicBezTo>
                  <a:pt x="2201" y="774"/>
                  <a:pt x="2201" y="774"/>
                  <a:pt x="2201" y="774"/>
                </a:cubicBezTo>
                <a:cubicBezTo>
                  <a:pt x="2205" y="780"/>
                  <a:pt x="2205" y="780"/>
                  <a:pt x="2205" y="780"/>
                </a:cubicBezTo>
                <a:cubicBezTo>
                  <a:pt x="2205" y="780"/>
                  <a:pt x="2204" y="787"/>
                  <a:pt x="2202" y="788"/>
                </a:cubicBezTo>
                <a:cubicBezTo>
                  <a:pt x="2199" y="790"/>
                  <a:pt x="2200" y="801"/>
                  <a:pt x="2203" y="808"/>
                </a:cubicBezTo>
                <a:cubicBezTo>
                  <a:pt x="2207" y="815"/>
                  <a:pt x="2215" y="810"/>
                  <a:pt x="2221" y="807"/>
                </a:cubicBezTo>
                <a:cubicBezTo>
                  <a:pt x="2228" y="804"/>
                  <a:pt x="2221" y="793"/>
                  <a:pt x="2221" y="793"/>
                </a:cubicBezTo>
                <a:cubicBezTo>
                  <a:pt x="2221" y="785"/>
                  <a:pt x="2221" y="785"/>
                  <a:pt x="2221" y="785"/>
                </a:cubicBezTo>
                <a:cubicBezTo>
                  <a:pt x="2221" y="785"/>
                  <a:pt x="2221" y="785"/>
                  <a:pt x="2221" y="785"/>
                </a:cubicBezTo>
                <a:close/>
                <a:moveTo>
                  <a:pt x="2326" y="756"/>
                </a:moveTo>
                <a:cubicBezTo>
                  <a:pt x="2323" y="756"/>
                  <a:pt x="2326" y="763"/>
                  <a:pt x="2326" y="763"/>
                </a:cubicBezTo>
                <a:cubicBezTo>
                  <a:pt x="2326" y="763"/>
                  <a:pt x="2329" y="756"/>
                  <a:pt x="2326" y="756"/>
                </a:cubicBezTo>
                <a:close/>
                <a:moveTo>
                  <a:pt x="2514" y="690"/>
                </a:moveTo>
                <a:cubicBezTo>
                  <a:pt x="2516" y="692"/>
                  <a:pt x="2518" y="689"/>
                  <a:pt x="2517" y="688"/>
                </a:cubicBezTo>
                <a:cubicBezTo>
                  <a:pt x="2516" y="687"/>
                  <a:pt x="2513" y="690"/>
                  <a:pt x="2514" y="690"/>
                </a:cubicBezTo>
                <a:close/>
                <a:moveTo>
                  <a:pt x="2340" y="795"/>
                </a:moveTo>
                <a:cubicBezTo>
                  <a:pt x="2338" y="795"/>
                  <a:pt x="2339" y="802"/>
                  <a:pt x="2342" y="802"/>
                </a:cubicBezTo>
                <a:cubicBezTo>
                  <a:pt x="2342" y="802"/>
                  <a:pt x="2341" y="795"/>
                  <a:pt x="2340" y="795"/>
                </a:cubicBezTo>
                <a:close/>
                <a:moveTo>
                  <a:pt x="2566" y="260"/>
                </a:moveTo>
                <a:cubicBezTo>
                  <a:pt x="2565" y="262"/>
                  <a:pt x="2567" y="268"/>
                  <a:pt x="2572" y="268"/>
                </a:cubicBezTo>
                <a:cubicBezTo>
                  <a:pt x="2575" y="269"/>
                  <a:pt x="2567" y="259"/>
                  <a:pt x="2566" y="260"/>
                </a:cubicBezTo>
                <a:close/>
                <a:moveTo>
                  <a:pt x="2328" y="722"/>
                </a:moveTo>
                <a:cubicBezTo>
                  <a:pt x="2324" y="723"/>
                  <a:pt x="2325" y="735"/>
                  <a:pt x="2325" y="735"/>
                </a:cubicBezTo>
                <a:cubicBezTo>
                  <a:pt x="2325" y="749"/>
                  <a:pt x="2325" y="749"/>
                  <a:pt x="2325" y="749"/>
                </a:cubicBezTo>
                <a:cubicBezTo>
                  <a:pt x="2328" y="745"/>
                  <a:pt x="2328" y="745"/>
                  <a:pt x="2328" y="745"/>
                </a:cubicBezTo>
                <a:cubicBezTo>
                  <a:pt x="2328" y="731"/>
                  <a:pt x="2328" y="731"/>
                  <a:pt x="2328" y="731"/>
                </a:cubicBezTo>
                <a:cubicBezTo>
                  <a:pt x="2328" y="731"/>
                  <a:pt x="2331" y="722"/>
                  <a:pt x="2328" y="722"/>
                </a:cubicBezTo>
                <a:close/>
                <a:moveTo>
                  <a:pt x="2736" y="373"/>
                </a:moveTo>
                <a:cubicBezTo>
                  <a:pt x="2743" y="369"/>
                  <a:pt x="2743" y="369"/>
                  <a:pt x="2743" y="369"/>
                </a:cubicBezTo>
                <a:cubicBezTo>
                  <a:pt x="2741" y="366"/>
                  <a:pt x="2741" y="366"/>
                  <a:pt x="2741" y="366"/>
                </a:cubicBezTo>
                <a:cubicBezTo>
                  <a:pt x="2741" y="368"/>
                  <a:pt x="2741" y="368"/>
                  <a:pt x="2741" y="368"/>
                </a:cubicBezTo>
                <a:cubicBezTo>
                  <a:pt x="2735" y="368"/>
                  <a:pt x="2735" y="368"/>
                  <a:pt x="2735" y="368"/>
                </a:cubicBezTo>
                <a:cubicBezTo>
                  <a:pt x="2732" y="377"/>
                  <a:pt x="2732" y="377"/>
                  <a:pt x="2732" y="377"/>
                </a:cubicBezTo>
                <a:cubicBezTo>
                  <a:pt x="2734" y="378"/>
                  <a:pt x="2734" y="378"/>
                  <a:pt x="2734" y="378"/>
                </a:cubicBezTo>
                <a:cubicBezTo>
                  <a:pt x="2736" y="373"/>
                  <a:pt x="2736" y="373"/>
                  <a:pt x="2736" y="373"/>
                </a:cubicBezTo>
                <a:cubicBezTo>
                  <a:pt x="2736" y="373"/>
                  <a:pt x="2736" y="373"/>
                  <a:pt x="2736" y="373"/>
                </a:cubicBezTo>
                <a:close/>
                <a:moveTo>
                  <a:pt x="2624" y="279"/>
                </a:moveTo>
                <a:cubicBezTo>
                  <a:pt x="2623" y="280"/>
                  <a:pt x="2620" y="276"/>
                  <a:pt x="2620" y="280"/>
                </a:cubicBezTo>
                <a:cubicBezTo>
                  <a:pt x="2619" y="283"/>
                  <a:pt x="2625" y="289"/>
                  <a:pt x="2625" y="289"/>
                </a:cubicBezTo>
                <a:cubicBezTo>
                  <a:pt x="2625" y="289"/>
                  <a:pt x="2626" y="293"/>
                  <a:pt x="2628" y="294"/>
                </a:cubicBezTo>
                <a:cubicBezTo>
                  <a:pt x="2629" y="296"/>
                  <a:pt x="2639" y="302"/>
                  <a:pt x="2642" y="305"/>
                </a:cubicBezTo>
                <a:cubicBezTo>
                  <a:pt x="2644" y="308"/>
                  <a:pt x="2644" y="312"/>
                  <a:pt x="2646" y="315"/>
                </a:cubicBezTo>
                <a:cubicBezTo>
                  <a:pt x="2649" y="317"/>
                  <a:pt x="2656" y="329"/>
                  <a:pt x="2656" y="329"/>
                </a:cubicBezTo>
                <a:cubicBezTo>
                  <a:pt x="2656" y="329"/>
                  <a:pt x="2657" y="334"/>
                  <a:pt x="2659" y="334"/>
                </a:cubicBezTo>
                <a:cubicBezTo>
                  <a:pt x="2660" y="334"/>
                  <a:pt x="2663" y="336"/>
                  <a:pt x="2664" y="338"/>
                </a:cubicBezTo>
                <a:cubicBezTo>
                  <a:pt x="2666" y="340"/>
                  <a:pt x="2666" y="344"/>
                  <a:pt x="2666" y="344"/>
                </a:cubicBezTo>
                <a:cubicBezTo>
                  <a:pt x="2672" y="349"/>
                  <a:pt x="2672" y="349"/>
                  <a:pt x="2672" y="349"/>
                </a:cubicBezTo>
                <a:cubicBezTo>
                  <a:pt x="2674" y="356"/>
                  <a:pt x="2674" y="356"/>
                  <a:pt x="2674" y="356"/>
                </a:cubicBezTo>
                <a:cubicBezTo>
                  <a:pt x="2679" y="362"/>
                  <a:pt x="2679" y="362"/>
                  <a:pt x="2679" y="362"/>
                </a:cubicBezTo>
                <a:cubicBezTo>
                  <a:pt x="2679" y="362"/>
                  <a:pt x="2676" y="354"/>
                  <a:pt x="2678" y="353"/>
                </a:cubicBezTo>
                <a:cubicBezTo>
                  <a:pt x="2680" y="353"/>
                  <a:pt x="2681" y="355"/>
                  <a:pt x="2681" y="355"/>
                </a:cubicBezTo>
                <a:cubicBezTo>
                  <a:pt x="2685" y="355"/>
                  <a:pt x="2685" y="355"/>
                  <a:pt x="2685" y="355"/>
                </a:cubicBezTo>
                <a:cubicBezTo>
                  <a:pt x="2690" y="360"/>
                  <a:pt x="2690" y="360"/>
                  <a:pt x="2690" y="360"/>
                </a:cubicBezTo>
                <a:cubicBezTo>
                  <a:pt x="2690" y="357"/>
                  <a:pt x="2690" y="357"/>
                  <a:pt x="2690" y="357"/>
                </a:cubicBezTo>
                <a:cubicBezTo>
                  <a:pt x="2686" y="352"/>
                  <a:pt x="2686" y="352"/>
                  <a:pt x="2686" y="352"/>
                </a:cubicBezTo>
                <a:cubicBezTo>
                  <a:pt x="2682" y="352"/>
                  <a:pt x="2682" y="352"/>
                  <a:pt x="2682" y="352"/>
                </a:cubicBezTo>
                <a:cubicBezTo>
                  <a:pt x="2678" y="347"/>
                  <a:pt x="2678" y="347"/>
                  <a:pt x="2678" y="347"/>
                </a:cubicBezTo>
                <a:cubicBezTo>
                  <a:pt x="2678" y="347"/>
                  <a:pt x="2673" y="346"/>
                  <a:pt x="2670" y="342"/>
                </a:cubicBezTo>
                <a:cubicBezTo>
                  <a:pt x="2668" y="338"/>
                  <a:pt x="2666" y="330"/>
                  <a:pt x="2666" y="330"/>
                </a:cubicBezTo>
                <a:cubicBezTo>
                  <a:pt x="2666" y="330"/>
                  <a:pt x="2661" y="327"/>
                  <a:pt x="2664" y="325"/>
                </a:cubicBezTo>
                <a:cubicBezTo>
                  <a:pt x="2666" y="324"/>
                  <a:pt x="2682" y="332"/>
                  <a:pt x="2682" y="332"/>
                </a:cubicBezTo>
                <a:cubicBezTo>
                  <a:pt x="2672" y="324"/>
                  <a:pt x="2672" y="324"/>
                  <a:pt x="2672" y="324"/>
                </a:cubicBezTo>
                <a:cubicBezTo>
                  <a:pt x="2672" y="324"/>
                  <a:pt x="2668" y="318"/>
                  <a:pt x="2666" y="316"/>
                </a:cubicBezTo>
                <a:cubicBezTo>
                  <a:pt x="2664" y="315"/>
                  <a:pt x="2661" y="313"/>
                  <a:pt x="2661" y="313"/>
                </a:cubicBezTo>
                <a:cubicBezTo>
                  <a:pt x="2650" y="301"/>
                  <a:pt x="2650" y="301"/>
                  <a:pt x="2650" y="301"/>
                </a:cubicBezTo>
                <a:cubicBezTo>
                  <a:pt x="2646" y="301"/>
                  <a:pt x="2646" y="301"/>
                  <a:pt x="2646" y="301"/>
                </a:cubicBezTo>
                <a:cubicBezTo>
                  <a:pt x="2645" y="297"/>
                  <a:pt x="2645" y="297"/>
                  <a:pt x="2645" y="297"/>
                </a:cubicBezTo>
                <a:cubicBezTo>
                  <a:pt x="2645" y="297"/>
                  <a:pt x="2643" y="298"/>
                  <a:pt x="2640" y="295"/>
                </a:cubicBezTo>
                <a:cubicBezTo>
                  <a:pt x="2638" y="292"/>
                  <a:pt x="2638" y="289"/>
                  <a:pt x="2638" y="289"/>
                </a:cubicBezTo>
                <a:cubicBezTo>
                  <a:pt x="2634" y="284"/>
                  <a:pt x="2634" y="284"/>
                  <a:pt x="2634" y="284"/>
                </a:cubicBezTo>
                <a:cubicBezTo>
                  <a:pt x="2631" y="284"/>
                  <a:pt x="2631" y="284"/>
                  <a:pt x="2631" y="284"/>
                </a:cubicBezTo>
                <a:cubicBezTo>
                  <a:pt x="2629" y="280"/>
                  <a:pt x="2629" y="280"/>
                  <a:pt x="2629" y="280"/>
                </a:cubicBezTo>
                <a:cubicBezTo>
                  <a:pt x="2624" y="276"/>
                  <a:pt x="2624" y="276"/>
                  <a:pt x="2624" y="276"/>
                </a:cubicBezTo>
                <a:cubicBezTo>
                  <a:pt x="2622" y="273"/>
                  <a:pt x="2622" y="273"/>
                  <a:pt x="2622" y="273"/>
                </a:cubicBezTo>
                <a:cubicBezTo>
                  <a:pt x="2622" y="273"/>
                  <a:pt x="2618" y="270"/>
                  <a:pt x="2617" y="271"/>
                </a:cubicBezTo>
                <a:cubicBezTo>
                  <a:pt x="2615" y="272"/>
                  <a:pt x="2625" y="279"/>
                  <a:pt x="2624" y="279"/>
                </a:cubicBezTo>
                <a:close/>
                <a:moveTo>
                  <a:pt x="2611" y="605"/>
                </a:moveTo>
                <a:cubicBezTo>
                  <a:pt x="2613" y="606"/>
                  <a:pt x="2615" y="602"/>
                  <a:pt x="2612" y="602"/>
                </a:cubicBezTo>
                <a:cubicBezTo>
                  <a:pt x="2609" y="601"/>
                  <a:pt x="2611" y="605"/>
                  <a:pt x="2611" y="605"/>
                </a:cubicBezTo>
                <a:close/>
                <a:moveTo>
                  <a:pt x="2633" y="581"/>
                </a:moveTo>
                <a:cubicBezTo>
                  <a:pt x="2633" y="582"/>
                  <a:pt x="2636" y="582"/>
                  <a:pt x="2636" y="582"/>
                </a:cubicBezTo>
                <a:cubicBezTo>
                  <a:pt x="2637" y="580"/>
                  <a:pt x="2633" y="579"/>
                  <a:pt x="2633" y="581"/>
                </a:cubicBezTo>
                <a:close/>
                <a:moveTo>
                  <a:pt x="2628" y="600"/>
                </a:moveTo>
                <a:cubicBezTo>
                  <a:pt x="2629" y="598"/>
                  <a:pt x="2626" y="598"/>
                  <a:pt x="2626" y="598"/>
                </a:cubicBezTo>
                <a:cubicBezTo>
                  <a:pt x="2624" y="595"/>
                  <a:pt x="2624" y="595"/>
                  <a:pt x="2624" y="595"/>
                </a:cubicBezTo>
                <a:cubicBezTo>
                  <a:pt x="2624" y="597"/>
                  <a:pt x="2624" y="597"/>
                  <a:pt x="2624" y="597"/>
                </a:cubicBezTo>
                <a:cubicBezTo>
                  <a:pt x="2623" y="600"/>
                  <a:pt x="2626" y="601"/>
                  <a:pt x="2628" y="600"/>
                </a:cubicBezTo>
                <a:close/>
                <a:moveTo>
                  <a:pt x="2620" y="603"/>
                </a:moveTo>
                <a:cubicBezTo>
                  <a:pt x="2616" y="601"/>
                  <a:pt x="2616" y="601"/>
                  <a:pt x="2616" y="601"/>
                </a:cubicBezTo>
                <a:cubicBezTo>
                  <a:pt x="2616" y="601"/>
                  <a:pt x="2615" y="604"/>
                  <a:pt x="2615" y="604"/>
                </a:cubicBezTo>
                <a:cubicBezTo>
                  <a:pt x="2616" y="604"/>
                  <a:pt x="2620" y="603"/>
                  <a:pt x="2620" y="603"/>
                </a:cubicBezTo>
                <a:close/>
                <a:moveTo>
                  <a:pt x="2609" y="500"/>
                </a:moveTo>
                <a:cubicBezTo>
                  <a:pt x="2604" y="502"/>
                  <a:pt x="2606" y="504"/>
                  <a:pt x="2609" y="504"/>
                </a:cubicBezTo>
                <a:cubicBezTo>
                  <a:pt x="2613" y="504"/>
                  <a:pt x="2614" y="499"/>
                  <a:pt x="2609" y="500"/>
                </a:cubicBezTo>
                <a:close/>
                <a:moveTo>
                  <a:pt x="2361" y="681"/>
                </a:moveTo>
                <a:cubicBezTo>
                  <a:pt x="2363" y="680"/>
                  <a:pt x="2366" y="686"/>
                  <a:pt x="2366" y="686"/>
                </a:cubicBezTo>
                <a:cubicBezTo>
                  <a:pt x="2366" y="690"/>
                  <a:pt x="2366" y="690"/>
                  <a:pt x="2366" y="690"/>
                </a:cubicBezTo>
                <a:cubicBezTo>
                  <a:pt x="2366" y="690"/>
                  <a:pt x="2370" y="690"/>
                  <a:pt x="2370" y="694"/>
                </a:cubicBezTo>
                <a:cubicBezTo>
                  <a:pt x="2370" y="697"/>
                  <a:pt x="2372" y="700"/>
                  <a:pt x="2372" y="703"/>
                </a:cubicBezTo>
                <a:cubicBezTo>
                  <a:pt x="2373" y="705"/>
                  <a:pt x="2373" y="712"/>
                  <a:pt x="2373" y="712"/>
                </a:cubicBezTo>
                <a:cubicBezTo>
                  <a:pt x="2373" y="712"/>
                  <a:pt x="2374" y="715"/>
                  <a:pt x="2375" y="717"/>
                </a:cubicBezTo>
                <a:cubicBezTo>
                  <a:pt x="2377" y="719"/>
                  <a:pt x="2377" y="721"/>
                  <a:pt x="2377" y="721"/>
                </a:cubicBezTo>
                <a:cubicBezTo>
                  <a:pt x="2383" y="734"/>
                  <a:pt x="2383" y="734"/>
                  <a:pt x="2383" y="734"/>
                </a:cubicBezTo>
                <a:cubicBezTo>
                  <a:pt x="2385" y="740"/>
                  <a:pt x="2385" y="740"/>
                  <a:pt x="2385" y="740"/>
                </a:cubicBezTo>
                <a:cubicBezTo>
                  <a:pt x="2385" y="740"/>
                  <a:pt x="2382" y="740"/>
                  <a:pt x="2382" y="741"/>
                </a:cubicBezTo>
                <a:cubicBezTo>
                  <a:pt x="2382" y="743"/>
                  <a:pt x="2380" y="749"/>
                  <a:pt x="2380" y="749"/>
                </a:cubicBezTo>
                <a:cubicBezTo>
                  <a:pt x="2387" y="746"/>
                  <a:pt x="2387" y="746"/>
                  <a:pt x="2387" y="746"/>
                </a:cubicBezTo>
                <a:cubicBezTo>
                  <a:pt x="2385" y="754"/>
                  <a:pt x="2385" y="754"/>
                  <a:pt x="2385" y="754"/>
                </a:cubicBezTo>
                <a:cubicBezTo>
                  <a:pt x="2385" y="754"/>
                  <a:pt x="2384" y="757"/>
                  <a:pt x="2384" y="759"/>
                </a:cubicBezTo>
                <a:cubicBezTo>
                  <a:pt x="2384" y="762"/>
                  <a:pt x="2386" y="766"/>
                  <a:pt x="2386" y="766"/>
                </a:cubicBezTo>
                <a:cubicBezTo>
                  <a:pt x="2386" y="766"/>
                  <a:pt x="2383" y="773"/>
                  <a:pt x="2383" y="776"/>
                </a:cubicBezTo>
                <a:cubicBezTo>
                  <a:pt x="2383" y="779"/>
                  <a:pt x="2383" y="789"/>
                  <a:pt x="2383" y="789"/>
                </a:cubicBezTo>
                <a:cubicBezTo>
                  <a:pt x="2383" y="789"/>
                  <a:pt x="2385" y="791"/>
                  <a:pt x="2385" y="789"/>
                </a:cubicBezTo>
                <a:cubicBezTo>
                  <a:pt x="2386" y="787"/>
                  <a:pt x="2386" y="782"/>
                  <a:pt x="2387" y="784"/>
                </a:cubicBezTo>
                <a:cubicBezTo>
                  <a:pt x="2387" y="786"/>
                  <a:pt x="2385" y="786"/>
                  <a:pt x="2388" y="787"/>
                </a:cubicBezTo>
                <a:cubicBezTo>
                  <a:pt x="2391" y="787"/>
                  <a:pt x="2393" y="793"/>
                  <a:pt x="2393" y="793"/>
                </a:cubicBezTo>
                <a:cubicBezTo>
                  <a:pt x="2398" y="798"/>
                  <a:pt x="2398" y="798"/>
                  <a:pt x="2398" y="798"/>
                </a:cubicBezTo>
                <a:cubicBezTo>
                  <a:pt x="2398" y="798"/>
                  <a:pt x="2397" y="800"/>
                  <a:pt x="2399" y="803"/>
                </a:cubicBezTo>
                <a:cubicBezTo>
                  <a:pt x="2400" y="805"/>
                  <a:pt x="2402" y="807"/>
                  <a:pt x="2402" y="808"/>
                </a:cubicBezTo>
                <a:cubicBezTo>
                  <a:pt x="2403" y="808"/>
                  <a:pt x="2403" y="808"/>
                  <a:pt x="2403" y="808"/>
                </a:cubicBezTo>
                <a:cubicBezTo>
                  <a:pt x="2404" y="821"/>
                  <a:pt x="2404" y="821"/>
                  <a:pt x="2404" y="821"/>
                </a:cubicBezTo>
                <a:cubicBezTo>
                  <a:pt x="2404" y="821"/>
                  <a:pt x="2410" y="818"/>
                  <a:pt x="2410" y="822"/>
                </a:cubicBezTo>
                <a:cubicBezTo>
                  <a:pt x="2410" y="826"/>
                  <a:pt x="2408" y="831"/>
                  <a:pt x="2411" y="834"/>
                </a:cubicBezTo>
                <a:cubicBezTo>
                  <a:pt x="2413" y="836"/>
                  <a:pt x="2415" y="834"/>
                  <a:pt x="2415" y="834"/>
                </a:cubicBezTo>
                <a:cubicBezTo>
                  <a:pt x="2415" y="834"/>
                  <a:pt x="2414" y="842"/>
                  <a:pt x="2416" y="844"/>
                </a:cubicBezTo>
                <a:cubicBezTo>
                  <a:pt x="2418" y="846"/>
                  <a:pt x="2426" y="851"/>
                  <a:pt x="2426" y="851"/>
                </a:cubicBezTo>
                <a:cubicBezTo>
                  <a:pt x="2426" y="851"/>
                  <a:pt x="2427" y="855"/>
                  <a:pt x="2428" y="856"/>
                </a:cubicBezTo>
                <a:cubicBezTo>
                  <a:pt x="2429" y="856"/>
                  <a:pt x="2434" y="858"/>
                  <a:pt x="2434" y="858"/>
                </a:cubicBezTo>
                <a:cubicBezTo>
                  <a:pt x="2438" y="863"/>
                  <a:pt x="2438" y="863"/>
                  <a:pt x="2438" y="863"/>
                </a:cubicBezTo>
                <a:cubicBezTo>
                  <a:pt x="2445" y="862"/>
                  <a:pt x="2445" y="862"/>
                  <a:pt x="2445" y="862"/>
                </a:cubicBezTo>
                <a:cubicBezTo>
                  <a:pt x="2445" y="862"/>
                  <a:pt x="2446" y="858"/>
                  <a:pt x="2445" y="854"/>
                </a:cubicBezTo>
                <a:cubicBezTo>
                  <a:pt x="2445" y="851"/>
                  <a:pt x="2439" y="847"/>
                  <a:pt x="2438" y="845"/>
                </a:cubicBezTo>
                <a:cubicBezTo>
                  <a:pt x="2438" y="844"/>
                  <a:pt x="2439" y="842"/>
                  <a:pt x="2438" y="840"/>
                </a:cubicBezTo>
                <a:cubicBezTo>
                  <a:pt x="2436" y="838"/>
                  <a:pt x="2438" y="838"/>
                  <a:pt x="2438" y="835"/>
                </a:cubicBezTo>
                <a:cubicBezTo>
                  <a:pt x="2438" y="832"/>
                  <a:pt x="2438" y="824"/>
                  <a:pt x="2437" y="820"/>
                </a:cubicBezTo>
                <a:cubicBezTo>
                  <a:pt x="2437" y="815"/>
                  <a:pt x="2428" y="812"/>
                  <a:pt x="2426" y="810"/>
                </a:cubicBezTo>
                <a:cubicBezTo>
                  <a:pt x="2426" y="809"/>
                  <a:pt x="2425" y="809"/>
                  <a:pt x="2424" y="808"/>
                </a:cubicBezTo>
                <a:cubicBezTo>
                  <a:pt x="2424" y="808"/>
                  <a:pt x="2424" y="808"/>
                  <a:pt x="2424" y="808"/>
                </a:cubicBezTo>
                <a:cubicBezTo>
                  <a:pt x="2422" y="807"/>
                  <a:pt x="2420" y="805"/>
                  <a:pt x="2420" y="805"/>
                </a:cubicBezTo>
                <a:cubicBezTo>
                  <a:pt x="2420" y="805"/>
                  <a:pt x="2419" y="800"/>
                  <a:pt x="2418" y="798"/>
                </a:cubicBezTo>
                <a:cubicBezTo>
                  <a:pt x="2418" y="796"/>
                  <a:pt x="2412" y="800"/>
                  <a:pt x="2410" y="799"/>
                </a:cubicBezTo>
                <a:cubicBezTo>
                  <a:pt x="2409" y="799"/>
                  <a:pt x="2407" y="791"/>
                  <a:pt x="2406" y="791"/>
                </a:cubicBezTo>
                <a:cubicBezTo>
                  <a:pt x="2405" y="792"/>
                  <a:pt x="2406" y="795"/>
                  <a:pt x="2405" y="795"/>
                </a:cubicBezTo>
                <a:cubicBezTo>
                  <a:pt x="2404" y="795"/>
                  <a:pt x="2401" y="790"/>
                  <a:pt x="2402" y="789"/>
                </a:cubicBezTo>
                <a:cubicBezTo>
                  <a:pt x="2404" y="787"/>
                  <a:pt x="2403" y="790"/>
                  <a:pt x="2405" y="789"/>
                </a:cubicBezTo>
                <a:cubicBezTo>
                  <a:pt x="2407" y="789"/>
                  <a:pt x="2403" y="782"/>
                  <a:pt x="2403" y="781"/>
                </a:cubicBezTo>
                <a:cubicBezTo>
                  <a:pt x="2402" y="780"/>
                  <a:pt x="2400" y="780"/>
                  <a:pt x="2400" y="780"/>
                </a:cubicBezTo>
                <a:cubicBezTo>
                  <a:pt x="2400" y="772"/>
                  <a:pt x="2400" y="772"/>
                  <a:pt x="2400" y="772"/>
                </a:cubicBezTo>
                <a:cubicBezTo>
                  <a:pt x="2393" y="775"/>
                  <a:pt x="2393" y="775"/>
                  <a:pt x="2393" y="775"/>
                </a:cubicBezTo>
                <a:cubicBezTo>
                  <a:pt x="2393" y="775"/>
                  <a:pt x="2392" y="762"/>
                  <a:pt x="2392" y="761"/>
                </a:cubicBezTo>
                <a:cubicBezTo>
                  <a:pt x="2392" y="759"/>
                  <a:pt x="2390" y="757"/>
                  <a:pt x="2390" y="757"/>
                </a:cubicBezTo>
                <a:cubicBezTo>
                  <a:pt x="2390" y="757"/>
                  <a:pt x="2394" y="755"/>
                  <a:pt x="2394" y="752"/>
                </a:cubicBezTo>
                <a:cubicBezTo>
                  <a:pt x="2394" y="748"/>
                  <a:pt x="2394" y="743"/>
                  <a:pt x="2394" y="743"/>
                </a:cubicBezTo>
                <a:cubicBezTo>
                  <a:pt x="2394" y="743"/>
                  <a:pt x="2397" y="741"/>
                  <a:pt x="2397" y="736"/>
                </a:cubicBezTo>
                <a:cubicBezTo>
                  <a:pt x="2398" y="731"/>
                  <a:pt x="2396" y="730"/>
                  <a:pt x="2396" y="730"/>
                </a:cubicBezTo>
                <a:cubicBezTo>
                  <a:pt x="2397" y="726"/>
                  <a:pt x="2397" y="726"/>
                  <a:pt x="2397" y="726"/>
                </a:cubicBezTo>
                <a:cubicBezTo>
                  <a:pt x="2398" y="726"/>
                  <a:pt x="2398" y="726"/>
                  <a:pt x="2398" y="726"/>
                </a:cubicBezTo>
                <a:cubicBezTo>
                  <a:pt x="2398" y="726"/>
                  <a:pt x="2399" y="724"/>
                  <a:pt x="2401" y="724"/>
                </a:cubicBezTo>
                <a:cubicBezTo>
                  <a:pt x="2403" y="724"/>
                  <a:pt x="2407" y="727"/>
                  <a:pt x="2407" y="727"/>
                </a:cubicBezTo>
                <a:cubicBezTo>
                  <a:pt x="2406" y="728"/>
                  <a:pt x="2406" y="728"/>
                  <a:pt x="2406" y="728"/>
                </a:cubicBezTo>
                <a:cubicBezTo>
                  <a:pt x="2406" y="728"/>
                  <a:pt x="2405" y="735"/>
                  <a:pt x="2407" y="735"/>
                </a:cubicBezTo>
                <a:cubicBezTo>
                  <a:pt x="2410" y="735"/>
                  <a:pt x="2417" y="732"/>
                  <a:pt x="2417" y="732"/>
                </a:cubicBezTo>
                <a:cubicBezTo>
                  <a:pt x="2421" y="743"/>
                  <a:pt x="2421" y="743"/>
                  <a:pt x="2421" y="743"/>
                </a:cubicBezTo>
                <a:cubicBezTo>
                  <a:pt x="2421" y="743"/>
                  <a:pt x="2422" y="740"/>
                  <a:pt x="2425" y="741"/>
                </a:cubicBezTo>
                <a:cubicBezTo>
                  <a:pt x="2425" y="742"/>
                  <a:pt x="2426" y="742"/>
                  <a:pt x="2427" y="743"/>
                </a:cubicBezTo>
                <a:cubicBezTo>
                  <a:pt x="2430" y="746"/>
                  <a:pt x="2427" y="749"/>
                  <a:pt x="2427" y="749"/>
                </a:cubicBezTo>
                <a:cubicBezTo>
                  <a:pt x="2427" y="749"/>
                  <a:pt x="2429" y="753"/>
                  <a:pt x="2431" y="754"/>
                </a:cubicBezTo>
                <a:cubicBezTo>
                  <a:pt x="2433" y="754"/>
                  <a:pt x="2434" y="751"/>
                  <a:pt x="2434" y="751"/>
                </a:cubicBezTo>
                <a:cubicBezTo>
                  <a:pt x="2434" y="751"/>
                  <a:pt x="2433" y="756"/>
                  <a:pt x="2435" y="756"/>
                </a:cubicBezTo>
                <a:cubicBezTo>
                  <a:pt x="2438" y="757"/>
                  <a:pt x="2440" y="755"/>
                  <a:pt x="2440" y="757"/>
                </a:cubicBezTo>
                <a:cubicBezTo>
                  <a:pt x="2440" y="758"/>
                  <a:pt x="2441" y="759"/>
                  <a:pt x="2442" y="760"/>
                </a:cubicBezTo>
                <a:cubicBezTo>
                  <a:pt x="2444" y="761"/>
                  <a:pt x="2444" y="761"/>
                  <a:pt x="2444" y="761"/>
                </a:cubicBezTo>
                <a:cubicBezTo>
                  <a:pt x="2444" y="761"/>
                  <a:pt x="2444" y="761"/>
                  <a:pt x="2444" y="762"/>
                </a:cubicBezTo>
                <a:cubicBezTo>
                  <a:pt x="2446" y="763"/>
                  <a:pt x="2451" y="766"/>
                  <a:pt x="2451" y="766"/>
                </a:cubicBezTo>
                <a:cubicBezTo>
                  <a:pt x="2448" y="768"/>
                  <a:pt x="2448" y="768"/>
                  <a:pt x="2448" y="768"/>
                </a:cubicBezTo>
                <a:cubicBezTo>
                  <a:pt x="2448" y="768"/>
                  <a:pt x="2451" y="776"/>
                  <a:pt x="2449" y="777"/>
                </a:cubicBezTo>
                <a:cubicBezTo>
                  <a:pt x="2448" y="777"/>
                  <a:pt x="2448" y="779"/>
                  <a:pt x="2447" y="780"/>
                </a:cubicBezTo>
                <a:cubicBezTo>
                  <a:pt x="2448" y="780"/>
                  <a:pt x="2448" y="780"/>
                  <a:pt x="2448" y="780"/>
                </a:cubicBezTo>
                <a:cubicBezTo>
                  <a:pt x="2449" y="781"/>
                  <a:pt x="2452" y="781"/>
                  <a:pt x="2454" y="778"/>
                </a:cubicBezTo>
                <a:cubicBezTo>
                  <a:pt x="2457" y="776"/>
                  <a:pt x="2460" y="775"/>
                  <a:pt x="2460" y="775"/>
                </a:cubicBezTo>
                <a:cubicBezTo>
                  <a:pt x="2460" y="772"/>
                  <a:pt x="2460" y="772"/>
                  <a:pt x="2460" y="772"/>
                </a:cubicBezTo>
                <a:cubicBezTo>
                  <a:pt x="2460" y="769"/>
                  <a:pt x="2460" y="769"/>
                  <a:pt x="2460" y="769"/>
                </a:cubicBezTo>
                <a:cubicBezTo>
                  <a:pt x="2460" y="769"/>
                  <a:pt x="2465" y="771"/>
                  <a:pt x="2466" y="768"/>
                </a:cubicBezTo>
                <a:cubicBezTo>
                  <a:pt x="2467" y="766"/>
                  <a:pt x="2463" y="763"/>
                  <a:pt x="2464" y="763"/>
                </a:cubicBezTo>
                <a:cubicBezTo>
                  <a:pt x="2465" y="762"/>
                  <a:pt x="2470" y="760"/>
                  <a:pt x="2470" y="760"/>
                </a:cubicBezTo>
                <a:cubicBezTo>
                  <a:pt x="2470" y="760"/>
                  <a:pt x="2472" y="762"/>
                  <a:pt x="2477" y="759"/>
                </a:cubicBezTo>
                <a:cubicBezTo>
                  <a:pt x="2481" y="757"/>
                  <a:pt x="2488" y="752"/>
                  <a:pt x="2489" y="748"/>
                </a:cubicBezTo>
                <a:cubicBezTo>
                  <a:pt x="2489" y="745"/>
                  <a:pt x="2492" y="735"/>
                  <a:pt x="2492" y="733"/>
                </a:cubicBezTo>
                <a:cubicBezTo>
                  <a:pt x="2491" y="731"/>
                  <a:pt x="2487" y="727"/>
                  <a:pt x="2487" y="727"/>
                </a:cubicBezTo>
                <a:cubicBezTo>
                  <a:pt x="2489" y="727"/>
                  <a:pt x="2489" y="727"/>
                  <a:pt x="2489" y="727"/>
                </a:cubicBezTo>
                <a:cubicBezTo>
                  <a:pt x="2489" y="727"/>
                  <a:pt x="2489" y="719"/>
                  <a:pt x="2488" y="716"/>
                </a:cubicBezTo>
                <a:cubicBezTo>
                  <a:pt x="2487" y="713"/>
                  <a:pt x="2484" y="708"/>
                  <a:pt x="2484" y="708"/>
                </a:cubicBezTo>
                <a:cubicBezTo>
                  <a:pt x="2484" y="708"/>
                  <a:pt x="2486" y="705"/>
                  <a:pt x="2483" y="702"/>
                </a:cubicBezTo>
                <a:cubicBezTo>
                  <a:pt x="2479" y="699"/>
                  <a:pt x="2470" y="690"/>
                  <a:pt x="2467" y="689"/>
                </a:cubicBezTo>
                <a:cubicBezTo>
                  <a:pt x="2464" y="687"/>
                  <a:pt x="2461" y="686"/>
                  <a:pt x="2460" y="684"/>
                </a:cubicBezTo>
                <a:cubicBezTo>
                  <a:pt x="2460" y="683"/>
                  <a:pt x="2461" y="681"/>
                  <a:pt x="2460" y="679"/>
                </a:cubicBezTo>
                <a:cubicBezTo>
                  <a:pt x="2459" y="677"/>
                  <a:pt x="2449" y="669"/>
                  <a:pt x="2447" y="664"/>
                </a:cubicBezTo>
                <a:cubicBezTo>
                  <a:pt x="2446" y="659"/>
                  <a:pt x="2445" y="653"/>
                  <a:pt x="2446" y="652"/>
                </a:cubicBezTo>
                <a:cubicBezTo>
                  <a:pt x="2448" y="651"/>
                  <a:pt x="2448" y="648"/>
                  <a:pt x="2448" y="648"/>
                </a:cubicBezTo>
                <a:cubicBezTo>
                  <a:pt x="2448" y="648"/>
                  <a:pt x="2452" y="645"/>
                  <a:pt x="2453" y="645"/>
                </a:cubicBezTo>
                <a:cubicBezTo>
                  <a:pt x="2454" y="644"/>
                  <a:pt x="2455" y="642"/>
                  <a:pt x="2455" y="642"/>
                </a:cubicBezTo>
                <a:cubicBezTo>
                  <a:pt x="2455" y="642"/>
                  <a:pt x="2459" y="642"/>
                  <a:pt x="2460" y="641"/>
                </a:cubicBezTo>
                <a:cubicBezTo>
                  <a:pt x="2461" y="640"/>
                  <a:pt x="2461" y="636"/>
                  <a:pt x="2461" y="636"/>
                </a:cubicBezTo>
                <a:cubicBezTo>
                  <a:pt x="2462" y="635"/>
                  <a:pt x="2462" y="635"/>
                  <a:pt x="2462" y="635"/>
                </a:cubicBezTo>
                <a:cubicBezTo>
                  <a:pt x="2469" y="631"/>
                  <a:pt x="2469" y="631"/>
                  <a:pt x="2469" y="631"/>
                </a:cubicBezTo>
                <a:cubicBezTo>
                  <a:pt x="2471" y="632"/>
                  <a:pt x="2471" y="632"/>
                  <a:pt x="2471" y="632"/>
                </a:cubicBezTo>
                <a:cubicBezTo>
                  <a:pt x="2471" y="632"/>
                  <a:pt x="2480" y="632"/>
                  <a:pt x="2482" y="635"/>
                </a:cubicBezTo>
                <a:cubicBezTo>
                  <a:pt x="2483" y="637"/>
                  <a:pt x="2480" y="642"/>
                  <a:pt x="2481" y="644"/>
                </a:cubicBezTo>
                <a:cubicBezTo>
                  <a:pt x="2483" y="646"/>
                  <a:pt x="2487" y="649"/>
                  <a:pt x="2487" y="649"/>
                </a:cubicBezTo>
                <a:cubicBezTo>
                  <a:pt x="2490" y="649"/>
                  <a:pt x="2490" y="649"/>
                  <a:pt x="2490" y="649"/>
                </a:cubicBezTo>
                <a:cubicBezTo>
                  <a:pt x="2490" y="646"/>
                  <a:pt x="2490" y="646"/>
                  <a:pt x="2490" y="646"/>
                </a:cubicBezTo>
                <a:cubicBezTo>
                  <a:pt x="2490" y="646"/>
                  <a:pt x="2488" y="640"/>
                  <a:pt x="2491" y="636"/>
                </a:cubicBezTo>
                <a:cubicBezTo>
                  <a:pt x="2493" y="633"/>
                  <a:pt x="2499" y="633"/>
                  <a:pt x="2502" y="633"/>
                </a:cubicBezTo>
                <a:cubicBezTo>
                  <a:pt x="2504" y="632"/>
                  <a:pt x="2513" y="630"/>
                  <a:pt x="2513" y="628"/>
                </a:cubicBezTo>
                <a:cubicBezTo>
                  <a:pt x="2514" y="626"/>
                  <a:pt x="2514" y="620"/>
                  <a:pt x="2516" y="619"/>
                </a:cubicBezTo>
                <a:cubicBezTo>
                  <a:pt x="2517" y="619"/>
                  <a:pt x="2519" y="626"/>
                  <a:pt x="2521" y="625"/>
                </a:cubicBezTo>
                <a:cubicBezTo>
                  <a:pt x="2523" y="624"/>
                  <a:pt x="2527" y="618"/>
                  <a:pt x="2527" y="618"/>
                </a:cubicBezTo>
                <a:cubicBezTo>
                  <a:pt x="2529" y="620"/>
                  <a:pt x="2529" y="620"/>
                  <a:pt x="2529" y="620"/>
                </a:cubicBezTo>
                <a:cubicBezTo>
                  <a:pt x="2534" y="619"/>
                  <a:pt x="2534" y="619"/>
                  <a:pt x="2534" y="619"/>
                </a:cubicBezTo>
                <a:cubicBezTo>
                  <a:pt x="2534" y="619"/>
                  <a:pt x="2539" y="620"/>
                  <a:pt x="2542" y="619"/>
                </a:cubicBezTo>
                <a:cubicBezTo>
                  <a:pt x="2544" y="617"/>
                  <a:pt x="2546" y="617"/>
                  <a:pt x="2547" y="615"/>
                </a:cubicBezTo>
                <a:cubicBezTo>
                  <a:pt x="2548" y="614"/>
                  <a:pt x="2554" y="609"/>
                  <a:pt x="2555" y="607"/>
                </a:cubicBezTo>
                <a:cubicBezTo>
                  <a:pt x="2556" y="605"/>
                  <a:pt x="2553" y="601"/>
                  <a:pt x="2553" y="601"/>
                </a:cubicBezTo>
                <a:cubicBezTo>
                  <a:pt x="2556" y="601"/>
                  <a:pt x="2556" y="601"/>
                  <a:pt x="2556" y="601"/>
                </a:cubicBezTo>
                <a:cubicBezTo>
                  <a:pt x="2557" y="597"/>
                  <a:pt x="2557" y="597"/>
                  <a:pt x="2557" y="597"/>
                </a:cubicBezTo>
                <a:cubicBezTo>
                  <a:pt x="2561" y="597"/>
                  <a:pt x="2561" y="597"/>
                  <a:pt x="2561" y="597"/>
                </a:cubicBezTo>
                <a:cubicBezTo>
                  <a:pt x="2562" y="592"/>
                  <a:pt x="2562" y="592"/>
                  <a:pt x="2562" y="592"/>
                </a:cubicBezTo>
                <a:cubicBezTo>
                  <a:pt x="2564" y="592"/>
                  <a:pt x="2564" y="592"/>
                  <a:pt x="2564" y="592"/>
                </a:cubicBezTo>
                <a:cubicBezTo>
                  <a:pt x="2565" y="586"/>
                  <a:pt x="2565" y="586"/>
                  <a:pt x="2565" y="586"/>
                </a:cubicBezTo>
                <a:cubicBezTo>
                  <a:pt x="2565" y="586"/>
                  <a:pt x="2567" y="587"/>
                  <a:pt x="2567" y="582"/>
                </a:cubicBezTo>
                <a:cubicBezTo>
                  <a:pt x="2567" y="578"/>
                  <a:pt x="2565" y="578"/>
                  <a:pt x="2566" y="577"/>
                </a:cubicBezTo>
                <a:cubicBezTo>
                  <a:pt x="2567" y="575"/>
                  <a:pt x="2571" y="576"/>
                  <a:pt x="2571" y="572"/>
                </a:cubicBezTo>
                <a:cubicBezTo>
                  <a:pt x="2571" y="568"/>
                  <a:pt x="2568" y="568"/>
                  <a:pt x="2569" y="567"/>
                </a:cubicBezTo>
                <a:cubicBezTo>
                  <a:pt x="2569" y="565"/>
                  <a:pt x="2571" y="564"/>
                  <a:pt x="2571" y="564"/>
                </a:cubicBezTo>
                <a:cubicBezTo>
                  <a:pt x="2571" y="559"/>
                  <a:pt x="2571" y="559"/>
                  <a:pt x="2571" y="559"/>
                </a:cubicBezTo>
                <a:cubicBezTo>
                  <a:pt x="2571" y="559"/>
                  <a:pt x="2577" y="557"/>
                  <a:pt x="2578" y="554"/>
                </a:cubicBezTo>
                <a:cubicBezTo>
                  <a:pt x="2580" y="551"/>
                  <a:pt x="2576" y="550"/>
                  <a:pt x="2576" y="550"/>
                </a:cubicBezTo>
                <a:cubicBezTo>
                  <a:pt x="2576" y="550"/>
                  <a:pt x="2583" y="549"/>
                  <a:pt x="2583" y="547"/>
                </a:cubicBezTo>
                <a:cubicBezTo>
                  <a:pt x="2583" y="546"/>
                  <a:pt x="2579" y="545"/>
                  <a:pt x="2579" y="545"/>
                </a:cubicBezTo>
                <a:cubicBezTo>
                  <a:pt x="2579" y="545"/>
                  <a:pt x="2587" y="537"/>
                  <a:pt x="2583" y="535"/>
                </a:cubicBezTo>
                <a:cubicBezTo>
                  <a:pt x="2580" y="533"/>
                  <a:pt x="2563" y="538"/>
                  <a:pt x="2563" y="538"/>
                </a:cubicBezTo>
                <a:cubicBezTo>
                  <a:pt x="2561" y="536"/>
                  <a:pt x="2561" y="536"/>
                  <a:pt x="2561" y="536"/>
                </a:cubicBezTo>
                <a:cubicBezTo>
                  <a:pt x="2566" y="536"/>
                  <a:pt x="2566" y="536"/>
                  <a:pt x="2566" y="536"/>
                </a:cubicBezTo>
                <a:cubicBezTo>
                  <a:pt x="2566" y="536"/>
                  <a:pt x="2566" y="532"/>
                  <a:pt x="2568" y="532"/>
                </a:cubicBezTo>
                <a:cubicBezTo>
                  <a:pt x="2570" y="531"/>
                  <a:pt x="2574" y="530"/>
                  <a:pt x="2574" y="530"/>
                </a:cubicBezTo>
                <a:cubicBezTo>
                  <a:pt x="2574" y="530"/>
                  <a:pt x="2572" y="525"/>
                  <a:pt x="2571" y="525"/>
                </a:cubicBezTo>
                <a:cubicBezTo>
                  <a:pt x="2570" y="525"/>
                  <a:pt x="2565" y="524"/>
                  <a:pt x="2565" y="524"/>
                </a:cubicBezTo>
                <a:cubicBezTo>
                  <a:pt x="2563" y="521"/>
                  <a:pt x="2563" y="521"/>
                  <a:pt x="2563" y="521"/>
                </a:cubicBezTo>
                <a:cubicBezTo>
                  <a:pt x="2562" y="522"/>
                  <a:pt x="2562" y="522"/>
                  <a:pt x="2562" y="522"/>
                </a:cubicBezTo>
                <a:cubicBezTo>
                  <a:pt x="2562" y="522"/>
                  <a:pt x="2560" y="519"/>
                  <a:pt x="2558" y="519"/>
                </a:cubicBezTo>
                <a:cubicBezTo>
                  <a:pt x="2557" y="519"/>
                  <a:pt x="2553" y="520"/>
                  <a:pt x="2553" y="520"/>
                </a:cubicBezTo>
                <a:cubicBezTo>
                  <a:pt x="2548" y="513"/>
                  <a:pt x="2548" y="513"/>
                  <a:pt x="2548" y="513"/>
                </a:cubicBezTo>
                <a:cubicBezTo>
                  <a:pt x="2548" y="513"/>
                  <a:pt x="2553" y="518"/>
                  <a:pt x="2554" y="517"/>
                </a:cubicBezTo>
                <a:cubicBezTo>
                  <a:pt x="2555" y="517"/>
                  <a:pt x="2557" y="516"/>
                  <a:pt x="2557" y="516"/>
                </a:cubicBezTo>
                <a:cubicBezTo>
                  <a:pt x="2561" y="517"/>
                  <a:pt x="2561" y="517"/>
                  <a:pt x="2561" y="517"/>
                </a:cubicBezTo>
                <a:cubicBezTo>
                  <a:pt x="2563" y="519"/>
                  <a:pt x="2563" y="519"/>
                  <a:pt x="2563" y="519"/>
                </a:cubicBezTo>
                <a:cubicBezTo>
                  <a:pt x="2565" y="519"/>
                  <a:pt x="2565" y="519"/>
                  <a:pt x="2565" y="519"/>
                </a:cubicBezTo>
                <a:cubicBezTo>
                  <a:pt x="2571" y="521"/>
                  <a:pt x="2571" y="521"/>
                  <a:pt x="2571" y="521"/>
                </a:cubicBezTo>
                <a:cubicBezTo>
                  <a:pt x="2568" y="517"/>
                  <a:pt x="2568" y="517"/>
                  <a:pt x="2568" y="517"/>
                </a:cubicBezTo>
                <a:cubicBezTo>
                  <a:pt x="2566" y="517"/>
                  <a:pt x="2566" y="517"/>
                  <a:pt x="2566" y="517"/>
                </a:cubicBezTo>
                <a:cubicBezTo>
                  <a:pt x="2566" y="517"/>
                  <a:pt x="2566" y="512"/>
                  <a:pt x="2564" y="512"/>
                </a:cubicBezTo>
                <a:cubicBezTo>
                  <a:pt x="2562" y="512"/>
                  <a:pt x="2560" y="511"/>
                  <a:pt x="2559" y="510"/>
                </a:cubicBezTo>
                <a:cubicBezTo>
                  <a:pt x="2558" y="509"/>
                  <a:pt x="2557" y="505"/>
                  <a:pt x="2557" y="505"/>
                </a:cubicBezTo>
                <a:cubicBezTo>
                  <a:pt x="2546" y="492"/>
                  <a:pt x="2546" y="492"/>
                  <a:pt x="2546" y="492"/>
                </a:cubicBezTo>
                <a:cubicBezTo>
                  <a:pt x="2542" y="490"/>
                  <a:pt x="2542" y="490"/>
                  <a:pt x="2542" y="490"/>
                </a:cubicBezTo>
                <a:cubicBezTo>
                  <a:pt x="2537" y="487"/>
                  <a:pt x="2537" y="487"/>
                  <a:pt x="2537" y="487"/>
                </a:cubicBezTo>
                <a:cubicBezTo>
                  <a:pt x="2534" y="487"/>
                  <a:pt x="2534" y="487"/>
                  <a:pt x="2534" y="487"/>
                </a:cubicBezTo>
                <a:cubicBezTo>
                  <a:pt x="2534" y="487"/>
                  <a:pt x="2531" y="482"/>
                  <a:pt x="2532" y="481"/>
                </a:cubicBezTo>
                <a:cubicBezTo>
                  <a:pt x="2533" y="480"/>
                  <a:pt x="2537" y="478"/>
                  <a:pt x="2537" y="476"/>
                </a:cubicBezTo>
                <a:cubicBezTo>
                  <a:pt x="2537" y="474"/>
                  <a:pt x="2536" y="470"/>
                  <a:pt x="2536" y="470"/>
                </a:cubicBezTo>
                <a:cubicBezTo>
                  <a:pt x="2536" y="470"/>
                  <a:pt x="2539" y="474"/>
                  <a:pt x="2541" y="472"/>
                </a:cubicBezTo>
                <a:cubicBezTo>
                  <a:pt x="2543" y="471"/>
                  <a:pt x="2541" y="465"/>
                  <a:pt x="2541" y="465"/>
                </a:cubicBezTo>
                <a:cubicBezTo>
                  <a:pt x="2544" y="466"/>
                  <a:pt x="2544" y="466"/>
                  <a:pt x="2544" y="466"/>
                </a:cubicBezTo>
                <a:cubicBezTo>
                  <a:pt x="2549" y="462"/>
                  <a:pt x="2549" y="462"/>
                  <a:pt x="2549" y="462"/>
                </a:cubicBezTo>
                <a:cubicBezTo>
                  <a:pt x="2549" y="462"/>
                  <a:pt x="2553" y="463"/>
                  <a:pt x="2554" y="463"/>
                </a:cubicBezTo>
                <a:cubicBezTo>
                  <a:pt x="2555" y="463"/>
                  <a:pt x="2553" y="460"/>
                  <a:pt x="2553" y="460"/>
                </a:cubicBezTo>
                <a:cubicBezTo>
                  <a:pt x="2554" y="456"/>
                  <a:pt x="2554" y="456"/>
                  <a:pt x="2554" y="456"/>
                </a:cubicBezTo>
                <a:cubicBezTo>
                  <a:pt x="2550" y="456"/>
                  <a:pt x="2550" y="456"/>
                  <a:pt x="2550" y="456"/>
                </a:cubicBezTo>
                <a:cubicBezTo>
                  <a:pt x="2548" y="455"/>
                  <a:pt x="2548" y="455"/>
                  <a:pt x="2548" y="455"/>
                </a:cubicBezTo>
                <a:cubicBezTo>
                  <a:pt x="2547" y="456"/>
                  <a:pt x="2547" y="456"/>
                  <a:pt x="2547" y="456"/>
                </a:cubicBezTo>
                <a:cubicBezTo>
                  <a:pt x="2543" y="456"/>
                  <a:pt x="2543" y="456"/>
                  <a:pt x="2543" y="456"/>
                </a:cubicBezTo>
                <a:cubicBezTo>
                  <a:pt x="2543" y="456"/>
                  <a:pt x="2539" y="452"/>
                  <a:pt x="2537" y="452"/>
                </a:cubicBezTo>
                <a:cubicBezTo>
                  <a:pt x="2534" y="452"/>
                  <a:pt x="2530" y="457"/>
                  <a:pt x="2530" y="458"/>
                </a:cubicBezTo>
                <a:cubicBezTo>
                  <a:pt x="2530" y="459"/>
                  <a:pt x="2529" y="461"/>
                  <a:pt x="2527" y="460"/>
                </a:cubicBezTo>
                <a:cubicBezTo>
                  <a:pt x="2525" y="460"/>
                  <a:pt x="2520" y="459"/>
                  <a:pt x="2520" y="456"/>
                </a:cubicBezTo>
                <a:cubicBezTo>
                  <a:pt x="2519" y="453"/>
                  <a:pt x="2517" y="449"/>
                  <a:pt x="2516" y="449"/>
                </a:cubicBezTo>
                <a:cubicBezTo>
                  <a:pt x="2515" y="448"/>
                  <a:pt x="2514" y="449"/>
                  <a:pt x="2514" y="449"/>
                </a:cubicBezTo>
                <a:cubicBezTo>
                  <a:pt x="2514" y="451"/>
                  <a:pt x="2514" y="451"/>
                  <a:pt x="2514" y="451"/>
                </a:cubicBezTo>
                <a:cubicBezTo>
                  <a:pt x="2512" y="449"/>
                  <a:pt x="2512" y="449"/>
                  <a:pt x="2512" y="449"/>
                </a:cubicBezTo>
                <a:cubicBezTo>
                  <a:pt x="2512" y="449"/>
                  <a:pt x="2507" y="449"/>
                  <a:pt x="2505" y="447"/>
                </a:cubicBezTo>
                <a:cubicBezTo>
                  <a:pt x="2503" y="445"/>
                  <a:pt x="2501" y="441"/>
                  <a:pt x="2501" y="440"/>
                </a:cubicBezTo>
                <a:cubicBezTo>
                  <a:pt x="2502" y="439"/>
                  <a:pt x="2502" y="437"/>
                  <a:pt x="2502" y="437"/>
                </a:cubicBezTo>
                <a:cubicBezTo>
                  <a:pt x="2504" y="437"/>
                  <a:pt x="2504" y="437"/>
                  <a:pt x="2504" y="437"/>
                </a:cubicBezTo>
                <a:cubicBezTo>
                  <a:pt x="2504" y="437"/>
                  <a:pt x="2505" y="438"/>
                  <a:pt x="2506" y="438"/>
                </a:cubicBezTo>
                <a:cubicBezTo>
                  <a:pt x="2507" y="438"/>
                  <a:pt x="2508" y="436"/>
                  <a:pt x="2508" y="436"/>
                </a:cubicBezTo>
                <a:cubicBezTo>
                  <a:pt x="2508" y="436"/>
                  <a:pt x="2511" y="438"/>
                  <a:pt x="2513" y="436"/>
                </a:cubicBezTo>
                <a:cubicBezTo>
                  <a:pt x="2515" y="435"/>
                  <a:pt x="2513" y="433"/>
                  <a:pt x="2513" y="433"/>
                </a:cubicBezTo>
                <a:cubicBezTo>
                  <a:pt x="2513" y="433"/>
                  <a:pt x="2513" y="428"/>
                  <a:pt x="2514" y="427"/>
                </a:cubicBezTo>
                <a:cubicBezTo>
                  <a:pt x="2515" y="426"/>
                  <a:pt x="2519" y="428"/>
                  <a:pt x="2520" y="426"/>
                </a:cubicBezTo>
                <a:cubicBezTo>
                  <a:pt x="2521" y="423"/>
                  <a:pt x="2521" y="421"/>
                  <a:pt x="2521" y="421"/>
                </a:cubicBezTo>
                <a:cubicBezTo>
                  <a:pt x="2524" y="419"/>
                  <a:pt x="2524" y="419"/>
                  <a:pt x="2524" y="419"/>
                </a:cubicBezTo>
                <a:cubicBezTo>
                  <a:pt x="2522" y="418"/>
                  <a:pt x="2522" y="418"/>
                  <a:pt x="2522" y="418"/>
                </a:cubicBezTo>
                <a:cubicBezTo>
                  <a:pt x="2528" y="419"/>
                  <a:pt x="2528" y="419"/>
                  <a:pt x="2528" y="419"/>
                </a:cubicBezTo>
                <a:cubicBezTo>
                  <a:pt x="2530" y="417"/>
                  <a:pt x="2530" y="417"/>
                  <a:pt x="2530" y="417"/>
                </a:cubicBezTo>
                <a:cubicBezTo>
                  <a:pt x="2530" y="417"/>
                  <a:pt x="2536" y="422"/>
                  <a:pt x="2536" y="425"/>
                </a:cubicBezTo>
                <a:cubicBezTo>
                  <a:pt x="2535" y="428"/>
                  <a:pt x="2532" y="428"/>
                  <a:pt x="2531" y="430"/>
                </a:cubicBezTo>
                <a:cubicBezTo>
                  <a:pt x="2531" y="432"/>
                  <a:pt x="2532" y="435"/>
                  <a:pt x="2534" y="435"/>
                </a:cubicBezTo>
                <a:cubicBezTo>
                  <a:pt x="2535" y="435"/>
                  <a:pt x="2537" y="434"/>
                  <a:pt x="2537" y="434"/>
                </a:cubicBezTo>
                <a:cubicBezTo>
                  <a:pt x="2536" y="438"/>
                  <a:pt x="2536" y="438"/>
                  <a:pt x="2536" y="438"/>
                </a:cubicBezTo>
                <a:cubicBezTo>
                  <a:pt x="2536" y="438"/>
                  <a:pt x="2532" y="442"/>
                  <a:pt x="2534" y="442"/>
                </a:cubicBezTo>
                <a:cubicBezTo>
                  <a:pt x="2536" y="443"/>
                  <a:pt x="2539" y="440"/>
                  <a:pt x="2539" y="440"/>
                </a:cubicBezTo>
                <a:cubicBezTo>
                  <a:pt x="2539" y="440"/>
                  <a:pt x="2540" y="440"/>
                  <a:pt x="2541" y="439"/>
                </a:cubicBezTo>
                <a:cubicBezTo>
                  <a:pt x="2542" y="438"/>
                  <a:pt x="2542" y="435"/>
                  <a:pt x="2542" y="435"/>
                </a:cubicBezTo>
                <a:cubicBezTo>
                  <a:pt x="2542" y="435"/>
                  <a:pt x="2550" y="430"/>
                  <a:pt x="2551" y="430"/>
                </a:cubicBezTo>
                <a:cubicBezTo>
                  <a:pt x="2552" y="429"/>
                  <a:pt x="2556" y="429"/>
                  <a:pt x="2556" y="429"/>
                </a:cubicBezTo>
                <a:cubicBezTo>
                  <a:pt x="2558" y="427"/>
                  <a:pt x="2558" y="427"/>
                  <a:pt x="2558" y="427"/>
                </a:cubicBezTo>
                <a:cubicBezTo>
                  <a:pt x="2559" y="430"/>
                  <a:pt x="2559" y="430"/>
                  <a:pt x="2559" y="430"/>
                </a:cubicBezTo>
                <a:cubicBezTo>
                  <a:pt x="2562" y="433"/>
                  <a:pt x="2562" y="433"/>
                  <a:pt x="2562" y="433"/>
                </a:cubicBezTo>
                <a:cubicBezTo>
                  <a:pt x="2563" y="430"/>
                  <a:pt x="2563" y="430"/>
                  <a:pt x="2563" y="430"/>
                </a:cubicBezTo>
                <a:cubicBezTo>
                  <a:pt x="2563" y="430"/>
                  <a:pt x="2565" y="433"/>
                  <a:pt x="2566" y="433"/>
                </a:cubicBezTo>
                <a:cubicBezTo>
                  <a:pt x="2567" y="433"/>
                  <a:pt x="2569" y="432"/>
                  <a:pt x="2570" y="433"/>
                </a:cubicBezTo>
                <a:cubicBezTo>
                  <a:pt x="2570" y="434"/>
                  <a:pt x="2570" y="442"/>
                  <a:pt x="2570" y="442"/>
                </a:cubicBezTo>
                <a:cubicBezTo>
                  <a:pt x="2576" y="442"/>
                  <a:pt x="2576" y="442"/>
                  <a:pt x="2576" y="442"/>
                </a:cubicBezTo>
                <a:cubicBezTo>
                  <a:pt x="2576" y="444"/>
                  <a:pt x="2576" y="444"/>
                  <a:pt x="2576" y="444"/>
                </a:cubicBezTo>
                <a:cubicBezTo>
                  <a:pt x="2576" y="444"/>
                  <a:pt x="2571" y="441"/>
                  <a:pt x="2571" y="444"/>
                </a:cubicBezTo>
                <a:cubicBezTo>
                  <a:pt x="2570" y="447"/>
                  <a:pt x="2573" y="450"/>
                  <a:pt x="2573" y="450"/>
                </a:cubicBezTo>
                <a:cubicBezTo>
                  <a:pt x="2574" y="452"/>
                  <a:pt x="2574" y="452"/>
                  <a:pt x="2574" y="452"/>
                </a:cubicBezTo>
                <a:cubicBezTo>
                  <a:pt x="2578" y="451"/>
                  <a:pt x="2578" y="451"/>
                  <a:pt x="2578" y="451"/>
                </a:cubicBezTo>
                <a:cubicBezTo>
                  <a:pt x="2578" y="451"/>
                  <a:pt x="2583" y="454"/>
                  <a:pt x="2584" y="453"/>
                </a:cubicBezTo>
                <a:cubicBezTo>
                  <a:pt x="2586" y="453"/>
                  <a:pt x="2588" y="452"/>
                  <a:pt x="2588" y="452"/>
                </a:cubicBezTo>
                <a:cubicBezTo>
                  <a:pt x="2588" y="452"/>
                  <a:pt x="2588" y="455"/>
                  <a:pt x="2590" y="456"/>
                </a:cubicBezTo>
                <a:cubicBezTo>
                  <a:pt x="2591" y="457"/>
                  <a:pt x="2594" y="458"/>
                  <a:pt x="2594" y="458"/>
                </a:cubicBezTo>
                <a:cubicBezTo>
                  <a:pt x="2597" y="463"/>
                  <a:pt x="2597" y="463"/>
                  <a:pt x="2597" y="463"/>
                </a:cubicBezTo>
                <a:cubicBezTo>
                  <a:pt x="2597" y="463"/>
                  <a:pt x="2590" y="460"/>
                  <a:pt x="2589" y="461"/>
                </a:cubicBezTo>
                <a:cubicBezTo>
                  <a:pt x="2589" y="463"/>
                  <a:pt x="2594" y="466"/>
                  <a:pt x="2594" y="466"/>
                </a:cubicBezTo>
                <a:cubicBezTo>
                  <a:pt x="2596" y="472"/>
                  <a:pt x="2596" y="472"/>
                  <a:pt x="2596" y="472"/>
                </a:cubicBezTo>
                <a:cubicBezTo>
                  <a:pt x="2601" y="472"/>
                  <a:pt x="2601" y="472"/>
                  <a:pt x="2601" y="472"/>
                </a:cubicBezTo>
                <a:cubicBezTo>
                  <a:pt x="2601" y="476"/>
                  <a:pt x="2601" y="476"/>
                  <a:pt x="2601" y="476"/>
                </a:cubicBezTo>
                <a:cubicBezTo>
                  <a:pt x="2601" y="476"/>
                  <a:pt x="2598" y="478"/>
                  <a:pt x="2599" y="482"/>
                </a:cubicBezTo>
                <a:cubicBezTo>
                  <a:pt x="2601" y="486"/>
                  <a:pt x="2604" y="486"/>
                  <a:pt x="2604" y="486"/>
                </a:cubicBezTo>
                <a:cubicBezTo>
                  <a:pt x="2604" y="486"/>
                  <a:pt x="2601" y="491"/>
                  <a:pt x="2605" y="491"/>
                </a:cubicBezTo>
                <a:cubicBezTo>
                  <a:pt x="2609" y="490"/>
                  <a:pt x="2609" y="487"/>
                  <a:pt x="2609" y="487"/>
                </a:cubicBezTo>
                <a:cubicBezTo>
                  <a:pt x="2616" y="484"/>
                  <a:pt x="2616" y="484"/>
                  <a:pt x="2616" y="484"/>
                </a:cubicBezTo>
                <a:cubicBezTo>
                  <a:pt x="2620" y="485"/>
                  <a:pt x="2620" y="485"/>
                  <a:pt x="2620" y="485"/>
                </a:cubicBezTo>
                <a:cubicBezTo>
                  <a:pt x="2621" y="482"/>
                  <a:pt x="2621" y="482"/>
                  <a:pt x="2621" y="482"/>
                </a:cubicBezTo>
                <a:cubicBezTo>
                  <a:pt x="2621" y="482"/>
                  <a:pt x="2628" y="483"/>
                  <a:pt x="2627" y="479"/>
                </a:cubicBezTo>
                <a:cubicBezTo>
                  <a:pt x="2626" y="475"/>
                  <a:pt x="2623" y="472"/>
                  <a:pt x="2623" y="472"/>
                </a:cubicBezTo>
                <a:cubicBezTo>
                  <a:pt x="2623" y="472"/>
                  <a:pt x="2624" y="468"/>
                  <a:pt x="2622" y="465"/>
                </a:cubicBezTo>
                <a:cubicBezTo>
                  <a:pt x="2620" y="463"/>
                  <a:pt x="2611" y="455"/>
                  <a:pt x="2611" y="455"/>
                </a:cubicBezTo>
                <a:cubicBezTo>
                  <a:pt x="2609" y="454"/>
                  <a:pt x="2609" y="454"/>
                  <a:pt x="2609" y="454"/>
                </a:cubicBezTo>
                <a:cubicBezTo>
                  <a:pt x="2609" y="454"/>
                  <a:pt x="2608" y="451"/>
                  <a:pt x="2605" y="449"/>
                </a:cubicBezTo>
                <a:cubicBezTo>
                  <a:pt x="2604" y="447"/>
                  <a:pt x="2603" y="446"/>
                  <a:pt x="2602" y="444"/>
                </a:cubicBezTo>
                <a:cubicBezTo>
                  <a:pt x="2601" y="443"/>
                  <a:pt x="2600" y="442"/>
                  <a:pt x="2600" y="442"/>
                </a:cubicBezTo>
                <a:cubicBezTo>
                  <a:pt x="2593" y="438"/>
                  <a:pt x="2593" y="438"/>
                  <a:pt x="2593" y="438"/>
                </a:cubicBezTo>
                <a:cubicBezTo>
                  <a:pt x="2593" y="438"/>
                  <a:pt x="2589" y="440"/>
                  <a:pt x="2590" y="437"/>
                </a:cubicBezTo>
                <a:cubicBezTo>
                  <a:pt x="2592" y="434"/>
                  <a:pt x="2592" y="434"/>
                  <a:pt x="2592" y="434"/>
                </a:cubicBezTo>
                <a:cubicBezTo>
                  <a:pt x="2592" y="434"/>
                  <a:pt x="2586" y="432"/>
                  <a:pt x="2588" y="430"/>
                </a:cubicBezTo>
                <a:cubicBezTo>
                  <a:pt x="2590" y="428"/>
                  <a:pt x="2595" y="428"/>
                  <a:pt x="2596" y="425"/>
                </a:cubicBezTo>
                <a:cubicBezTo>
                  <a:pt x="2597" y="423"/>
                  <a:pt x="2598" y="419"/>
                  <a:pt x="2598" y="419"/>
                </a:cubicBezTo>
                <a:cubicBezTo>
                  <a:pt x="2601" y="418"/>
                  <a:pt x="2601" y="418"/>
                  <a:pt x="2601" y="418"/>
                </a:cubicBezTo>
                <a:cubicBezTo>
                  <a:pt x="2600" y="413"/>
                  <a:pt x="2600" y="413"/>
                  <a:pt x="2600" y="413"/>
                </a:cubicBezTo>
                <a:cubicBezTo>
                  <a:pt x="2600" y="413"/>
                  <a:pt x="2597" y="411"/>
                  <a:pt x="2597" y="407"/>
                </a:cubicBezTo>
                <a:cubicBezTo>
                  <a:pt x="2597" y="404"/>
                  <a:pt x="2602" y="403"/>
                  <a:pt x="2602" y="403"/>
                </a:cubicBezTo>
                <a:cubicBezTo>
                  <a:pt x="2600" y="400"/>
                  <a:pt x="2600" y="400"/>
                  <a:pt x="2600" y="400"/>
                </a:cubicBezTo>
                <a:cubicBezTo>
                  <a:pt x="2605" y="400"/>
                  <a:pt x="2605" y="400"/>
                  <a:pt x="2605" y="400"/>
                </a:cubicBezTo>
                <a:cubicBezTo>
                  <a:pt x="2605" y="400"/>
                  <a:pt x="2604" y="391"/>
                  <a:pt x="2606" y="391"/>
                </a:cubicBezTo>
                <a:cubicBezTo>
                  <a:pt x="2608" y="390"/>
                  <a:pt x="2609" y="392"/>
                  <a:pt x="2609" y="392"/>
                </a:cubicBezTo>
                <a:cubicBezTo>
                  <a:pt x="2611" y="391"/>
                  <a:pt x="2611" y="391"/>
                  <a:pt x="2611" y="391"/>
                </a:cubicBezTo>
                <a:cubicBezTo>
                  <a:pt x="2611" y="391"/>
                  <a:pt x="2614" y="397"/>
                  <a:pt x="2616" y="397"/>
                </a:cubicBezTo>
                <a:cubicBezTo>
                  <a:pt x="2618" y="397"/>
                  <a:pt x="2622" y="395"/>
                  <a:pt x="2622" y="395"/>
                </a:cubicBezTo>
                <a:cubicBezTo>
                  <a:pt x="2622" y="398"/>
                  <a:pt x="2622" y="398"/>
                  <a:pt x="2622" y="398"/>
                </a:cubicBezTo>
                <a:cubicBezTo>
                  <a:pt x="2622" y="398"/>
                  <a:pt x="2633" y="394"/>
                  <a:pt x="2634" y="389"/>
                </a:cubicBezTo>
                <a:cubicBezTo>
                  <a:pt x="2634" y="385"/>
                  <a:pt x="2635" y="379"/>
                  <a:pt x="2635" y="379"/>
                </a:cubicBezTo>
                <a:cubicBezTo>
                  <a:pt x="2638" y="378"/>
                  <a:pt x="2638" y="378"/>
                  <a:pt x="2638" y="378"/>
                </a:cubicBezTo>
                <a:cubicBezTo>
                  <a:pt x="2638" y="378"/>
                  <a:pt x="2637" y="369"/>
                  <a:pt x="2639" y="368"/>
                </a:cubicBezTo>
                <a:cubicBezTo>
                  <a:pt x="2641" y="366"/>
                  <a:pt x="2641" y="361"/>
                  <a:pt x="2642" y="358"/>
                </a:cubicBezTo>
                <a:cubicBezTo>
                  <a:pt x="2642" y="354"/>
                  <a:pt x="2640" y="349"/>
                  <a:pt x="2640" y="349"/>
                </a:cubicBezTo>
                <a:cubicBezTo>
                  <a:pt x="2640" y="349"/>
                  <a:pt x="2643" y="344"/>
                  <a:pt x="2643" y="343"/>
                </a:cubicBezTo>
                <a:cubicBezTo>
                  <a:pt x="2643" y="342"/>
                  <a:pt x="2641" y="340"/>
                  <a:pt x="2641" y="340"/>
                </a:cubicBezTo>
                <a:cubicBezTo>
                  <a:pt x="2641" y="340"/>
                  <a:pt x="2645" y="335"/>
                  <a:pt x="2644" y="333"/>
                </a:cubicBezTo>
                <a:cubicBezTo>
                  <a:pt x="2643" y="331"/>
                  <a:pt x="2640" y="325"/>
                  <a:pt x="2640" y="325"/>
                </a:cubicBezTo>
                <a:cubicBezTo>
                  <a:pt x="2640" y="325"/>
                  <a:pt x="2639" y="320"/>
                  <a:pt x="2637" y="319"/>
                </a:cubicBezTo>
                <a:cubicBezTo>
                  <a:pt x="2636" y="318"/>
                  <a:pt x="2635" y="318"/>
                  <a:pt x="2635" y="318"/>
                </a:cubicBezTo>
                <a:cubicBezTo>
                  <a:pt x="2636" y="316"/>
                  <a:pt x="2636" y="316"/>
                  <a:pt x="2636" y="316"/>
                </a:cubicBezTo>
                <a:cubicBezTo>
                  <a:pt x="2636" y="316"/>
                  <a:pt x="2632" y="314"/>
                  <a:pt x="2630" y="311"/>
                </a:cubicBezTo>
                <a:cubicBezTo>
                  <a:pt x="2629" y="308"/>
                  <a:pt x="2629" y="306"/>
                  <a:pt x="2629" y="306"/>
                </a:cubicBezTo>
                <a:cubicBezTo>
                  <a:pt x="2627" y="304"/>
                  <a:pt x="2627" y="304"/>
                  <a:pt x="2627" y="304"/>
                </a:cubicBezTo>
                <a:cubicBezTo>
                  <a:pt x="2627" y="304"/>
                  <a:pt x="2628" y="298"/>
                  <a:pt x="2627" y="296"/>
                </a:cubicBezTo>
                <a:cubicBezTo>
                  <a:pt x="2625" y="294"/>
                  <a:pt x="2624" y="293"/>
                  <a:pt x="2624" y="293"/>
                </a:cubicBezTo>
                <a:cubicBezTo>
                  <a:pt x="2622" y="292"/>
                  <a:pt x="2622" y="292"/>
                  <a:pt x="2622" y="292"/>
                </a:cubicBezTo>
                <a:cubicBezTo>
                  <a:pt x="2622" y="292"/>
                  <a:pt x="2621" y="289"/>
                  <a:pt x="2620" y="288"/>
                </a:cubicBezTo>
                <a:cubicBezTo>
                  <a:pt x="2618" y="287"/>
                  <a:pt x="2615" y="285"/>
                  <a:pt x="2615" y="285"/>
                </a:cubicBezTo>
                <a:cubicBezTo>
                  <a:pt x="2612" y="284"/>
                  <a:pt x="2612" y="284"/>
                  <a:pt x="2612" y="284"/>
                </a:cubicBezTo>
                <a:cubicBezTo>
                  <a:pt x="2611" y="283"/>
                  <a:pt x="2611" y="283"/>
                  <a:pt x="2611" y="283"/>
                </a:cubicBezTo>
                <a:cubicBezTo>
                  <a:pt x="2611" y="283"/>
                  <a:pt x="2617" y="285"/>
                  <a:pt x="2617" y="284"/>
                </a:cubicBezTo>
                <a:cubicBezTo>
                  <a:pt x="2618" y="283"/>
                  <a:pt x="2614" y="282"/>
                  <a:pt x="2614" y="282"/>
                </a:cubicBezTo>
                <a:cubicBezTo>
                  <a:pt x="2602" y="276"/>
                  <a:pt x="2602" y="276"/>
                  <a:pt x="2602" y="276"/>
                </a:cubicBezTo>
                <a:cubicBezTo>
                  <a:pt x="2602" y="276"/>
                  <a:pt x="2596" y="273"/>
                  <a:pt x="2595" y="271"/>
                </a:cubicBezTo>
                <a:cubicBezTo>
                  <a:pt x="2593" y="270"/>
                  <a:pt x="2590" y="273"/>
                  <a:pt x="2590" y="273"/>
                </a:cubicBezTo>
                <a:cubicBezTo>
                  <a:pt x="2585" y="271"/>
                  <a:pt x="2585" y="271"/>
                  <a:pt x="2585" y="271"/>
                </a:cubicBezTo>
                <a:cubicBezTo>
                  <a:pt x="2590" y="277"/>
                  <a:pt x="2590" y="277"/>
                  <a:pt x="2590" y="277"/>
                </a:cubicBezTo>
                <a:cubicBezTo>
                  <a:pt x="2589" y="280"/>
                  <a:pt x="2589" y="280"/>
                  <a:pt x="2589" y="280"/>
                </a:cubicBezTo>
                <a:cubicBezTo>
                  <a:pt x="2587" y="280"/>
                  <a:pt x="2587" y="280"/>
                  <a:pt x="2587" y="280"/>
                </a:cubicBezTo>
                <a:cubicBezTo>
                  <a:pt x="2587" y="276"/>
                  <a:pt x="2587" y="276"/>
                  <a:pt x="2587" y="276"/>
                </a:cubicBezTo>
                <a:cubicBezTo>
                  <a:pt x="2585" y="274"/>
                  <a:pt x="2585" y="274"/>
                  <a:pt x="2585" y="274"/>
                </a:cubicBezTo>
                <a:cubicBezTo>
                  <a:pt x="2585" y="278"/>
                  <a:pt x="2585" y="278"/>
                  <a:pt x="2585" y="278"/>
                </a:cubicBezTo>
                <a:cubicBezTo>
                  <a:pt x="2579" y="279"/>
                  <a:pt x="2579" y="279"/>
                  <a:pt x="2579" y="279"/>
                </a:cubicBezTo>
                <a:cubicBezTo>
                  <a:pt x="2579" y="279"/>
                  <a:pt x="2580" y="277"/>
                  <a:pt x="2579" y="275"/>
                </a:cubicBezTo>
                <a:cubicBezTo>
                  <a:pt x="2578" y="274"/>
                  <a:pt x="2575" y="275"/>
                  <a:pt x="2575" y="275"/>
                </a:cubicBezTo>
                <a:cubicBezTo>
                  <a:pt x="2574" y="276"/>
                  <a:pt x="2574" y="276"/>
                  <a:pt x="2574" y="276"/>
                </a:cubicBezTo>
                <a:cubicBezTo>
                  <a:pt x="2571" y="276"/>
                  <a:pt x="2571" y="276"/>
                  <a:pt x="2571" y="276"/>
                </a:cubicBezTo>
                <a:cubicBezTo>
                  <a:pt x="2569" y="271"/>
                  <a:pt x="2569" y="271"/>
                  <a:pt x="2569" y="271"/>
                </a:cubicBezTo>
                <a:cubicBezTo>
                  <a:pt x="2568" y="271"/>
                  <a:pt x="2568" y="271"/>
                  <a:pt x="2568" y="271"/>
                </a:cubicBezTo>
                <a:cubicBezTo>
                  <a:pt x="2567" y="268"/>
                  <a:pt x="2567" y="268"/>
                  <a:pt x="2567" y="268"/>
                </a:cubicBezTo>
                <a:cubicBezTo>
                  <a:pt x="2557" y="269"/>
                  <a:pt x="2557" y="269"/>
                  <a:pt x="2557" y="269"/>
                </a:cubicBezTo>
                <a:cubicBezTo>
                  <a:pt x="2555" y="267"/>
                  <a:pt x="2555" y="267"/>
                  <a:pt x="2555" y="267"/>
                </a:cubicBezTo>
                <a:cubicBezTo>
                  <a:pt x="2555" y="267"/>
                  <a:pt x="2550" y="268"/>
                  <a:pt x="2550" y="265"/>
                </a:cubicBezTo>
                <a:cubicBezTo>
                  <a:pt x="2550" y="261"/>
                  <a:pt x="2554" y="261"/>
                  <a:pt x="2554" y="261"/>
                </a:cubicBezTo>
                <a:cubicBezTo>
                  <a:pt x="2554" y="257"/>
                  <a:pt x="2554" y="257"/>
                  <a:pt x="2554" y="257"/>
                </a:cubicBezTo>
                <a:cubicBezTo>
                  <a:pt x="2554" y="257"/>
                  <a:pt x="2558" y="257"/>
                  <a:pt x="2559" y="255"/>
                </a:cubicBezTo>
                <a:cubicBezTo>
                  <a:pt x="2559" y="252"/>
                  <a:pt x="2561" y="249"/>
                  <a:pt x="2561" y="249"/>
                </a:cubicBezTo>
                <a:cubicBezTo>
                  <a:pt x="2559" y="247"/>
                  <a:pt x="2559" y="247"/>
                  <a:pt x="2559" y="247"/>
                </a:cubicBezTo>
                <a:cubicBezTo>
                  <a:pt x="2560" y="245"/>
                  <a:pt x="2560" y="245"/>
                  <a:pt x="2560" y="245"/>
                </a:cubicBezTo>
                <a:cubicBezTo>
                  <a:pt x="2559" y="243"/>
                  <a:pt x="2559" y="243"/>
                  <a:pt x="2559" y="243"/>
                </a:cubicBezTo>
                <a:cubicBezTo>
                  <a:pt x="2562" y="240"/>
                  <a:pt x="2562" y="240"/>
                  <a:pt x="2562" y="240"/>
                </a:cubicBezTo>
                <a:cubicBezTo>
                  <a:pt x="2565" y="240"/>
                  <a:pt x="2565" y="240"/>
                  <a:pt x="2565" y="240"/>
                </a:cubicBezTo>
                <a:cubicBezTo>
                  <a:pt x="2563" y="235"/>
                  <a:pt x="2563" y="235"/>
                  <a:pt x="2563" y="235"/>
                </a:cubicBezTo>
                <a:cubicBezTo>
                  <a:pt x="2567" y="234"/>
                  <a:pt x="2567" y="234"/>
                  <a:pt x="2567" y="234"/>
                </a:cubicBezTo>
                <a:cubicBezTo>
                  <a:pt x="2563" y="229"/>
                  <a:pt x="2563" y="229"/>
                  <a:pt x="2563" y="229"/>
                </a:cubicBezTo>
                <a:cubicBezTo>
                  <a:pt x="2567" y="227"/>
                  <a:pt x="2567" y="227"/>
                  <a:pt x="2567" y="227"/>
                </a:cubicBezTo>
                <a:cubicBezTo>
                  <a:pt x="2567" y="227"/>
                  <a:pt x="2566" y="221"/>
                  <a:pt x="2569" y="219"/>
                </a:cubicBezTo>
                <a:cubicBezTo>
                  <a:pt x="2573" y="217"/>
                  <a:pt x="2574" y="217"/>
                  <a:pt x="2574" y="217"/>
                </a:cubicBezTo>
                <a:cubicBezTo>
                  <a:pt x="2574" y="217"/>
                  <a:pt x="2579" y="217"/>
                  <a:pt x="2582" y="217"/>
                </a:cubicBezTo>
                <a:cubicBezTo>
                  <a:pt x="2584" y="217"/>
                  <a:pt x="2595" y="218"/>
                  <a:pt x="2595" y="218"/>
                </a:cubicBezTo>
                <a:cubicBezTo>
                  <a:pt x="2597" y="220"/>
                  <a:pt x="2597" y="220"/>
                  <a:pt x="2597" y="220"/>
                </a:cubicBezTo>
                <a:cubicBezTo>
                  <a:pt x="2600" y="219"/>
                  <a:pt x="2600" y="219"/>
                  <a:pt x="2600" y="219"/>
                </a:cubicBezTo>
                <a:cubicBezTo>
                  <a:pt x="2599" y="217"/>
                  <a:pt x="2599" y="217"/>
                  <a:pt x="2599" y="217"/>
                </a:cubicBezTo>
                <a:cubicBezTo>
                  <a:pt x="2610" y="219"/>
                  <a:pt x="2610" y="219"/>
                  <a:pt x="2610" y="219"/>
                </a:cubicBezTo>
                <a:cubicBezTo>
                  <a:pt x="2614" y="217"/>
                  <a:pt x="2614" y="217"/>
                  <a:pt x="2614" y="217"/>
                </a:cubicBezTo>
                <a:cubicBezTo>
                  <a:pt x="2618" y="220"/>
                  <a:pt x="2618" y="220"/>
                  <a:pt x="2618" y="220"/>
                </a:cubicBezTo>
                <a:cubicBezTo>
                  <a:pt x="2619" y="215"/>
                  <a:pt x="2619" y="215"/>
                  <a:pt x="2619" y="215"/>
                </a:cubicBezTo>
                <a:cubicBezTo>
                  <a:pt x="2619" y="215"/>
                  <a:pt x="2624" y="215"/>
                  <a:pt x="2627" y="215"/>
                </a:cubicBezTo>
                <a:cubicBezTo>
                  <a:pt x="2630" y="215"/>
                  <a:pt x="2631" y="218"/>
                  <a:pt x="2633" y="217"/>
                </a:cubicBezTo>
                <a:cubicBezTo>
                  <a:pt x="2634" y="217"/>
                  <a:pt x="2638" y="215"/>
                  <a:pt x="2638" y="215"/>
                </a:cubicBezTo>
                <a:cubicBezTo>
                  <a:pt x="2641" y="218"/>
                  <a:pt x="2641" y="218"/>
                  <a:pt x="2641" y="218"/>
                </a:cubicBezTo>
                <a:cubicBezTo>
                  <a:pt x="2647" y="219"/>
                  <a:pt x="2647" y="219"/>
                  <a:pt x="2647" y="219"/>
                </a:cubicBezTo>
                <a:cubicBezTo>
                  <a:pt x="2639" y="220"/>
                  <a:pt x="2639" y="220"/>
                  <a:pt x="2639" y="220"/>
                </a:cubicBezTo>
                <a:cubicBezTo>
                  <a:pt x="2639" y="220"/>
                  <a:pt x="2642" y="225"/>
                  <a:pt x="2644" y="224"/>
                </a:cubicBezTo>
                <a:cubicBezTo>
                  <a:pt x="2646" y="223"/>
                  <a:pt x="2651" y="221"/>
                  <a:pt x="2651" y="221"/>
                </a:cubicBezTo>
                <a:cubicBezTo>
                  <a:pt x="2654" y="223"/>
                  <a:pt x="2654" y="223"/>
                  <a:pt x="2654" y="223"/>
                </a:cubicBezTo>
                <a:cubicBezTo>
                  <a:pt x="2657" y="220"/>
                  <a:pt x="2657" y="220"/>
                  <a:pt x="2657" y="220"/>
                </a:cubicBezTo>
                <a:cubicBezTo>
                  <a:pt x="2657" y="220"/>
                  <a:pt x="2663" y="222"/>
                  <a:pt x="2665" y="221"/>
                </a:cubicBezTo>
                <a:cubicBezTo>
                  <a:pt x="2666" y="220"/>
                  <a:pt x="2665" y="219"/>
                  <a:pt x="2665" y="219"/>
                </a:cubicBezTo>
                <a:cubicBezTo>
                  <a:pt x="2670" y="219"/>
                  <a:pt x="2670" y="219"/>
                  <a:pt x="2670" y="219"/>
                </a:cubicBezTo>
                <a:cubicBezTo>
                  <a:pt x="2663" y="215"/>
                  <a:pt x="2663" y="215"/>
                  <a:pt x="2663" y="215"/>
                </a:cubicBezTo>
                <a:cubicBezTo>
                  <a:pt x="2660" y="217"/>
                  <a:pt x="2660" y="217"/>
                  <a:pt x="2660" y="217"/>
                </a:cubicBezTo>
                <a:cubicBezTo>
                  <a:pt x="2658" y="214"/>
                  <a:pt x="2658" y="214"/>
                  <a:pt x="2658" y="214"/>
                </a:cubicBezTo>
                <a:cubicBezTo>
                  <a:pt x="2658" y="214"/>
                  <a:pt x="2655" y="210"/>
                  <a:pt x="2656" y="208"/>
                </a:cubicBezTo>
                <a:cubicBezTo>
                  <a:pt x="2656" y="207"/>
                  <a:pt x="2660" y="205"/>
                  <a:pt x="2660" y="205"/>
                </a:cubicBezTo>
                <a:cubicBezTo>
                  <a:pt x="2659" y="200"/>
                  <a:pt x="2659" y="200"/>
                  <a:pt x="2659" y="200"/>
                </a:cubicBezTo>
                <a:cubicBezTo>
                  <a:pt x="2661" y="199"/>
                  <a:pt x="2661" y="199"/>
                  <a:pt x="2661" y="199"/>
                </a:cubicBezTo>
                <a:cubicBezTo>
                  <a:pt x="2661" y="199"/>
                  <a:pt x="2655" y="196"/>
                  <a:pt x="2659" y="194"/>
                </a:cubicBezTo>
                <a:cubicBezTo>
                  <a:pt x="2662" y="191"/>
                  <a:pt x="2670" y="194"/>
                  <a:pt x="2670" y="194"/>
                </a:cubicBezTo>
                <a:cubicBezTo>
                  <a:pt x="2673" y="191"/>
                  <a:pt x="2673" y="191"/>
                  <a:pt x="2673" y="191"/>
                </a:cubicBezTo>
                <a:cubicBezTo>
                  <a:pt x="2678" y="195"/>
                  <a:pt x="2678" y="195"/>
                  <a:pt x="2678" y="195"/>
                </a:cubicBezTo>
                <a:cubicBezTo>
                  <a:pt x="2681" y="192"/>
                  <a:pt x="2681" y="192"/>
                  <a:pt x="2681" y="192"/>
                </a:cubicBezTo>
                <a:cubicBezTo>
                  <a:pt x="2681" y="192"/>
                  <a:pt x="2684" y="199"/>
                  <a:pt x="2686" y="200"/>
                </a:cubicBezTo>
                <a:cubicBezTo>
                  <a:pt x="2687" y="201"/>
                  <a:pt x="2692" y="200"/>
                  <a:pt x="2692" y="200"/>
                </a:cubicBezTo>
                <a:cubicBezTo>
                  <a:pt x="2692" y="200"/>
                  <a:pt x="2692" y="206"/>
                  <a:pt x="2694" y="205"/>
                </a:cubicBezTo>
                <a:cubicBezTo>
                  <a:pt x="2696" y="205"/>
                  <a:pt x="2699" y="196"/>
                  <a:pt x="2699" y="196"/>
                </a:cubicBezTo>
                <a:cubicBezTo>
                  <a:pt x="2703" y="194"/>
                  <a:pt x="2703" y="194"/>
                  <a:pt x="2703" y="194"/>
                </a:cubicBezTo>
                <a:cubicBezTo>
                  <a:pt x="2707" y="196"/>
                  <a:pt x="2707" y="196"/>
                  <a:pt x="2707" y="196"/>
                </a:cubicBezTo>
                <a:cubicBezTo>
                  <a:pt x="2707" y="194"/>
                  <a:pt x="2707" y="194"/>
                  <a:pt x="2707" y="194"/>
                </a:cubicBezTo>
                <a:cubicBezTo>
                  <a:pt x="2703" y="192"/>
                  <a:pt x="2703" y="192"/>
                  <a:pt x="2703" y="192"/>
                </a:cubicBezTo>
                <a:cubicBezTo>
                  <a:pt x="2703" y="192"/>
                  <a:pt x="2693" y="185"/>
                  <a:pt x="2695" y="184"/>
                </a:cubicBezTo>
                <a:cubicBezTo>
                  <a:pt x="2697" y="184"/>
                  <a:pt x="2709" y="185"/>
                  <a:pt x="2709" y="185"/>
                </a:cubicBezTo>
                <a:cubicBezTo>
                  <a:pt x="2716" y="185"/>
                  <a:pt x="2716" y="185"/>
                  <a:pt x="2716" y="185"/>
                </a:cubicBezTo>
                <a:cubicBezTo>
                  <a:pt x="2716" y="185"/>
                  <a:pt x="2716" y="188"/>
                  <a:pt x="2716" y="187"/>
                </a:cubicBezTo>
                <a:cubicBezTo>
                  <a:pt x="2715" y="187"/>
                  <a:pt x="2707" y="185"/>
                  <a:pt x="2707" y="188"/>
                </a:cubicBezTo>
                <a:cubicBezTo>
                  <a:pt x="2707" y="190"/>
                  <a:pt x="2712" y="193"/>
                  <a:pt x="2712" y="193"/>
                </a:cubicBezTo>
                <a:cubicBezTo>
                  <a:pt x="2713" y="197"/>
                  <a:pt x="2713" y="197"/>
                  <a:pt x="2713" y="197"/>
                </a:cubicBezTo>
                <a:cubicBezTo>
                  <a:pt x="2717" y="197"/>
                  <a:pt x="2717" y="197"/>
                  <a:pt x="2717" y="197"/>
                </a:cubicBezTo>
                <a:cubicBezTo>
                  <a:pt x="2716" y="200"/>
                  <a:pt x="2716" y="200"/>
                  <a:pt x="2716" y="200"/>
                </a:cubicBezTo>
                <a:cubicBezTo>
                  <a:pt x="2719" y="202"/>
                  <a:pt x="2719" y="202"/>
                  <a:pt x="2719" y="202"/>
                </a:cubicBezTo>
                <a:cubicBezTo>
                  <a:pt x="2715" y="203"/>
                  <a:pt x="2715" y="203"/>
                  <a:pt x="2715" y="203"/>
                </a:cubicBezTo>
                <a:cubicBezTo>
                  <a:pt x="2714" y="205"/>
                  <a:pt x="2714" y="205"/>
                  <a:pt x="2714" y="205"/>
                </a:cubicBezTo>
                <a:cubicBezTo>
                  <a:pt x="2711" y="206"/>
                  <a:pt x="2711" y="206"/>
                  <a:pt x="2711" y="206"/>
                </a:cubicBezTo>
                <a:cubicBezTo>
                  <a:pt x="2711" y="206"/>
                  <a:pt x="2714" y="211"/>
                  <a:pt x="2713" y="213"/>
                </a:cubicBezTo>
                <a:cubicBezTo>
                  <a:pt x="2711" y="216"/>
                  <a:pt x="2709" y="220"/>
                  <a:pt x="2709" y="221"/>
                </a:cubicBezTo>
                <a:cubicBezTo>
                  <a:pt x="2709" y="223"/>
                  <a:pt x="2713" y="224"/>
                  <a:pt x="2710" y="228"/>
                </a:cubicBezTo>
                <a:cubicBezTo>
                  <a:pt x="2707" y="231"/>
                  <a:pt x="2703" y="232"/>
                  <a:pt x="2703" y="232"/>
                </a:cubicBezTo>
                <a:cubicBezTo>
                  <a:pt x="2703" y="235"/>
                  <a:pt x="2703" y="235"/>
                  <a:pt x="2703" y="235"/>
                </a:cubicBezTo>
                <a:cubicBezTo>
                  <a:pt x="2701" y="235"/>
                  <a:pt x="2701" y="235"/>
                  <a:pt x="2701" y="235"/>
                </a:cubicBezTo>
                <a:cubicBezTo>
                  <a:pt x="2701" y="235"/>
                  <a:pt x="2706" y="237"/>
                  <a:pt x="2705" y="240"/>
                </a:cubicBezTo>
                <a:cubicBezTo>
                  <a:pt x="2705" y="244"/>
                  <a:pt x="2703" y="246"/>
                  <a:pt x="2705" y="250"/>
                </a:cubicBezTo>
                <a:cubicBezTo>
                  <a:pt x="2706" y="253"/>
                  <a:pt x="2720" y="265"/>
                  <a:pt x="2720" y="265"/>
                </a:cubicBezTo>
                <a:cubicBezTo>
                  <a:pt x="2728" y="273"/>
                  <a:pt x="2728" y="273"/>
                  <a:pt x="2728" y="273"/>
                </a:cubicBezTo>
                <a:cubicBezTo>
                  <a:pt x="2730" y="273"/>
                  <a:pt x="2730" y="273"/>
                  <a:pt x="2730" y="273"/>
                </a:cubicBezTo>
                <a:cubicBezTo>
                  <a:pt x="2741" y="286"/>
                  <a:pt x="2741" y="286"/>
                  <a:pt x="2741" y="286"/>
                </a:cubicBezTo>
                <a:cubicBezTo>
                  <a:pt x="2748" y="288"/>
                  <a:pt x="2748" y="288"/>
                  <a:pt x="2748" y="288"/>
                </a:cubicBezTo>
                <a:cubicBezTo>
                  <a:pt x="2752" y="292"/>
                  <a:pt x="2752" y="292"/>
                  <a:pt x="2752" y="292"/>
                </a:cubicBezTo>
                <a:cubicBezTo>
                  <a:pt x="2752" y="292"/>
                  <a:pt x="2760" y="302"/>
                  <a:pt x="2761" y="303"/>
                </a:cubicBezTo>
                <a:cubicBezTo>
                  <a:pt x="2763" y="304"/>
                  <a:pt x="2765" y="304"/>
                  <a:pt x="2765" y="304"/>
                </a:cubicBezTo>
                <a:cubicBezTo>
                  <a:pt x="2765" y="304"/>
                  <a:pt x="2764" y="308"/>
                  <a:pt x="2767" y="306"/>
                </a:cubicBezTo>
                <a:cubicBezTo>
                  <a:pt x="2770" y="305"/>
                  <a:pt x="2770" y="302"/>
                  <a:pt x="2770" y="302"/>
                </a:cubicBezTo>
                <a:cubicBezTo>
                  <a:pt x="2768" y="301"/>
                  <a:pt x="2768" y="301"/>
                  <a:pt x="2768" y="301"/>
                </a:cubicBezTo>
                <a:cubicBezTo>
                  <a:pt x="2768" y="301"/>
                  <a:pt x="2771" y="297"/>
                  <a:pt x="2771" y="295"/>
                </a:cubicBezTo>
                <a:cubicBezTo>
                  <a:pt x="2770" y="293"/>
                  <a:pt x="2764" y="289"/>
                  <a:pt x="2765" y="287"/>
                </a:cubicBezTo>
                <a:cubicBezTo>
                  <a:pt x="2766" y="284"/>
                  <a:pt x="2768" y="282"/>
                  <a:pt x="2769" y="282"/>
                </a:cubicBezTo>
                <a:cubicBezTo>
                  <a:pt x="2770" y="282"/>
                  <a:pt x="2774" y="283"/>
                  <a:pt x="2774" y="283"/>
                </a:cubicBezTo>
                <a:cubicBezTo>
                  <a:pt x="2774" y="283"/>
                  <a:pt x="2769" y="278"/>
                  <a:pt x="2768" y="277"/>
                </a:cubicBezTo>
                <a:cubicBezTo>
                  <a:pt x="2767" y="276"/>
                  <a:pt x="2764" y="275"/>
                  <a:pt x="2764" y="272"/>
                </a:cubicBezTo>
                <a:cubicBezTo>
                  <a:pt x="2765" y="269"/>
                  <a:pt x="2769" y="268"/>
                  <a:pt x="2769" y="268"/>
                </a:cubicBezTo>
                <a:cubicBezTo>
                  <a:pt x="2769" y="268"/>
                  <a:pt x="2775" y="270"/>
                  <a:pt x="2774" y="267"/>
                </a:cubicBezTo>
                <a:cubicBezTo>
                  <a:pt x="2774" y="264"/>
                  <a:pt x="2771" y="263"/>
                  <a:pt x="2768" y="261"/>
                </a:cubicBezTo>
                <a:cubicBezTo>
                  <a:pt x="2764" y="260"/>
                  <a:pt x="2761" y="256"/>
                  <a:pt x="2761" y="253"/>
                </a:cubicBezTo>
                <a:cubicBezTo>
                  <a:pt x="2761" y="251"/>
                  <a:pt x="2760" y="249"/>
                  <a:pt x="2760" y="249"/>
                </a:cubicBezTo>
                <a:cubicBezTo>
                  <a:pt x="2761" y="248"/>
                  <a:pt x="2761" y="248"/>
                  <a:pt x="2761" y="248"/>
                </a:cubicBezTo>
                <a:cubicBezTo>
                  <a:pt x="2761" y="248"/>
                  <a:pt x="2767" y="253"/>
                  <a:pt x="2768" y="252"/>
                </a:cubicBezTo>
                <a:cubicBezTo>
                  <a:pt x="2769" y="251"/>
                  <a:pt x="2764" y="246"/>
                  <a:pt x="2764" y="246"/>
                </a:cubicBezTo>
                <a:cubicBezTo>
                  <a:pt x="2759" y="245"/>
                  <a:pt x="2759" y="245"/>
                  <a:pt x="2759" y="245"/>
                </a:cubicBezTo>
                <a:cubicBezTo>
                  <a:pt x="2752" y="239"/>
                  <a:pt x="2752" y="239"/>
                  <a:pt x="2752" y="239"/>
                </a:cubicBezTo>
                <a:cubicBezTo>
                  <a:pt x="2752" y="239"/>
                  <a:pt x="2753" y="235"/>
                  <a:pt x="2750" y="233"/>
                </a:cubicBezTo>
                <a:cubicBezTo>
                  <a:pt x="2747" y="232"/>
                  <a:pt x="2744" y="232"/>
                  <a:pt x="2744" y="232"/>
                </a:cubicBezTo>
                <a:cubicBezTo>
                  <a:pt x="2744" y="234"/>
                  <a:pt x="2744" y="234"/>
                  <a:pt x="2744" y="234"/>
                </a:cubicBezTo>
                <a:cubicBezTo>
                  <a:pt x="2744" y="234"/>
                  <a:pt x="2735" y="232"/>
                  <a:pt x="2735" y="229"/>
                </a:cubicBezTo>
                <a:cubicBezTo>
                  <a:pt x="2735" y="225"/>
                  <a:pt x="2736" y="223"/>
                  <a:pt x="2735" y="220"/>
                </a:cubicBezTo>
                <a:cubicBezTo>
                  <a:pt x="2733" y="217"/>
                  <a:pt x="2730" y="215"/>
                  <a:pt x="2730" y="215"/>
                </a:cubicBezTo>
                <a:cubicBezTo>
                  <a:pt x="2730" y="215"/>
                  <a:pt x="2730" y="212"/>
                  <a:pt x="2731" y="211"/>
                </a:cubicBezTo>
                <a:cubicBezTo>
                  <a:pt x="2732" y="211"/>
                  <a:pt x="2734" y="212"/>
                  <a:pt x="2734" y="212"/>
                </a:cubicBezTo>
                <a:cubicBezTo>
                  <a:pt x="2735" y="210"/>
                  <a:pt x="2735" y="210"/>
                  <a:pt x="2735" y="210"/>
                </a:cubicBezTo>
                <a:cubicBezTo>
                  <a:pt x="2741" y="214"/>
                  <a:pt x="2741" y="214"/>
                  <a:pt x="2741" y="214"/>
                </a:cubicBezTo>
                <a:cubicBezTo>
                  <a:pt x="2742" y="213"/>
                  <a:pt x="2742" y="213"/>
                  <a:pt x="2742" y="213"/>
                </a:cubicBezTo>
                <a:cubicBezTo>
                  <a:pt x="2740" y="211"/>
                  <a:pt x="2740" y="211"/>
                  <a:pt x="2740" y="211"/>
                </a:cubicBezTo>
                <a:cubicBezTo>
                  <a:pt x="2740" y="211"/>
                  <a:pt x="2741" y="205"/>
                  <a:pt x="2744" y="206"/>
                </a:cubicBezTo>
                <a:cubicBezTo>
                  <a:pt x="2746" y="207"/>
                  <a:pt x="2752" y="214"/>
                  <a:pt x="2752" y="214"/>
                </a:cubicBezTo>
                <a:cubicBezTo>
                  <a:pt x="2753" y="207"/>
                  <a:pt x="2753" y="207"/>
                  <a:pt x="2753" y="207"/>
                </a:cubicBezTo>
                <a:cubicBezTo>
                  <a:pt x="2753" y="207"/>
                  <a:pt x="2765" y="206"/>
                  <a:pt x="2767" y="206"/>
                </a:cubicBezTo>
                <a:cubicBezTo>
                  <a:pt x="2769" y="206"/>
                  <a:pt x="2776" y="210"/>
                  <a:pt x="2776" y="210"/>
                </a:cubicBezTo>
                <a:cubicBezTo>
                  <a:pt x="2782" y="212"/>
                  <a:pt x="2782" y="212"/>
                  <a:pt x="2782" y="212"/>
                </a:cubicBezTo>
                <a:cubicBezTo>
                  <a:pt x="2778" y="204"/>
                  <a:pt x="2778" y="204"/>
                  <a:pt x="2778" y="204"/>
                </a:cubicBezTo>
                <a:cubicBezTo>
                  <a:pt x="2778" y="204"/>
                  <a:pt x="2785" y="204"/>
                  <a:pt x="2785" y="202"/>
                </a:cubicBezTo>
                <a:cubicBezTo>
                  <a:pt x="2786" y="199"/>
                  <a:pt x="2784" y="196"/>
                  <a:pt x="2784" y="196"/>
                </a:cubicBezTo>
                <a:cubicBezTo>
                  <a:pt x="2786" y="196"/>
                  <a:pt x="2786" y="196"/>
                  <a:pt x="2786" y="196"/>
                </a:cubicBezTo>
                <a:cubicBezTo>
                  <a:pt x="2787" y="193"/>
                  <a:pt x="2787" y="193"/>
                  <a:pt x="2787" y="193"/>
                </a:cubicBezTo>
                <a:cubicBezTo>
                  <a:pt x="2787" y="193"/>
                  <a:pt x="2795" y="194"/>
                  <a:pt x="2796" y="191"/>
                </a:cubicBezTo>
                <a:cubicBezTo>
                  <a:pt x="2798" y="188"/>
                  <a:pt x="2802" y="186"/>
                  <a:pt x="2802" y="186"/>
                </a:cubicBezTo>
                <a:cubicBezTo>
                  <a:pt x="2799" y="182"/>
                  <a:pt x="2799" y="182"/>
                  <a:pt x="2799" y="182"/>
                </a:cubicBezTo>
                <a:cubicBezTo>
                  <a:pt x="2803" y="183"/>
                  <a:pt x="2803" y="183"/>
                  <a:pt x="2803" y="183"/>
                </a:cubicBezTo>
                <a:cubicBezTo>
                  <a:pt x="2804" y="185"/>
                  <a:pt x="2804" y="185"/>
                  <a:pt x="2804" y="185"/>
                </a:cubicBezTo>
                <a:cubicBezTo>
                  <a:pt x="2812" y="186"/>
                  <a:pt x="2812" y="186"/>
                  <a:pt x="2812" y="186"/>
                </a:cubicBezTo>
                <a:cubicBezTo>
                  <a:pt x="2812" y="186"/>
                  <a:pt x="2821" y="188"/>
                  <a:pt x="2821" y="187"/>
                </a:cubicBezTo>
                <a:cubicBezTo>
                  <a:pt x="2821" y="185"/>
                  <a:pt x="2820" y="183"/>
                  <a:pt x="2820" y="183"/>
                </a:cubicBezTo>
                <a:cubicBezTo>
                  <a:pt x="2815" y="182"/>
                  <a:pt x="2815" y="182"/>
                  <a:pt x="2815" y="182"/>
                </a:cubicBezTo>
                <a:cubicBezTo>
                  <a:pt x="2814" y="179"/>
                  <a:pt x="2814" y="179"/>
                  <a:pt x="2814" y="179"/>
                </a:cubicBezTo>
                <a:cubicBezTo>
                  <a:pt x="2814" y="179"/>
                  <a:pt x="2807" y="176"/>
                  <a:pt x="2804" y="176"/>
                </a:cubicBezTo>
                <a:cubicBezTo>
                  <a:pt x="2802" y="175"/>
                  <a:pt x="2800" y="176"/>
                  <a:pt x="2800" y="176"/>
                </a:cubicBezTo>
                <a:cubicBezTo>
                  <a:pt x="2801" y="174"/>
                  <a:pt x="2801" y="174"/>
                  <a:pt x="2801" y="174"/>
                </a:cubicBezTo>
                <a:cubicBezTo>
                  <a:pt x="2790" y="166"/>
                  <a:pt x="2790" y="166"/>
                  <a:pt x="2790" y="166"/>
                </a:cubicBezTo>
                <a:cubicBezTo>
                  <a:pt x="2788" y="169"/>
                  <a:pt x="2788" y="169"/>
                  <a:pt x="2788" y="169"/>
                </a:cubicBezTo>
                <a:cubicBezTo>
                  <a:pt x="2788" y="169"/>
                  <a:pt x="2784" y="168"/>
                  <a:pt x="2782" y="167"/>
                </a:cubicBezTo>
                <a:cubicBezTo>
                  <a:pt x="2781" y="166"/>
                  <a:pt x="2778" y="165"/>
                  <a:pt x="2778" y="165"/>
                </a:cubicBezTo>
                <a:cubicBezTo>
                  <a:pt x="2774" y="166"/>
                  <a:pt x="2774" y="166"/>
                  <a:pt x="2774" y="166"/>
                </a:cubicBezTo>
                <a:cubicBezTo>
                  <a:pt x="2770" y="165"/>
                  <a:pt x="2770" y="165"/>
                  <a:pt x="2770" y="165"/>
                </a:cubicBezTo>
                <a:cubicBezTo>
                  <a:pt x="2770" y="165"/>
                  <a:pt x="2763" y="161"/>
                  <a:pt x="2766" y="161"/>
                </a:cubicBezTo>
                <a:cubicBezTo>
                  <a:pt x="2768" y="160"/>
                  <a:pt x="2771" y="162"/>
                  <a:pt x="2772" y="162"/>
                </a:cubicBezTo>
                <a:cubicBezTo>
                  <a:pt x="2774" y="162"/>
                  <a:pt x="2784" y="164"/>
                  <a:pt x="2784" y="164"/>
                </a:cubicBezTo>
                <a:cubicBezTo>
                  <a:pt x="2784" y="164"/>
                  <a:pt x="2794" y="161"/>
                  <a:pt x="2794" y="159"/>
                </a:cubicBezTo>
                <a:cubicBezTo>
                  <a:pt x="2794" y="158"/>
                  <a:pt x="2788" y="154"/>
                  <a:pt x="2788" y="154"/>
                </a:cubicBezTo>
                <a:cubicBezTo>
                  <a:pt x="2787" y="154"/>
                  <a:pt x="2777" y="150"/>
                  <a:pt x="2780" y="148"/>
                </a:cubicBezTo>
                <a:cubicBezTo>
                  <a:pt x="2783" y="146"/>
                  <a:pt x="2788" y="151"/>
                  <a:pt x="2788" y="151"/>
                </a:cubicBezTo>
                <a:cubicBezTo>
                  <a:pt x="2788" y="151"/>
                  <a:pt x="2798" y="157"/>
                  <a:pt x="2801" y="156"/>
                </a:cubicBezTo>
                <a:cubicBezTo>
                  <a:pt x="2804" y="156"/>
                  <a:pt x="2805" y="153"/>
                  <a:pt x="2813" y="156"/>
                </a:cubicBezTo>
                <a:cubicBezTo>
                  <a:pt x="2821" y="158"/>
                  <a:pt x="2828" y="161"/>
                  <a:pt x="2831" y="162"/>
                </a:cubicBezTo>
                <a:cubicBezTo>
                  <a:pt x="2833" y="162"/>
                  <a:pt x="2842" y="165"/>
                  <a:pt x="2842" y="165"/>
                </a:cubicBezTo>
                <a:cubicBezTo>
                  <a:pt x="2842" y="165"/>
                  <a:pt x="2854" y="172"/>
                  <a:pt x="2853" y="168"/>
                </a:cubicBezTo>
                <a:cubicBezTo>
                  <a:pt x="2853" y="164"/>
                  <a:pt x="2848" y="162"/>
                  <a:pt x="2848" y="162"/>
                </a:cubicBezTo>
                <a:cubicBezTo>
                  <a:pt x="2851" y="160"/>
                  <a:pt x="2851" y="160"/>
                  <a:pt x="2851" y="160"/>
                </a:cubicBezTo>
                <a:cubicBezTo>
                  <a:pt x="2845" y="157"/>
                  <a:pt x="2845" y="157"/>
                  <a:pt x="2845" y="157"/>
                </a:cubicBezTo>
                <a:cubicBezTo>
                  <a:pt x="2846" y="157"/>
                  <a:pt x="2846" y="157"/>
                  <a:pt x="2846" y="157"/>
                </a:cubicBezTo>
                <a:cubicBezTo>
                  <a:pt x="2839" y="153"/>
                  <a:pt x="2839" y="153"/>
                  <a:pt x="2839" y="153"/>
                </a:cubicBezTo>
                <a:cubicBezTo>
                  <a:pt x="2847" y="154"/>
                  <a:pt x="2847" y="154"/>
                  <a:pt x="2847" y="154"/>
                </a:cubicBezTo>
                <a:cubicBezTo>
                  <a:pt x="2846" y="152"/>
                  <a:pt x="2846" y="152"/>
                  <a:pt x="2846" y="152"/>
                </a:cubicBezTo>
                <a:cubicBezTo>
                  <a:pt x="2846" y="152"/>
                  <a:pt x="2856" y="154"/>
                  <a:pt x="2854" y="151"/>
                </a:cubicBezTo>
                <a:cubicBezTo>
                  <a:pt x="2852" y="148"/>
                  <a:pt x="2846" y="147"/>
                  <a:pt x="2846" y="147"/>
                </a:cubicBezTo>
                <a:cubicBezTo>
                  <a:pt x="2839" y="144"/>
                  <a:pt x="2839" y="144"/>
                  <a:pt x="2839" y="144"/>
                </a:cubicBezTo>
                <a:cubicBezTo>
                  <a:pt x="2833" y="145"/>
                  <a:pt x="2833" y="145"/>
                  <a:pt x="2833" y="145"/>
                </a:cubicBezTo>
                <a:cubicBezTo>
                  <a:pt x="2829" y="142"/>
                  <a:pt x="2829" y="142"/>
                  <a:pt x="2829" y="142"/>
                </a:cubicBezTo>
                <a:cubicBezTo>
                  <a:pt x="2816" y="141"/>
                  <a:pt x="2816" y="141"/>
                  <a:pt x="2816" y="141"/>
                </a:cubicBezTo>
                <a:cubicBezTo>
                  <a:pt x="2811" y="139"/>
                  <a:pt x="2811" y="139"/>
                  <a:pt x="2811" y="139"/>
                </a:cubicBezTo>
                <a:cubicBezTo>
                  <a:pt x="2806" y="139"/>
                  <a:pt x="2806" y="139"/>
                  <a:pt x="2806" y="139"/>
                </a:cubicBezTo>
                <a:cubicBezTo>
                  <a:pt x="2813" y="144"/>
                  <a:pt x="2813" y="144"/>
                  <a:pt x="2813" y="144"/>
                </a:cubicBezTo>
                <a:cubicBezTo>
                  <a:pt x="2821" y="148"/>
                  <a:pt x="2821" y="148"/>
                  <a:pt x="2821" y="148"/>
                </a:cubicBezTo>
                <a:cubicBezTo>
                  <a:pt x="2821" y="148"/>
                  <a:pt x="2812" y="149"/>
                  <a:pt x="2810" y="147"/>
                </a:cubicBezTo>
                <a:cubicBezTo>
                  <a:pt x="2807" y="145"/>
                  <a:pt x="2807" y="140"/>
                  <a:pt x="2796" y="136"/>
                </a:cubicBezTo>
                <a:cubicBezTo>
                  <a:pt x="2785" y="133"/>
                  <a:pt x="2781" y="131"/>
                  <a:pt x="2770" y="129"/>
                </a:cubicBezTo>
                <a:cubicBezTo>
                  <a:pt x="2759" y="127"/>
                  <a:pt x="2735" y="122"/>
                  <a:pt x="2724" y="119"/>
                </a:cubicBezTo>
                <a:cubicBezTo>
                  <a:pt x="2713" y="116"/>
                  <a:pt x="2700" y="115"/>
                  <a:pt x="2700" y="115"/>
                </a:cubicBezTo>
                <a:cubicBezTo>
                  <a:pt x="2674" y="115"/>
                  <a:pt x="2674" y="115"/>
                  <a:pt x="2674" y="115"/>
                </a:cubicBezTo>
                <a:cubicBezTo>
                  <a:pt x="2672" y="112"/>
                  <a:pt x="2672" y="112"/>
                  <a:pt x="2672" y="112"/>
                </a:cubicBezTo>
                <a:cubicBezTo>
                  <a:pt x="2666" y="113"/>
                  <a:pt x="2666" y="113"/>
                  <a:pt x="2666" y="113"/>
                </a:cubicBezTo>
                <a:cubicBezTo>
                  <a:pt x="2664" y="111"/>
                  <a:pt x="2664" y="111"/>
                  <a:pt x="2664" y="111"/>
                </a:cubicBezTo>
                <a:cubicBezTo>
                  <a:pt x="2656" y="111"/>
                  <a:pt x="2656" y="111"/>
                  <a:pt x="2656" y="111"/>
                </a:cubicBezTo>
                <a:cubicBezTo>
                  <a:pt x="2660" y="113"/>
                  <a:pt x="2660" y="113"/>
                  <a:pt x="2660" y="113"/>
                </a:cubicBezTo>
                <a:cubicBezTo>
                  <a:pt x="2659" y="116"/>
                  <a:pt x="2659" y="116"/>
                  <a:pt x="2659" y="116"/>
                </a:cubicBezTo>
                <a:cubicBezTo>
                  <a:pt x="2659" y="116"/>
                  <a:pt x="2679" y="121"/>
                  <a:pt x="2673" y="124"/>
                </a:cubicBezTo>
                <a:cubicBezTo>
                  <a:pt x="2667" y="127"/>
                  <a:pt x="2663" y="123"/>
                  <a:pt x="2663" y="123"/>
                </a:cubicBezTo>
                <a:cubicBezTo>
                  <a:pt x="2660" y="120"/>
                  <a:pt x="2660" y="120"/>
                  <a:pt x="2660" y="120"/>
                </a:cubicBezTo>
                <a:cubicBezTo>
                  <a:pt x="2651" y="120"/>
                  <a:pt x="2651" y="120"/>
                  <a:pt x="2651" y="120"/>
                </a:cubicBezTo>
                <a:cubicBezTo>
                  <a:pt x="2643" y="115"/>
                  <a:pt x="2643" y="115"/>
                  <a:pt x="2643" y="115"/>
                </a:cubicBezTo>
                <a:cubicBezTo>
                  <a:pt x="2643" y="115"/>
                  <a:pt x="2639" y="116"/>
                  <a:pt x="2638" y="117"/>
                </a:cubicBezTo>
                <a:cubicBezTo>
                  <a:pt x="2637" y="117"/>
                  <a:pt x="2631" y="117"/>
                  <a:pt x="2631" y="117"/>
                </a:cubicBezTo>
                <a:cubicBezTo>
                  <a:pt x="2630" y="116"/>
                  <a:pt x="2630" y="116"/>
                  <a:pt x="2630" y="116"/>
                </a:cubicBezTo>
                <a:cubicBezTo>
                  <a:pt x="2617" y="116"/>
                  <a:pt x="2617" y="116"/>
                  <a:pt x="2617" y="116"/>
                </a:cubicBezTo>
                <a:cubicBezTo>
                  <a:pt x="2613" y="114"/>
                  <a:pt x="2613" y="114"/>
                  <a:pt x="2613" y="114"/>
                </a:cubicBezTo>
                <a:cubicBezTo>
                  <a:pt x="2612" y="115"/>
                  <a:pt x="2612" y="115"/>
                  <a:pt x="2612" y="115"/>
                </a:cubicBezTo>
                <a:cubicBezTo>
                  <a:pt x="2612" y="115"/>
                  <a:pt x="2596" y="113"/>
                  <a:pt x="2597" y="116"/>
                </a:cubicBezTo>
                <a:cubicBezTo>
                  <a:pt x="2598" y="118"/>
                  <a:pt x="2604" y="123"/>
                  <a:pt x="2604" y="123"/>
                </a:cubicBezTo>
                <a:cubicBezTo>
                  <a:pt x="2604" y="123"/>
                  <a:pt x="2597" y="118"/>
                  <a:pt x="2596" y="117"/>
                </a:cubicBezTo>
                <a:cubicBezTo>
                  <a:pt x="2595" y="116"/>
                  <a:pt x="2581" y="115"/>
                  <a:pt x="2581" y="115"/>
                </a:cubicBezTo>
                <a:cubicBezTo>
                  <a:pt x="2581" y="115"/>
                  <a:pt x="2579" y="111"/>
                  <a:pt x="2574" y="108"/>
                </a:cubicBezTo>
                <a:cubicBezTo>
                  <a:pt x="2568" y="105"/>
                  <a:pt x="2560" y="104"/>
                  <a:pt x="2557" y="104"/>
                </a:cubicBezTo>
                <a:cubicBezTo>
                  <a:pt x="2553" y="104"/>
                  <a:pt x="2546" y="103"/>
                  <a:pt x="2546" y="103"/>
                </a:cubicBezTo>
                <a:cubicBezTo>
                  <a:pt x="2539" y="101"/>
                  <a:pt x="2539" y="101"/>
                  <a:pt x="2539" y="101"/>
                </a:cubicBezTo>
                <a:cubicBezTo>
                  <a:pt x="2537" y="102"/>
                  <a:pt x="2537" y="102"/>
                  <a:pt x="2537" y="102"/>
                </a:cubicBezTo>
                <a:cubicBezTo>
                  <a:pt x="2529" y="102"/>
                  <a:pt x="2529" y="102"/>
                  <a:pt x="2529" y="102"/>
                </a:cubicBezTo>
                <a:cubicBezTo>
                  <a:pt x="2529" y="102"/>
                  <a:pt x="2528" y="106"/>
                  <a:pt x="2523" y="105"/>
                </a:cubicBezTo>
                <a:cubicBezTo>
                  <a:pt x="2518" y="105"/>
                  <a:pt x="2512" y="104"/>
                  <a:pt x="2512" y="104"/>
                </a:cubicBezTo>
                <a:cubicBezTo>
                  <a:pt x="2512" y="104"/>
                  <a:pt x="2506" y="100"/>
                  <a:pt x="2502" y="100"/>
                </a:cubicBezTo>
                <a:cubicBezTo>
                  <a:pt x="2499" y="100"/>
                  <a:pt x="2497" y="100"/>
                  <a:pt x="2497" y="100"/>
                </a:cubicBezTo>
                <a:cubicBezTo>
                  <a:pt x="2496" y="98"/>
                  <a:pt x="2496" y="98"/>
                  <a:pt x="2496" y="98"/>
                </a:cubicBezTo>
                <a:cubicBezTo>
                  <a:pt x="2490" y="98"/>
                  <a:pt x="2490" y="98"/>
                  <a:pt x="2490" y="98"/>
                </a:cubicBezTo>
                <a:cubicBezTo>
                  <a:pt x="2481" y="97"/>
                  <a:pt x="2481" y="97"/>
                  <a:pt x="2481" y="97"/>
                </a:cubicBezTo>
                <a:cubicBezTo>
                  <a:pt x="2487" y="95"/>
                  <a:pt x="2487" y="95"/>
                  <a:pt x="2487" y="95"/>
                </a:cubicBezTo>
                <a:cubicBezTo>
                  <a:pt x="2481" y="92"/>
                  <a:pt x="2481" y="92"/>
                  <a:pt x="2481" y="92"/>
                </a:cubicBezTo>
                <a:cubicBezTo>
                  <a:pt x="2481" y="92"/>
                  <a:pt x="2462" y="90"/>
                  <a:pt x="2461" y="91"/>
                </a:cubicBezTo>
                <a:cubicBezTo>
                  <a:pt x="2460" y="92"/>
                  <a:pt x="2463" y="96"/>
                  <a:pt x="2460" y="96"/>
                </a:cubicBezTo>
                <a:cubicBezTo>
                  <a:pt x="2457" y="97"/>
                  <a:pt x="2452" y="96"/>
                  <a:pt x="2452" y="96"/>
                </a:cubicBezTo>
                <a:cubicBezTo>
                  <a:pt x="2455" y="94"/>
                  <a:pt x="2455" y="94"/>
                  <a:pt x="2455" y="94"/>
                </a:cubicBezTo>
                <a:cubicBezTo>
                  <a:pt x="2453" y="92"/>
                  <a:pt x="2453" y="92"/>
                  <a:pt x="2453" y="92"/>
                </a:cubicBezTo>
                <a:cubicBezTo>
                  <a:pt x="2453" y="92"/>
                  <a:pt x="2452" y="92"/>
                  <a:pt x="2449" y="92"/>
                </a:cubicBezTo>
                <a:cubicBezTo>
                  <a:pt x="2446" y="93"/>
                  <a:pt x="2443" y="92"/>
                  <a:pt x="2443" y="92"/>
                </a:cubicBezTo>
                <a:cubicBezTo>
                  <a:pt x="2445" y="91"/>
                  <a:pt x="2445" y="91"/>
                  <a:pt x="2445" y="91"/>
                </a:cubicBezTo>
                <a:cubicBezTo>
                  <a:pt x="2451" y="90"/>
                  <a:pt x="2451" y="90"/>
                  <a:pt x="2451" y="90"/>
                </a:cubicBezTo>
                <a:cubicBezTo>
                  <a:pt x="2459" y="95"/>
                  <a:pt x="2459" y="95"/>
                  <a:pt x="2459" y="95"/>
                </a:cubicBezTo>
                <a:cubicBezTo>
                  <a:pt x="2460" y="91"/>
                  <a:pt x="2460" y="91"/>
                  <a:pt x="2460" y="91"/>
                </a:cubicBezTo>
                <a:cubicBezTo>
                  <a:pt x="2452" y="88"/>
                  <a:pt x="2452" y="88"/>
                  <a:pt x="2452" y="88"/>
                </a:cubicBezTo>
                <a:cubicBezTo>
                  <a:pt x="2436" y="89"/>
                  <a:pt x="2436" y="89"/>
                  <a:pt x="2436" y="89"/>
                </a:cubicBezTo>
                <a:cubicBezTo>
                  <a:pt x="2436" y="87"/>
                  <a:pt x="2436" y="87"/>
                  <a:pt x="2436" y="87"/>
                </a:cubicBezTo>
                <a:cubicBezTo>
                  <a:pt x="2419" y="88"/>
                  <a:pt x="2419" y="88"/>
                  <a:pt x="2419" y="88"/>
                </a:cubicBezTo>
                <a:cubicBezTo>
                  <a:pt x="2413" y="85"/>
                  <a:pt x="2413" y="85"/>
                  <a:pt x="2413" y="85"/>
                </a:cubicBezTo>
                <a:cubicBezTo>
                  <a:pt x="2410" y="85"/>
                  <a:pt x="2410" y="85"/>
                  <a:pt x="2410" y="85"/>
                </a:cubicBezTo>
                <a:cubicBezTo>
                  <a:pt x="2415" y="89"/>
                  <a:pt x="2415" y="89"/>
                  <a:pt x="2415" y="89"/>
                </a:cubicBezTo>
                <a:cubicBezTo>
                  <a:pt x="2415" y="89"/>
                  <a:pt x="2404" y="89"/>
                  <a:pt x="2406" y="90"/>
                </a:cubicBezTo>
                <a:cubicBezTo>
                  <a:pt x="2408" y="92"/>
                  <a:pt x="2410" y="93"/>
                  <a:pt x="2410" y="93"/>
                </a:cubicBezTo>
                <a:cubicBezTo>
                  <a:pt x="2414" y="93"/>
                  <a:pt x="2414" y="93"/>
                  <a:pt x="2414" y="93"/>
                </a:cubicBezTo>
                <a:cubicBezTo>
                  <a:pt x="2414" y="94"/>
                  <a:pt x="2414" y="94"/>
                  <a:pt x="2414" y="94"/>
                </a:cubicBezTo>
                <a:cubicBezTo>
                  <a:pt x="2422" y="99"/>
                  <a:pt x="2422" y="99"/>
                  <a:pt x="2422" y="99"/>
                </a:cubicBezTo>
                <a:cubicBezTo>
                  <a:pt x="2422" y="99"/>
                  <a:pt x="2421" y="99"/>
                  <a:pt x="2418" y="99"/>
                </a:cubicBezTo>
                <a:cubicBezTo>
                  <a:pt x="2415" y="99"/>
                  <a:pt x="2411" y="96"/>
                  <a:pt x="2410" y="97"/>
                </a:cubicBezTo>
                <a:cubicBezTo>
                  <a:pt x="2408" y="98"/>
                  <a:pt x="2408" y="98"/>
                  <a:pt x="2408" y="98"/>
                </a:cubicBezTo>
                <a:cubicBezTo>
                  <a:pt x="2411" y="101"/>
                  <a:pt x="2411" y="101"/>
                  <a:pt x="2411" y="101"/>
                </a:cubicBezTo>
                <a:cubicBezTo>
                  <a:pt x="2404" y="100"/>
                  <a:pt x="2404" y="100"/>
                  <a:pt x="2404" y="100"/>
                </a:cubicBezTo>
                <a:cubicBezTo>
                  <a:pt x="2404" y="100"/>
                  <a:pt x="2393" y="97"/>
                  <a:pt x="2392" y="97"/>
                </a:cubicBezTo>
                <a:cubicBezTo>
                  <a:pt x="2390" y="97"/>
                  <a:pt x="2384" y="100"/>
                  <a:pt x="2384" y="100"/>
                </a:cubicBezTo>
                <a:cubicBezTo>
                  <a:pt x="2375" y="99"/>
                  <a:pt x="2375" y="99"/>
                  <a:pt x="2375" y="99"/>
                </a:cubicBezTo>
                <a:cubicBezTo>
                  <a:pt x="2375" y="99"/>
                  <a:pt x="2367" y="95"/>
                  <a:pt x="2366" y="94"/>
                </a:cubicBezTo>
                <a:cubicBezTo>
                  <a:pt x="2366" y="94"/>
                  <a:pt x="2364" y="96"/>
                  <a:pt x="2365" y="97"/>
                </a:cubicBezTo>
                <a:cubicBezTo>
                  <a:pt x="2365" y="99"/>
                  <a:pt x="2371" y="105"/>
                  <a:pt x="2368" y="105"/>
                </a:cubicBezTo>
                <a:cubicBezTo>
                  <a:pt x="2364" y="105"/>
                  <a:pt x="2348" y="99"/>
                  <a:pt x="2347" y="99"/>
                </a:cubicBezTo>
                <a:cubicBezTo>
                  <a:pt x="2347" y="98"/>
                  <a:pt x="2343" y="95"/>
                  <a:pt x="2343" y="95"/>
                </a:cubicBezTo>
                <a:cubicBezTo>
                  <a:pt x="2342" y="97"/>
                  <a:pt x="2342" y="97"/>
                  <a:pt x="2342" y="97"/>
                </a:cubicBezTo>
                <a:cubicBezTo>
                  <a:pt x="2334" y="95"/>
                  <a:pt x="2334" y="95"/>
                  <a:pt x="2334" y="95"/>
                </a:cubicBezTo>
                <a:cubicBezTo>
                  <a:pt x="2331" y="92"/>
                  <a:pt x="2331" y="92"/>
                  <a:pt x="2331" y="92"/>
                </a:cubicBezTo>
                <a:cubicBezTo>
                  <a:pt x="2331" y="92"/>
                  <a:pt x="2339" y="94"/>
                  <a:pt x="2340" y="93"/>
                </a:cubicBezTo>
                <a:cubicBezTo>
                  <a:pt x="2341" y="92"/>
                  <a:pt x="2335" y="89"/>
                  <a:pt x="2335" y="89"/>
                </a:cubicBezTo>
                <a:cubicBezTo>
                  <a:pt x="2330" y="89"/>
                  <a:pt x="2330" y="89"/>
                  <a:pt x="2330" y="89"/>
                </a:cubicBezTo>
                <a:cubicBezTo>
                  <a:pt x="2330" y="89"/>
                  <a:pt x="2333" y="88"/>
                  <a:pt x="2331" y="87"/>
                </a:cubicBezTo>
                <a:cubicBezTo>
                  <a:pt x="2330" y="86"/>
                  <a:pt x="2326" y="86"/>
                  <a:pt x="2326" y="86"/>
                </a:cubicBezTo>
                <a:cubicBezTo>
                  <a:pt x="2327" y="84"/>
                  <a:pt x="2327" y="84"/>
                  <a:pt x="2327" y="84"/>
                </a:cubicBezTo>
                <a:cubicBezTo>
                  <a:pt x="2327" y="84"/>
                  <a:pt x="2321" y="82"/>
                  <a:pt x="2320" y="82"/>
                </a:cubicBezTo>
                <a:cubicBezTo>
                  <a:pt x="2319" y="82"/>
                  <a:pt x="2316" y="80"/>
                  <a:pt x="2316" y="80"/>
                </a:cubicBezTo>
                <a:cubicBezTo>
                  <a:pt x="2309" y="80"/>
                  <a:pt x="2309" y="80"/>
                  <a:pt x="2309" y="80"/>
                </a:cubicBezTo>
                <a:cubicBezTo>
                  <a:pt x="2309" y="80"/>
                  <a:pt x="2311" y="81"/>
                  <a:pt x="2306" y="81"/>
                </a:cubicBezTo>
                <a:cubicBezTo>
                  <a:pt x="2302" y="81"/>
                  <a:pt x="2298" y="79"/>
                  <a:pt x="2298" y="79"/>
                </a:cubicBezTo>
                <a:cubicBezTo>
                  <a:pt x="2295" y="81"/>
                  <a:pt x="2295" y="81"/>
                  <a:pt x="2295" y="81"/>
                </a:cubicBezTo>
                <a:cubicBezTo>
                  <a:pt x="2295" y="79"/>
                  <a:pt x="2295" y="79"/>
                  <a:pt x="2295" y="79"/>
                </a:cubicBezTo>
                <a:cubicBezTo>
                  <a:pt x="2288" y="77"/>
                  <a:pt x="2288" y="77"/>
                  <a:pt x="2288" y="77"/>
                </a:cubicBezTo>
                <a:cubicBezTo>
                  <a:pt x="2287" y="76"/>
                  <a:pt x="2287" y="76"/>
                  <a:pt x="2287" y="76"/>
                </a:cubicBezTo>
                <a:cubicBezTo>
                  <a:pt x="2286" y="79"/>
                  <a:pt x="2286" y="79"/>
                  <a:pt x="2286" y="79"/>
                </a:cubicBezTo>
                <a:cubicBezTo>
                  <a:pt x="2284" y="79"/>
                  <a:pt x="2284" y="79"/>
                  <a:pt x="2284" y="79"/>
                </a:cubicBezTo>
                <a:cubicBezTo>
                  <a:pt x="2288" y="82"/>
                  <a:pt x="2288" y="82"/>
                  <a:pt x="2288" y="82"/>
                </a:cubicBezTo>
                <a:cubicBezTo>
                  <a:pt x="2291" y="86"/>
                  <a:pt x="2291" y="86"/>
                  <a:pt x="2291" y="86"/>
                </a:cubicBezTo>
                <a:cubicBezTo>
                  <a:pt x="2284" y="86"/>
                  <a:pt x="2284" y="86"/>
                  <a:pt x="2284" y="86"/>
                </a:cubicBezTo>
                <a:cubicBezTo>
                  <a:pt x="2283" y="84"/>
                  <a:pt x="2283" y="84"/>
                  <a:pt x="2283" y="84"/>
                </a:cubicBezTo>
                <a:cubicBezTo>
                  <a:pt x="2274" y="85"/>
                  <a:pt x="2274" y="85"/>
                  <a:pt x="2274" y="85"/>
                </a:cubicBezTo>
                <a:cubicBezTo>
                  <a:pt x="2272" y="86"/>
                  <a:pt x="2272" y="86"/>
                  <a:pt x="2272" y="86"/>
                </a:cubicBezTo>
                <a:cubicBezTo>
                  <a:pt x="2272" y="84"/>
                  <a:pt x="2272" y="84"/>
                  <a:pt x="2272" y="84"/>
                </a:cubicBezTo>
                <a:cubicBezTo>
                  <a:pt x="2266" y="85"/>
                  <a:pt x="2266" y="85"/>
                  <a:pt x="2266" y="85"/>
                </a:cubicBezTo>
                <a:cubicBezTo>
                  <a:pt x="2265" y="84"/>
                  <a:pt x="2265" y="84"/>
                  <a:pt x="2265" y="84"/>
                </a:cubicBezTo>
                <a:cubicBezTo>
                  <a:pt x="2257" y="84"/>
                  <a:pt x="2257" y="84"/>
                  <a:pt x="2257" y="84"/>
                </a:cubicBezTo>
                <a:cubicBezTo>
                  <a:pt x="2252" y="83"/>
                  <a:pt x="2252" y="83"/>
                  <a:pt x="2252" y="83"/>
                </a:cubicBezTo>
                <a:cubicBezTo>
                  <a:pt x="2254" y="80"/>
                  <a:pt x="2254" y="80"/>
                  <a:pt x="2254" y="80"/>
                </a:cubicBezTo>
                <a:cubicBezTo>
                  <a:pt x="2236" y="79"/>
                  <a:pt x="2236" y="79"/>
                  <a:pt x="2236" y="79"/>
                </a:cubicBezTo>
                <a:cubicBezTo>
                  <a:pt x="2235" y="78"/>
                  <a:pt x="2235" y="78"/>
                  <a:pt x="2235" y="78"/>
                </a:cubicBezTo>
                <a:cubicBezTo>
                  <a:pt x="2234" y="79"/>
                  <a:pt x="2234" y="79"/>
                  <a:pt x="2234" y="79"/>
                </a:cubicBezTo>
                <a:cubicBezTo>
                  <a:pt x="2233" y="78"/>
                  <a:pt x="2233" y="78"/>
                  <a:pt x="2233" y="78"/>
                </a:cubicBezTo>
                <a:cubicBezTo>
                  <a:pt x="2226" y="78"/>
                  <a:pt x="2226" y="78"/>
                  <a:pt x="2226" y="78"/>
                </a:cubicBezTo>
                <a:cubicBezTo>
                  <a:pt x="2226" y="80"/>
                  <a:pt x="2226" y="80"/>
                  <a:pt x="2226" y="80"/>
                </a:cubicBezTo>
                <a:cubicBezTo>
                  <a:pt x="2219" y="79"/>
                  <a:pt x="2219" y="79"/>
                  <a:pt x="2219" y="79"/>
                </a:cubicBezTo>
                <a:cubicBezTo>
                  <a:pt x="2217" y="80"/>
                  <a:pt x="2217" y="80"/>
                  <a:pt x="2217" y="80"/>
                </a:cubicBezTo>
                <a:cubicBezTo>
                  <a:pt x="2221" y="82"/>
                  <a:pt x="2221" y="82"/>
                  <a:pt x="2221" y="82"/>
                </a:cubicBezTo>
                <a:cubicBezTo>
                  <a:pt x="2215" y="81"/>
                  <a:pt x="2215" y="81"/>
                  <a:pt x="2215" y="81"/>
                </a:cubicBezTo>
                <a:cubicBezTo>
                  <a:pt x="2215" y="79"/>
                  <a:pt x="2215" y="79"/>
                  <a:pt x="2215" y="79"/>
                </a:cubicBezTo>
                <a:cubicBezTo>
                  <a:pt x="2211" y="76"/>
                  <a:pt x="2211" y="76"/>
                  <a:pt x="2211" y="76"/>
                </a:cubicBezTo>
                <a:cubicBezTo>
                  <a:pt x="2208" y="76"/>
                  <a:pt x="2208" y="76"/>
                  <a:pt x="2208" y="76"/>
                </a:cubicBezTo>
                <a:cubicBezTo>
                  <a:pt x="2210" y="79"/>
                  <a:pt x="2210" y="79"/>
                  <a:pt x="2210" y="79"/>
                </a:cubicBezTo>
                <a:cubicBezTo>
                  <a:pt x="2202" y="79"/>
                  <a:pt x="2202" y="79"/>
                  <a:pt x="2202" y="79"/>
                </a:cubicBezTo>
                <a:cubicBezTo>
                  <a:pt x="2202" y="78"/>
                  <a:pt x="2202" y="78"/>
                  <a:pt x="2202" y="78"/>
                </a:cubicBezTo>
                <a:cubicBezTo>
                  <a:pt x="2200" y="78"/>
                  <a:pt x="2200" y="78"/>
                  <a:pt x="2200" y="78"/>
                </a:cubicBezTo>
                <a:cubicBezTo>
                  <a:pt x="2199" y="76"/>
                  <a:pt x="2199" y="76"/>
                  <a:pt x="2199" y="76"/>
                </a:cubicBezTo>
                <a:cubicBezTo>
                  <a:pt x="2197" y="76"/>
                  <a:pt x="2197" y="76"/>
                  <a:pt x="2197" y="76"/>
                </a:cubicBezTo>
                <a:cubicBezTo>
                  <a:pt x="2195" y="76"/>
                  <a:pt x="2195" y="76"/>
                  <a:pt x="2195" y="76"/>
                </a:cubicBezTo>
                <a:cubicBezTo>
                  <a:pt x="2191" y="75"/>
                  <a:pt x="2191" y="75"/>
                  <a:pt x="2191" y="75"/>
                </a:cubicBezTo>
                <a:cubicBezTo>
                  <a:pt x="2187" y="78"/>
                  <a:pt x="2187" y="78"/>
                  <a:pt x="2187" y="78"/>
                </a:cubicBezTo>
                <a:cubicBezTo>
                  <a:pt x="2195" y="79"/>
                  <a:pt x="2195" y="79"/>
                  <a:pt x="2195" y="79"/>
                </a:cubicBezTo>
                <a:cubicBezTo>
                  <a:pt x="2196" y="79"/>
                  <a:pt x="2196" y="79"/>
                  <a:pt x="2196" y="79"/>
                </a:cubicBezTo>
                <a:cubicBezTo>
                  <a:pt x="2196" y="79"/>
                  <a:pt x="2194" y="81"/>
                  <a:pt x="2192" y="81"/>
                </a:cubicBezTo>
                <a:cubicBezTo>
                  <a:pt x="2191" y="81"/>
                  <a:pt x="2190" y="81"/>
                  <a:pt x="2188" y="81"/>
                </a:cubicBezTo>
                <a:cubicBezTo>
                  <a:pt x="2187" y="82"/>
                  <a:pt x="2187" y="83"/>
                  <a:pt x="2186" y="83"/>
                </a:cubicBezTo>
                <a:cubicBezTo>
                  <a:pt x="2185" y="83"/>
                  <a:pt x="2175" y="83"/>
                  <a:pt x="2175" y="83"/>
                </a:cubicBezTo>
                <a:cubicBezTo>
                  <a:pt x="2171" y="84"/>
                  <a:pt x="2171" y="84"/>
                  <a:pt x="2171" y="84"/>
                </a:cubicBezTo>
                <a:cubicBezTo>
                  <a:pt x="2169" y="87"/>
                  <a:pt x="2169" y="87"/>
                  <a:pt x="2169" y="87"/>
                </a:cubicBezTo>
                <a:cubicBezTo>
                  <a:pt x="2165" y="86"/>
                  <a:pt x="2165" y="86"/>
                  <a:pt x="2165" y="86"/>
                </a:cubicBezTo>
                <a:cubicBezTo>
                  <a:pt x="2165" y="86"/>
                  <a:pt x="2166" y="83"/>
                  <a:pt x="2168" y="82"/>
                </a:cubicBezTo>
                <a:cubicBezTo>
                  <a:pt x="2169" y="81"/>
                  <a:pt x="2172" y="81"/>
                  <a:pt x="2172" y="81"/>
                </a:cubicBezTo>
                <a:cubicBezTo>
                  <a:pt x="2173" y="79"/>
                  <a:pt x="2173" y="79"/>
                  <a:pt x="2173" y="79"/>
                </a:cubicBezTo>
                <a:cubicBezTo>
                  <a:pt x="2179" y="79"/>
                  <a:pt x="2179" y="79"/>
                  <a:pt x="2179" y="79"/>
                </a:cubicBezTo>
                <a:cubicBezTo>
                  <a:pt x="2185" y="74"/>
                  <a:pt x="2185" y="74"/>
                  <a:pt x="2185" y="74"/>
                </a:cubicBezTo>
                <a:cubicBezTo>
                  <a:pt x="2185" y="74"/>
                  <a:pt x="2185" y="71"/>
                  <a:pt x="2187" y="70"/>
                </a:cubicBezTo>
                <a:cubicBezTo>
                  <a:pt x="2190" y="69"/>
                  <a:pt x="2200" y="69"/>
                  <a:pt x="2200" y="66"/>
                </a:cubicBezTo>
                <a:cubicBezTo>
                  <a:pt x="2199" y="62"/>
                  <a:pt x="2196" y="61"/>
                  <a:pt x="2196" y="61"/>
                </a:cubicBezTo>
                <a:cubicBezTo>
                  <a:pt x="2190" y="61"/>
                  <a:pt x="2190" y="61"/>
                  <a:pt x="2190" y="61"/>
                </a:cubicBezTo>
                <a:cubicBezTo>
                  <a:pt x="2195" y="59"/>
                  <a:pt x="2195" y="59"/>
                  <a:pt x="2195" y="59"/>
                </a:cubicBezTo>
                <a:cubicBezTo>
                  <a:pt x="2195" y="59"/>
                  <a:pt x="2191" y="56"/>
                  <a:pt x="2190" y="56"/>
                </a:cubicBezTo>
                <a:cubicBezTo>
                  <a:pt x="2189" y="57"/>
                  <a:pt x="2185" y="57"/>
                  <a:pt x="2185" y="57"/>
                </a:cubicBezTo>
                <a:cubicBezTo>
                  <a:pt x="2185" y="57"/>
                  <a:pt x="2184" y="53"/>
                  <a:pt x="2181" y="53"/>
                </a:cubicBezTo>
                <a:cubicBezTo>
                  <a:pt x="2179" y="53"/>
                  <a:pt x="2176" y="54"/>
                  <a:pt x="2176" y="54"/>
                </a:cubicBezTo>
                <a:cubicBezTo>
                  <a:pt x="2168" y="53"/>
                  <a:pt x="2168" y="53"/>
                  <a:pt x="2168" y="53"/>
                </a:cubicBezTo>
                <a:cubicBezTo>
                  <a:pt x="2149" y="52"/>
                  <a:pt x="2149" y="52"/>
                  <a:pt x="2149" y="52"/>
                </a:cubicBezTo>
                <a:cubicBezTo>
                  <a:pt x="2149" y="54"/>
                  <a:pt x="2149" y="54"/>
                  <a:pt x="2149" y="54"/>
                </a:cubicBezTo>
                <a:cubicBezTo>
                  <a:pt x="2140" y="54"/>
                  <a:pt x="2140" y="54"/>
                  <a:pt x="2140" y="54"/>
                </a:cubicBezTo>
                <a:cubicBezTo>
                  <a:pt x="2140" y="54"/>
                  <a:pt x="2144" y="51"/>
                  <a:pt x="2141" y="50"/>
                </a:cubicBezTo>
                <a:cubicBezTo>
                  <a:pt x="2139" y="49"/>
                  <a:pt x="2128" y="50"/>
                  <a:pt x="2128" y="50"/>
                </a:cubicBezTo>
                <a:cubicBezTo>
                  <a:pt x="2120" y="49"/>
                  <a:pt x="2120" y="49"/>
                  <a:pt x="2120" y="49"/>
                </a:cubicBezTo>
                <a:cubicBezTo>
                  <a:pt x="2120" y="49"/>
                  <a:pt x="2129" y="49"/>
                  <a:pt x="2128" y="47"/>
                </a:cubicBezTo>
                <a:cubicBezTo>
                  <a:pt x="2127" y="45"/>
                  <a:pt x="2117" y="45"/>
                  <a:pt x="2117" y="45"/>
                </a:cubicBezTo>
                <a:cubicBezTo>
                  <a:pt x="2111" y="44"/>
                  <a:pt x="2111" y="44"/>
                  <a:pt x="2111" y="44"/>
                </a:cubicBezTo>
                <a:cubicBezTo>
                  <a:pt x="2111" y="46"/>
                  <a:pt x="2111" y="46"/>
                  <a:pt x="2111" y="46"/>
                </a:cubicBezTo>
                <a:cubicBezTo>
                  <a:pt x="2111" y="46"/>
                  <a:pt x="2100" y="46"/>
                  <a:pt x="2101" y="49"/>
                </a:cubicBezTo>
                <a:cubicBezTo>
                  <a:pt x="2102" y="52"/>
                  <a:pt x="2112" y="55"/>
                  <a:pt x="2112" y="55"/>
                </a:cubicBezTo>
                <a:cubicBezTo>
                  <a:pt x="2092" y="53"/>
                  <a:pt x="2092" y="53"/>
                  <a:pt x="2092" y="53"/>
                </a:cubicBezTo>
                <a:cubicBezTo>
                  <a:pt x="2099" y="56"/>
                  <a:pt x="2099" y="56"/>
                  <a:pt x="2099" y="56"/>
                </a:cubicBezTo>
                <a:cubicBezTo>
                  <a:pt x="2091" y="57"/>
                  <a:pt x="2091" y="57"/>
                  <a:pt x="2091" y="57"/>
                </a:cubicBezTo>
                <a:cubicBezTo>
                  <a:pt x="2091" y="57"/>
                  <a:pt x="2079" y="61"/>
                  <a:pt x="2077" y="60"/>
                </a:cubicBezTo>
                <a:cubicBezTo>
                  <a:pt x="2075" y="59"/>
                  <a:pt x="2078" y="56"/>
                  <a:pt x="2078" y="56"/>
                </a:cubicBezTo>
                <a:cubicBezTo>
                  <a:pt x="2078" y="56"/>
                  <a:pt x="2068" y="56"/>
                  <a:pt x="2066" y="57"/>
                </a:cubicBezTo>
                <a:cubicBezTo>
                  <a:pt x="2065" y="57"/>
                  <a:pt x="2062" y="59"/>
                  <a:pt x="2062" y="59"/>
                </a:cubicBezTo>
                <a:cubicBezTo>
                  <a:pt x="2062" y="59"/>
                  <a:pt x="2048" y="61"/>
                  <a:pt x="2045" y="61"/>
                </a:cubicBezTo>
                <a:cubicBezTo>
                  <a:pt x="2042" y="62"/>
                  <a:pt x="2035" y="63"/>
                  <a:pt x="2035" y="63"/>
                </a:cubicBezTo>
                <a:cubicBezTo>
                  <a:pt x="2029" y="68"/>
                  <a:pt x="2029" y="68"/>
                  <a:pt x="2029" y="68"/>
                </a:cubicBezTo>
                <a:cubicBezTo>
                  <a:pt x="2029" y="68"/>
                  <a:pt x="2022" y="68"/>
                  <a:pt x="2025" y="71"/>
                </a:cubicBezTo>
                <a:cubicBezTo>
                  <a:pt x="2028" y="74"/>
                  <a:pt x="2034" y="76"/>
                  <a:pt x="2034" y="76"/>
                </a:cubicBezTo>
                <a:cubicBezTo>
                  <a:pt x="2027" y="77"/>
                  <a:pt x="2027" y="77"/>
                  <a:pt x="2027" y="77"/>
                </a:cubicBezTo>
                <a:cubicBezTo>
                  <a:pt x="2024" y="79"/>
                  <a:pt x="2024" y="79"/>
                  <a:pt x="2024" y="79"/>
                </a:cubicBezTo>
                <a:cubicBezTo>
                  <a:pt x="2010" y="78"/>
                  <a:pt x="2010" y="78"/>
                  <a:pt x="2010" y="78"/>
                </a:cubicBezTo>
                <a:cubicBezTo>
                  <a:pt x="2009" y="79"/>
                  <a:pt x="2009" y="79"/>
                  <a:pt x="2009" y="79"/>
                </a:cubicBezTo>
                <a:cubicBezTo>
                  <a:pt x="2004" y="77"/>
                  <a:pt x="2004" y="77"/>
                  <a:pt x="2004" y="77"/>
                </a:cubicBezTo>
                <a:cubicBezTo>
                  <a:pt x="2002" y="79"/>
                  <a:pt x="2002" y="79"/>
                  <a:pt x="2002" y="79"/>
                </a:cubicBezTo>
                <a:cubicBezTo>
                  <a:pt x="2002" y="79"/>
                  <a:pt x="1994" y="78"/>
                  <a:pt x="1993" y="80"/>
                </a:cubicBezTo>
                <a:cubicBezTo>
                  <a:pt x="1993" y="81"/>
                  <a:pt x="1993" y="85"/>
                  <a:pt x="1995" y="85"/>
                </a:cubicBezTo>
                <a:cubicBezTo>
                  <a:pt x="1998" y="85"/>
                  <a:pt x="1999" y="89"/>
                  <a:pt x="1999" y="89"/>
                </a:cubicBezTo>
                <a:cubicBezTo>
                  <a:pt x="1999" y="89"/>
                  <a:pt x="2006" y="91"/>
                  <a:pt x="2008" y="91"/>
                </a:cubicBezTo>
                <a:cubicBezTo>
                  <a:pt x="2010" y="91"/>
                  <a:pt x="2014" y="92"/>
                  <a:pt x="2016" y="93"/>
                </a:cubicBezTo>
                <a:cubicBezTo>
                  <a:pt x="2017" y="93"/>
                  <a:pt x="2020" y="97"/>
                  <a:pt x="2018" y="97"/>
                </a:cubicBezTo>
                <a:cubicBezTo>
                  <a:pt x="2016" y="97"/>
                  <a:pt x="2011" y="97"/>
                  <a:pt x="2011" y="97"/>
                </a:cubicBezTo>
                <a:cubicBezTo>
                  <a:pt x="2011" y="97"/>
                  <a:pt x="2001" y="93"/>
                  <a:pt x="1998" y="92"/>
                </a:cubicBezTo>
                <a:cubicBezTo>
                  <a:pt x="1994" y="91"/>
                  <a:pt x="1989" y="90"/>
                  <a:pt x="1988" y="90"/>
                </a:cubicBezTo>
                <a:cubicBezTo>
                  <a:pt x="1986" y="90"/>
                  <a:pt x="1982" y="90"/>
                  <a:pt x="1982" y="92"/>
                </a:cubicBezTo>
                <a:cubicBezTo>
                  <a:pt x="1983" y="93"/>
                  <a:pt x="1988" y="95"/>
                  <a:pt x="1984" y="96"/>
                </a:cubicBezTo>
                <a:cubicBezTo>
                  <a:pt x="1981" y="96"/>
                  <a:pt x="1980" y="93"/>
                  <a:pt x="1977" y="93"/>
                </a:cubicBezTo>
                <a:cubicBezTo>
                  <a:pt x="1975" y="93"/>
                  <a:pt x="1972" y="91"/>
                  <a:pt x="1972" y="94"/>
                </a:cubicBezTo>
                <a:cubicBezTo>
                  <a:pt x="1972" y="97"/>
                  <a:pt x="1975" y="99"/>
                  <a:pt x="1978" y="99"/>
                </a:cubicBezTo>
                <a:cubicBezTo>
                  <a:pt x="1981" y="99"/>
                  <a:pt x="1986" y="101"/>
                  <a:pt x="1988" y="101"/>
                </a:cubicBezTo>
                <a:cubicBezTo>
                  <a:pt x="1990" y="101"/>
                  <a:pt x="1994" y="104"/>
                  <a:pt x="1994" y="104"/>
                </a:cubicBezTo>
                <a:cubicBezTo>
                  <a:pt x="1989" y="104"/>
                  <a:pt x="1989" y="104"/>
                  <a:pt x="1989" y="104"/>
                </a:cubicBezTo>
                <a:cubicBezTo>
                  <a:pt x="1989" y="104"/>
                  <a:pt x="1988" y="102"/>
                  <a:pt x="1985" y="102"/>
                </a:cubicBezTo>
                <a:cubicBezTo>
                  <a:pt x="1982" y="102"/>
                  <a:pt x="1973" y="101"/>
                  <a:pt x="1973" y="101"/>
                </a:cubicBezTo>
                <a:cubicBezTo>
                  <a:pt x="1972" y="100"/>
                  <a:pt x="1972" y="100"/>
                  <a:pt x="1972" y="100"/>
                </a:cubicBezTo>
                <a:cubicBezTo>
                  <a:pt x="1969" y="100"/>
                  <a:pt x="1969" y="100"/>
                  <a:pt x="1969" y="100"/>
                </a:cubicBezTo>
                <a:cubicBezTo>
                  <a:pt x="1968" y="97"/>
                  <a:pt x="1968" y="97"/>
                  <a:pt x="1968" y="97"/>
                </a:cubicBezTo>
                <a:cubicBezTo>
                  <a:pt x="1964" y="95"/>
                  <a:pt x="1964" y="95"/>
                  <a:pt x="1964" y="95"/>
                </a:cubicBezTo>
                <a:cubicBezTo>
                  <a:pt x="1964" y="95"/>
                  <a:pt x="1969" y="93"/>
                  <a:pt x="1967" y="91"/>
                </a:cubicBezTo>
                <a:cubicBezTo>
                  <a:pt x="1965" y="89"/>
                  <a:pt x="1962" y="86"/>
                  <a:pt x="1962" y="86"/>
                </a:cubicBezTo>
                <a:cubicBezTo>
                  <a:pt x="1957" y="86"/>
                  <a:pt x="1957" y="86"/>
                  <a:pt x="1957" y="86"/>
                </a:cubicBezTo>
                <a:cubicBezTo>
                  <a:pt x="1957" y="86"/>
                  <a:pt x="1964" y="90"/>
                  <a:pt x="1962" y="92"/>
                </a:cubicBezTo>
                <a:cubicBezTo>
                  <a:pt x="1960" y="93"/>
                  <a:pt x="1956" y="94"/>
                  <a:pt x="1956" y="94"/>
                </a:cubicBezTo>
                <a:cubicBezTo>
                  <a:pt x="1953" y="99"/>
                  <a:pt x="1953" y="99"/>
                  <a:pt x="1953" y="99"/>
                </a:cubicBezTo>
                <a:cubicBezTo>
                  <a:pt x="1963" y="105"/>
                  <a:pt x="1963" y="105"/>
                  <a:pt x="1963" y="105"/>
                </a:cubicBezTo>
                <a:cubicBezTo>
                  <a:pt x="1963" y="105"/>
                  <a:pt x="1966" y="104"/>
                  <a:pt x="1966" y="105"/>
                </a:cubicBezTo>
                <a:cubicBezTo>
                  <a:pt x="1966" y="106"/>
                  <a:pt x="1965" y="113"/>
                  <a:pt x="1965" y="113"/>
                </a:cubicBezTo>
                <a:cubicBezTo>
                  <a:pt x="1966" y="115"/>
                  <a:pt x="1966" y="115"/>
                  <a:pt x="1966" y="115"/>
                </a:cubicBezTo>
                <a:cubicBezTo>
                  <a:pt x="1971" y="116"/>
                  <a:pt x="1971" y="116"/>
                  <a:pt x="1971" y="116"/>
                </a:cubicBezTo>
                <a:cubicBezTo>
                  <a:pt x="1971" y="120"/>
                  <a:pt x="1971" y="120"/>
                  <a:pt x="1971" y="120"/>
                </a:cubicBezTo>
                <a:cubicBezTo>
                  <a:pt x="1979" y="122"/>
                  <a:pt x="1979" y="122"/>
                  <a:pt x="1979" y="122"/>
                </a:cubicBezTo>
                <a:cubicBezTo>
                  <a:pt x="1979" y="122"/>
                  <a:pt x="1985" y="119"/>
                  <a:pt x="1988" y="119"/>
                </a:cubicBezTo>
                <a:cubicBezTo>
                  <a:pt x="1991" y="120"/>
                  <a:pt x="1995" y="122"/>
                  <a:pt x="1995" y="122"/>
                </a:cubicBezTo>
                <a:cubicBezTo>
                  <a:pt x="1995" y="122"/>
                  <a:pt x="2001" y="123"/>
                  <a:pt x="2004" y="125"/>
                </a:cubicBezTo>
                <a:cubicBezTo>
                  <a:pt x="2007" y="127"/>
                  <a:pt x="2007" y="129"/>
                  <a:pt x="2007" y="129"/>
                </a:cubicBezTo>
                <a:cubicBezTo>
                  <a:pt x="2007" y="129"/>
                  <a:pt x="2000" y="130"/>
                  <a:pt x="2003" y="131"/>
                </a:cubicBezTo>
                <a:cubicBezTo>
                  <a:pt x="2006" y="133"/>
                  <a:pt x="2009" y="135"/>
                  <a:pt x="2009" y="135"/>
                </a:cubicBezTo>
                <a:cubicBezTo>
                  <a:pt x="2015" y="134"/>
                  <a:pt x="2015" y="134"/>
                  <a:pt x="2015" y="134"/>
                </a:cubicBezTo>
                <a:cubicBezTo>
                  <a:pt x="2015" y="134"/>
                  <a:pt x="2011" y="136"/>
                  <a:pt x="2008" y="136"/>
                </a:cubicBezTo>
                <a:cubicBezTo>
                  <a:pt x="2006" y="136"/>
                  <a:pt x="2002" y="134"/>
                  <a:pt x="2002" y="134"/>
                </a:cubicBezTo>
                <a:cubicBezTo>
                  <a:pt x="2002" y="134"/>
                  <a:pt x="2003" y="129"/>
                  <a:pt x="1999" y="128"/>
                </a:cubicBezTo>
                <a:cubicBezTo>
                  <a:pt x="1996" y="126"/>
                  <a:pt x="1994" y="125"/>
                  <a:pt x="1994" y="125"/>
                </a:cubicBezTo>
                <a:cubicBezTo>
                  <a:pt x="1994" y="125"/>
                  <a:pt x="1993" y="121"/>
                  <a:pt x="1990" y="122"/>
                </a:cubicBezTo>
                <a:cubicBezTo>
                  <a:pt x="1988" y="122"/>
                  <a:pt x="1981" y="123"/>
                  <a:pt x="1981" y="123"/>
                </a:cubicBezTo>
                <a:cubicBezTo>
                  <a:pt x="1981" y="123"/>
                  <a:pt x="1977" y="124"/>
                  <a:pt x="1978" y="126"/>
                </a:cubicBezTo>
                <a:cubicBezTo>
                  <a:pt x="1978" y="128"/>
                  <a:pt x="1985" y="132"/>
                  <a:pt x="1985" y="133"/>
                </a:cubicBezTo>
                <a:cubicBezTo>
                  <a:pt x="1985" y="134"/>
                  <a:pt x="1981" y="136"/>
                  <a:pt x="1981" y="136"/>
                </a:cubicBezTo>
                <a:cubicBezTo>
                  <a:pt x="1980" y="142"/>
                  <a:pt x="1980" y="142"/>
                  <a:pt x="1980" y="142"/>
                </a:cubicBezTo>
                <a:cubicBezTo>
                  <a:pt x="1974" y="145"/>
                  <a:pt x="1974" y="145"/>
                  <a:pt x="1974" y="145"/>
                </a:cubicBezTo>
                <a:cubicBezTo>
                  <a:pt x="1974" y="145"/>
                  <a:pt x="1973" y="149"/>
                  <a:pt x="1970" y="148"/>
                </a:cubicBezTo>
                <a:cubicBezTo>
                  <a:pt x="1968" y="147"/>
                  <a:pt x="1962" y="147"/>
                  <a:pt x="1962" y="147"/>
                </a:cubicBezTo>
                <a:cubicBezTo>
                  <a:pt x="1954" y="147"/>
                  <a:pt x="1954" y="147"/>
                  <a:pt x="1954" y="147"/>
                </a:cubicBezTo>
                <a:cubicBezTo>
                  <a:pt x="1954" y="147"/>
                  <a:pt x="1945" y="143"/>
                  <a:pt x="1948" y="143"/>
                </a:cubicBezTo>
                <a:cubicBezTo>
                  <a:pt x="1950" y="143"/>
                  <a:pt x="1955" y="143"/>
                  <a:pt x="1955" y="143"/>
                </a:cubicBezTo>
                <a:cubicBezTo>
                  <a:pt x="1957" y="144"/>
                  <a:pt x="1957" y="144"/>
                  <a:pt x="1957" y="144"/>
                </a:cubicBezTo>
                <a:cubicBezTo>
                  <a:pt x="1961" y="141"/>
                  <a:pt x="1961" y="141"/>
                  <a:pt x="1961" y="141"/>
                </a:cubicBezTo>
                <a:cubicBezTo>
                  <a:pt x="1961" y="141"/>
                  <a:pt x="1968" y="143"/>
                  <a:pt x="1968" y="141"/>
                </a:cubicBezTo>
                <a:cubicBezTo>
                  <a:pt x="1968" y="139"/>
                  <a:pt x="1969" y="135"/>
                  <a:pt x="1969" y="135"/>
                </a:cubicBezTo>
                <a:cubicBezTo>
                  <a:pt x="1972" y="134"/>
                  <a:pt x="1972" y="134"/>
                  <a:pt x="1972" y="134"/>
                </a:cubicBezTo>
                <a:cubicBezTo>
                  <a:pt x="1973" y="131"/>
                  <a:pt x="1973" y="131"/>
                  <a:pt x="1973" y="131"/>
                </a:cubicBezTo>
                <a:cubicBezTo>
                  <a:pt x="1970" y="131"/>
                  <a:pt x="1970" y="131"/>
                  <a:pt x="1970" y="131"/>
                </a:cubicBezTo>
                <a:cubicBezTo>
                  <a:pt x="1970" y="131"/>
                  <a:pt x="1974" y="127"/>
                  <a:pt x="1972" y="126"/>
                </a:cubicBezTo>
                <a:cubicBezTo>
                  <a:pt x="1970" y="125"/>
                  <a:pt x="1961" y="126"/>
                  <a:pt x="1960" y="122"/>
                </a:cubicBezTo>
                <a:cubicBezTo>
                  <a:pt x="1960" y="119"/>
                  <a:pt x="1960" y="115"/>
                  <a:pt x="1958" y="114"/>
                </a:cubicBezTo>
                <a:cubicBezTo>
                  <a:pt x="1956" y="113"/>
                  <a:pt x="1954" y="110"/>
                  <a:pt x="1954" y="110"/>
                </a:cubicBezTo>
                <a:cubicBezTo>
                  <a:pt x="1953" y="104"/>
                  <a:pt x="1953" y="104"/>
                  <a:pt x="1953" y="104"/>
                </a:cubicBezTo>
                <a:cubicBezTo>
                  <a:pt x="1944" y="100"/>
                  <a:pt x="1944" y="100"/>
                  <a:pt x="1944" y="100"/>
                </a:cubicBezTo>
                <a:cubicBezTo>
                  <a:pt x="1944" y="100"/>
                  <a:pt x="1950" y="95"/>
                  <a:pt x="1947" y="91"/>
                </a:cubicBezTo>
                <a:cubicBezTo>
                  <a:pt x="1944" y="87"/>
                  <a:pt x="1937" y="87"/>
                  <a:pt x="1937" y="87"/>
                </a:cubicBezTo>
                <a:cubicBezTo>
                  <a:pt x="1918" y="85"/>
                  <a:pt x="1918" y="85"/>
                  <a:pt x="1918" y="85"/>
                </a:cubicBezTo>
                <a:cubicBezTo>
                  <a:pt x="1917" y="89"/>
                  <a:pt x="1917" y="89"/>
                  <a:pt x="1917" y="89"/>
                </a:cubicBezTo>
                <a:cubicBezTo>
                  <a:pt x="1919" y="92"/>
                  <a:pt x="1919" y="92"/>
                  <a:pt x="1919" y="92"/>
                </a:cubicBezTo>
                <a:cubicBezTo>
                  <a:pt x="1918" y="97"/>
                  <a:pt x="1918" y="97"/>
                  <a:pt x="1918" y="97"/>
                </a:cubicBezTo>
                <a:cubicBezTo>
                  <a:pt x="1910" y="100"/>
                  <a:pt x="1910" y="100"/>
                  <a:pt x="1910" y="100"/>
                </a:cubicBezTo>
                <a:cubicBezTo>
                  <a:pt x="1909" y="104"/>
                  <a:pt x="1909" y="104"/>
                  <a:pt x="1909" y="104"/>
                </a:cubicBezTo>
                <a:cubicBezTo>
                  <a:pt x="1913" y="104"/>
                  <a:pt x="1913" y="104"/>
                  <a:pt x="1913" y="104"/>
                </a:cubicBezTo>
                <a:cubicBezTo>
                  <a:pt x="1918" y="112"/>
                  <a:pt x="1918" y="112"/>
                  <a:pt x="1918" y="112"/>
                </a:cubicBezTo>
                <a:cubicBezTo>
                  <a:pt x="1916" y="114"/>
                  <a:pt x="1916" y="114"/>
                  <a:pt x="1916" y="114"/>
                </a:cubicBezTo>
                <a:cubicBezTo>
                  <a:pt x="1920" y="117"/>
                  <a:pt x="1920" y="117"/>
                  <a:pt x="1920" y="117"/>
                </a:cubicBezTo>
                <a:cubicBezTo>
                  <a:pt x="1925" y="116"/>
                  <a:pt x="1925" y="116"/>
                  <a:pt x="1925" y="116"/>
                </a:cubicBezTo>
                <a:cubicBezTo>
                  <a:pt x="1925" y="116"/>
                  <a:pt x="1929" y="120"/>
                  <a:pt x="1932" y="121"/>
                </a:cubicBezTo>
                <a:cubicBezTo>
                  <a:pt x="1934" y="122"/>
                  <a:pt x="1937" y="122"/>
                  <a:pt x="1937" y="122"/>
                </a:cubicBezTo>
                <a:cubicBezTo>
                  <a:pt x="1936" y="129"/>
                  <a:pt x="1936" y="129"/>
                  <a:pt x="1936" y="129"/>
                </a:cubicBezTo>
                <a:cubicBezTo>
                  <a:pt x="1934" y="126"/>
                  <a:pt x="1934" y="126"/>
                  <a:pt x="1934" y="126"/>
                </a:cubicBezTo>
                <a:cubicBezTo>
                  <a:pt x="1932" y="128"/>
                  <a:pt x="1932" y="128"/>
                  <a:pt x="1932" y="128"/>
                </a:cubicBezTo>
                <a:cubicBezTo>
                  <a:pt x="1932" y="128"/>
                  <a:pt x="1928" y="126"/>
                  <a:pt x="1924" y="124"/>
                </a:cubicBezTo>
                <a:cubicBezTo>
                  <a:pt x="1922" y="123"/>
                  <a:pt x="1919" y="122"/>
                  <a:pt x="1917" y="121"/>
                </a:cubicBezTo>
                <a:cubicBezTo>
                  <a:pt x="1914" y="121"/>
                  <a:pt x="1909" y="121"/>
                  <a:pt x="1909" y="121"/>
                </a:cubicBezTo>
                <a:cubicBezTo>
                  <a:pt x="1907" y="119"/>
                  <a:pt x="1907" y="119"/>
                  <a:pt x="1907" y="119"/>
                </a:cubicBezTo>
                <a:cubicBezTo>
                  <a:pt x="1905" y="122"/>
                  <a:pt x="1905" y="122"/>
                  <a:pt x="1905" y="122"/>
                </a:cubicBezTo>
                <a:cubicBezTo>
                  <a:pt x="1902" y="118"/>
                  <a:pt x="1902" y="118"/>
                  <a:pt x="1902" y="118"/>
                </a:cubicBezTo>
                <a:cubicBezTo>
                  <a:pt x="1902" y="118"/>
                  <a:pt x="1893" y="115"/>
                  <a:pt x="1892" y="115"/>
                </a:cubicBezTo>
                <a:cubicBezTo>
                  <a:pt x="1890" y="115"/>
                  <a:pt x="1886" y="115"/>
                  <a:pt x="1886" y="115"/>
                </a:cubicBezTo>
                <a:cubicBezTo>
                  <a:pt x="1886" y="115"/>
                  <a:pt x="1876" y="114"/>
                  <a:pt x="1875" y="115"/>
                </a:cubicBezTo>
                <a:cubicBezTo>
                  <a:pt x="1874" y="115"/>
                  <a:pt x="1872" y="115"/>
                  <a:pt x="1872" y="117"/>
                </a:cubicBezTo>
                <a:cubicBezTo>
                  <a:pt x="1872" y="119"/>
                  <a:pt x="1877" y="121"/>
                  <a:pt x="1877" y="121"/>
                </a:cubicBezTo>
                <a:cubicBezTo>
                  <a:pt x="1875" y="126"/>
                  <a:pt x="1875" y="126"/>
                  <a:pt x="1875" y="126"/>
                </a:cubicBezTo>
                <a:cubicBezTo>
                  <a:pt x="1873" y="124"/>
                  <a:pt x="1873" y="124"/>
                  <a:pt x="1873" y="124"/>
                </a:cubicBezTo>
                <a:cubicBezTo>
                  <a:pt x="1873" y="128"/>
                  <a:pt x="1873" y="128"/>
                  <a:pt x="1873" y="128"/>
                </a:cubicBezTo>
                <a:cubicBezTo>
                  <a:pt x="1873" y="128"/>
                  <a:pt x="1868" y="128"/>
                  <a:pt x="1868" y="126"/>
                </a:cubicBezTo>
                <a:cubicBezTo>
                  <a:pt x="1868" y="125"/>
                  <a:pt x="1869" y="121"/>
                  <a:pt x="1866" y="121"/>
                </a:cubicBezTo>
                <a:cubicBezTo>
                  <a:pt x="1863" y="121"/>
                  <a:pt x="1856" y="126"/>
                  <a:pt x="1854" y="127"/>
                </a:cubicBezTo>
                <a:cubicBezTo>
                  <a:pt x="1853" y="127"/>
                  <a:pt x="1851" y="124"/>
                  <a:pt x="1847" y="125"/>
                </a:cubicBezTo>
                <a:cubicBezTo>
                  <a:pt x="1842" y="125"/>
                  <a:pt x="1837" y="128"/>
                  <a:pt x="1837" y="129"/>
                </a:cubicBezTo>
                <a:cubicBezTo>
                  <a:pt x="1836" y="131"/>
                  <a:pt x="1827" y="130"/>
                  <a:pt x="1827" y="130"/>
                </a:cubicBezTo>
                <a:cubicBezTo>
                  <a:pt x="1828" y="126"/>
                  <a:pt x="1828" y="126"/>
                  <a:pt x="1828" y="126"/>
                </a:cubicBezTo>
                <a:cubicBezTo>
                  <a:pt x="1828" y="121"/>
                  <a:pt x="1828" y="121"/>
                  <a:pt x="1828" y="121"/>
                </a:cubicBezTo>
                <a:cubicBezTo>
                  <a:pt x="1828" y="121"/>
                  <a:pt x="1819" y="123"/>
                  <a:pt x="1819" y="125"/>
                </a:cubicBezTo>
                <a:cubicBezTo>
                  <a:pt x="1819" y="127"/>
                  <a:pt x="1820" y="128"/>
                  <a:pt x="1820" y="128"/>
                </a:cubicBezTo>
                <a:cubicBezTo>
                  <a:pt x="1816" y="129"/>
                  <a:pt x="1816" y="129"/>
                  <a:pt x="1816" y="129"/>
                </a:cubicBezTo>
                <a:cubicBezTo>
                  <a:pt x="1816" y="125"/>
                  <a:pt x="1816" y="125"/>
                  <a:pt x="1816" y="125"/>
                </a:cubicBezTo>
                <a:cubicBezTo>
                  <a:pt x="1813" y="126"/>
                  <a:pt x="1813" y="126"/>
                  <a:pt x="1813" y="126"/>
                </a:cubicBezTo>
                <a:cubicBezTo>
                  <a:pt x="1806" y="127"/>
                  <a:pt x="1806" y="127"/>
                  <a:pt x="1806" y="127"/>
                </a:cubicBezTo>
                <a:cubicBezTo>
                  <a:pt x="1800" y="131"/>
                  <a:pt x="1800" y="131"/>
                  <a:pt x="1800" y="131"/>
                </a:cubicBezTo>
                <a:cubicBezTo>
                  <a:pt x="1793" y="132"/>
                  <a:pt x="1793" y="132"/>
                  <a:pt x="1793" y="132"/>
                </a:cubicBezTo>
                <a:cubicBezTo>
                  <a:pt x="1795" y="135"/>
                  <a:pt x="1795" y="135"/>
                  <a:pt x="1795" y="135"/>
                </a:cubicBezTo>
                <a:cubicBezTo>
                  <a:pt x="1795" y="135"/>
                  <a:pt x="1789" y="133"/>
                  <a:pt x="1789" y="136"/>
                </a:cubicBezTo>
                <a:cubicBezTo>
                  <a:pt x="1788" y="138"/>
                  <a:pt x="1789" y="141"/>
                  <a:pt x="1789" y="141"/>
                </a:cubicBezTo>
                <a:cubicBezTo>
                  <a:pt x="1778" y="142"/>
                  <a:pt x="1778" y="142"/>
                  <a:pt x="1778" y="142"/>
                </a:cubicBezTo>
                <a:cubicBezTo>
                  <a:pt x="1778" y="142"/>
                  <a:pt x="1775" y="140"/>
                  <a:pt x="1774" y="140"/>
                </a:cubicBezTo>
                <a:cubicBezTo>
                  <a:pt x="1773" y="140"/>
                  <a:pt x="1768" y="141"/>
                  <a:pt x="1768" y="138"/>
                </a:cubicBezTo>
                <a:cubicBezTo>
                  <a:pt x="1768" y="135"/>
                  <a:pt x="1768" y="131"/>
                  <a:pt x="1772" y="133"/>
                </a:cubicBezTo>
                <a:cubicBezTo>
                  <a:pt x="1775" y="134"/>
                  <a:pt x="1780" y="133"/>
                  <a:pt x="1780" y="133"/>
                </a:cubicBezTo>
                <a:cubicBezTo>
                  <a:pt x="1780" y="133"/>
                  <a:pt x="1772" y="126"/>
                  <a:pt x="1770" y="126"/>
                </a:cubicBezTo>
                <a:cubicBezTo>
                  <a:pt x="1769" y="125"/>
                  <a:pt x="1753" y="125"/>
                  <a:pt x="1753" y="125"/>
                </a:cubicBezTo>
                <a:cubicBezTo>
                  <a:pt x="1755" y="127"/>
                  <a:pt x="1755" y="127"/>
                  <a:pt x="1755" y="127"/>
                </a:cubicBezTo>
                <a:cubicBezTo>
                  <a:pt x="1755" y="127"/>
                  <a:pt x="1761" y="126"/>
                  <a:pt x="1760" y="130"/>
                </a:cubicBezTo>
                <a:cubicBezTo>
                  <a:pt x="1759" y="134"/>
                  <a:pt x="1757" y="140"/>
                  <a:pt x="1758" y="140"/>
                </a:cubicBezTo>
                <a:cubicBezTo>
                  <a:pt x="1760" y="140"/>
                  <a:pt x="1765" y="142"/>
                  <a:pt x="1765" y="142"/>
                </a:cubicBezTo>
                <a:cubicBezTo>
                  <a:pt x="1765" y="147"/>
                  <a:pt x="1765" y="147"/>
                  <a:pt x="1765" y="147"/>
                </a:cubicBezTo>
                <a:cubicBezTo>
                  <a:pt x="1766" y="151"/>
                  <a:pt x="1766" y="151"/>
                  <a:pt x="1766" y="151"/>
                </a:cubicBezTo>
                <a:cubicBezTo>
                  <a:pt x="1762" y="148"/>
                  <a:pt x="1762" y="148"/>
                  <a:pt x="1762" y="148"/>
                </a:cubicBezTo>
                <a:cubicBezTo>
                  <a:pt x="1759" y="152"/>
                  <a:pt x="1759" y="152"/>
                  <a:pt x="1759" y="152"/>
                </a:cubicBezTo>
                <a:cubicBezTo>
                  <a:pt x="1758" y="147"/>
                  <a:pt x="1758" y="147"/>
                  <a:pt x="1758" y="147"/>
                </a:cubicBezTo>
                <a:cubicBezTo>
                  <a:pt x="1748" y="145"/>
                  <a:pt x="1748" y="145"/>
                  <a:pt x="1748" y="145"/>
                </a:cubicBezTo>
                <a:cubicBezTo>
                  <a:pt x="1744" y="150"/>
                  <a:pt x="1744" y="150"/>
                  <a:pt x="1744" y="150"/>
                </a:cubicBezTo>
                <a:cubicBezTo>
                  <a:pt x="1740" y="150"/>
                  <a:pt x="1740" y="150"/>
                  <a:pt x="1740" y="150"/>
                </a:cubicBezTo>
                <a:cubicBezTo>
                  <a:pt x="1740" y="150"/>
                  <a:pt x="1739" y="152"/>
                  <a:pt x="1737" y="153"/>
                </a:cubicBezTo>
                <a:cubicBezTo>
                  <a:pt x="1735" y="154"/>
                  <a:pt x="1731" y="155"/>
                  <a:pt x="1733" y="156"/>
                </a:cubicBezTo>
                <a:cubicBezTo>
                  <a:pt x="1734" y="158"/>
                  <a:pt x="1741" y="163"/>
                  <a:pt x="1741" y="163"/>
                </a:cubicBezTo>
                <a:cubicBezTo>
                  <a:pt x="1743" y="166"/>
                  <a:pt x="1743" y="166"/>
                  <a:pt x="1743" y="166"/>
                </a:cubicBezTo>
                <a:cubicBezTo>
                  <a:pt x="1739" y="164"/>
                  <a:pt x="1739" y="164"/>
                  <a:pt x="1739" y="164"/>
                </a:cubicBezTo>
                <a:cubicBezTo>
                  <a:pt x="1739" y="164"/>
                  <a:pt x="1735" y="166"/>
                  <a:pt x="1733" y="165"/>
                </a:cubicBezTo>
                <a:cubicBezTo>
                  <a:pt x="1730" y="164"/>
                  <a:pt x="1721" y="162"/>
                  <a:pt x="1721" y="162"/>
                </a:cubicBezTo>
                <a:cubicBezTo>
                  <a:pt x="1721" y="162"/>
                  <a:pt x="1720" y="157"/>
                  <a:pt x="1717" y="159"/>
                </a:cubicBezTo>
                <a:cubicBezTo>
                  <a:pt x="1713" y="160"/>
                  <a:pt x="1712" y="161"/>
                  <a:pt x="1712" y="161"/>
                </a:cubicBezTo>
                <a:cubicBezTo>
                  <a:pt x="1709" y="161"/>
                  <a:pt x="1709" y="161"/>
                  <a:pt x="1709" y="161"/>
                </a:cubicBezTo>
                <a:cubicBezTo>
                  <a:pt x="1716" y="167"/>
                  <a:pt x="1716" y="167"/>
                  <a:pt x="1716" y="167"/>
                </a:cubicBezTo>
                <a:cubicBezTo>
                  <a:pt x="1716" y="167"/>
                  <a:pt x="1724" y="167"/>
                  <a:pt x="1724" y="169"/>
                </a:cubicBezTo>
                <a:cubicBezTo>
                  <a:pt x="1724" y="170"/>
                  <a:pt x="1720" y="172"/>
                  <a:pt x="1720" y="172"/>
                </a:cubicBezTo>
                <a:cubicBezTo>
                  <a:pt x="1711" y="170"/>
                  <a:pt x="1711" y="170"/>
                  <a:pt x="1711" y="170"/>
                </a:cubicBezTo>
                <a:cubicBezTo>
                  <a:pt x="1711" y="170"/>
                  <a:pt x="1708" y="167"/>
                  <a:pt x="1706" y="167"/>
                </a:cubicBezTo>
                <a:cubicBezTo>
                  <a:pt x="1704" y="167"/>
                  <a:pt x="1699" y="169"/>
                  <a:pt x="1698" y="166"/>
                </a:cubicBezTo>
                <a:cubicBezTo>
                  <a:pt x="1698" y="163"/>
                  <a:pt x="1698" y="160"/>
                  <a:pt x="1698" y="160"/>
                </a:cubicBezTo>
                <a:cubicBezTo>
                  <a:pt x="1695" y="158"/>
                  <a:pt x="1695" y="158"/>
                  <a:pt x="1695" y="158"/>
                </a:cubicBezTo>
                <a:cubicBezTo>
                  <a:pt x="1695" y="158"/>
                  <a:pt x="1700" y="154"/>
                  <a:pt x="1698" y="153"/>
                </a:cubicBezTo>
                <a:cubicBezTo>
                  <a:pt x="1696" y="151"/>
                  <a:pt x="1685" y="148"/>
                  <a:pt x="1685" y="148"/>
                </a:cubicBezTo>
                <a:cubicBezTo>
                  <a:pt x="1680" y="144"/>
                  <a:pt x="1680" y="144"/>
                  <a:pt x="1680" y="144"/>
                </a:cubicBezTo>
                <a:cubicBezTo>
                  <a:pt x="1677" y="142"/>
                  <a:pt x="1677" y="142"/>
                  <a:pt x="1677" y="142"/>
                </a:cubicBezTo>
                <a:cubicBezTo>
                  <a:pt x="1675" y="140"/>
                  <a:pt x="1675" y="140"/>
                  <a:pt x="1675" y="140"/>
                </a:cubicBezTo>
                <a:cubicBezTo>
                  <a:pt x="1680" y="140"/>
                  <a:pt x="1680" y="140"/>
                  <a:pt x="1680" y="140"/>
                </a:cubicBezTo>
                <a:cubicBezTo>
                  <a:pt x="1680" y="140"/>
                  <a:pt x="1679" y="142"/>
                  <a:pt x="1683" y="143"/>
                </a:cubicBezTo>
                <a:cubicBezTo>
                  <a:pt x="1687" y="143"/>
                  <a:pt x="1693" y="143"/>
                  <a:pt x="1693" y="143"/>
                </a:cubicBezTo>
                <a:cubicBezTo>
                  <a:pt x="1693" y="143"/>
                  <a:pt x="1696" y="147"/>
                  <a:pt x="1698" y="147"/>
                </a:cubicBezTo>
                <a:cubicBezTo>
                  <a:pt x="1701" y="147"/>
                  <a:pt x="1712" y="148"/>
                  <a:pt x="1712" y="148"/>
                </a:cubicBezTo>
                <a:cubicBezTo>
                  <a:pt x="1712" y="148"/>
                  <a:pt x="1720" y="152"/>
                  <a:pt x="1729" y="149"/>
                </a:cubicBezTo>
                <a:cubicBezTo>
                  <a:pt x="1738" y="147"/>
                  <a:pt x="1747" y="144"/>
                  <a:pt x="1742" y="140"/>
                </a:cubicBezTo>
                <a:cubicBezTo>
                  <a:pt x="1738" y="136"/>
                  <a:pt x="1737" y="133"/>
                  <a:pt x="1731" y="132"/>
                </a:cubicBezTo>
                <a:cubicBezTo>
                  <a:pt x="1725" y="130"/>
                  <a:pt x="1717" y="127"/>
                  <a:pt x="1713" y="126"/>
                </a:cubicBezTo>
                <a:cubicBezTo>
                  <a:pt x="1709" y="124"/>
                  <a:pt x="1702" y="121"/>
                  <a:pt x="1698" y="121"/>
                </a:cubicBezTo>
                <a:cubicBezTo>
                  <a:pt x="1693" y="120"/>
                  <a:pt x="1689" y="120"/>
                  <a:pt x="1687" y="120"/>
                </a:cubicBezTo>
                <a:cubicBezTo>
                  <a:pt x="1684" y="120"/>
                  <a:pt x="1680" y="120"/>
                  <a:pt x="1680" y="120"/>
                </a:cubicBezTo>
                <a:cubicBezTo>
                  <a:pt x="1678" y="118"/>
                  <a:pt x="1678" y="118"/>
                  <a:pt x="1678" y="118"/>
                </a:cubicBezTo>
                <a:cubicBezTo>
                  <a:pt x="1674" y="119"/>
                  <a:pt x="1674" y="119"/>
                  <a:pt x="1674" y="119"/>
                </a:cubicBezTo>
                <a:cubicBezTo>
                  <a:pt x="1670" y="117"/>
                  <a:pt x="1670" y="117"/>
                  <a:pt x="1670" y="117"/>
                </a:cubicBezTo>
                <a:cubicBezTo>
                  <a:pt x="1674" y="116"/>
                  <a:pt x="1674" y="116"/>
                  <a:pt x="1674" y="116"/>
                </a:cubicBezTo>
                <a:cubicBezTo>
                  <a:pt x="1677" y="114"/>
                  <a:pt x="1677" y="114"/>
                  <a:pt x="1677" y="114"/>
                </a:cubicBezTo>
                <a:cubicBezTo>
                  <a:pt x="1677" y="114"/>
                  <a:pt x="1668" y="111"/>
                  <a:pt x="1666" y="112"/>
                </a:cubicBezTo>
                <a:cubicBezTo>
                  <a:pt x="1665" y="113"/>
                  <a:pt x="1665" y="115"/>
                  <a:pt x="1665" y="115"/>
                </a:cubicBezTo>
                <a:cubicBezTo>
                  <a:pt x="1661" y="115"/>
                  <a:pt x="1661" y="115"/>
                  <a:pt x="1661" y="115"/>
                </a:cubicBezTo>
                <a:cubicBezTo>
                  <a:pt x="1657" y="116"/>
                  <a:pt x="1657" y="116"/>
                  <a:pt x="1657" y="116"/>
                </a:cubicBezTo>
                <a:cubicBezTo>
                  <a:pt x="1652" y="114"/>
                  <a:pt x="1652" y="114"/>
                  <a:pt x="1652" y="114"/>
                </a:cubicBezTo>
                <a:cubicBezTo>
                  <a:pt x="1647" y="112"/>
                  <a:pt x="1647" y="112"/>
                  <a:pt x="1647" y="112"/>
                </a:cubicBezTo>
                <a:cubicBezTo>
                  <a:pt x="1647" y="112"/>
                  <a:pt x="1653" y="113"/>
                  <a:pt x="1655" y="112"/>
                </a:cubicBezTo>
                <a:cubicBezTo>
                  <a:pt x="1657" y="111"/>
                  <a:pt x="1661" y="109"/>
                  <a:pt x="1661" y="109"/>
                </a:cubicBezTo>
                <a:cubicBezTo>
                  <a:pt x="1661" y="109"/>
                  <a:pt x="1656" y="106"/>
                  <a:pt x="1653" y="106"/>
                </a:cubicBezTo>
                <a:cubicBezTo>
                  <a:pt x="1650" y="106"/>
                  <a:pt x="1645" y="104"/>
                  <a:pt x="1645" y="104"/>
                </a:cubicBezTo>
                <a:cubicBezTo>
                  <a:pt x="1645" y="104"/>
                  <a:pt x="1644" y="109"/>
                  <a:pt x="1640" y="109"/>
                </a:cubicBezTo>
                <a:cubicBezTo>
                  <a:pt x="1637" y="108"/>
                  <a:pt x="1643" y="104"/>
                  <a:pt x="1643" y="104"/>
                </a:cubicBezTo>
                <a:cubicBezTo>
                  <a:pt x="1634" y="101"/>
                  <a:pt x="1634" y="101"/>
                  <a:pt x="1634" y="101"/>
                </a:cubicBezTo>
                <a:cubicBezTo>
                  <a:pt x="1634" y="101"/>
                  <a:pt x="1632" y="111"/>
                  <a:pt x="1629" y="110"/>
                </a:cubicBezTo>
                <a:cubicBezTo>
                  <a:pt x="1626" y="109"/>
                  <a:pt x="1629" y="103"/>
                  <a:pt x="1629" y="103"/>
                </a:cubicBezTo>
                <a:cubicBezTo>
                  <a:pt x="1629" y="103"/>
                  <a:pt x="1621" y="113"/>
                  <a:pt x="1618" y="111"/>
                </a:cubicBezTo>
                <a:cubicBezTo>
                  <a:pt x="1616" y="110"/>
                  <a:pt x="1626" y="102"/>
                  <a:pt x="1626" y="102"/>
                </a:cubicBezTo>
                <a:cubicBezTo>
                  <a:pt x="1621" y="102"/>
                  <a:pt x="1621" y="102"/>
                  <a:pt x="1621" y="102"/>
                </a:cubicBezTo>
                <a:cubicBezTo>
                  <a:pt x="1619" y="104"/>
                  <a:pt x="1619" y="104"/>
                  <a:pt x="1619" y="104"/>
                </a:cubicBezTo>
                <a:cubicBezTo>
                  <a:pt x="1615" y="103"/>
                  <a:pt x="1615" y="103"/>
                  <a:pt x="1615" y="103"/>
                </a:cubicBezTo>
                <a:cubicBezTo>
                  <a:pt x="1609" y="107"/>
                  <a:pt x="1609" y="107"/>
                  <a:pt x="1609" y="107"/>
                </a:cubicBezTo>
                <a:cubicBezTo>
                  <a:pt x="1606" y="107"/>
                  <a:pt x="1606" y="107"/>
                  <a:pt x="1606" y="107"/>
                </a:cubicBezTo>
                <a:cubicBezTo>
                  <a:pt x="1605" y="112"/>
                  <a:pt x="1605" y="112"/>
                  <a:pt x="1605" y="112"/>
                </a:cubicBezTo>
                <a:cubicBezTo>
                  <a:pt x="1600" y="110"/>
                  <a:pt x="1600" y="110"/>
                  <a:pt x="1600" y="110"/>
                </a:cubicBezTo>
                <a:cubicBezTo>
                  <a:pt x="1595" y="111"/>
                  <a:pt x="1595" y="111"/>
                  <a:pt x="1595" y="111"/>
                </a:cubicBezTo>
                <a:cubicBezTo>
                  <a:pt x="1597" y="115"/>
                  <a:pt x="1597" y="115"/>
                  <a:pt x="1597" y="115"/>
                </a:cubicBezTo>
                <a:cubicBezTo>
                  <a:pt x="1590" y="113"/>
                  <a:pt x="1590" y="113"/>
                  <a:pt x="1590" y="113"/>
                </a:cubicBezTo>
                <a:cubicBezTo>
                  <a:pt x="1588" y="114"/>
                  <a:pt x="1588" y="114"/>
                  <a:pt x="1588" y="114"/>
                </a:cubicBezTo>
                <a:cubicBezTo>
                  <a:pt x="1588" y="117"/>
                  <a:pt x="1588" y="117"/>
                  <a:pt x="1588" y="117"/>
                </a:cubicBezTo>
                <a:cubicBezTo>
                  <a:pt x="1582" y="119"/>
                  <a:pt x="1582" y="119"/>
                  <a:pt x="1582" y="119"/>
                </a:cubicBezTo>
                <a:cubicBezTo>
                  <a:pt x="1583" y="114"/>
                  <a:pt x="1583" y="114"/>
                  <a:pt x="1583" y="114"/>
                </a:cubicBezTo>
                <a:cubicBezTo>
                  <a:pt x="1579" y="114"/>
                  <a:pt x="1579" y="114"/>
                  <a:pt x="1579" y="114"/>
                </a:cubicBezTo>
                <a:cubicBezTo>
                  <a:pt x="1580" y="117"/>
                  <a:pt x="1580" y="117"/>
                  <a:pt x="1580" y="117"/>
                </a:cubicBezTo>
                <a:cubicBezTo>
                  <a:pt x="1576" y="115"/>
                  <a:pt x="1576" y="115"/>
                  <a:pt x="1576" y="115"/>
                </a:cubicBezTo>
                <a:cubicBezTo>
                  <a:pt x="1577" y="119"/>
                  <a:pt x="1577" y="119"/>
                  <a:pt x="1577" y="119"/>
                </a:cubicBezTo>
                <a:cubicBezTo>
                  <a:pt x="1573" y="119"/>
                  <a:pt x="1573" y="119"/>
                  <a:pt x="1573" y="119"/>
                </a:cubicBezTo>
                <a:cubicBezTo>
                  <a:pt x="1573" y="119"/>
                  <a:pt x="1573" y="116"/>
                  <a:pt x="1573" y="115"/>
                </a:cubicBezTo>
                <a:cubicBezTo>
                  <a:pt x="1574" y="115"/>
                  <a:pt x="1576" y="113"/>
                  <a:pt x="1576" y="113"/>
                </a:cubicBezTo>
                <a:cubicBezTo>
                  <a:pt x="1571" y="112"/>
                  <a:pt x="1571" y="112"/>
                  <a:pt x="1571" y="112"/>
                </a:cubicBezTo>
                <a:cubicBezTo>
                  <a:pt x="1570" y="118"/>
                  <a:pt x="1570" y="118"/>
                  <a:pt x="1570" y="118"/>
                </a:cubicBezTo>
                <a:cubicBezTo>
                  <a:pt x="1567" y="120"/>
                  <a:pt x="1567" y="120"/>
                  <a:pt x="1567" y="120"/>
                </a:cubicBezTo>
                <a:cubicBezTo>
                  <a:pt x="1569" y="122"/>
                  <a:pt x="1569" y="122"/>
                  <a:pt x="1569" y="122"/>
                </a:cubicBezTo>
                <a:cubicBezTo>
                  <a:pt x="1564" y="122"/>
                  <a:pt x="1564" y="122"/>
                  <a:pt x="1564" y="122"/>
                </a:cubicBezTo>
                <a:cubicBezTo>
                  <a:pt x="1566" y="124"/>
                  <a:pt x="1566" y="124"/>
                  <a:pt x="1566" y="124"/>
                </a:cubicBezTo>
                <a:cubicBezTo>
                  <a:pt x="1560" y="124"/>
                  <a:pt x="1560" y="124"/>
                  <a:pt x="1560" y="124"/>
                </a:cubicBezTo>
                <a:cubicBezTo>
                  <a:pt x="1560" y="126"/>
                  <a:pt x="1560" y="126"/>
                  <a:pt x="1560" y="126"/>
                </a:cubicBezTo>
                <a:cubicBezTo>
                  <a:pt x="1564" y="127"/>
                  <a:pt x="1564" y="127"/>
                  <a:pt x="1564" y="127"/>
                </a:cubicBezTo>
                <a:cubicBezTo>
                  <a:pt x="1563" y="129"/>
                  <a:pt x="1563" y="129"/>
                  <a:pt x="1563" y="129"/>
                </a:cubicBezTo>
                <a:cubicBezTo>
                  <a:pt x="1558" y="127"/>
                  <a:pt x="1558" y="127"/>
                  <a:pt x="1558" y="127"/>
                </a:cubicBezTo>
                <a:cubicBezTo>
                  <a:pt x="1556" y="127"/>
                  <a:pt x="1556" y="127"/>
                  <a:pt x="1556" y="127"/>
                </a:cubicBezTo>
                <a:cubicBezTo>
                  <a:pt x="1559" y="129"/>
                  <a:pt x="1559" y="129"/>
                  <a:pt x="1559" y="129"/>
                </a:cubicBezTo>
                <a:cubicBezTo>
                  <a:pt x="1556" y="131"/>
                  <a:pt x="1556" y="131"/>
                  <a:pt x="1556" y="131"/>
                </a:cubicBezTo>
                <a:cubicBezTo>
                  <a:pt x="1554" y="129"/>
                  <a:pt x="1554" y="129"/>
                  <a:pt x="1554" y="129"/>
                </a:cubicBezTo>
                <a:cubicBezTo>
                  <a:pt x="1552" y="130"/>
                  <a:pt x="1552" y="130"/>
                  <a:pt x="1552" y="130"/>
                </a:cubicBezTo>
                <a:cubicBezTo>
                  <a:pt x="1553" y="131"/>
                  <a:pt x="1553" y="131"/>
                  <a:pt x="1553" y="131"/>
                </a:cubicBezTo>
                <a:cubicBezTo>
                  <a:pt x="1548" y="131"/>
                  <a:pt x="1548" y="131"/>
                  <a:pt x="1548" y="131"/>
                </a:cubicBezTo>
                <a:cubicBezTo>
                  <a:pt x="1547" y="133"/>
                  <a:pt x="1547" y="133"/>
                  <a:pt x="1547" y="133"/>
                </a:cubicBezTo>
                <a:cubicBezTo>
                  <a:pt x="1551" y="135"/>
                  <a:pt x="1551" y="135"/>
                  <a:pt x="1551" y="135"/>
                </a:cubicBezTo>
                <a:cubicBezTo>
                  <a:pt x="1550" y="137"/>
                  <a:pt x="1550" y="137"/>
                  <a:pt x="1550" y="137"/>
                </a:cubicBezTo>
                <a:cubicBezTo>
                  <a:pt x="1546" y="135"/>
                  <a:pt x="1546" y="135"/>
                  <a:pt x="1546" y="135"/>
                </a:cubicBezTo>
                <a:cubicBezTo>
                  <a:pt x="1545" y="138"/>
                  <a:pt x="1545" y="138"/>
                  <a:pt x="1545" y="138"/>
                </a:cubicBezTo>
                <a:cubicBezTo>
                  <a:pt x="1549" y="139"/>
                  <a:pt x="1549" y="139"/>
                  <a:pt x="1549" y="139"/>
                </a:cubicBezTo>
                <a:cubicBezTo>
                  <a:pt x="1549" y="139"/>
                  <a:pt x="1544" y="139"/>
                  <a:pt x="1543" y="139"/>
                </a:cubicBezTo>
                <a:cubicBezTo>
                  <a:pt x="1541" y="139"/>
                  <a:pt x="1542" y="141"/>
                  <a:pt x="1542" y="141"/>
                </a:cubicBezTo>
                <a:cubicBezTo>
                  <a:pt x="1542" y="141"/>
                  <a:pt x="1540" y="140"/>
                  <a:pt x="1538" y="141"/>
                </a:cubicBezTo>
                <a:cubicBezTo>
                  <a:pt x="1536" y="142"/>
                  <a:pt x="1535" y="143"/>
                  <a:pt x="1536" y="144"/>
                </a:cubicBezTo>
                <a:cubicBezTo>
                  <a:pt x="1537" y="145"/>
                  <a:pt x="1535" y="146"/>
                  <a:pt x="1535" y="146"/>
                </a:cubicBezTo>
                <a:cubicBezTo>
                  <a:pt x="1535" y="146"/>
                  <a:pt x="1533" y="148"/>
                  <a:pt x="1534" y="148"/>
                </a:cubicBezTo>
                <a:cubicBezTo>
                  <a:pt x="1534" y="148"/>
                  <a:pt x="1539" y="148"/>
                  <a:pt x="1539" y="148"/>
                </a:cubicBezTo>
                <a:cubicBezTo>
                  <a:pt x="1537" y="150"/>
                  <a:pt x="1537" y="150"/>
                  <a:pt x="1537" y="150"/>
                </a:cubicBezTo>
                <a:cubicBezTo>
                  <a:pt x="1532" y="149"/>
                  <a:pt x="1532" y="149"/>
                  <a:pt x="1532" y="149"/>
                </a:cubicBezTo>
                <a:cubicBezTo>
                  <a:pt x="1532" y="149"/>
                  <a:pt x="1530" y="150"/>
                  <a:pt x="1530" y="151"/>
                </a:cubicBezTo>
                <a:cubicBezTo>
                  <a:pt x="1530" y="153"/>
                  <a:pt x="1532" y="154"/>
                  <a:pt x="1531" y="155"/>
                </a:cubicBezTo>
                <a:cubicBezTo>
                  <a:pt x="1530" y="156"/>
                  <a:pt x="1529" y="156"/>
                  <a:pt x="1528" y="156"/>
                </a:cubicBezTo>
                <a:cubicBezTo>
                  <a:pt x="1527" y="156"/>
                  <a:pt x="1526" y="156"/>
                  <a:pt x="1526" y="157"/>
                </a:cubicBezTo>
                <a:cubicBezTo>
                  <a:pt x="1527" y="159"/>
                  <a:pt x="1528" y="160"/>
                  <a:pt x="1528" y="160"/>
                </a:cubicBezTo>
                <a:cubicBezTo>
                  <a:pt x="1528" y="160"/>
                  <a:pt x="1530" y="162"/>
                  <a:pt x="1528" y="162"/>
                </a:cubicBezTo>
                <a:cubicBezTo>
                  <a:pt x="1527" y="162"/>
                  <a:pt x="1525" y="162"/>
                  <a:pt x="1525" y="162"/>
                </a:cubicBezTo>
                <a:cubicBezTo>
                  <a:pt x="1524" y="162"/>
                  <a:pt x="1523" y="162"/>
                  <a:pt x="1523" y="163"/>
                </a:cubicBezTo>
                <a:cubicBezTo>
                  <a:pt x="1522" y="164"/>
                  <a:pt x="1522" y="165"/>
                  <a:pt x="1522" y="165"/>
                </a:cubicBezTo>
                <a:cubicBezTo>
                  <a:pt x="1522" y="165"/>
                  <a:pt x="1522" y="167"/>
                  <a:pt x="1521" y="167"/>
                </a:cubicBezTo>
                <a:cubicBezTo>
                  <a:pt x="1520" y="167"/>
                  <a:pt x="1519" y="165"/>
                  <a:pt x="1518" y="166"/>
                </a:cubicBezTo>
                <a:cubicBezTo>
                  <a:pt x="1516" y="166"/>
                  <a:pt x="1517" y="166"/>
                  <a:pt x="1516" y="167"/>
                </a:cubicBezTo>
                <a:cubicBezTo>
                  <a:pt x="1515" y="167"/>
                  <a:pt x="1515" y="168"/>
                  <a:pt x="1514" y="169"/>
                </a:cubicBezTo>
                <a:cubicBezTo>
                  <a:pt x="1513" y="169"/>
                  <a:pt x="1512" y="169"/>
                  <a:pt x="1512" y="169"/>
                </a:cubicBezTo>
                <a:cubicBezTo>
                  <a:pt x="1512" y="169"/>
                  <a:pt x="1511" y="170"/>
                  <a:pt x="1510" y="171"/>
                </a:cubicBezTo>
                <a:cubicBezTo>
                  <a:pt x="1509" y="172"/>
                  <a:pt x="1511" y="173"/>
                  <a:pt x="1510" y="174"/>
                </a:cubicBezTo>
                <a:cubicBezTo>
                  <a:pt x="1509" y="174"/>
                  <a:pt x="1509" y="175"/>
                  <a:pt x="1508" y="175"/>
                </a:cubicBezTo>
                <a:cubicBezTo>
                  <a:pt x="1507" y="175"/>
                  <a:pt x="1505" y="174"/>
                  <a:pt x="1504" y="174"/>
                </a:cubicBezTo>
                <a:cubicBezTo>
                  <a:pt x="1504" y="174"/>
                  <a:pt x="1505" y="172"/>
                  <a:pt x="1503" y="173"/>
                </a:cubicBezTo>
                <a:cubicBezTo>
                  <a:pt x="1500" y="175"/>
                  <a:pt x="1500" y="175"/>
                  <a:pt x="1499" y="175"/>
                </a:cubicBezTo>
                <a:cubicBezTo>
                  <a:pt x="1498" y="175"/>
                  <a:pt x="1497" y="174"/>
                  <a:pt x="1497" y="176"/>
                </a:cubicBezTo>
                <a:cubicBezTo>
                  <a:pt x="1497" y="178"/>
                  <a:pt x="1499" y="178"/>
                  <a:pt x="1499" y="179"/>
                </a:cubicBezTo>
                <a:cubicBezTo>
                  <a:pt x="1499" y="179"/>
                  <a:pt x="1500" y="181"/>
                  <a:pt x="1498" y="180"/>
                </a:cubicBezTo>
                <a:cubicBezTo>
                  <a:pt x="1496" y="179"/>
                  <a:pt x="1496" y="178"/>
                  <a:pt x="1495" y="178"/>
                </a:cubicBezTo>
                <a:cubicBezTo>
                  <a:pt x="1494" y="179"/>
                  <a:pt x="1493" y="180"/>
                  <a:pt x="1494" y="181"/>
                </a:cubicBezTo>
                <a:cubicBezTo>
                  <a:pt x="1495" y="181"/>
                  <a:pt x="1498" y="181"/>
                  <a:pt x="1497" y="182"/>
                </a:cubicBezTo>
                <a:cubicBezTo>
                  <a:pt x="1497" y="183"/>
                  <a:pt x="1499" y="184"/>
                  <a:pt x="1496" y="183"/>
                </a:cubicBezTo>
                <a:cubicBezTo>
                  <a:pt x="1493" y="183"/>
                  <a:pt x="1492" y="183"/>
                  <a:pt x="1492" y="183"/>
                </a:cubicBezTo>
                <a:cubicBezTo>
                  <a:pt x="1492" y="183"/>
                  <a:pt x="1492" y="182"/>
                  <a:pt x="1491" y="183"/>
                </a:cubicBezTo>
                <a:cubicBezTo>
                  <a:pt x="1490" y="184"/>
                  <a:pt x="1490" y="186"/>
                  <a:pt x="1490" y="186"/>
                </a:cubicBezTo>
                <a:cubicBezTo>
                  <a:pt x="1490" y="186"/>
                  <a:pt x="1484" y="183"/>
                  <a:pt x="1485" y="185"/>
                </a:cubicBezTo>
                <a:cubicBezTo>
                  <a:pt x="1486" y="186"/>
                  <a:pt x="1490" y="187"/>
                  <a:pt x="1490" y="187"/>
                </a:cubicBezTo>
                <a:cubicBezTo>
                  <a:pt x="1488" y="190"/>
                  <a:pt x="1488" y="190"/>
                  <a:pt x="1488" y="190"/>
                </a:cubicBezTo>
                <a:cubicBezTo>
                  <a:pt x="1488" y="190"/>
                  <a:pt x="1488" y="188"/>
                  <a:pt x="1486" y="188"/>
                </a:cubicBezTo>
                <a:cubicBezTo>
                  <a:pt x="1485" y="188"/>
                  <a:pt x="1484" y="189"/>
                  <a:pt x="1484" y="189"/>
                </a:cubicBezTo>
                <a:cubicBezTo>
                  <a:pt x="1481" y="187"/>
                  <a:pt x="1481" y="187"/>
                  <a:pt x="1481" y="187"/>
                </a:cubicBezTo>
                <a:cubicBezTo>
                  <a:pt x="1480" y="189"/>
                  <a:pt x="1480" y="189"/>
                  <a:pt x="1480" y="189"/>
                </a:cubicBezTo>
                <a:cubicBezTo>
                  <a:pt x="1481" y="190"/>
                  <a:pt x="1481" y="190"/>
                  <a:pt x="1481" y="190"/>
                </a:cubicBezTo>
                <a:cubicBezTo>
                  <a:pt x="1477" y="189"/>
                  <a:pt x="1477" y="189"/>
                  <a:pt x="1477" y="189"/>
                </a:cubicBezTo>
                <a:cubicBezTo>
                  <a:pt x="1476" y="191"/>
                  <a:pt x="1476" y="191"/>
                  <a:pt x="1476" y="191"/>
                </a:cubicBezTo>
                <a:cubicBezTo>
                  <a:pt x="1483" y="192"/>
                  <a:pt x="1483" y="192"/>
                  <a:pt x="1483" y="192"/>
                </a:cubicBezTo>
                <a:cubicBezTo>
                  <a:pt x="1480" y="193"/>
                  <a:pt x="1480" y="193"/>
                  <a:pt x="1480" y="193"/>
                </a:cubicBezTo>
                <a:cubicBezTo>
                  <a:pt x="1475" y="192"/>
                  <a:pt x="1475" y="192"/>
                  <a:pt x="1475" y="192"/>
                </a:cubicBezTo>
                <a:cubicBezTo>
                  <a:pt x="1475" y="192"/>
                  <a:pt x="1473" y="193"/>
                  <a:pt x="1473" y="194"/>
                </a:cubicBezTo>
                <a:cubicBezTo>
                  <a:pt x="1473" y="196"/>
                  <a:pt x="1477" y="196"/>
                  <a:pt x="1477" y="196"/>
                </a:cubicBezTo>
                <a:cubicBezTo>
                  <a:pt x="1475" y="197"/>
                  <a:pt x="1475" y="197"/>
                  <a:pt x="1475" y="197"/>
                </a:cubicBezTo>
                <a:cubicBezTo>
                  <a:pt x="1475" y="197"/>
                  <a:pt x="1473" y="198"/>
                  <a:pt x="1475" y="198"/>
                </a:cubicBezTo>
                <a:cubicBezTo>
                  <a:pt x="1476" y="199"/>
                  <a:pt x="1481" y="199"/>
                  <a:pt x="1481" y="199"/>
                </a:cubicBezTo>
                <a:cubicBezTo>
                  <a:pt x="1483" y="200"/>
                  <a:pt x="1483" y="200"/>
                  <a:pt x="1483" y="200"/>
                </a:cubicBezTo>
                <a:cubicBezTo>
                  <a:pt x="1486" y="198"/>
                  <a:pt x="1486" y="198"/>
                  <a:pt x="1486" y="198"/>
                </a:cubicBezTo>
                <a:cubicBezTo>
                  <a:pt x="1487" y="200"/>
                  <a:pt x="1487" y="200"/>
                  <a:pt x="1487" y="200"/>
                </a:cubicBezTo>
                <a:cubicBezTo>
                  <a:pt x="1491" y="198"/>
                  <a:pt x="1491" y="198"/>
                  <a:pt x="1491" y="198"/>
                </a:cubicBezTo>
                <a:cubicBezTo>
                  <a:pt x="1491" y="198"/>
                  <a:pt x="1490" y="201"/>
                  <a:pt x="1489" y="201"/>
                </a:cubicBezTo>
                <a:cubicBezTo>
                  <a:pt x="1488" y="201"/>
                  <a:pt x="1485" y="201"/>
                  <a:pt x="1485" y="201"/>
                </a:cubicBezTo>
                <a:cubicBezTo>
                  <a:pt x="1482" y="201"/>
                  <a:pt x="1482" y="201"/>
                  <a:pt x="1482" y="201"/>
                </a:cubicBezTo>
                <a:cubicBezTo>
                  <a:pt x="1482" y="201"/>
                  <a:pt x="1478" y="200"/>
                  <a:pt x="1478" y="200"/>
                </a:cubicBezTo>
                <a:cubicBezTo>
                  <a:pt x="1477" y="200"/>
                  <a:pt x="1472" y="201"/>
                  <a:pt x="1472" y="201"/>
                </a:cubicBezTo>
                <a:cubicBezTo>
                  <a:pt x="1472" y="201"/>
                  <a:pt x="1473" y="203"/>
                  <a:pt x="1474" y="204"/>
                </a:cubicBezTo>
                <a:cubicBezTo>
                  <a:pt x="1475" y="204"/>
                  <a:pt x="1477" y="204"/>
                  <a:pt x="1477" y="204"/>
                </a:cubicBezTo>
                <a:cubicBezTo>
                  <a:pt x="1477" y="204"/>
                  <a:pt x="1474" y="206"/>
                  <a:pt x="1475" y="208"/>
                </a:cubicBezTo>
                <a:cubicBezTo>
                  <a:pt x="1476" y="209"/>
                  <a:pt x="1479" y="209"/>
                  <a:pt x="1479" y="209"/>
                </a:cubicBezTo>
                <a:cubicBezTo>
                  <a:pt x="1482" y="207"/>
                  <a:pt x="1482" y="207"/>
                  <a:pt x="1482" y="207"/>
                </a:cubicBezTo>
                <a:cubicBezTo>
                  <a:pt x="1486" y="206"/>
                  <a:pt x="1486" y="206"/>
                  <a:pt x="1486" y="206"/>
                </a:cubicBezTo>
                <a:cubicBezTo>
                  <a:pt x="1485" y="209"/>
                  <a:pt x="1485" y="209"/>
                  <a:pt x="1485" y="209"/>
                </a:cubicBezTo>
                <a:cubicBezTo>
                  <a:pt x="1483" y="208"/>
                  <a:pt x="1483" y="208"/>
                  <a:pt x="1483" y="208"/>
                </a:cubicBezTo>
                <a:cubicBezTo>
                  <a:pt x="1481" y="211"/>
                  <a:pt x="1481" y="211"/>
                  <a:pt x="1481" y="211"/>
                </a:cubicBezTo>
                <a:cubicBezTo>
                  <a:pt x="1481" y="211"/>
                  <a:pt x="1475" y="210"/>
                  <a:pt x="1476" y="211"/>
                </a:cubicBezTo>
                <a:cubicBezTo>
                  <a:pt x="1477" y="213"/>
                  <a:pt x="1479" y="213"/>
                  <a:pt x="1479" y="213"/>
                </a:cubicBezTo>
                <a:cubicBezTo>
                  <a:pt x="1475" y="215"/>
                  <a:pt x="1475" y="215"/>
                  <a:pt x="1475" y="215"/>
                </a:cubicBezTo>
                <a:cubicBezTo>
                  <a:pt x="1473" y="215"/>
                  <a:pt x="1473" y="215"/>
                  <a:pt x="1473" y="215"/>
                </a:cubicBezTo>
                <a:cubicBezTo>
                  <a:pt x="1473" y="215"/>
                  <a:pt x="1473" y="217"/>
                  <a:pt x="1474" y="217"/>
                </a:cubicBezTo>
                <a:cubicBezTo>
                  <a:pt x="1475" y="217"/>
                  <a:pt x="1481" y="218"/>
                  <a:pt x="1481" y="218"/>
                </a:cubicBezTo>
                <a:cubicBezTo>
                  <a:pt x="1479" y="221"/>
                  <a:pt x="1479" y="221"/>
                  <a:pt x="1479" y="221"/>
                </a:cubicBezTo>
                <a:cubicBezTo>
                  <a:pt x="1481" y="221"/>
                  <a:pt x="1481" y="221"/>
                  <a:pt x="1481" y="221"/>
                </a:cubicBezTo>
                <a:cubicBezTo>
                  <a:pt x="1480" y="224"/>
                  <a:pt x="1480" y="224"/>
                  <a:pt x="1480" y="224"/>
                </a:cubicBezTo>
                <a:cubicBezTo>
                  <a:pt x="1480" y="224"/>
                  <a:pt x="1475" y="221"/>
                  <a:pt x="1475" y="223"/>
                </a:cubicBezTo>
                <a:cubicBezTo>
                  <a:pt x="1475" y="224"/>
                  <a:pt x="1477" y="226"/>
                  <a:pt x="1477" y="226"/>
                </a:cubicBezTo>
                <a:cubicBezTo>
                  <a:pt x="1484" y="229"/>
                  <a:pt x="1484" y="229"/>
                  <a:pt x="1484" y="229"/>
                </a:cubicBezTo>
                <a:cubicBezTo>
                  <a:pt x="1484" y="229"/>
                  <a:pt x="1482" y="230"/>
                  <a:pt x="1484" y="231"/>
                </a:cubicBezTo>
                <a:cubicBezTo>
                  <a:pt x="1485" y="232"/>
                  <a:pt x="1490" y="231"/>
                  <a:pt x="1490" y="231"/>
                </a:cubicBezTo>
                <a:cubicBezTo>
                  <a:pt x="1490" y="231"/>
                  <a:pt x="1490" y="233"/>
                  <a:pt x="1494" y="231"/>
                </a:cubicBezTo>
                <a:cubicBezTo>
                  <a:pt x="1498" y="230"/>
                  <a:pt x="1503" y="225"/>
                  <a:pt x="1503" y="225"/>
                </a:cubicBezTo>
                <a:cubicBezTo>
                  <a:pt x="1508" y="221"/>
                  <a:pt x="1508" y="221"/>
                  <a:pt x="1508" y="221"/>
                </a:cubicBezTo>
                <a:cubicBezTo>
                  <a:pt x="1508" y="221"/>
                  <a:pt x="1511" y="222"/>
                  <a:pt x="1513" y="220"/>
                </a:cubicBezTo>
                <a:cubicBezTo>
                  <a:pt x="1515" y="218"/>
                  <a:pt x="1513" y="214"/>
                  <a:pt x="1513" y="214"/>
                </a:cubicBezTo>
                <a:cubicBezTo>
                  <a:pt x="1515" y="214"/>
                  <a:pt x="1515" y="214"/>
                  <a:pt x="1515" y="214"/>
                </a:cubicBezTo>
                <a:cubicBezTo>
                  <a:pt x="1515" y="214"/>
                  <a:pt x="1513" y="217"/>
                  <a:pt x="1516" y="218"/>
                </a:cubicBezTo>
                <a:cubicBezTo>
                  <a:pt x="1519" y="219"/>
                  <a:pt x="1521" y="220"/>
                  <a:pt x="1521" y="220"/>
                </a:cubicBezTo>
                <a:cubicBezTo>
                  <a:pt x="1522" y="228"/>
                  <a:pt x="1522" y="228"/>
                  <a:pt x="1522" y="228"/>
                </a:cubicBezTo>
                <a:cubicBezTo>
                  <a:pt x="1522" y="228"/>
                  <a:pt x="1525" y="226"/>
                  <a:pt x="1526" y="229"/>
                </a:cubicBezTo>
                <a:cubicBezTo>
                  <a:pt x="1527" y="231"/>
                  <a:pt x="1525" y="229"/>
                  <a:pt x="1525" y="229"/>
                </a:cubicBezTo>
                <a:cubicBezTo>
                  <a:pt x="1525" y="229"/>
                  <a:pt x="1524" y="237"/>
                  <a:pt x="1525" y="237"/>
                </a:cubicBezTo>
                <a:cubicBezTo>
                  <a:pt x="1526" y="238"/>
                  <a:pt x="1528" y="239"/>
                  <a:pt x="1528" y="239"/>
                </a:cubicBezTo>
                <a:cubicBezTo>
                  <a:pt x="1528" y="239"/>
                  <a:pt x="1530" y="243"/>
                  <a:pt x="1531" y="244"/>
                </a:cubicBezTo>
                <a:cubicBezTo>
                  <a:pt x="1533" y="246"/>
                  <a:pt x="1535" y="247"/>
                  <a:pt x="1535" y="247"/>
                </a:cubicBezTo>
                <a:cubicBezTo>
                  <a:pt x="1535" y="248"/>
                  <a:pt x="1535" y="248"/>
                  <a:pt x="1535" y="248"/>
                </a:cubicBezTo>
                <a:cubicBezTo>
                  <a:pt x="1532" y="249"/>
                  <a:pt x="1532" y="249"/>
                  <a:pt x="1532" y="249"/>
                </a:cubicBezTo>
                <a:cubicBezTo>
                  <a:pt x="1532" y="249"/>
                  <a:pt x="1532" y="250"/>
                  <a:pt x="1532" y="252"/>
                </a:cubicBezTo>
                <a:cubicBezTo>
                  <a:pt x="1532" y="253"/>
                  <a:pt x="1535" y="256"/>
                  <a:pt x="1535" y="256"/>
                </a:cubicBezTo>
                <a:cubicBezTo>
                  <a:pt x="1535" y="256"/>
                  <a:pt x="1535" y="258"/>
                  <a:pt x="1536" y="259"/>
                </a:cubicBezTo>
                <a:cubicBezTo>
                  <a:pt x="1537" y="260"/>
                  <a:pt x="1541" y="259"/>
                  <a:pt x="1541" y="259"/>
                </a:cubicBezTo>
                <a:cubicBezTo>
                  <a:pt x="1541" y="259"/>
                  <a:pt x="1547" y="261"/>
                  <a:pt x="1547" y="259"/>
                </a:cubicBezTo>
                <a:cubicBezTo>
                  <a:pt x="1546" y="257"/>
                  <a:pt x="1546" y="254"/>
                  <a:pt x="1546" y="254"/>
                </a:cubicBezTo>
                <a:cubicBezTo>
                  <a:pt x="1549" y="252"/>
                  <a:pt x="1549" y="252"/>
                  <a:pt x="1549" y="252"/>
                </a:cubicBezTo>
                <a:cubicBezTo>
                  <a:pt x="1549" y="250"/>
                  <a:pt x="1549" y="250"/>
                  <a:pt x="1549" y="250"/>
                </a:cubicBezTo>
                <a:cubicBezTo>
                  <a:pt x="1558" y="251"/>
                  <a:pt x="1558" y="251"/>
                  <a:pt x="1558" y="251"/>
                </a:cubicBezTo>
                <a:cubicBezTo>
                  <a:pt x="1560" y="252"/>
                  <a:pt x="1560" y="252"/>
                  <a:pt x="1560" y="252"/>
                </a:cubicBezTo>
                <a:cubicBezTo>
                  <a:pt x="1563" y="243"/>
                  <a:pt x="1563" y="243"/>
                  <a:pt x="1563" y="243"/>
                </a:cubicBezTo>
                <a:cubicBezTo>
                  <a:pt x="1563" y="243"/>
                  <a:pt x="1565" y="238"/>
                  <a:pt x="1564" y="237"/>
                </a:cubicBezTo>
                <a:cubicBezTo>
                  <a:pt x="1564" y="235"/>
                  <a:pt x="1563" y="233"/>
                  <a:pt x="1563" y="233"/>
                </a:cubicBezTo>
                <a:cubicBezTo>
                  <a:pt x="1563" y="233"/>
                  <a:pt x="1567" y="232"/>
                  <a:pt x="1567" y="230"/>
                </a:cubicBezTo>
                <a:cubicBezTo>
                  <a:pt x="1566" y="228"/>
                  <a:pt x="1562" y="228"/>
                  <a:pt x="1562" y="228"/>
                </a:cubicBezTo>
                <a:cubicBezTo>
                  <a:pt x="1565" y="227"/>
                  <a:pt x="1565" y="227"/>
                  <a:pt x="1565" y="227"/>
                </a:cubicBezTo>
                <a:cubicBezTo>
                  <a:pt x="1563" y="226"/>
                  <a:pt x="1563" y="226"/>
                  <a:pt x="1563" y="226"/>
                </a:cubicBezTo>
                <a:cubicBezTo>
                  <a:pt x="1563" y="226"/>
                  <a:pt x="1570" y="226"/>
                  <a:pt x="1571" y="224"/>
                </a:cubicBezTo>
                <a:cubicBezTo>
                  <a:pt x="1571" y="222"/>
                  <a:pt x="1572" y="220"/>
                  <a:pt x="1572" y="220"/>
                </a:cubicBezTo>
                <a:cubicBezTo>
                  <a:pt x="1572" y="220"/>
                  <a:pt x="1575" y="224"/>
                  <a:pt x="1577" y="222"/>
                </a:cubicBezTo>
                <a:cubicBezTo>
                  <a:pt x="1579" y="219"/>
                  <a:pt x="1578" y="217"/>
                  <a:pt x="1578" y="217"/>
                </a:cubicBezTo>
                <a:cubicBezTo>
                  <a:pt x="1578" y="217"/>
                  <a:pt x="1583" y="216"/>
                  <a:pt x="1582" y="213"/>
                </a:cubicBezTo>
                <a:cubicBezTo>
                  <a:pt x="1580" y="210"/>
                  <a:pt x="1578" y="210"/>
                  <a:pt x="1578" y="210"/>
                </a:cubicBezTo>
                <a:cubicBezTo>
                  <a:pt x="1578" y="207"/>
                  <a:pt x="1578" y="207"/>
                  <a:pt x="1578" y="207"/>
                </a:cubicBezTo>
                <a:cubicBezTo>
                  <a:pt x="1573" y="205"/>
                  <a:pt x="1573" y="205"/>
                  <a:pt x="1573" y="205"/>
                </a:cubicBezTo>
                <a:cubicBezTo>
                  <a:pt x="1573" y="205"/>
                  <a:pt x="1571" y="207"/>
                  <a:pt x="1569" y="205"/>
                </a:cubicBezTo>
                <a:cubicBezTo>
                  <a:pt x="1567" y="204"/>
                  <a:pt x="1567" y="195"/>
                  <a:pt x="1567" y="195"/>
                </a:cubicBezTo>
                <a:cubicBezTo>
                  <a:pt x="1567" y="195"/>
                  <a:pt x="1569" y="193"/>
                  <a:pt x="1569" y="190"/>
                </a:cubicBezTo>
                <a:cubicBezTo>
                  <a:pt x="1569" y="188"/>
                  <a:pt x="1567" y="186"/>
                  <a:pt x="1567" y="186"/>
                </a:cubicBezTo>
                <a:cubicBezTo>
                  <a:pt x="1567" y="186"/>
                  <a:pt x="1570" y="187"/>
                  <a:pt x="1571" y="185"/>
                </a:cubicBezTo>
                <a:cubicBezTo>
                  <a:pt x="1572" y="183"/>
                  <a:pt x="1570" y="181"/>
                  <a:pt x="1570" y="181"/>
                </a:cubicBezTo>
                <a:cubicBezTo>
                  <a:pt x="1570" y="181"/>
                  <a:pt x="1573" y="183"/>
                  <a:pt x="1574" y="182"/>
                </a:cubicBezTo>
                <a:cubicBezTo>
                  <a:pt x="1575" y="181"/>
                  <a:pt x="1578" y="178"/>
                  <a:pt x="1578" y="178"/>
                </a:cubicBezTo>
                <a:cubicBezTo>
                  <a:pt x="1582" y="179"/>
                  <a:pt x="1582" y="179"/>
                  <a:pt x="1582" y="179"/>
                </a:cubicBezTo>
                <a:cubicBezTo>
                  <a:pt x="1584" y="176"/>
                  <a:pt x="1584" y="176"/>
                  <a:pt x="1584" y="176"/>
                </a:cubicBezTo>
                <a:cubicBezTo>
                  <a:pt x="1584" y="176"/>
                  <a:pt x="1590" y="176"/>
                  <a:pt x="1592" y="174"/>
                </a:cubicBezTo>
                <a:cubicBezTo>
                  <a:pt x="1594" y="172"/>
                  <a:pt x="1597" y="166"/>
                  <a:pt x="1597" y="166"/>
                </a:cubicBezTo>
                <a:cubicBezTo>
                  <a:pt x="1595" y="163"/>
                  <a:pt x="1595" y="163"/>
                  <a:pt x="1595" y="163"/>
                </a:cubicBezTo>
                <a:cubicBezTo>
                  <a:pt x="1599" y="158"/>
                  <a:pt x="1599" y="158"/>
                  <a:pt x="1599" y="158"/>
                </a:cubicBezTo>
                <a:cubicBezTo>
                  <a:pt x="1597" y="156"/>
                  <a:pt x="1597" y="156"/>
                  <a:pt x="1597" y="156"/>
                </a:cubicBezTo>
                <a:cubicBezTo>
                  <a:pt x="1602" y="154"/>
                  <a:pt x="1602" y="154"/>
                  <a:pt x="1602" y="154"/>
                </a:cubicBezTo>
                <a:cubicBezTo>
                  <a:pt x="1604" y="152"/>
                  <a:pt x="1604" y="152"/>
                  <a:pt x="1604" y="152"/>
                </a:cubicBezTo>
                <a:cubicBezTo>
                  <a:pt x="1615" y="152"/>
                  <a:pt x="1615" y="152"/>
                  <a:pt x="1615" y="152"/>
                </a:cubicBezTo>
                <a:cubicBezTo>
                  <a:pt x="1617" y="155"/>
                  <a:pt x="1617" y="155"/>
                  <a:pt x="1617" y="155"/>
                </a:cubicBezTo>
                <a:cubicBezTo>
                  <a:pt x="1617" y="154"/>
                  <a:pt x="1617" y="154"/>
                  <a:pt x="1617" y="154"/>
                </a:cubicBezTo>
                <a:cubicBezTo>
                  <a:pt x="1619" y="153"/>
                  <a:pt x="1619" y="153"/>
                  <a:pt x="1619" y="153"/>
                </a:cubicBezTo>
                <a:cubicBezTo>
                  <a:pt x="1619" y="153"/>
                  <a:pt x="1625" y="155"/>
                  <a:pt x="1626" y="157"/>
                </a:cubicBezTo>
                <a:cubicBezTo>
                  <a:pt x="1626" y="160"/>
                  <a:pt x="1626" y="162"/>
                  <a:pt x="1626" y="162"/>
                </a:cubicBezTo>
                <a:cubicBezTo>
                  <a:pt x="1626" y="162"/>
                  <a:pt x="1624" y="161"/>
                  <a:pt x="1623" y="161"/>
                </a:cubicBezTo>
                <a:cubicBezTo>
                  <a:pt x="1623" y="161"/>
                  <a:pt x="1618" y="166"/>
                  <a:pt x="1618" y="166"/>
                </a:cubicBezTo>
                <a:cubicBezTo>
                  <a:pt x="1613" y="171"/>
                  <a:pt x="1613" y="171"/>
                  <a:pt x="1613" y="171"/>
                </a:cubicBezTo>
                <a:cubicBezTo>
                  <a:pt x="1608" y="172"/>
                  <a:pt x="1608" y="172"/>
                  <a:pt x="1608" y="172"/>
                </a:cubicBezTo>
                <a:cubicBezTo>
                  <a:pt x="1608" y="172"/>
                  <a:pt x="1605" y="175"/>
                  <a:pt x="1605" y="176"/>
                </a:cubicBezTo>
                <a:cubicBezTo>
                  <a:pt x="1605" y="178"/>
                  <a:pt x="1601" y="178"/>
                  <a:pt x="1601" y="178"/>
                </a:cubicBezTo>
                <a:cubicBezTo>
                  <a:pt x="1598" y="182"/>
                  <a:pt x="1598" y="182"/>
                  <a:pt x="1598" y="182"/>
                </a:cubicBezTo>
                <a:cubicBezTo>
                  <a:pt x="1598" y="182"/>
                  <a:pt x="1597" y="185"/>
                  <a:pt x="1597" y="185"/>
                </a:cubicBezTo>
                <a:cubicBezTo>
                  <a:pt x="1598" y="186"/>
                  <a:pt x="1599" y="188"/>
                  <a:pt x="1599" y="188"/>
                </a:cubicBezTo>
                <a:cubicBezTo>
                  <a:pt x="1598" y="191"/>
                  <a:pt x="1598" y="191"/>
                  <a:pt x="1598" y="191"/>
                </a:cubicBezTo>
                <a:cubicBezTo>
                  <a:pt x="1601" y="194"/>
                  <a:pt x="1601" y="194"/>
                  <a:pt x="1601" y="194"/>
                </a:cubicBezTo>
                <a:cubicBezTo>
                  <a:pt x="1601" y="194"/>
                  <a:pt x="1599" y="201"/>
                  <a:pt x="1600" y="203"/>
                </a:cubicBezTo>
                <a:cubicBezTo>
                  <a:pt x="1601" y="205"/>
                  <a:pt x="1603" y="206"/>
                  <a:pt x="1603" y="206"/>
                </a:cubicBezTo>
                <a:cubicBezTo>
                  <a:pt x="1606" y="209"/>
                  <a:pt x="1606" y="209"/>
                  <a:pt x="1606" y="209"/>
                </a:cubicBezTo>
                <a:cubicBezTo>
                  <a:pt x="1612" y="208"/>
                  <a:pt x="1612" y="208"/>
                  <a:pt x="1612" y="208"/>
                </a:cubicBezTo>
                <a:cubicBezTo>
                  <a:pt x="1612" y="208"/>
                  <a:pt x="1610" y="211"/>
                  <a:pt x="1615" y="212"/>
                </a:cubicBezTo>
                <a:cubicBezTo>
                  <a:pt x="1619" y="212"/>
                  <a:pt x="1626" y="211"/>
                  <a:pt x="1626" y="211"/>
                </a:cubicBezTo>
                <a:cubicBezTo>
                  <a:pt x="1630" y="209"/>
                  <a:pt x="1630" y="209"/>
                  <a:pt x="1630" y="209"/>
                </a:cubicBezTo>
                <a:cubicBezTo>
                  <a:pt x="1635" y="209"/>
                  <a:pt x="1635" y="209"/>
                  <a:pt x="1635" y="209"/>
                </a:cubicBezTo>
                <a:cubicBezTo>
                  <a:pt x="1642" y="206"/>
                  <a:pt x="1642" y="206"/>
                  <a:pt x="1642" y="206"/>
                </a:cubicBezTo>
                <a:cubicBezTo>
                  <a:pt x="1652" y="206"/>
                  <a:pt x="1652" y="206"/>
                  <a:pt x="1652" y="206"/>
                </a:cubicBezTo>
                <a:cubicBezTo>
                  <a:pt x="1653" y="206"/>
                  <a:pt x="1653" y="206"/>
                  <a:pt x="1653" y="206"/>
                </a:cubicBezTo>
                <a:cubicBezTo>
                  <a:pt x="1657" y="203"/>
                  <a:pt x="1657" y="203"/>
                  <a:pt x="1657" y="203"/>
                </a:cubicBezTo>
                <a:cubicBezTo>
                  <a:pt x="1658" y="206"/>
                  <a:pt x="1658" y="206"/>
                  <a:pt x="1658" y="206"/>
                </a:cubicBezTo>
                <a:cubicBezTo>
                  <a:pt x="1658" y="206"/>
                  <a:pt x="1660" y="208"/>
                  <a:pt x="1662" y="209"/>
                </a:cubicBezTo>
                <a:cubicBezTo>
                  <a:pt x="1663" y="210"/>
                  <a:pt x="1668" y="210"/>
                  <a:pt x="1668" y="210"/>
                </a:cubicBezTo>
                <a:cubicBezTo>
                  <a:pt x="1670" y="212"/>
                  <a:pt x="1670" y="212"/>
                  <a:pt x="1670" y="212"/>
                </a:cubicBezTo>
                <a:cubicBezTo>
                  <a:pt x="1670" y="212"/>
                  <a:pt x="1662" y="210"/>
                  <a:pt x="1662" y="211"/>
                </a:cubicBezTo>
                <a:cubicBezTo>
                  <a:pt x="1661" y="213"/>
                  <a:pt x="1661" y="214"/>
                  <a:pt x="1661" y="214"/>
                </a:cubicBezTo>
                <a:cubicBezTo>
                  <a:pt x="1656" y="214"/>
                  <a:pt x="1656" y="214"/>
                  <a:pt x="1656" y="214"/>
                </a:cubicBezTo>
                <a:cubicBezTo>
                  <a:pt x="1655" y="217"/>
                  <a:pt x="1655" y="217"/>
                  <a:pt x="1655" y="217"/>
                </a:cubicBezTo>
                <a:cubicBezTo>
                  <a:pt x="1655" y="217"/>
                  <a:pt x="1654" y="217"/>
                  <a:pt x="1653" y="217"/>
                </a:cubicBezTo>
                <a:cubicBezTo>
                  <a:pt x="1650" y="216"/>
                  <a:pt x="1643" y="215"/>
                  <a:pt x="1641" y="215"/>
                </a:cubicBezTo>
                <a:cubicBezTo>
                  <a:pt x="1638" y="215"/>
                  <a:pt x="1628" y="216"/>
                  <a:pt x="1628" y="216"/>
                </a:cubicBezTo>
                <a:cubicBezTo>
                  <a:pt x="1628" y="216"/>
                  <a:pt x="1618" y="220"/>
                  <a:pt x="1618" y="221"/>
                </a:cubicBezTo>
                <a:cubicBezTo>
                  <a:pt x="1618" y="223"/>
                  <a:pt x="1619" y="226"/>
                  <a:pt x="1619" y="226"/>
                </a:cubicBezTo>
                <a:cubicBezTo>
                  <a:pt x="1627" y="228"/>
                  <a:pt x="1627" y="228"/>
                  <a:pt x="1627" y="228"/>
                </a:cubicBezTo>
                <a:cubicBezTo>
                  <a:pt x="1625" y="233"/>
                  <a:pt x="1625" y="233"/>
                  <a:pt x="1625" y="233"/>
                </a:cubicBezTo>
                <a:cubicBezTo>
                  <a:pt x="1625" y="233"/>
                  <a:pt x="1629" y="242"/>
                  <a:pt x="1626" y="242"/>
                </a:cubicBezTo>
                <a:cubicBezTo>
                  <a:pt x="1624" y="242"/>
                  <a:pt x="1618" y="241"/>
                  <a:pt x="1618" y="241"/>
                </a:cubicBezTo>
                <a:cubicBezTo>
                  <a:pt x="1617" y="238"/>
                  <a:pt x="1617" y="238"/>
                  <a:pt x="1617" y="238"/>
                </a:cubicBezTo>
                <a:cubicBezTo>
                  <a:pt x="1612" y="234"/>
                  <a:pt x="1612" y="234"/>
                  <a:pt x="1612" y="234"/>
                </a:cubicBezTo>
                <a:cubicBezTo>
                  <a:pt x="1612" y="234"/>
                  <a:pt x="1606" y="235"/>
                  <a:pt x="1605" y="237"/>
                </a:cubicBezTo>
                <a:cubicBezTo>
                  <a:pt x="1604" y="238"/>
                  <a:pt x="1604" y="240"/>
                  <a:pt x="1604" y="240"/>
                </a:cubicBezTo>
                <a:cubicBezTo>
                  <a:pt x="1604" y="240"/>
                  <a:pt x="1600" y="244"/>
                  <a:pt x="1600" y="245"/>
                </a:cubicBezTo>
                <a:cubicBezTo>
                  <a:pt x="1600" y="246"/>
                  <a:pt x="1602" y="252"/>
                  <a:pt x="1602" y="252"/>
                </a:cubicBezTo>
                <a:cubicBezTo>
                  <a:pt x="1602" y="252"/>
                  <a:pt x="1602" y="260"/>
                  <a:pt x="1604" y="260"/>
                </a:cubicBezTo>
                <a:cubicBezTo>
                  <a:pt x="1604" y="260"/>
                  <a:pt x="1604" y="260"/>
                  <a:pt x="1604" y="261"/>
                </a:cubicBezTo>
                <a:cubicBezTo>
                  <a:pt x="1604" y="262"/>
                  <a:pt x="1603" y="264"/>
                  <a:pt x="1603" y="264"/>
                </a:cubicBezTo>
                <a:cubicBezTo>
                  <a:pt x="1603" y="264"/>
                  <a:pt x="1594" y="263"/>
                  <a:pt x="1593" y="264"/>
                </a:cubicBezTo>
                <a:cubicBezTo>
                  <a:pt x="1592" y="266"/>
                  <a:pt x="1594" y="267"/>
                  <a:pt x="1594" y="267"/>
                </a:cubicBezTo>
                <a:cubicBezTo>
                  <a:pt x="1593" y="269"/>
                  <a:pt x="1593" y="269"/>
                  <a:pt x="1593" y="269"/>
                </a:cubicBezTo>
                <a:cubicBezTo>
                  <a:pt x="1593" y="269"/>
                  <a:pt x="1586" y="270"/>
                  <a:pt x="1585" y="270"/>
                </a:cubicBezTo>
                <a:cubicBezTo>
                  <a:pt x="1583" y="270"/>
                  <a:pt x="1582" y="266"/>
                  <a:pt x="1582" y="266"/>
                </a:cubicBezTo>
                <a:cubicBezTo>
                  <a:pt x="1582" y="266"/>
                  <a:pt x="1579" y="265"/>
                  <a:pt x="1576" y="265"/>
                </a:cubicBezTo>
                <a:cubicBezTo>
                  <a:pt x="1573" y="265"/>
                  <a:pt x="1565" y="269"/>
                  <a:pt x="1565" y="269"/>
                </a:cubicBezTo>
                <a:cubicBezTo>
                  <a:pt x="1562" y="271"/>
                  <a:pt x="1562" y="271"/>
                  <a:pt x="1562" y="271"/>
                </a:cubicBezTo>
                <a:cubicBezTo>
                  <a:pt x="1554" y="272"/>
                  <a:pt x="1554" y="272"/>
                  <a:pt x="1554" y="272"/>
                </a:cubicBezTo>
                <a:cubicBezTo>
                  <a:pt x="1554" y="272"/>
                  <a:pt x="1547" y="275"/>
                  <a:pt x="1548" y="275"/>
                </a:cubicBezTo>
                <a:cubicBezTo>
                  <a:pt x="1548" y="276"/>
                  <a:pt x="1548" y="278"/>
                  <a:pt x="1548" y="278"/>
                </a:cubicBezTo>
                <a:cubicBezTo>
                  <a:pt x="1547" y="278"/>
                  <a:pt x="1547" y="278"/>
                  <a:pt x="1547" y="278"/>
                </a:cubicBezTo>
                <a:cubicBezTo>
                  <a:pt x="1546" y="277"/>
                  <a:pt x="1546" y="277"/>
                  <a:pt x="1546" y="277"/>
                </a:cubicBezTo>
                <a:cubicBezTo>
                  <a:pt x="1543" y="276"/>
                  <a:pt x="1543" y="276"/>
                  <a:pt x="1543" y="276"/>
                </a:cubicBezTo>
                <a:cubicBezTo>
                  <a:pt x="1543" y="276"/>
                  <a:pt x="1543" y="275"/>
                  <a:pt x="1542" y="274"/>
                </a:cubicBezTo>
                <a:cubicBezTo>
                  <a:pt x="1541" y="273"/>
                  <a:pt x="1539" y="273"/>
                  <a:pt x="1539" y="273"/>
                </a:cubicBezTo>
                <a:cubicBezTo>
                  <a:pt x="1538" y="272"/>
                  <a:pt x="1538" y="272"/>
                  <a:pt x="1538" y="272"/>
                </a:cubicBezTo>
                <a:cubicBezTo>
                  <a:pt x="1538" y="272"/>
                  <a:pt x="1532" y="269"/>
                  <a:pt x="1531" y="270"/>
                </a:cubicBezTo>
                <a:cubicBezTo>
                  <a:pt x="1530" y="271"/>
                  <a:pt x="1529" y="272"/>
                  <a:pt x="1529" y="272"/>
                </a:cubicBezTo>
                <a:cubicBezTo>
                  <a:pt x="1523" y="272"/>
                  <a:pt x="1523" y="272"/>
                  <a:pt x="1523" y="272"/>
                </a:cubicBezTo>
                <a:cubicBezTo>
                  <a:pt x="1523" y="274"/>
                  <a:pt x="1523" y="274"/>
                  <a:pt x="1523" y="274"/>
                </a:cubicBezTo>
                <a:cubicBezTo>
                  <a:pt x="1518" y="274"/>
                  <a:pt x="1518" y="274"/>
                  <a:pt x="1518" y="274"/>
                </a:cubicBezTo>
                <a:cubicBezTo>
                  <a:pt x="1518" y="274"/>
                  <a:pt x="1517" y="273"/>
                  <a:pt x="1518" y="272"/>
                </a:cubicBezTo>
                <a:cubicBezTo>
                  <a:pt x="1519" y="271"/>
                  <a:pt x="1520" y="269"/>
                  <a:pt x="1520" y="269"/>
                </a:cubicBezTo>
                <a:cubicBezTo>
                  <a:pt x="1517" y="270"/>
                  <a:pt x="1517" y="270"/>
                  <a:pt x="1517" y="270"/>
                </a:cubicBezTo>
                <a:cubicBezTo>
                  <a:pt x="1511" y="269"/>
                  <a:pt x="1511" y="269"/>
                  <a:pt x="1511" y="269"/>
                </a:cubicBezTo>
                <a:cubicBezTo>
                  <a:pt x="1511" y="269"/>
                  <a:pt x="1509" y="267"/>
                  <a:pt x="1508" y="265"/>
                </a:cubicBezTo>
                <a:cubicBezTo>
                  <a:pt x="1508" y="265"/>
                  <a:pt x="1508" y="265"/>
                  <a:pt x="1508" y="265"/>
                </a:cubicBezTo>
                <a:cubicBezTo>
                  <a:pt x="1508" y="263"/>
                  <a:pt x="1507" y="262"/>
                  <a:pt x="1507" y="262"/>
                </a:cubicBezTo>
                <a:cubicBezTo>
                  <a:pt x="1509" y="259"/>
                  <a:pt x="1509" y="259"/>
                  <a:pt x="1509" y="259"/>
                </a:cubicBezTo>
                <a:cubicBezTo>
                  <a:pt x="1509" y="259"/>
                  <a:pt x="1506" y="256"/>
                  <a:pt x="1508" y="256"/>
                </a:cubicBezTo>
                <a:cubicBezTo>
                  <a:pt x="1510" y="255"/>
                  <a:pt x="1511" y="254"/>
                  <a:pt x="1511" y="254"/>
                </a:cubicBezTo>
                <a:cubicBezTo>
                  <a:pt x="1512" y="250"/>
                  <a:pt x="1512" y="250"/>
                  <a:pt x="1512" y="250"/>
                </a:cubicBezTo>
                <a:cubicBezTo>
                  <a:pt x="1515" y="250"/>
                  <a:pt x="1515" y="250"/>
                  <a:pt x="1515" y="250"/>
                </a:cubicBezTo>
                <a:cubicBezTo>
                  <a:pt x="1516" y="247"/>
                  <a:pt x="1516" y="247"/>
                  <a:pt x="1516" y="247"/>
                </a:cubicBezTo>
                <a:cubicBezTo>
                  <a:pt x="1511" y="247"/>
                  <a:pt x="1511" y="247"/>
                  <a:pt x="1511" y="247"/>
                </a:cubicBezTo>
                <a:cubicBezTo>
                  <a:pt x="1511" y="247"/>
                  <a:pt x="1511" y="243"/>
                  <a:pt x="1511" y="243"/>
                </a:cubicBezTo>
                <a:cubicBezTo>
                  <a:pt x="1512" y="242"/>
                  <a:pt x="1515" y="239"/>
                  <a:pt x="1514" y="238"/>
                </a:cubicBezTo>
                <a:cubicBezTo>
                  <a:pt x="1514" y="237"/>
                  <a:pt x="1513" y="236"/>
                  <a:pt x="1513" y="236"/>
                </a:cubicBezTo>
                <a:cubicBezTo>
                  <a:pt x="1513" y="236"/>
                  <a:pt x="1509" y="235"/>
                  <a:pt x="1509" y="236"/>
                </a:cubicBezTo>
                <a:cubicBezTo>
                  <a:pt x="1509" y="237"/>
                  <a:pt x="1504" y="242"/>
                  <a:pt x="1504" y="243"/>
                </a:cubicBezTo>
                <a:cubicBezTo>
                  <a:pt x="1504" y="244"/>
                  <a:pt x="1505" y="246"/>
                  <a:pt x="1505" y="246"/>
                </a:cubicBezTo>
                <a:cubicBezTo>
                  <a:pt x="1502" y="244"/>
                  <a:pt x="1502" y="244"/>
                  <a:pt x="1502" y="244"/>
                </a:cubicBezTo>
                <a:cubicBezTo>
                  <a:pt x="1501" y="240"/>
                  <a:pt x="1501" y="240"/>
                  <a:pt x="1501" y="240"/>
                </a:cubicBezTo>
                <a:cubicBezTo>
                  <a:pt x="1501" y="240"/>
                  <a:pt x="1496" y="243"/>
                  <a:pt x="1496" y="244"/>
                </a:cubicBezTo>
                <a:cubicBezTo>
                  <a:pt x="1496" y="244"/>
                  <a:pt x="1499" y="244"/>
                  <a:pt x="1499" y="244"/>
                </a:cubicBezTo>
                <a:cubicBezTo>
                  <a:pt x="1499" y="245"/>
                  <a:pt x="1501" y="248"/>
                  <a:pt x="1501" y="248"/>
                </a:cubicBezTo>
                <a:cubicBezTo>
                  <a:pt x="1497" y="247"/>
                  <a:pt x="1497" y="247"/>
                  <a:pt x="1497" y="247"/>
                </a:cubicBezTo>
                <a:cubicBezTo>
                  <a:pt x="1497" y="247"/>
                  <a:pt x="1494" y="250"/>
                  <a:pt x="1494" y="252"/>
                </a:cubicBezTo>
                <a:cubicBezTo>
                  <a:pt x="1494" y="254"/>
                  <a:pt x="1498" y="254"/>
                  <a:pt x="1498" y="254"/>
                </a:cubicBezTo>
                <a:cubicBezTo>
                  <a:pt x="1498" y="254"/>
                  <a:pt x="1495" y="257"/>
                  <a:pt x="1495" y="258"/>
                </a:cubicBezTo>
                <a:cubicBezTo>
                  <a:pt x="1496" y="258"/>
                  <a:pt x="1499" y="258"/>
                  <a:pt x="1499" y="258"/>
                </a:cubicBezTo>
                <a:cubicBezTo>
                  <a:pt x="1499" y="261"/>
                  <a:pt x="1499" y="261"/>
                  <a:pt x="1499" y="261"/>
                </a:cubicBezTo>
                <a:cubicBezTo>
                  <a:pt x="1497" y="264"/>
                  <a:pt x="1497" y="264"/>
                  <a:pt x="1497" y="264"/>
                </a:cubicBezTo>
                <a:cubicBezTo>
                  <a:pt x="1499" y="265"/>
                  <a:pt x="1499" y="265"/>
                  <a:pt x="1499" y="265"/>
                </a:cubicBezTo>
                <a:cubicBezTo>
                  <a:pt x="1502" y="269"/>
                  <a:pt x="1502" y="269"/>
                  <a:pt x="1502" y="269"/>
                </a:cubicBezTo>
                <a:cubicBezTo>
                  <a:pt x="1500" y="271"/>
                  <a:pt x="1500" y="271"/>
                  <a:pt x="1500" y="271"/>
                </a:cubicBezTo>
                <a:cubicBezTo>
                  <a:pt x="1503" y="275"/>
                  <a:pt x="1503" y="275"/>
                  <a:pt x="1503" y="275"/>
                </a:cubicBezTo>
                <a:cubicBezTo>
                  <a:pt x="1506" y="277"/>
                  <a:pt x="1506" y="277"/>
                  <a:pt x="1506" y="277"/>
                </a:cubicBezTo>
                <a:cubicBezTo>
                  <a:pt x="1502" y="275"/>
                  <a:pt x="1502" y="275"/>
                  <a:pt x="1502" y="275"/>
                </a:cubicBezTo>
                <a:cubicBezTo>
                  <a:pt x="1498" y="276"/>
                  <a:pt x="1498" y="276"/>
                  <a:pt x="1498" y="276"/>
                </a:cubicBezTo>
                <a:cubicBezTo>
                  <a:pt x="1498" y="276"/>
                  <a:pt x="1499" y="279"/>
                  <a:pt x="1498" y="280"/>
                </a:cubicBezTo>
                <a:cubicBezTo>
                  <a:pt x="1496" y="280"/>
                  <a:pt x="1494" y="280"/>
                  <a:pt x="1494" y="280"/>
                </a:cubicBezTo>
                <a:cubicBezTo>
                  <a:pt x="1493" y="278"/>
                  <a:pt x="1493" y="278"/>
                  <a:pt x="1493" y="278"/>
                </a:cubicBezTo>
                <a:cubicBezTo>
                  <a:pt x="1493" y="278"/>
                  <a:pt x="1487" y="277"/>
                  <a:pt x="1487" y="278"/>
                </a:cubicBezTo>
                <a:cubicBezTo>
                  <a:pt x="1487" y="279"/>
                  <a:pt x="1487" y="282"/>
                  <a:pt x="1487" y="282"/>
                </a:cubicBezTo>
                <a:cubicBezTo>
                  <a:pt x="1487" y="282"/>
                  <a:pt x="1484" y="280"/>
                  <a:pt x="1482" y="280"/>
                </a:cubicBezTo>
                <a:cubicBezTo>
                  <a:pt x="1481" y="280"/>
                  <a:pt x="1476" y="280"/>
                  <a:pt x="1476" y="280"/>
                </a:cubicBezTo>
                <a:cubicBezTo>
                  <a:pt x="1476" y="280"/>
                  <a:pt x="1473" y="281"/>
                  <a:pt x="1472" y="282"/>
                </a:cubicBezTo>
                <a:cubicBezTo>
                  <a:pt x="1472" y="283"/>
                  <a:pt x="1472" y="284"/>
                  <a:pt x="1472" y="285"/>
                </a:cubicBezTo>
                <a:cubicBezTo>
                  <a:pt x="1473" y="285"/>
                  <a:pt x="1473" y="287"/>
                  <a:pt x="1473" y="287"/>
                </a:cubicBezTo>
                <a:cubicBezTo>
                  <a:pt x="1473" y="287"/>
                  <a:pt x="1474" y="289"/>
                  <a:pt x="1474" y="289"/>
                </a:cubicBezTo>
                <a:cubicBezTo>
                  <a:pt x="1475" y="289"/>
                  <a:pt x="1476" y="289"/>
                  <a:pt x="1476" y="290"/>
                </a:cubicBezTo>
                <a:cubicBezTo>
                  <a:pt x="1476" y="291"/>
                  <a:pt x="1473" y="293"/>
                  <a:pt x="1472" y="293"/>
                </a:cubicBezTo>
                <a:cubicBezTo>
                  <a:pt x="1471" y="293"/>
                  <a:pt x="1470" y="292"/>
                  <a:pt x="1469" y="291"/>
                </a:cubicBezTo>
                <a:cubicBezTo>
                  <a:pt x="1468" y="290"/>
                  <a:pt x="1470" y="290"/>
                  <a:pt x="1471" y="288"/>
                </a:cubicBezTo>
                <a:cubicBezTo>
                  <a:pt x="1472" y="286"/>
                  <a:pt x="1471" y="285"/>
                  <a:pt x="1471" y="285"/>
                </a:cubicBezTo>
                <a:cubicBezTo>
                  <a:pt x="1471" y="285"/>
                  <a:pt x="1471" y="285"/>
                  <a:pt x="1470" y="284"/>
                </a:cubicBezTo>
                <a:cubicBezTo>
                  <a:pt x="1469" y="285"/>
                  <a:pt x="1467" y="287"/>
                  <a:pt x="1467" y="287"/>
                </a:cubicBezTo>
                <a:cubicBezTo>
                  <a:pt x="1467" y="287"/>
                  <a:pt x="1463" y="289"/>
                  <a:pt x="1463" y="291"/>
                </a:cubicBezTo>
                <a:cubicBezTo>
                  <a:pt x="1463" y="292"/>
                  <a:pt x="1463" y="295"/>
                  <a:pt x="1463" y="295"/>
                </a:cubicBezTo>
                <a:cubicBezTo>
                  <a:pt x="1459" y="299"/>
                  <a:pt x="1459" y="299"/>
                  <a:pt x="1459" y="299"/>
                </a:cubicBezTo>
                <a:cubicBezTo>
                  <a:pt x="1460" y="301"/>
                  <a:pt x="1460" y="301"/>
                  <a:pt x="1460" y="301"/>
                </a:cubicBezTo>
                <a:cubicBezTo>
                  <a:pt x="1457" y="301"/>
                  <a:pt x="1457" y="301"/>
                  <a:pt x="1457" y="301"/>
                </a:cubicBezTo>
                <a:cubicBezTo>
                  <a:pt x="1453" y="302"/>
                  <a:pt x="1453" y="302"/>
                  <a:pt x="1453" y="302"/>
                </a:cubicBezTo>
                <a:cubicBezTo>
                  <a:pt x="1451" y="304"/>
                  <a:pt x="1451" y="304"/>
                  <a:pt x="1451" y="304"/>
                </a:cubicBezTo>
                <a:cubicBezTo>
                  <a:pt x="1449" y="306"/>
                  <a:pt x="1449" y="306"/>
                  <a:pt x="1449" y="306"/>
                </a:cubicBezTo>
                <a:cubicBezTo>
                  <a:pt x="1449" y="306"/>
                  <a:pt x="1445" y="305"/>
                  <a:pt x="1443" y="306"/>
                </a:cubicBezTo>
                <a:cubicBezTo>
                  <a:pt x="1441" y="307"/>
                  <a:pt x="1436" y="306"/>
                  <a:pt x="1437" y="308"/>
                </a:cubicBezTo>
                <a:cubicBezTo>
                  <a:pt x="1438" y="309"/>
                  <a:pt x="1438" y="311"/>
                  <a:pt x="1438" y="311"/>
                </a:cubicBezTo>
                <a:cubicBezTo>
                  <a:pt x="1438" y="311"/>
                  <a:pt x="1440" y="314"/>
                  <a:pt x="1438" y="316"/>
                </a:cubicBezTo>
                <a:cubicBezTo>
                  <a:pt x="1435" y="318"/>
                  <a:pt x="1431" y="318"/>
                  <a:pt x="1431" y="318"/>
                </a:cubicBezTo>
                <a:cubicBezTo>
                  <a:pt x="1425" y="322"/>
                  <a:pt x="1425" y="322"/>
                  <a:pt x="1425" y="322"/>
                </a:cubicBezTo>
                <a:cubicBezTo>
                  <a:pt x="1427" y="323"/>
                  <a:pt x="1427" y="323"/>
                  <a:pt x="1427" y="323"/>
                </a:cubicBezTo>
                <a:cubicBezTo>
                  <a:pt x="1427" y="323"/>
                  <a:pt x="1423" y="326"/>
                  <a:pt x="1420" y="325"/>
                </a:cubicBezTo>
                <a:cubicBezTo>
                  <a:pt x="1417" y="325"/>
                  <a:pt x="1415" y="324"/>
                  <a:pt x="1415" y="324"/>
                </a:cubicBezTo>
                <a:cubicBezTo>
                  <a:pt x="1413" y="321"/>
                  <a:pt x="1413" y="321"/>
                  <a:pt x="1413" y="321"/>
                </a:cubicBezTo>
                <a:cubicBezTo>
                  <a:pt x="1413" y="321"/>
                  <a:pt x="1408" y="319"/>
                  <a:pt x="1408" y="321"/>
                </a:cubicBezTo>
                <a:cubicBezTo>
                  <a:pt x="1409" y="322"/>
                  <a:pt x="1411" y="325"/>
                  <a:pt x="1411" y="325"/>
                </a:cubicBezTo>
                <a:cubicBezTo>
                  <a:pt x="1411" y="325"/>
                  <a:pt x="1414" y="330"/>
                  <a:pt x="1410" y="331"/>
                </a:cubicBezTo>
                <a:cubicBezTo>
                  <a:pt x="1406" y="332"/>
                  <a:pt x="1402" y="331"/>
                  <a:pt x="1402" y="331"/>
                </a:cubicBezTo>
                <a:cubicBezTo>
                  <a:pt x="1401" y="334"/>
                  <a:pt x="1401" y="334"/>
                  <a:pt x="1401" y="334"/>
                </a:cubicBezTo>
                <a:cubicBezTo>
                  <a:pt x="1401" y="334"/>
                  <a:pt x="1397" y="329"/>
                  <a:pt x="1396" y="330"/>
                </a:cubicBezTo>
                <a:cubicBezTo>
                  <a:pt x="1395" y="330"/>
                  <a:pt x="1391" y="331"/>
                  <a:pt x="1391" y="331"/>
                </a:cubicBezTo>
                <a:cubicBezTo>
                  <a:pt x="1391" y="331"/>
                  <a:pt x="1383" y="332"/>
                  <a:pt x="1382" y="334"/>
                </a:cubicBezTo>
                <a:cubicBezTo>
                  <a:pt x="1382" y="335"/>
                  <a:pt x="1386" y="336"/>
                  <a:pt x="1386" y="337"/>
                </a:cubicBezTo>
                <a:cubicBezTo>
                  <a:pt x="1386" y="338"/>
                  <a:pt x="1380" y="337"/>
                  <a:pt x="1381" y="339"/>
                </a:cubicBezTo>
                <a:cubicBezTo>
                  <a:pt x="1382" y="341"/>
                  <a:pt x="1386" y="341"/>
                  <a:pt x="1386" y="341"/>
                </a:cubicBezTo>
                <a:cubicBezTo>
                  <a:pt x="1388" y="340"/>
                  <a:pt x="1388" y="340"/>
                  <a:pt x="1388" y="340"/>
                </a:cubicBezTo>
                <a:cubicBezTo>
                  <a:pt x="1395" y="344"/>
                  <a:pt x="1395" y="344"/>
                  <a:pt x="1395" y="344"/>
                </a:cubicBezTo>
                <a:cubicBezTo>
                  <a:pt x="1399" y="344"/>
                  <a:pt x="1399" y="344"/>
                  <a:pt x="1399" y="344"/>
                </a:cubicBezTo>
                <a:cubicBezTo>
                  <a:pt x="1401" y="346"/>
                  <a:pt x="1401" y="346"/>
                  <a:pt x="1401" y="346"/>
                </a:cubicBezTo>
                <a:cubicBezTo>
                  <a:pt x="1407" y="347"/>
                  <a:pt x="1407" y="347"/>
                  <a:pt x="1407" y="347"/>
                </a:cubicBezTo>
                <a:cubicBezTo>
                  <a:pt x="1403" y="349"/>
                  <a:pt x="1403" y="349"/>
                  <a:pt x="1403" y="349"/>
                </a:cubicBezTo>
                <a:cubicBezTo>
                  <a:pt x="1403" y="349"/>
                  <a:pt x="1407" y="355"/>
                  <a:pt x="1408" y="356"/>
                </a:cubicBezTo>
                <a:cubicBezTo>
                  <a:pt x="1408" y="357"/>
                  <a:pt x="1412" y="357"/>
                  <a:pt x="1412" y="357"/>
                </a:cubicBezTo>
                <a:cubicBezTo>
                  <a:pt x="1412" y="363"/>
                  <a:pt x="1412" y="363"/>
                  <a:pt x="1412" y="363"/>
                </a:cubicBezTo>
                <a:cubicBezTo>
                  <a:pt x="1414" y="367"/>
                  <a:pt x="1414" y="367"/>
                  <a:pt x="1414" y="367"/>
                </a:cubicBezTo>
                <a:cubicBezTo>
                  <a:pt x="1416" y="372"/>
                  <a:pt x="1416" y="372"/>
                  <a:pt x="1416" y="372"/>
                </a:cubicBezTo>
                <a:cubicBezTo>
                  <a:pt x="1412" y="367"/>
                  <a:pt x="1412" y="367"/>
                  <a:pt x="1412" y="367"/>
                </a:cubicBezTo>
                <a:cubicBezTo>
                  <a:pt x="1412" y="367"/>
                  <a:pt x="1411" y="373"/>
                  <a:pt x="1411" y="375"/>
                </a:cubicBezTo>
                <a:cubicBezTo>
                  <a:pt x="1411" y="377"/>
                  <a:pt x="1409" y="385"/>
                  <a:pt x="1408" y="387"/>
                </a:cubicBezTo>
                <a:cubicBezTo>
                  <a:pt x="1407" y="388"/>
                  <a:pt x="1407" y="390"/>
                  <a:pt x="1405" y="391"/>
                </a:cubicBezTo>
                <a:cubicBezTo>
                  <a:pt x="1404" y="391"/>
                  <a:pt x="1404" y="391"/>
                  <a:pt x="1403" y="391"/>
                </a:cubicBezTo>
                <a:cubicBezTo>
                  <a:pt x="1399" y="391"/>
                  <a:pt x="1390" y="389"/>
                  <a:pt x="1390" y="389"/>
                </a:cubicBezTo>
                <a:cubicBezTo>
                  <a:pt x="1385" y="391"/>
                  <a:pt x="1385" y="391"/>
                  <a:pt x="1385" y="391"/>
                </a:cubicBezTo>
                <a:cubicBezTo>
                  <a:pt x="1377" y="390"/>
                  <a:pt x="1377" y="390"/>
                  <a:pt x="1377" y="390"/>
                </a:cubicBezTo>
                <a:cubicBezTo>
                  <a:pt x="1377" y="390"/>
                  <a:pt x="1372" y="387"/>
                  <a:pt x="1369" y="387"/>
                </a:cubicBezTo>
                <a:cubicBezTo>
                  <a:pt x="1366" y="388"/>
                  <a:pt x="1362" y="388"/>
                  <a:pt x="1361" y="388"/>
                </a:cubicBezTo>
                <a:cubicBezTo>
                  <a:pt x="1359" y="388"/>
                  <a:pt x="1356" y="388"/>
                  <a:pt x="1356" y="388"/>
                </a:cubicBezTo>
                <a:cubicBezTo>
                  <a:pt x="1356" y="388"/>
                  <a:pt x="1353" y="386"/>
                  <a:pt x="1352" y="386"/>
                </a:cubicBezTo>
                <a:cubicBezTo>
                  <a:pt x="1351" y="386"/>
                  <a:pt x="1347" y="390"/>
                  <a:pt x="1347" y="390"/>
                </a:cubicBezTo>
                <a:cubicBezTo>
                  <a:pt x="1347" y="390"/>
                  <a:pt x="1337" y="391"/>
                  <a:pt x="1337" y="394"/>
                </a:cubicBezTo>
                <a:cubicBezTo>
                  <a:pt x="1336" y="397"/>
                  <a:pt x="1341" y="400"/>
                  <a:pt x="1341" y="400"/>
                </a:cubicBezTo>
                <a:cubicBezTo>
                  <a:pt x="1339" y="405"/>
                  <a:pt x="1339" y="405"/>
                  <a:pt x="1339" y="405"/>
                </a:cubicBezTo>
                <a:cubicBezTo>
                  <a:pt x="1339" y="405"/>
                  <a:pt x="1339" y="406"/>
                  <a:pt x="1340" y="407"/>
                </a:cubicBezTo>
                <a:cubicBezTo>
                  <a:pt x="1340" y="409"/>
                  <a:pt x="1341" y="413"/>
                  <a:pt x="1341" y="415"/>
                </a:cubicBezTo>
                <a:cubicBezTo>
                  <a:pt x="1340" y="420"/>
                  <a:pt x="1336" y="428"/>
                  <a:pt x="1336" y="428"/>
                </a:cubicBezTo>
                <a:cubicBezTo>
                  <a:pt x="1333" y="435"/>
                  <a:pt x="1333" y="435"/>
                  <a:pt x="1333" y="435"/>
                </a:cubicBezTo>
                <a:cubicBezTo>
                  <a:pt x="1333" y="435"/>
                  <a:pt x="1331" y="441"/>
                  <a:pt x="1332" y="442"/>
                </a:cubicBezTo>
                <a:cubicBezTo>
                  <a:pt x="1334" y="443"/>
                  <a:pt x="1336" y="444"/>
                  <a:pt x="1336" y="444"/>
                </a:cubicBezTo>
                <a:cubicBezTo>
                  <a:pt x="1337" y="452"/>
                  <a:pt x="1337" y="452"/>
                  <a:pt x="1337" y="452"/>
                </a:cubicBezTo>
                <a:cubicBezTo>
                  <a:pt x="1337" y="452"/>
                  <a:pt x="1334" y="461"/>
                  <a:pt x="1335" y="461"/>
                </a:cubicBezTo>
                <a:cubicBezTo>
                  <a:pt x="1336" y="461"/>
                  <a:pt x="1342" y="460"/>
                  <a:pt x="1342" y="460"/>
                </a:cubicBezTo>
                <a:cubicBezTo>
                  <a:pt x="1342" y="460"/>
                  <a:pt x="1343" y="462"/>
                  <a:pt x="1344" y="462"/>
                </a:cubicBezTo>
                <a:cubicBezTo>
                  <a:pt x="1345" y="462"/>
                  <a:pt x="1349" y="460"/>
                  <a:pt x="1349" y="459"/>
                </a:cubicBezTo>
                <a:cubicBezTo>
                  <a:pt x="1349" y="459"/>
                  <a:pt x="1349" y="459"/>
                  <a:pt x="1349" y="459"/>
                </a:cubicBezTo>
                <a:cubicBezTo>
                  <a:pt x="1353" y="459"/>
                  <a:pt x="1353" y="459"/>
                  <a:pt x="1353" y="459"/>
                </a:cubicBezTo>
                <a:cubicBezTo>
                  <a:pt x="1357" y="462"/>
                  <a:pt x="1357" y="462"/>
                  <a:pt x="1357" y="462"/>
                </a:cubicBezTo>
                <a:cubicBezTo>
                  <a:pt x="1359" y="462"/>
                  <a:pt x="1359" y="462"/>
                  <a:pt x="1359" y="462"/>
                </a:cubicBezTo>
                <a:cubicBezTo>
                  <a:pt x="1358" y="466"/>
                  <a:pt x="1358" y="466"/>
                  <a:pt x="1358" y="466"/>
                </a:cubicBezTo>
                <a:cubicBezTo>
                  <a:pt x="1359" y="466"/>
                  <a:pt x="1359" y="466"/>
                  <a:pt x="1359" y="466"/>
                </a:cubicBezTo>
                <a:cubicBezTo>
                  <a:pt x="1359" y="466"/>
                  <a:pt x="1359" y="470"/>
                  <a:pt x="1361" y="471"/>
                </a:cubicBezTo>
                <a:cubicBezTo>
                  <a:pt x="1362" y="472"/>
                  <a:pt x="1365" y="472"/>
                  <a:pt x="1365" y="472"/>
                </a:cubicBezTo>
                <a:cubicBezTo>
                  <a:pt x="1365" y="472"/>
                  <a:pt x="1368" y="470"/>
                  <a:pt x="1369" y="469"/>
                </a:cubicBezTo>
                <a:cubicBezTo>
                  <a:pt x="1370" y="467"/>
                  <a:pt x="1373" y="467"/>
                  <a:pt x="1373" y="467"/>
                </a:cubicBezTo>
                <a:cubicBezTo>
                  <a:pt x="1377" y="465"/>
                  <a:pt x="1377" y="465"/>
                  <a:pt x="1377" y="465"/>
                </a:cubicBezTo>
                <a:cubicBezTo>
                  <a:pt x="1377" y="465"/>
                  <a:pt x="1384" y="465"/>
                  <a:pt x="1386" y="465"/>
                </a:cubicBezTo>
                <a:cubicBezTo>
                  <a:pt x="1387" y="464"/>
                  <a:pt x="1389" y="464"/>
                  <a:pt x="1389" y="464"/>
                </a:cubicBezTo>
                <a:cubicBezTo>
                  <a:pt x="1389" y="464"/>
                  <a:pt x="1391" y="465"/>
                  <a:pt x="1392" y="465"/>
                </a:cubicBezTo>
                <a:cubicBezTo>
                  <a:pt x="1393" y="465"/>
                  <a:pt x="1397" y="463"/>
                  <a:pt x="1397" y="463"/>
                </a:cubicBezTo>
                <a:cubicBezTo>
                  <a:pt x="1397" y="463"/>
                  <a:pt x="1396" y="466"/>
                  <a:pt x="1399" y="464"/>
                </a:cubicBezTo>
                <a:cubicBezTo>
                  <a:pt x="1401" y="463"/>
                  <a:pt x="1401" y="459"/>
                  <a:pt x="1401" y="459"/>
                </a:cubicBezTo>
                <a:cubicBezTo>
                  <a:pt x="1406" y="455"/>
                  <a:pt x="1406" y="455"/>
                  <a:pt x="1406" y="455"/>
                </a:cubicBezTo>
                <a:cubicBezTo>
                  <a:pt x="1411" y="455"/>
                  <a:pt x="1411" y="455"/>
                  <a:pt x="1411" y="455"/>
                </a:cubicBezTo>
                <a:cubicBezTo>
                  <a:pt x="1411" y="452"/>
                  <a:pt x="1411" y="452"/>
                  <a:pt x="1411" y="452"/>
                </a:cubicBezTo>
                <a:cubicBezTo>
                  <a:pt x="1411" y="452"/>
                  <a:pt x="1413" y="446"/>
                  <a:pt x="1414" y="445"/>
                </a:cubicBezTo>
                <a:cubicBezTo>
                  <a:pt x="1414" y="445"/>
                  <a:pt x="1420" y="444"/>
                  <a:pt x="1420" y="442"/>
                </a:cubicBezTo>
                <a:cubicBezTo>
                  <a:pt x="1421" y="441"/>
                  <a:pt x="1416" y="438"/>
                  <a:pt x="1416" y="438"/>
                </a:cubicBezTo>
                <a:cubicBezTo>
                  <a:pt x="1416" y="438"/>
                  <a:pt x="1415" y="433"/>
                  <a:pt x="1417" y="431"/>
                </a:cubicBezTo>
                <a:cubicBezTo>
                  <a:pt x="1419" y="429"/>
                  <a:pt x="1421" y="426"/>
                  <a:pt x="1421" y="426"/>
                </a:cubicBezTo>
                <a:cubicBezTo>
                  <a:pt x="1421" y="426"/>
                  <a:pt x="1425" y="422"/>
                  <a:pt x="1425" y="422"/>
                </a:cubicBezTo>
                <a:cubicBezTo>
                  <a:pt x="1426" y="422"/>
                  <a:pt x="1428" y="420"/>
                  <a:pt x="1428" y="420"/>
                </a:cubicBezTo>
                <a:cubicBezTo>
                  <a:pt x="1427" y="419"/>
                  <a:pt x="1426" y="418"/>
                  <a:pt x="1428" y="416"/>
                </a:cubicBezTo>
                <a:cubicBezTo>
                  <a:pt x="1430" y="415"/>
                  <a:pt x="1435" y="414"/>
                  <a:pt x="1438" y="413"/>
                </a:cubicBezTo>
                <a:cubicBezTo>
                  <a:pt x="1441" y="412"/>
                  <a:pt x="1444" y="410"/>
                  <a:pt x="1444" y="410"/>
                </a:cubicBezTo>
                <a:cubicBezTo>
                  <a:pt x="1444" y="410"/>
                  <a:pt x="1448" y="408"/>
                  <a:pt x="1448" y="407"/>
                </a:cubicBezTo>
                <a:cubicBezTo>
                  <a:pt x="1449" y="406"/>
                  <a:pt x="1448" y="404"/>
                  <a:pt x="1448" y="404"/>
                </a:cubicBezTo>
                <a:cubicBezTo>
                  <a:pt x="1450" y="403"/>
                  <a:pt x="1450" y="403"/>
                  <a:pt x="1450" y="403"/>
                </a:cubicBezTo>
                <a:cubicBezTo>
                  <a:pt x="1450" y="403"/>
                  <a:pt x="1447" y="402"/>
                  <a:pt x="1447" y="400"/>
                </a:cubicBezTo>
                <a:cubicBezTo>
                  <a:pt x="1447" y="400"/>
                  <a:pt x="1447" y="400"/>
                  <a:pt x="1447" y="399"/>
                </a:cubicBezTo>
                <a:cubicBezTo>
                  <a:pt x="1447" y="397"/>
                  <a:pt x="1450" y="392"/>
                  <a:pt x="1451" y="392"/>
                </a:cubicBezTo>
                <a:cubicBezTo>
                  <a:pt x="1453" y="391"/>
                  <a:pt x="1457" y="387"/>
                  <a:pt x="1459" y="388"/>
                </a:cubicBezTo>
                <a:cubicBezTo>
                  <a:pt x="1461" y="389"/>
                  <a:pt x="1463" y="390"/>
                  <a:pt x="1463" y="390"/>
                </a:cubicBezTo>
                <a:cubicBezTo>
                  <a:pt x="1463" y="390"/>
                  <a:pt x="1467" y="389"/>
                  <a:pt x="1468" y="390"/>
                </a:cubicBezTo>
                <a:cubicBezTo>
                  <a:pt x="1470" y="391"/>
                  <a:pt x="1471" y="393"/>
                  <a:pt x="1472" y="393"/>
                </a:cubicBezTo>
                <a:cubicBezTo>
                  <a:pt x="1472" y="393"/>
                  <a:pt x="1477" y="395"/>
                  <a:pt x="1480" y="393"/>
                </a:cubicBezTo>
                <a:cubicBezTo>
                  <a:pt x="1482" y="391"/>
                  <a:pt x="1483" y="387"/>
                  <a:pt x="1484" y="387"/>
                </a:cubicBezTo>
                <a:cubicBezTo>
                  <a:pt x="1485" y="387"/>
                  <a:pt x="1486" y="387"/>
                  <a:pt x="1487" y="386"/>
                </a:cubicBezTo>
                <a:cubicBezTo>
                  <a:pt x="1489" y="386"/>
                  <a:pt x="1491" y="386"/>
                  <a:pt x="1492" y="385"/>
                </a:cubicBezTo>
                <a:cubicBezTo>
                  <a:pt x="1494" y="384"/>
                  <a:pt x="1497" y="379"/>
                  <a:pt x="1499" y="379"/>
                </a:cubicBezTo>
                <a:cubicBezTo>
                  <a:pt x="1502" y="379"/>
                  <a:pt x="1508" y="381"/>
                  <a:pt x="1510" y="383"/>
                </a:cubicBezTo>
                <a:cubicBezTo>
                  <a:pt x="1513" y="385"/>
                  <a:pt x="1513" y="389"/>
                  <a:pt x="1513" y="389"/>
                </a:cubicBezTo>
                <a:cubicBezTo>
                  <a:pt x="1515" y="391"/>
                  <a:pt x="1515" y="391"/>
                  <a:pt x="1515" y="391"/>
                </a:cubicBezTo>
                <a:cubicBezTo>
                  <a:pt x="1515" y="391"/>
                  <a:pt x="1513" y="395"/>
                  <a:pt x="1515" y="396"/>
                </a:cubicBezTo>
                <a:cubicBezTo>
                  <a:pt x="1517" y="397"/>
                  <a:pt x="1520" y="398"/>
                  <a:pt x="1520" y="398"/>
                </a:cubicBezTo>
                <a:cubicBezTo>
                  <a:pt x="1521" y="401"/>
                  <a:pt x="1521" y="401"/>
                  <a:pt x="1521" y="401"/>
                </a:cubicBezTo>
                <a:cubicBezTo>
                  <a:pt x="1525" y="401"/>
                  <a:pt x="1525" y="401"/>
                  <a:pt x="1525" y="401"/>
                </a:cubicBezTo>
                <a:cubicBezTo>
                  <a:pt x="1525" y="401"/>
                  <a:pt x="1532" y="408"/>
                  <a:pt x="1534" y="410"/>
                </a:cubicBezTo>
                <a:cubicBezTo>
                  <a:pt x="1536" y="413"/>
                  <a:pt x="1538" y="414"/>
                  <a:pt x="1538" y="414"/>
                </a:cubicBezTo>
                <a:cubicBezTo>
                  <a:pt x="1543" y="415"/>
                  <a:pt x="1543" y="415"/>
                  <a:pt x="1543" y="415"/>
                </a:cubicBezTo>
                <a:cubicBezTo>
                  <a:pt x="1543" y="415"/>
                  <a:pt x="1545" y="418"/>
                  <a:pt x="1548" y="419"/>
                </a:cubicBezTo>
                <a:cubicBezTo>
                  <a:pt x="1551" y="420"/>
                  <a:pt x="1555" y="419"/>
                  <a:pt x="1556" y="420"/>
                </a:cubicBezTo>
                <a:cubicBezTo>
                  <a:pt x="1556" y="422"/>
                  <a:pt x="1557" y="427"/>
                  <a:pt x="1559" y="427"/>
                </a:cubicBezTo>
                <a:cubicBezTo>
                  <a:pt x="1562" y="428"/>
                  <a:pt x="1563" y="427"/>
                  <a:pt x="1563" y="427"/>
                </a:cubicBezTo>
                <a:cubicBezTo>
                  <a:pt x="1563" y="427"/>
                  <a:pt x="1564" y="431"/>
                  <a:pt x="1564" y="434"/>
                </a:cubicBezTo>
                <a:cubicBezTo>
                  <a:pt x="1565" y="437"/>
                  <a:pt x="1567" y="437"/>
                  <a:pt x="1567" y="439"/>
                </a:cubicBezTo>
                <a:cubicBezTo>
                  <a:pt x="1567" y="441"/>
                  <a:pt x="1567" y="442"/>
                  <a:pt x="1567" y="442"/>
                </a:cubicBezTo>
                <a:cubicBezTo>
                  <a:pt x="1565" y="442"/>
                  <a:pt x="1565" y="442"/>
                  <a:pt x="1565" y="442"/>
                </a:cubicBezTo>
                <a:cubicBezTo>
                  <a:pt x="1565" y="445"/>
                  <a:pt x="1565" y="445"/>
                  <a:pt x="1565" y="445"/>
                </a:cubicBezTo>
                <a:cubicBezTo>
                  <a:pt x="1565" y="445"/>
                  <a:pt x="1560" y="451"/>
                  <a:pt x="1563" y="451"/>
                </a:cubicBezTo>
                <a:cubicBezTo>
                  <a:pt x="1565" y="451"/>
                  <a:pt x="1567" y="450"/>
                  <a:pt x="1567" y="450"/>
                </a:cubicBezTo>
                <a:cubicBezTo>
                  <a:pt x="1568" y="447"/>
                  <a:pt x="1568" y="447"/>
                  <a:pt x="1568" y="447"/>
                </a:cubicBezTo>
                <a:cubicBezTo>
                  <a:pt x="1571" y="446"/>
                  <a:pt x="1571" y="446"/>
                  <a:pt x="1571" y="446"/>
                </a:cubicBezTo>
                <a:cubicBezTo>
                  <a:pt x="1571" y="446"/>
                  <a:pt x="1570" y="442"/>
                  <a:pt x="1571" y="441"/>
                </a:cubicBezTo>
                <a:cubicBezTo>
                  <a:pt x="1572" y="441"/>
                  <a:pt x="1576" y="439"/>
                  <a:pt x="1576" y="439"/>
                </a:cubicBezTo>
                <a:cubicBezTo>
                  <a:pt x="1576" y="439"/>
                  <a:pt x="1575" y="435"/>
                  <a:pt x="1575" y="434"/>
                </a:cubicBezTo>
                <a:cubicBezTo>
                  <a:pt x="1574" y="433"/>
                  <a:pt x="1570" y="432"/>
                  <a:pt x="1570" y="431"/>
                </a:cubicBezTo>
                <a:cubicBezTo>
                  <a:pt x="1570" y="429"/>
                  <a:pt x="1573" y="422"/>
                  <a:pt x="1575" y="423"/>
                </a:cubicBezTo>
                <a:cubicBezTo>
                  <a:pt x="1576" y="424"/>
                  <a:pt x="1578" y="424"/>
                  <a:pt x="1578" y="424"/>
                </a:cubicBezTo>
                <a:cubicBezTo>
                  <a:pt x="1582" y="424"/>
                  <a:pt x="1582" y="424"/>
                  <a:pt x="1582" y="424"/>
                </a:cubicBezTo>
                <a:cubicBezTo>
                  <a:pt x="1582" y="424"/>
                  <a:pt x="1583" y="429"/>
                  <a:pt x="1586" y="429"/>
                </a:cubicBezTo>
                <a:cubicBezTo>
                  <a:pt x="1589" y="430"/>
                  <a:pt x="1589" y="427"/>
                  <a:pt x="1588" y="425"/>
                </a:cubicBezTo>
                <a:cubicBezTo>
                  <a:pt x="1586" y="423"/>
                  <a:pt x="1581" y="419"/>
                  <a:pt x="1581" y="419"/>
                </a:cubicBezTo>
                <a:cubicBezTo>
                  <a:pt x="1574" y="416"/>
                  <a:pt x="1574" y="416"/>
                  <a:pt x="1574" y="416"/>
                </a:cubicBezTo>
                <a:cubicBezTo>
                  <a:pt x="1574" y="416"/>
                  <a:pt x="1563" y="413"/>
                  <a:pt x="1564" y="411"/>
                </a:cubicBezTo>
                <a:cubicBezTo>
                  <a:pt x="1565" y="410"/>
                  <a:pt x="1567" y="409"/>
                  <a:pt x="1567" y="408"/>
                </a:cubicBezTo>
                <a:cubicBezTo>
                  <a:pt x="1566" y="406"/>
                  <a:pt x="1556" y="406"/>
                  <a:pt x="1556" y="406"/>
                </a:cubicBezTo>
                <a:cubicBezTo>
                  <a:pt x="1556" y="406"/>
                  <a:pt x="1553" y="405"/>
                  <a:pt x="1550" y="401"/>
                </a:cubicBezTo>
                <a:cubicBezTo>
                  <a:pt x="1546" y="397"/>
                  <a:pt x="1545" y="394"/>
                  <a:pt x="1545" y="394"/>
                </a:cubicBezTo>
                <a:cubicBezTo>
                  <a:pt x="1545" y="394"/>
                  <a:pt x="1544" y="389"/>
                  <a:pt x="1542" y="388"/>
                </a:cubicBezTo>
                <a:cubicBezTo>
                  <a:pt x="1540" y="387"/>
                  <a:pt x="1538" y="384"/>
                  <a:pt x="1538" y="384"/>
                </a:cubicBezTo>
                <a:cubicBezTo>
                  <a:pt x="1532" y="380"/>
                  <a:pt x="1532" y="380"/>
                  <a:pt x="1532" y="380"/>
                </a:cubicBezTo>
                <a:cubicBezTo>
                  <a:pt x="1532" y="380"/>
                  <a:pt x="1529" y="375"/>
                  <a:pt x="1530" y="375"/>
                </a:cubicBezTo>
                <a:cubicBezTo>
                  <a:pt x="1531" y="374"/>
                  <a:pt x="1533" y="374"/>
                  <a:pt x="1533" y="373"/>
                </a:cubicBezTo>
                <a:cubicBezTo>
                  <a:pt x="1533" y="372"/>
                  <a:pt x="1529" y="370"/>
                  <a:pt x="1531" y="368"/>
                </a:cubicBezTo>
                <a:cubicBezTo>
                  <a:pt x="1533" y="366"/>
                  <a:pt x="1538" y="365"/>
                  <a:pt x="1538" y="365"/>
                </a:cubicBezTo>
                <a:cubicBezTo>
                  <a:pt x="1540" y="364"/>
                  <a:pt x="1540" y="364"/>
                  <a:pt x="1540" y="364"/>
                </a:cubicBezTo>
                <a:cubicBezTo>
                  <a:pt x="1540" y="364"/>
                  <a:pt x="1545" y="365"/>
                  <a:pt x="1545" y="365"/>
                </a:cubicBezTo>
                <a:cubicBezTo>
                  <a:pt x="1544" y="366"/>
                  <a:pt x="1544" y="367"/>
                  <a:pt x="1544" y="368"/>
                </a:cubicBezTo>
                <a:cubicBezTo>
                  <a:pt x="1543" y="368"/>
                  <a:pt x="1543" y="369"/>
                  <a:pt x="1543" y="369"/>
                </a:cubicBezTo>
                <a:cubicBezTo>
                  <a:pt x="1543" y="369"/>
                  <a:pt x="1543" y="376"/>
                  <a:pt x="1544" y="374"/>
                </a:cubicBezTo>
                <a:cubicBezTo>
                  <a:pt x="1546" y="372"/>
                  <a:pt x="1548" y="369"/>
                  <a:pt x="1549" y="370"/>
                </a:cubicBezTo>
                <a:cubicBezTo>
                  <a:pt x="1550" y="371"/>
                  <a:pt x="1550" y="374"/>
                  <a:pt x="1550" y="374"/>
                </a:cubicBezTo>
                <a:cubicBezTo>
                  <a:pt x="1554" y="374"/>
                  <a:pt x="1554" y="374"/>
                  <a:pt x="1554" y="374"/>
                </a:cubicBezTo>
                <a:cubicBezTo>
                  <a:pt x="1554" y="374"/>
                  <a:pt x="1553" y="378"/>
                  <a:pt x="1555" y="379"/>
                </a:cubicBezTo>
                <a:cubicBezTo>
                  <a:pt x="1558" y="379"/>
                  <a:pt x="1557" y="381"/>
                  <a:pt x="1557" y="381"/>
                </a:cubicBezTo>
                <a:cubicBezTo>
                  <a:pt x="1563" y="386"/>
                  <a:pt x="1563" y="386"/>
                  <a:pt x="1563" y="386"/>
                </a:cubicBezTo>
                <a:cubicBezTo>
                  <a:pt x="1563" y="389"/>
                  <a:pt x="1563" y="389"/>
                  <a:pt x="1563" y="389"/>
                </a:cubicBezTo>
                <a:cubicBezTo>
                  <a:pt x="1569" y="389"/>
                  <a:pt x="1569" y="389"/>
                  <a:pt x="1569" y="389"/>
                </a:cubicBezTo>
                <a:cubicBezTo>
                  <a:pt x="1569" y="389"/>
                  <a:pt x="1572" y="389"/>
                  <a:pt x="1573" y="391"/>
                </a:cubicBezTo>
                <a:cubicBezTo>
                  <a:pt x="1573" y="391"/>
                  <a:pt x="1572" y="393"/>
                  <a:pt x="1574" y="394"/>
                </a:cubicBezTo>
                <a:cubicBezTo>
                  <a:pt x="1577" y="394"/>
                  <a:pt x="1577" y="394"/>
                  <a:pt x="1577" y="394"/>
                </a:cubicBezTo>
                <a:cubicBezTo>
                  <a:pt x="1579" y="395"/>
                  <a:pt x="1579" y="395"/>
                  <a:pt x="1579" y="395"/>
                </a:cubicBezTo>
                <a:cubicBezTo>
                  <a:pt x="1579" y="395"/>
                  <a:pt x="1584" y="400"/>
                  <a:pt x="1586" y="401"/>
                </a:cubicBezTo>
                <a:cubicBezTo>
                  <a:pt x="1586" y="401"/>
                  <a:pt x="1587" y="401"/>
                  <a:pt x="1587" y="401"/>
                </a:cubicBezTo>
                <a:cubicBezTo>
                  <a:pt x="1588" y="402"/>
                  <a:pt x="1590" y="401"/>
                  <a:pt x="1590" y="401"/>
                </a:cubicBezTo>
                <a:cubicBezTo>
                  <a:pt x="1590" y="403"/>
                  <a:pt x="1590" y="403"/>
                  <a:pt x="1590" y="403"/>
                </a:cubicBezTo>
                <a:cubicBezTo>
                  <a:pt x="1594" y="407"/>
                  <a:pt x="1594" y="407"/>
                  <a:pt x="1594" y="407"/>
                </a:cubicBezTo>
                <a:cubicBezTo>
                  <a:pt x="1595" y="407"/>
                  <a:pt x="1595" y="407"/>
                  <a:pt x="1595" y="407"/>
                </a:cubicBezTo>
                <a:cubicBezTo>
                  <a:pt x="1598" y="407"/>
                  <a:pt x="1598" y="407"/>
                  <a:pt x="1598" y="407"/>
                </a:cubicBezTo>
                <a:cubicBezTo>
                  <a:pt x="1598" y="407"/>
                  <a:pt x="1597" y="416"/>
                  <a:pt x="1597" y="418"/>
                </a:cubicBezTo>
                <a:cubicBezTo>
                  <a:pt x="1597" y="421"/>
                  <a:pt x="1594" y="424"/>
                  <a:pt x="1595" y="425"/>
                </a:cubicBezTo>
                <a:cubicBezTo>
                  <a:pt x="1597" y="426"/>
                  <a:pt x="1600" y="428"/>
                  <a:pt x="1600" y="428"/>
                </a:cubicBezTo>
                <a:cubicBezTo>
                  <a:pt x="1600" y="428"/>
                  <a:pt x="1600" y="432"/>
                  <a:pt x="1600" y="432"/>
                </a:cubicBezTo>
                <a:cubicBezTo>
                  <a:pt x="1601" y="432"/>
                  <a:pt x="1605" y="433"/>
                  <a:pt x="1605" y="433"/>
                </a:cubicBezTo>
                <a:cubicBezTo>
                  <a:pt x="1605" y="433"/>
                  <a:pt x="1604" y="436"/>
                  <a:pt x="1606" y="437"/>
                </a:cubicBezTo>
                <a:cubicBezTo>
                  <a:pt x="1608" y="437"/>
                  <a:pt x="1610" y="441"/>
                  <a:pt x="1610" y="441"/>
                </a:cubicBezTo>
                <a:cubicBezTo>
                  <a:pt x="1610" y="441"/>
                  <a:pt x="1612" y="446"/>
                  <a:pt x="1614" y="446"/>
                </a:cubicBezTo>
                <a:cubicBezTo>
                  <a:pt x="1616" y="446"/>
                  <a:pt x="1620" y="446"/>
                  <a:pt x="1620" y="446"/>
                </a:cubicBezTo>
                <a:cubicBezTo>
                  <a:pt x="1620" y="446"/>
                  <a:pt x="1623" y="445"/>
                  <a:pt x="1625" y="445"/>
                </a:cubicBezTo>
                <a:cubicBezTo>
                  <a:pt x="1626" y="446"/>
                  <a:pt x="1634" y="449"/>
                  <a:pt x="1634" y="449"/>
                </a:cubicBezTo>
                <a:cubicBezTo>
                  <a:pt x="1634" y="449"/>
                  <a:pt x="1638" y="454"/>
                  <a:pt x="1639" y="452"/>
                </a:cubicBezTo>
                <a:cubicBezTo>
                  <a:pt x="1640" y="451"/>
                  <a:pt x="1641" y="449"/>
                  <a:pt x="1639" y="448"/>
                </a:cubicBezTo>
                <a:cubicBezTo>
                  <a:pt x="1637" y="446"/>
                  <a:pt x="1634" y="443"/>
                  <a:pt x="1633" y="443"/>
                </a:cubicBezTo>
                <a:cubicBezTo>
                  <a:pt x="1633" y="443"/>
                  <a:pt x="1629" y="441"/>
                  <a:pt x="1629" y="441"/>
                </a:cubicBezTo>
                <a:cubicBezTo>
                  <a:pt x="1629" y="441"/>
                  <a:pt x="1630" y="440"/>
                  <a:pt x="1631" y="440"/>
                </a:cubicBezTo>
                <a:cubicBezTo>
                  <a:pt x="1632" y="440"/>
                  <a:pt x="1637" y="445"/>
                  <a:pt x="1640" y="446"/>
                </a:cubicBezTo>
                <a:cubicBezTo>
                  <a:pt x="1643" y="446"/>
                  <a:pt x="1644" y="443"/>
                  <a:pt x="1641" y="442"/>
                </a:cubicBezTo>
                <a:cubicBezTo>
                  <a:pt x="1638" y="442"/>
                  <a:pt x="1636" y="441"/>
                  <a:pt x="1636" y="441"/>
                </a:cubicBezTo>
                <a:cubicBezTo>
                  <a:pt x="1636" y="441"/>
                  <a:pt x="1633" y="439"/>
                  <a:pt x="1633" y="438"/>
                </a:cubicBezTo>
                <a:cubicBezTo>
                  <a:pt x="1632" y="436"/>
                  <a:pt x="1630" y="433"/>
                  <a:pt x="1630" y="433"/>
                </a:cubicBezTo>
                <a:cubicBezTo>
                  <a:pt x="1630" y="433"/>
                  <a:pt x="1628" y="429"/>
                  <a:pt x="1627" y="428"/>
                </a:cubicBezTo>
                <a:cubicBezTo>
                  <a:pt x="1626" y="427"/>
                  <a:pt x="1625" y="422"/>
                  <a:pt x="1626" y="422"/>
                </a:cubicBezTo>
                <a:cubicBezTo>
                  <a:pt x="1627" y="421"/>
                  <a:pt x="1628" y="425"/>
                  <a:pt x="1630" y="425"/>
                </a:cubicBezTo>
                <a:cubicBezTo>
                  <a:pt x="1630" y="425"/>
                  <a:pt x="1631" y="425"/>
                  <a:pt x="1631" y="425"/>
                </a:cubicBezTo>
                <a:cubicBezTo>
                  <a:pt x="1632" y="426"/>
                  <a:pt x="1633" y="428"/>
                  <a:pt x="1633" y="428"/>
                </a:cubicBezTo>
                <a:cubicBezTo>
                  <a:pt x="1634" y="429"/>
                  <a:pt x="1635" y="428"/>
                  <a:pt x="1635" y="428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8" y="427"/>
                  <a:pt x="1638" y="427"/>
                  <a:pt x="1638" y="427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7" y="424"/>
                  <a:pt x="1637" y="422"/>
                  <a:pt x="1637" y="420"/>
                </a:cubicBezTo>
                <a:cubicBezTo>
                  <a:pt x="1637" y="419"/>
                  <a:pt x="1640" y="418"/>
                  <a:pt x="1642" y="419"/>
                </a:cubicBezTo>
                <a:cubicBezTo>
                  <a:pt x="1644" y="419"/>
                  <a:pt x="1643" y="422"/>
                  <a:pt x="1645" y="421"/>
                </a:cubicBezTo>
                <a:cubicBezTo>
                  <a:pt x="1647" y="421"/>
                  <a:pt x="1647" y="418"/>
                  <a:pt x="1648" y="417"/>
                </a:cubicBezTo>
                <a:cubicBezTo>
                  <a:pt x="1649" y="417"/>
                  <a:pt x="1658" y="419"/>
                  <a:pt x="1658" y="419"/>
                </a:cubicBezTo>
                <a:cubicBezTo>
                  <a:pt x="1658" y="419"/>
                  <a:pt x="1656" y="422"/>
                  <a:pt x="1659" y="422"/>
                </a:cubicBezTo>
                <a:cubicBezTo>
                  <a:pt x="1662" y="421"/>
                  <a:pt x="1664" y="420"/>
                  <a:pt x="1664" y="420"/>
                </a:cubicBezTo>
                <a:cubicBezTo>
                  <a:pt x="1664" y="420"/>
                  <a:pt x="1663" y="422"/>
                  <a:pt x="1665" y="422"/>
                </a:cubicBezTo>
                <a:cubicBezTo>
                  <a:pt x="1667" y="421"/>
                  <a:pt x="1671" y="417"/>
                  <a:pt x="1671" y="417"/>
                </a:cubicBezTo>
                <a:cubicBezTo>
                  <a:pt x="1671" y="417"/>
                  <a:pt x="1678" y="415"/>
                  <a:pt x="1680" y="416"/>
                </a:cubicBezTo>
                <a:cubicBezTo>
                  <a:pt x="1683" y="418"/>
                  <a:pt x="1690" y="419"/>
                  <a:pt x="1690" y="419"/>
                </a:cubicBezTo>
                <a:cubicBezTo>
                  <a:pt x="1690" y="419"/>
                  <a:pt x="1683" y="420"/>
                  <a:pt x="1683" y="420"/>
                </a:cubicBezTo>
                <a:cubicBezTo>
                  <a:pt x="1683" y="421"/>
                  <a:pt x="1682" y="423"/>
                  <a:pt x="1682" y="423"/>
                </a:cubicBezTo>
                <a:cubicBezTo>
                  <a:pt x="1675" y="423"/>
                  <a:pt x="1675" y="423"/>
                  <a:pt x="1675" y="423"/>
                </a:cubicBezTo>
                <a:cubicBezTo>
                  <a:pt x="1668" y="423"/>
                  <a:pt x="1668" y="423"/>
                  <a:pt x="1668" y="423"/>
                </a:cubicBezTo>
                <a:cubicBezTo>
                  <a:pt x="1668" y="423"/>
                  <a:pt x="1662" y="424"/>
                  <a:pt x="1661" y="425"/>
                </a:cubicBezTo>
                <a:cubicBezTo>
                  <a:pt x="1661" y="427"/>
                  <a:pt x="1659" y="433"/>
                  <a:pt x="1659" y="433"/>
                </a:cubicBezTo>
                <a:cubicBezTo>
                  <a:pt x="1664" y="433"/>
                  <a:pt x="1664" y="433"/>
                  <a:pt x="1664" y="433"/>
                </a:cubicBezTo>
                <a:cubicBezTo>
                  <a:pt x="1664" y="433"/>
                  <a:pt x="1663" y="435"/>
                  <a:pt x="1665" y="437"/>
                </a:cubicBezTo>
                <a:cubicBezTo>
                  <a:pt x="1666" y="438"/>
                  <a:pt x="1667" y="440"/>
                  <a:pt x="1667" y="440"/>
                </a:cubicBezTo>
                <a:cubicBezTo>
                  <a:pt x="1666" y="442"/>
                  <a:pt x="1666" y="442"/>
                  <a:pt x="1666" y="442"/>
                </a:cubicBezTo>
                <a:cubicBezTo>
                  <a:pt x="1668" y="446"/>
                  <a:pt x="1668" y="446"/>
                  <a:pt x="1668" y="446"/>
                </a:cubicBezTo>
                <a:cubicBezTo>
                  <a:pt x="1666" y="448"/>
                  <a:pt x="1666" y="448"/>
                  <a:pt x="1666" y="448"/>
                </a:cubicBezTo>
                <a:cubicBezTo>
                  <a:pt x="1671" y="452"/>
                  <a:pt x="1671" y="452"/>
                  <a:pt x="1671" y="452"/>
                </a:cubicBezTo>
                <a:cubicBezTo>
                  <a:pt x="1671" y="457"/>
                  <a:pt x="1671" y="457"/>
                  <a:pt x="1671" y="457"/>
                </a:cubicBezTo>
                <a:cubicBezTo>
                  <a:pt x="1678" y="461"/>
                  <a:pt x="1678" y="461"/>
                  <a:pt x="1678" y="461"/>
                </a:cubicBezTo>
                <a:cubicBezTo>
                  <a:pt x="1679" y="466"/>
                  <a:pt x="1679" y="466"/>
                  <a:pt x="1679" y="466"/>
                </a:cubicBezTo>
                <a:cubicBezTo>
                  <a:pt x="1679" y="466"/>
                  <a:pt x="1678" y="463"/>
                  <a:pt x="1682" y="464"/>
                </a:cubicBezTo>
                <a:cubicBezTo>
                  <a:pt x="1686" y="465"/>
                  <a:pt x="1686" y="469"/>
                  <a:pt x="1692" y="469"/>
                </a:cubicBezTo>
                <a:cubicBezTo>
                  <a:pt x="1698" y="470"/>
                  <a:pt x="1701" y="470"/>
                  <a:pt x="1701" y="468"/>
                </a:cubicBezTo>
                <a:cubicBezTo>
                  <a:pt x="1701" y="467"/>
                  <a:pt x="1701" y="463"/>
                  <a:pt x="1703" y="463"/>
                </a:cubicBezTo>
                <a:cubicBezTo>
                  <a:pt x="1705" y="463"/>
                  <a:pt x="1711" y="464"/>
                  <a:pt x="1714" y="465"/>
                </a:cubicBezTo>
                <a:cubicBezTo>
                  <a:pt x="1717" y="466"/>
                  <a:pt x="1714" y="472"/>
                  <a:pt x="1724" y="472"/>
                </a:cubicBezTo>
                <a:cubicBezTo>
                  <a:pt x="1733" y="471"/>
                  <a:pt x="1733" y="466"/>
                  <a:pt x="1737" y="465"/>
                </a:cubicBezTo>
                <a:cubicBezTo>
                  <a:pt x="1740" y="464"/>
                  <a:pt x="1743" y="463"/>
                  <a:pt x="1744" y="464"/>
                </a:cubicBezTo>
                <a:cubicBezTo>
                  <a:pt x="1745" y="466"/>
                  <a:pt x="1746" y="467"/>
                  <a:pt x="1748" y="466"/>
                </a:cubicBezTo>
                <a:cubicBezTo>
                  <a:pt x="1750" y="465"/>
                  <a:pt x="1752" y="461"/>
                  <a:pt x="1753" y="463"/>
                </a:cubicBezTo>
                <a:cubicBezTo>
                  <a:pt x="1755" y="464"/>
                  <a:pt x="1753" y="466"/>
                  <a:pt x="1753" y="468"/>
                </a:cubicBezTo>
                <a:cubicBezTo>
                  <a:pt x="1752" y="469"/>
                  <a:pt x="1750" y="471"/>
                  <a:pt x="1752" y="472"/>
                </a:cubicBezTo>
                <a:cubicBezTo>
                  <a:pt x="1752" y="473"/>
                  <a:pt x="1752" y="473"/>
                  <a:pt x="1752" y="473"/>
                </a:cubicBezTo>
                <a:cubicBezTo>
                  <a:pt x="1752" y="474"/>
                  <a:pt x="1750" y="476"/>
                  <a:pt x="1750" y="477"/>
                </a:cubicBezTo>
                <a:cubicBezTo>
                  <a:pt x="1749" y="478"/>
                  <a:pt x="1749" y="478"/>
                  <a:pt x="1749" y="478"/>
                </a:cubicBezTo>
                <a:cubicBezTo>
                  <a:pt x="1749" y="484"/>
                  <a:pt x="1749" y="484"/>
                  <a:pt x="1749" y="484"/>
                </a:cubicBezTo>
                <a:cubicBezTo>
                  <a:pt x="1749" y="484"/>
                  <a:pt x="1752" y="486"/>
                  <a:pt x="1753" y="488"/>
                </a:cubicBezTo>
                <a:cubicBezTo>
                  <a:pt x="1753" y="488"/>
                  <a:pt x="1753" y="488"/>
                  <a:pt x="1753" y="489"/>
                </a:cubicBezTo>
                <a:cubicBezTo>
                  <a:pt x="1751" y="491"/>
                  <a:pt x="1749" y="492"/>
                  <a:pt x="1749" y="492"/>
                </a:cubicBezTo>
                <a:cubicBezTo>
                  <a:pt x="1747" y="497"/>
                  <a:pt x="1747" y="497"/>
                  <a:pt x="1747" y="497"/>
                </a:cubicBezTo>
                <a:cubicBezTo>
                  <a:pt x="1747" y="497"/>
                  <a:pt x="1745" y="502"/>
                  <a:pt x="1745" y="506"/>
                </a:cubicBezTo>
                <a:cubicBezTo>
                  <a:pt x="1745" y="507"/>
                  <a:pt x="1745" y="509"/>
                  <a:pt x="1745" y="510"/>
                </a:cubicBezTo>
                <a:cubicBezTo>
                  <a:pt x="1745" y="512"/>
                  <a:pt x="1746" y="515"/>
                  <a:pt x="1746" y="515"/>
                </a:cubicBezTo>
                <a:cubicBezTo>
                  <a:pt x="1743" y="520"/>
                  <a:pt x="1743" y="520"/>
                  <a:pt x="1743" y="520"/>
                </a:cubicBezTo>
                <a:cubicBezTo>
                  <a:pt x="1743" y="523"/>
                  <a:pt x="1743" y="523"/>
                  <a:pt x="1743" y="523"/>
                </a:cubicBezTo>
                <a:cubicBezTo>
                  <a:pt x="1741" y="525"/>
                  <a:pt x="1741" y="525"/>
                  <a:pt x="1741" y="525"/>
                </a:cubicBezTo>
                <a:cubicBezTo>
                  <a:pt x="1741" y="525"/>
                  <a:pt x="1733" y="528"/>
                  <a:pt x="1731" y="527"/>
                </a:cubicBezTo>
                <a:cubicBezTo>
                  <a:pt x="1729" y="527"/>
                  <a:pt x="1728" y="526"/>
                  <a:pt x="1728" y="526"/>
                </a:cubicBezTo>
                <a:cubicBezTo>
                  <a:pt x="1728" y="526"/>
                  <a:pt x="1726" y="528"/>
                  <a:pt x="1723" y="527"/>
                </a:cubicBezTo>
                <a:cubicBezTo>
                  <a:pt x="1720" y="525"/>
                  <a:pt x="1721" y="523"/>
                  <a:pt x="1718" y="523"/>
                </a:cubicBezTo>
                <a:cubicBezTo>
                  <a:pt x="1714" y="522"/>
                  <a:pt x="1710" y="524"/>
                  <a:pt x="1710" y="524"/>
                </a:cubicBezTo>
                <a:cubicBezTo>
                  <a:pt x="1710" y="524"/>
                  <a:pt x="1707" y="523"/>
                  <a:pt x="1704" y="523"/>
                </a:cubicBezTo>
                <a:cubicBezTo>
                  <a:pt x="1702" y="524"/>
                  <a:pt x="1700" y="527"/>
                  <a:pt x="1700" y="527"/>
                </a:cubicBezTo>
                <a:cubicBezTo>
                  <a:pt x="1700" y="527"/>
                  <a:pt x="1698" y="527"/>
                  <a:pt x="1697" y="527"/>
                </a:cubicBezTo>
                <a:cubicBezTo>
                  <a:pt x="1696" y="528"/>
                  <a:pt x="1694" y="530"/>
                  <a:pt x="1694" y="530"/>
                </a:cubicBezTo>
                <a:cubicBezTo>
                  <a:pt x="1694" y="530"/>
                  <a:pt x="1686" y="527"/>
                  <a:pt x="1685" y="527"/>
                </a:cubicBezTo>
                <a:cubicBezTo>
                  <a:pt x="1684" y="527"/>
                  <a:pt x="1682" y="528"/>
                  <a:pt x="1679" y="527"/>
                </a:cubicBezTo>
                <a:cubicBezTo>
                  <a:pt x="1676" y="527"/>
                  <a:pt x="1676" y="524"/>
                  <a:pt x="1673" y="524"/>
                </a:cubicBezTo>
                <a:cubicBezTo>
                  <a:pt x="1670" y="524"/>
                  <a:pt x="1668" y="524"/>
                  <a:pt x="1668" y="524"/>
                </a:cubicBezTo>
                <a:cubicBezTo>
                  <a:pt x="1668" y="524"/>
                  <a:pt x="1664" y="521"/>
                  <a:pt x="1662" y="521"/>
                </a:cubicBezTo>
                <a:cubicBezTo>
                  <a:pt x="1660" y="521"/>
                  <a:pt x="1659" y="524"/>
                  <a:pt x="1656" y="522"/>
                </a:cubicBezTo>
                <a:cubicBezTo>
                  <a:pt x="1656" y="522"/>
                  <a:pt x="1655" y="522"/>
                  <a:pt x="1655" y="521"/>
                </a:cubicBezTo>
                <a:cubicBezTo>
                  <a:pt x="1653" y="519"/>
                  <a:pt x="1654" y="517"/>
                  <a:pt x="1654" y="517"/>
                </a:cubicBezTo>
                <a:cubicBezTo>
                  <a:pt x="1651" y="518"/>
                  <a:pt x="1651" y="518"/>
                  <a:pt x="1651" y="518"/>
                </a:cubicBezTo>
                <a:cubicBezTo>
                  <a:pt x="1649" y="517"/>
                  <a:pt x="1649" y="517"/>
                  <a:pt x="1649" y="517"/>
                </a:cubicBezTo>
                <a:cubicBezTo>
                  <a:pt x="1649" y="517"/>
                  <a:pt x="1648" y="518"/>
                  <a:pt x="1647" y="518"/>
                </a:cubicBezTo>
                <a:cubicBezTo>
                  <a:pt x="1645" y="518"/>
                  <a:pt x="1644" y="515"/>
                  <a:pt x="1642" y="515"/>
                </a:cubicBezTo>
                <a:cubicBezTo>
                  <a:pt x="1640" y="515"/>
                  <a:pt x="1638" y="516"/>
                  <a:pt x="1635" y="514"/>
                </a:cubicBezTo>
                <a:cubicBezTo>
                  <a:pt x="1633" y="513"/>
                  <a:pt x="1635" y="511"/>
                  <a:pt x="1633" y="510"/>
                </a:cubicBezTo>
                <a:cubicBezTo>
                  <a:pt x="1631" y="509"/>
                  <a:pt x="1627" y="509"/>
                  <a:pt x="1627" y="509"/>
                </a:cubicBezTo>
                <a:cubicBezTo>
                  <a:pt x="1627" y="509"/>
                  <a:pt x="1623" y="507"/>
                  <a:pt x="1621" y="507"/>
                </a:cubicBezTo>
                <a:cubicBezTo>
                  <a:pt x="1620" y="507"/>
                  <a:pt x="1620" y="509"/>
                  <a:pt x="1620" y="509"/>
                </a:cubicBezTo>
                <a:cubicBezTo>
                  <a:pt x="1620" y="509"/>
                  <a:pt x="1613" y="509"/>
                  <a:pt x="1611" y="511"/>
                </a:cubicBezTo>
                <a:cubicBezTo>
                  <a:pt x="1608" y="513"/>
                  <a:pt x="1604" y="515"/>
                  <a:pt x="1604" y="519"/>
                </a:cubicBezTo>
                <a:cubicBezTo>
                  <a:pt x="1604" y="522"/>
                  <a:pt x="1608" y="526"/>
                  <a:pt x="1608" y="528"/>
                </a:cubicBezTo>
                <a:cubicBezTo>
                  <a:pt x="1608" y="530"/>
                  <a:pt x="1603" y="536"/>
                  <a:pt x="1601" y="536"/>
                </a:cubicBezTo>
                <a:cubicBezTo>
                  <a:pt x="1598" y="537"/>
                  <a:pt x="1595" y="537"/>
                  <a:pt x="1592" y="534"/>
                </a:cubicBezTo>
                <a:cubicBezTo>
                  <a:pt x="1589" y="531"/>
                  <a:pt x="1581" y="526"/>
                  <a:pt x="1577" y="526"/>
                </a:cubicBezTo>
                <a:cubicBezTo>
                  <a:pt x="1574" y="526"/>
                  <a:pt x="1567" y="528"/>
                  <a:pt x="1565" y="524"/>
                </a:cubicBezTo>
                <a:cubicBezTo>
                  <a:pt x="1562" y="521"/>
                  <a:pt x="1563" y="519"/>
                  <a:pt x="1561" y="515"/>
                </a:cubicBezTo>
                <a:cubicBezTo>
                  <a:pt x="1559" y="512"/>
                  <a:pt x="1555" y="513"/>
                  <a:pt x="1555" y="513"/>
                </a:cubicBezTo>
                <a:cubicBezTo>
                  <a:pt x="1555" y="513"/>
                  <a:pt x="1550" y="509"/>
                  <a:pt x="1548" y="509"/>
                </a:cubicBezTo>
                <a:cubicBezTo>
                  <a:pt x="1547" y="508"/>
                  <a:pt x="1542" y="508"/>
                  <a:pt x="1540" y="508"/>
                </a:cubicBezTo>
                <a:cubicBezTo>
                  <a:pt x="1539" y="509"/>
                  <a:pt x="1536" y="510"/>
                  <a:pt x="1534" y="509"/>
                </a:cubicBezTo>
                <a:cubicBezTo>
                  <a:pt x="1532" y="508"/>
                  <a:pt x="1527" y="505"/>
                  <a:pt x="1526" y="505"/>
                </a:cubicBezTo>
                <a:cubicBezTo>
                  <a:pt x="1526" y="505"/>
                  <a:pt x="1525" y="504"/>
                  <a:pt x="1524" y="504"/>
                </a:cubicBezTo>
                <a:cubicBezTo>
                  <a:pt x="1523" y="504"/>
                  <a:pt x="1522" y="504"/>
                  <a:pt x="1522" y="504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19" y="499"/>
                  <a:pt x="1519" y="499"/>
                  <a:pt x="1519" y="499"/>
                </a:cubicBezTo>
                <a:cubicBezTo>
                  <a:pt x="1518" y="501"/>
                  <a:pt x="1518" y="501"/>
                  <a:pt x="1518" y="501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1" y="499"/>
                  <a:pt x="1511" y="495"/>
                </a:cubicBezTo>
                <a:cubicBezTo>
                  <a:pt x="1511" y="491"/>
                  <a:pt x="1510" y="493"/>
                  <a:pt x="1515" y="489"/>
                </a:cubicBezTo>
                <a:cubicBezTo>
                  <a:pt x="1520" y="484"/>
                  <a:pt x="1523" y="481"/>
                  <a:pt x="1520" y="478"/>
                </a:cubicBezTo>
                <a:cubicBezTo>
                  <a:pt x="1517" y="474"/>
                  <a:pt x="1514" y="475"/>
                  <a:pt x="1515" y="472"/>
                </a:cubicBezTo>
                <a:cubicBezTo>
                  <a:pt x="1516" y="468"/>
                  <a:pt x="1516" y="469"/>
                  <a:pt x="1518" y="467"/>
                </a:cubicBezTo>
                <a:cubicBezTo>
                  <a:pt x="1520" y="465"/>
                  <a:pt x="1522" y="460"/>
                  <a:pt x="1520" y="460"/>
                </a:cubicBezTo>
                <a:cubicBezTo>
                  <a:pt x="1519" y="460"/>
                  <a:pt x="1515" y="465"/>
                  <a:pt x="1514" y="466"/>
                </a:cubicBezTo>
                <a:cubicBezTo>
                  <a:pt x="1513" y="466"/>
                  <a:pt x="1510" y="463"/>
                  <a:pt x="1510" y="463"/>
                </a:cubicBezTo>
                <a:cubicBezTo>
                  <a:pt x="1510" y="463"/>
                  <a:pt x="1514" y="460"/>
                  <a:pt x="1511" y="458"/>
                </a:cubicBezTo>
                <a:cubicBezTo>
                  <a:pt x="1507" y="456"/>
                  <a:pt x="1501" y="460"/>
                  <a:pt x="1500" y="461"/>
                </a:cubicBezTo>
                <a:cubicBezTo>
                  <a:pt x="1500" y="461"/>
                  <a:pt x="1499" y="462"/>
                  <a:pt x="1499" y="462"/>
                </a:cubicBezTo>
                <a:cubicBezTo>
                  <a:pt x="1499" y="464"/>
                  <a:pt x="1499" y="464"/>
                  <a:pt x="1499" y="464"/>
                </a:cubicBezTo>
                <a:cubicBezTo>
                  <a:pt x="1499" y="462"/>
                  <a:pt x="1499" y="462"/>
                  <a:pt x="1499" y="462"/>
                </a:cubicBezTo>
                <a:cubicBezTo>
                  <a:pt x="1497" y="462"/>
                  <a:pt x="1494" y="461"/>
                  <a:pt x="1494" y="461"/>
                </a:cubicBezTo>
                <a:cubicBezTo>
                  <a:pt x="1493" y="463"/>
                  <a:pt x="1493" y="463"/>
                  <a:pt x="1493" y="463"/>
                </a:cubicBezTo>
                <a:cubicBezTo>
                  <a:pt x="1487" y="460"/>
                  <a:pt x="1487" y="460"/>
                  <a:pt x="1487" y="460"/>
                </a:cubicBezTo>
                <a:cubicBezTo>
                  <a:pt x="1485" y="460"/>
                  <a:pt x="1485" y="460"/>
                  <a:pt x="1485" y="460"/>
                </a:cubicBezTo>
                <a:cubicBezTo>
                  <a:pt x="1485" y="462"/>
                  <a:pt x="1485" y="462"/>
                  <a:pt x="1485" y="462"/>
                </a:cubicBezTo>
                <a:cubicBezTo>
                  <a:pt x="1480" y="462"/>
                  <a:pt x="1480" y="462"/>
                  <a:pt x="1480" y="462"/>
                </a:cubicBezTo>
                <a:cubicBezTo>
                  <a:pt x="1476" y="459"/>
                  <a:pt x="1476" y="459"/>
                  <a:pt x="1476" y="459"/>
                </a:cubicBezTo>
                <a:cubicBezTo>
                  <a:pt x="1475" y="463"/>
                  <a:pt x="1475" y="463"/>
                  <a:pt x="1475" y="463"/>
                </a:cubicBezTo>
                <a:cubicBezTo>
                  <a:pt x="1471" y="462"/>
                  <a:pt x="1471" y="462"/>
                  <a:pt x="1471" y="462"/>
                </a:cubicBezTo>
                <a:cubicBezTo>
                  <a:pt x="1467" y="465"/>
                  <a:pt x="1467" y="465"/>
                  <a:pt x="1467" y="465"/>
                </a:cubicBezTo>
                <a:cubicBezTo>
                  <a:pt x="1467" y="465"/>
                  <a:pt x="1462" y="463"/>
                  <a:pt x="1456" y="463"/>
                </a:cubicBezTo>
                <a:cubicBezTo>
                  <a:pt x="1449" y="463"/>
                  <a:pt x="1449" y="465"/>
                  <a:pt x="1446" y="465"/>
                </a:cubicBezTo>
                <a:cubicBezTo>
                  <a:pt x="1443" y="465"/>
                  <a:pt x="1438" y="465"/>
                  <a:pt x="1438" y="465"/>
                </a:cubicBezTo>
                <a:cubicBezTo>
                  <a:pt x="1437" y="466"/>
                  <a:pt x="1437" y="466"/>
                  <a:pt x="1437" y="466"/>
                </a:cubicBezTo>
                <a:cubicBezTo>
                  <a:pt x="1429" y="466"/>
                  <a:pt x="1429" y="466"/>
                  <a:pt x="1429" y="466"/>
                </a:cubicBezTo>
                <a:cubicBezTo>
                  <a:pt x="1429" y="466"/>
                  <a:pt x="1419" y="468"/>
                  <a:pt x="1419" y="470"/>
                </a:cubicBezTo>
                <a:cubicBezTo>
                  <a:pt x="1419" y="472"/>
                  <a:pt x="1417" y="474"/>
                  <a:pt x="1417" y="474"/>
                </a:cubicBezTo>
                <a:cubicBezTo>
                  <a:pt x="1417" y="474"/>
                  <a:pt x="1407" y="475"/>
                  <a:pt x="1406" y="477"/>
                </a:cubicBezTo>
                <a:cubicBezTo>
                  <a:pt x="1406" y="479"/>
                  <a:pt x="1401" y="483"/>
                  <a:pt x="1398" y="483"/>
                </a:cubicBezTo>
                <a:cubicBezTo>
                  <a:pt x="1398" y="483"/>
                  <a:pt x="1397" y="483"/>
                  <a:pt x="1397" y="483"/>
                </a:cubicBezTo>
                <a:cubicBezTo>
                  <a:pt x="1397" y="483"/>
                  <a:pt x="1397" y="483"/>
                  <a:pt x="1397" y="483"/>
                </a:cubicBezTo>
                <a:cubicBezTo>
                  <a:pt x="1394" y="482"/>
                  <a:pt x="1392" y="480"/>
                  <a:pt x="1390" y="480"/>
                </a:cubicBezTo>
                <a:cubicBezTo>
                  <a:pt x="1388" y="480"/>
                  <a:pt x="1386" y="482"/>
                  <a:pt x="1386" y="482"/>
                </a:cubicBezTo>
                <a:cubicBezTo>
                  <a:pt x="1386" y="482"/>
                  <a:pt x="1381" y="481"/>
                  <a:pt x="1380" y="481"/>
                </a:cubicBezTo>
                <a:cubicBezTo>
                  <a:pt x="1378" y="481"/>
                  <a:pt x="1376" y="483"/>
                  <a:pt x="1373" y="482"/>
                </a:cubicBezTo>
                <a:cubicBezTo>
                  <a:pt x="1370" y="481"/>
                  <a:pt x="1367" y="475"/>
                  <a:pt x="1366" y="475"/>
                </a:cubicBezTo>
                <a:cubicBezTo>
                  <a:pt x="1365" y="475"/>
                  <a:pt x="1362" y="475"/>
                  <a:pt x="1362" y="475"/>
                </a:cubicBezTo>
                <a:cubicBezTo>
                  <a:pt x="1362" y="475"/>
                  <a:pt x="1360" y="482"/>
                  <a:pt x="1358" y="485"/>
                </a:cubicBezTo>
                <a:cubicBezTo>
                  <a:pt x="1357" y="487"/>
                  <a:pt x="1353" y="495"/>
                  <a:pt x="1351" y="497"/>
                </a:cubicBezTo>
                <a:cubicBezTo>
                  <a:pt x="1348" y="499"/>
                  <a:pt x="1345" y="498"/>
                  <a:pt x="1344" y="499"/>
                </a:cubicBezTo>
                <a:cubicBezTo>
                  <a:pt x="1343" y="500"/>
                  <a:pt x="1340" y="502"/>
                  <a:pt x="1340" y="502"/>
                </a:cubicBezTo>
                <a:cubicBezTo>
                  <a:pt x="1338" y="501"/>
                  <a:pt x="1338" y="501"/>
                  <a:pt x="1338" y="501"/>
                </a:cubicBezTo>
                <a:cubicBezTo>
                  <a:pt x="1334" y="503"/>
                  <a:pt x="1334" y="503"/>
                  <a:pt x="1334" y="503"/>
                </a:cubicBezTo>
                <a:cubicBezTo>
                  <a:pt x="1334" y="503"/>
                  <a:pt x="1333" y="506"/>
                  <a:pt x="1332" y="508"/>
                </a:cubicBezTo>
                <a:cubicBezTo>
                  <a:pt x="1332" y="508"/>
                  <a:pt x="1328" y="510"/>
                  <a:pt x="1328" y="511"/>
                </a:cubicBezTo>
                <a:cubicBezTo>
                  <a:pt x="1328" y="512"/>
                  <a:pt x="1329" y="515"/>
                  <a:pt x="1327" y="516"/>
                </a:cubicBezTo>
                <a:cubicBezTo>
                  <a:pt x="1326" y="518"/>
                  <a:pt x="1322" y="523"/>
                  <a:pt x="1322" y="526"/>
                </a:cubicBezTo>
                <a:cubicBezTo>
                  <a:pt x="1323" y="529"/>
                  <a:pt x="1323" y="531"/>
                  <a:pt x="1323" y="531"/>
                </a:cubicBezTo>
                <a:cubicBezTo>
                  <a:pt x="1323" y="531"/>
                  <a:pt x="1321" y="532"/>
                  <a:pt x="1321" y="532"/>
                </a:cubicBezTo>
                <a:cubicBezTo>
                  <a:pt x="1321" y="533"/>
                  <a:pt x="1324" y="533"/>
                  <a:pt x="1323" y="536"/>
                </a:cubicBezTo>
                <a:cubicBezTo>
                  <a:pt x="1323" y="539"/>
                  <a:pt x="1323" y="541"/>
                  <a:pt x="1323" y="541"/>
                </a:cubicBezTo>
                <a:cubicBezTo>
                  <a:pt x="1323" y="541"/>
                  <a:pt x="1322" y="540"/>
                  <a:pt x="1320" y="542"/>
                </a:cubicBezTo>
                <a:cubicBezTo>
                  <a:pt x="1318" y="544"/>
                  <a:pt x="1317" y="547"/>
                  <a:pt x="1315" y="550"/>
                </a:cubicBezTo>
                <a:cubicBezTo>
                  <a:pt x="1313" y="552"/>
                  <a:pt x="1311" y="551"/>
                  <a:pt x="1309" y="553"/>
                </a:cubicBezTo>
                <a:cubicBezTo>
                  <a:pt x="1308" y="555"/>
                  <a:pt x="1306" y="558"/>
                  <a:pt x="1305" y="559"/>
                </a:cubicBezTo>
                <a:cubicBezTo>
                  <a:pt x="1303" y="560"/>
                  <a:pt x="1295" y="563"/>
                  <a:pt x="1295" y="563"/>
                </a:cubicBezTo>
                <a:cubicBezTo>
                  <a:pt x="1294" y="563"/>
                  <a:pt x="1290" y="563"/>
                  <a:pt x="1290" y="563"/>
                </a:cubicBezTo>
                <a:cubicBezTo>
                  <a:pt x="1290" y="563"/>
                  <a:pt x="1289" y="564"/>
                  <a:pt x="1288" y="566"/>
                </a:cubicBezTo>
                <a:cubicBezTo>
                  <a:pt x="1288" y="567"/>
                  <a:pt x="1287" y="568"/>
                  <a:pt x="1287" y="569"/>
                </a:cubicBezTo>
                <a:cubicBezTo>
                  <a:pt x="1286" y="572"/>
                  <a:pt x="1285" y="576"/>
                  <a:pt x="1285" y="576"/>
                </a:cubicBezTo>
                <a:cubicBezTo>
                  <a:pt x="1285" y="576"/>
                  <a:pt x="1282" y="578"/>
                  <a:pt x="1281" y="579"/>
                </a:cubicBezTo>
                <a:cubicBezTo>
                  <a:pt x="1280" y="580"/>
                  <a:pt x="1277" y="580"/>
                  <a:pt x="1277" y="580"/>
                </a:cubicBezTo>
                <a:cubicBezTo>
                  <a:pt x="1277" y="580"/>
                  <a:pt x="1275" y="579"/>
                  <a:pt x="1274" y="581"/>
                </a:cubicBezTo>
                <a:cubicBezTo>
                  <a:pt x="1273" y="583"/>
                  <a:pt x="1273" y="587"/>
                  <a:pt x="1273" y="587"/>
                </a:cubicBezTo>
                <a:cubicBezTo>
                  <a:pt x="1273" y="587"/>
                  <a:pt x="1270" y="591"/>
                  <a:pt x="1270" y="592"/>
                </a:cubicBezTo>
                <a:cubicBezTo>
                  <a:pt x="1270" y="593"/>
                  <a:pt x="1272" y="597"/>
                  <a:pt x="1270" y="599"/>
                </a:cubicBezTo>
                <a:cubicBezTo>
                  <a:pt x="1269" y="602"/>
                  <a:pt x="1267" y="602"/>
                  <a:pt x="1267" y="602"/>
                </a:cubicBezTo>
                <a:cubicBezTo>
                  <a:pt x="1267" y="602"/>
                  <a:pt x="1265" y="605"/>
                  <a:pt x="1264" y="606"/>
                </a:cubicBezTo>
                <a:cubicBezTo>
                  <a:pt x="1263" y="607"/>
                  <a:pt x="1261" y="608"/>
                  <a:pt x="1260" y="608"/>
                </a:cubicBezTo>
                <a:cubicBezTo>
                  <a:pt x="1259" y="609"/>
                  <a:pt x="1259" y="611"/>
                  <a:pt x="1259" y="611"/>
                </a:cubicBezTo>
                <a:cubicBezTo>
                  <a:pt x="1260" y="612"/>
                  <a:pt x="1260" y="612"/>
                  <a:pt x="1260" y="612"/>
                </a:cubicBezTo>
                <a:cubicBezTo>
                  <a:pt x="1260" y="612"/>
                  <a:pt x="1258" y="614"/>
                  <a:pt x="1257" y="616"/>
                </a:cubicBezTo>
                <a:cubicBezTo>
                  <a:pt x="1256" y="618"/>
                  <a:pt x="1256" y="621"/>
                  <a:pt x="1256" y="621"/>
                </a:cubicBezTo>
                <a:cubicBezTo>
                  <a:pt x="1254" y="621"/>
                  <a:pt x="1254" y="621"/>
                  <a:pt x="1254" y="621"/>
                </a:cubicBezTo>
                <a:cubicBezTo>
                  <a:pt x="1254" y="621"/>
                  <a:pt x="1257" y="623"/>
                  <a:pt x="1254" y="625"/>
                </a:cubicBezTo>
                <a:cubicBezTo>
                  <a:pt x="1252" y="627"/>
                  <a:pt x="1252" y="626"/>
                  <a:pt x="1252" y="626"/>
                </a:cubicBezTo>
                <a:cubicBezTo>
                  <a:pt x="1252" y="626"/>
                  <a:pt x="1248" y="630"/>
                  <a:pt x="1248" y="633"/>
                </a:cubicBezTo>
                <a:cubicBezTo>
                  <a:pt x="1248" y="634"/>
                  <a:pt x="1248" y="636"/>
                  <a:pt x="1248" y="638"/>
                </a:cubicBezTo>
                <a:cubicBezTo>
                  <a:pt x="1248" y="638"/>
                  <a:pt x="1248" y="638"/>
                  <a:pt x="1248" y="638"/>
                </a:cubicBezTo>
                <a:cubicBezTo>
                  <a:pt x="1248" y="640"/>
                  <a:pt x="1248" y="641"/>
                  <a:pt x="1248" y="641"/>
                </a:cubicBezTo>
                <a:cubicBezTo>
                  <a:pt x="1248" y="641"/>
                  <a:pt x="1250" y="641"/>
                  <a:pt x="1250" y="642"/>
                </a:cubicBezTo>
                <a:cubicBezTo>
                  <a:pt x="1250" y="643"/>
                  <a:pt x="1250" y="645"/>
                  <a:pt x="1251" y="646"/>
                </a:cubicBezTo>
                <a:cubicBezTo>
                  <a:pt x="1252" y="647"/>
                  <a:pt x="1253" y="644"/>
                  <a:pt x="1253" y="644"/>
                </a:cubicBezTo>
                <a:cubicBezTo>
                  <a:pt x="1254" y="649"/>
                  <a:pt x="1254" y="649"/>
                  <a:pt x="1254" y="649"/>
                </a:cubicBezTo>
                <a:cubicBezTo>
                  <a:pt x="1254" y="656"/>
                  <a:pt x="1254" y="656"/>
                  <a:pt x="1254" y="656"/>
                </a:cubicBezTo>
                <a:cubicBezTo>
                  <a:pt x="1252" y="656"/>
                  <a:pt x="1252" y="656"/>
                  <a:pt x="1252" y="656"/>
                </a:cubicBezTo>
                <a:cubicBezTo>
                  <a:pt x="1253" y="659"/>
                  <a:pt x="1253" y="659"/>
                  <a:pt x="1253" y="659"/>
                </a:cubicBezTo>
                <a:cubicBezTo>
                  <a:pt x="1251" y="660"/>
                  <a:pt x="1251" y="660"/>
                  <a:pt x="1251" y="660"/>
                </a:cubicBezTo>
                <a:cubicBezTo>
                  <a:pt x="1251" y="660"/>
                  <a:pt x="1256" y="666"/>
                  <a:pt x="1256" y="670"/>
                </a:cubicBezTo>
                <a:cubicBezTo>
                  <a:pt x="1256" y="673"/>
                  <a:pt x="1255" y="678"/>
                  <a:pt x="1255" y="678"/>
                </a:cubicBezTo>
                <a:cubicBezTo>
                  <a:pt x="1254" y="684"/>
                  <a:pt x="1254" y="684"/>
                  <a:pt x="1254" y="684"/>
                </a:cubicBezTo>
                <a:cubicBezTo>
                  <a:pt x="1254" y="684"/>
                  <a:pt x="1251" y="687"/>
                  <a:pt x="1250" y="691"/>
                </a:cubicBezTo>
                <a:cubicBezTo>
                  <a:pt x="1250" y="692"/>
                  <a:pt x="1250" y="696"/>
                  <a:pt x="1250" y="698"/>
                </a:cubicBezTo>
                <a:cubicBezTo>
                  <a:pt x="1250" y="699"/>
                  <a:pt x="1250" y="701"/>
                  <a:pt x="1250" y="701"/>
                </a:cubicBezTo>
                <a:cubicBezTo>
                  <a:pt x="1249" y="701"/>
                  <a:pt x="1247" y="703"/>
                  <a:pt x="1246" y="706"/>
                </a:cubicBezTo>
                <a:cubicBezTo>
                  <a:pt x="1244" y="708"/>
                  <a:pt x="1241" y="711"/>
                  <a:pt x="1241" y="711"/>
                </a:cubicBezTo>
                <a:cubicBezTo>
                  <a:pt x="1242" y="713"/>
                  <a:pt x="1242" y="713"/>
                  <a:pt x="1242" y="713"/>
                </a:cubicBezTo>
                <a:cubicBezTo>
                  <a:pt x="1243" y="712"/>
                  <a:pt x="1243" y="712"/>
                  <a:pt x="1243" y="712"/>
                </a:cubicBezTo>
                <a:cubicBezTo>
                  <a:pt x="1243" y="712"/>
                  <a:pt x="1245" y="714"/>
                  <a:pt x="1245" y="716"/>
                </a:cubicBezTo>
                <a:cubicBezTo>
                  <a:pt x="1245" y="717"/>
                  <a:pt x="1245" y="718"/>
                  <a:pt x="1245" y="718"/>
                </a:cubicBezTo>
                <a:cubicBezTo>
                  <a:pt x="1247" y="720"/>
                  <a:pt x="1247" y="720"/>
                  <a:pt x="1247" y="720"/>
                </a:cubicBezTo>
                <a:cubicBezTo>
                  <a:pt x="1247" y="720"/>
                  <a:pt x="1247" y="720"/>
                  <a:pt x="1247" y="722"/>
                </a:cubicBezTo>
                <a:cubicBezTo>
                  <a:pt x="1247" y="723"/>
                  <a:pt x="1248" y="724"/>
                  <a:pt x="1248" y="724"/>
                </a:cubicBezTo>
                <a:cubicBezTo>
                  <a:pt x="1249" y="725"/>
                  <a:pt x="1249" y="725"/>
                  <a:pt x="1249" y="725"/>
                </a:cubicBezTo>
                <a:cubicBezTo>
                  <a:pt x="1249" y="725"/>
                  <a:pt x="1247" y="728"/>
                  <a:pt x="1247" y="729"/>
                </a:cubicBezTo>
                <a:cubicBezTo>
                  <a:pt x="1247" y="730"/>
                  <a:pt x="1247" y="730"/>
                  <a:pt x="1247" y="730"/>
                </a:cubicBezTo>
                <a:cubicBezTo>
                  <a:pt x="1246" y="731"/>
                  <a:pt x="1246" y="733"/>
                  <a:pt x="1246" y="733"/>
                </a:cubicBezTo>
                <a:cubicBezTo>
                  <a:pt x="1245" y="734"/>
                  <a:pt x="1245" y="734"/>
                  <a:pt x="1245" y="734"/>
                </a:cubicBezTo>
                <a:cubicBezTo>
                  <a:pt x="1245" y="734"/>
                  <a:pt x="1246" y="738"/>
                  <a:pt x="1248" y="739"/>
                </a:cubicBezTo>
                <a:cubicBezTo>
                  <a:pt x="1250" y="740"/>
                  <a:pt x="1252" y="739"/>
                  <a:pt x="1252" y="739"/>
                </a:cubicBezTo>
                <a:cubicBezTo>
                  <a:pt x="1251" y="744"/>
                  <a:pt x="1251" y="744"/>
                  <a:pt x="1251" y="744"/>
                </a:cubicBezTo>
                <a:cubicBezTo>
                  <a:pt x="1251" y="744"/>
                  <a:pt x="1253" y="746"/>
                  <a:pt x="1254" y="745"/>
                </a:cubicBezTo>
                <a:cubicBezTo>
                  <a:pt x="1255" y="743"/>
                  <a:pt x="1261" y="744"/>
                  <a:pt x="1261" y="744"/>
                </a:cubicBezTo>
                <a:cubicBezTo>
                  <a:pt x="1264" y="742"/>
                  <a:pt x="1264" y="742"/>
                  <a:pt x="1264" y="742"/>
                </a:cubicBezTo>
                <a:cubicBezTo>
                  <a:pt x="1264" y="745"/>
                  <a:pt x="1264" y="745"/>
                  <a:pt x="1264" y="745"/>
                </a:cubicBezTo>
                <a:cubicBezTo>
                  <a:pt x="1264" y="745"/>
                  <a:pt x="1259" y="743"/>
                  <a:pt x="1259" y="745"/>
                </a:cubicBezTo>
                <a:cubicBezTo>
                  <a:pt x="1258" y="747"/>
                  <a:pt x="1260" y="748"/>
                  <a:pt x="1260" y="748"/>
                </a:cubicBezTo>
                <a:cubicBezTo>
                  <a:pt x="1264" y="747"/>
                  <a:pt x="1264" y="747"/>
                  <a:pt x="1264" y="747"/>
                </a:cubicBezTo>
                <a:cubicBezTo>
                  <a:pt x="1259" y="750"/>
                  <a:pt x="1259" y="750"/>
                  <a:pt x="1259" y="750"/>
                </a:cubicBezTo>
                <a:cubicBezTo>
                  <a:pt x="1263" y="756"/>
                  <a:pt x="1263" y="756"/>
                  <a:pt x="1263" y="756"/>
                </a:cubicBezTo>
                <a:cubicBezTo>
                  <a:pt x="1264" y="753"/>
                  <a:pt x="1264" y="753"/>
                  <a:pt x="1264" y="753"/>
                </a:cubicBezTo>
                <a:cubicBezTo>
                  <a:pt x="1264" y="753"/>
                  <a:pt x="1265" y="755"/>
                  <a:pt x="1266" y="756"/>
                </a:cubicBezTo>
                <a:cubicBezTo>
                  <a:pt x="1267" y="756"/>
                  <a:pt x="1268" y="756"/>
                  <a:pt x="1268" y="756"/>
                </a:cubicBezTo>
                <a:cubicBezTo>
                  <a:pt x="1268" y="756"/>
                  <a:pt x="1266" y="761"/>
                  <a:pt x="1269" y="763"/>
                </a:cubicBezTo>
                <a:cubicBezTo>
                  <a:pt x="1272" y="764"/>
                  <a:pt x="1273" y="763"/>
                  <a:pt x="1273" y="763"/>
                </a:cubicBezTo>
                <a:cubicBezTo>
                  <a:pt x="1273" y="763"/>
                  <a:pt x="1273" y="766"/>
                  <a:pt x="1274" y="767"/>
                </a:cubicBezTo>
                <a:cubicBezTo>
                  <a:pt x="1275" y="768"/>
                  <a:pt x="1276" y="766"/>
                  <a:pt x="1276" y="766"/>
                </a:cubicBezTo>
                <a:cubicBezTo>
                  <a:pt x="1276" y="766"/>
                  <a:pt x="1277" y="770"/>
                  <a:pt x="1278" y="771"/>
                </a:cubicBezTo>
                <a:cubicBezTo>
                  <a:pt x="1279" y="773"/>
                  <a:pt x="1282" y="775"/>
                  <a:pt x="1282" y="775"/>
                </a:cubicBezTo>
                <a:cubicBezTo>
                  <a:pt x="1280" y="776"/>
                  <a:pt x="1280" y="776"/>
                  <a:pt x="1280" y="776"/>
                </a:cubicBezTo>
                <a:cubicBezTo>
                  <a:pt x="1282" y="778"/>
                  <a:pt x="1282" y="778"/>
                  <a:pt x="1282" y="778"/>
                </a:cubicBezTo>
                <a:cubicBezTo>
                  <a:pt x="1282" y="778"/>
                  <a:pt x="1280" y="780"/>
                  <a:pt x="1280" y="781"/>
                </a:cubicBezTo>
                <a:cubicBezTo>
                  <a:pt x="1280" y="783"/>
                  <a:pt x="1284" y="785"/>
                  <a:pt x="1284" y="785"/>
                </a:cubicBezTo>
                <a:cubicBezTo>
                  <a:pt x="1283" y="789"/>
                  <a:pt x="1283" y="789"/>
                  <a:pt x="1283" y="789"/>
                </a:cubicBezTo>
                <a:cubicBezTo>
                  <a:pt x="1286" y="791"/>
                  <a:pt x="1286" y="791"/>
                  <a:pt x="1286" y="791"/>
                </a:cubicBezTo>
                <a:cubicBezTo>
                  <a:pt x="1286" y="791"/>
                  <a:pt x="1286" y="793"/>
                  <a:pt x="1288" y="795"/>
                </a:cubicBezTo>
                <a:cubicBezTo>
                  <a:pt x="1290" y="797"/>
                  <a:pt x="1294" y="797"/>
                  <a:pt x="1294" y="797"/>
                </a:cubicBezTo>
                <a:cubicBezTo>
                  <a:pt x="1298" y="801"/>
                  <a:pt x="1298" y="801"/>
                  <a:pt x="1298" y="801"/>
                </a:cubicBezTo>
                <a:cubicBezTo>
                  <a:pt x="1295" y="798"/>
                  <a:pt x="1295" y="798"/>
                  <a:pt x="1295" y="798"/>
                </a:cubicBezTo>
                <a:cubicBezTo>
                  <a:pt x="1300" y="803"/>
                  <a:pt x="1300" y="803"/>
                  <a:pt x="1300" y="803"/>
                </a:cubicBezTo>
                <a:cubicBezTo>
                  <a:pt x="1303" y="804"/>
                  <a:pt x="1303" y="804"/>
                  <a:pt x="1303" y="804"/>
                </a:cubicBezTo>
                <a:cubicBezTo>
                  <a:pt x="1305" y="808"/>
                  <a:pt x="1305" y="808"/>
                  <a:pt x="1305" y="808"/>
                </a:cubicBezTo>
                <a:cubicBezTo>
                  <a:pt x="1305" y="808"/>
                  <a:pt x="1309" y="807"/>
                  <a:pt x="1310" y="808"/>
                </a:cubicBezTo>
                <a:cubicBezTo>
                  <a:pt x="1311" y="810"/>
                  <a:pt x="1314" y="816"/>
                  <a:pt x="1317" y="818"/>
                </a:cubicBezTo>
                <a:cubicBezTo>
                  <a:pt x="1320" y="821"/>
                  <a:pt x="1326" y="823"/>
                  <a:pt x="1328" y="824"/>
                </a:cubicBezTo>
                <a:cubicBezTo>
                  <a:pt x="1329" y="825"/>
                  <a:pt x="1333" y="829"/>
                  <a:pt x="1336" y="829"/>
                </a:cubicBezTo>
                <a:cubicBezTo>
                  <a:pt x="1336" y="829"/>
                  <a:pt x="1336" y="829"/>
                  <a:pt x="1336" y="829"/>
                </a:cubicBezTo>
                <a:cubicBezTo>
                  <a:pt x="1339" y="828"/>
                  <a:pt x="1340" y="826"/>
                  <a:pt x="1340" y="826"/>
                </a:cubicBezTo>
                <a:cubicBezTo>
                  <a:pt x="1341" y="826"/>
                  <a:pt x="1341" y="826"/>
                  <a:pt x="1341" y="826"/>
                </a:cubicBezTo>
                <a:cubicBezTo>
                  <a:pt x="1344" y="825"/>
                  <a:pt x="1344" y="825"/>
                  <a:pt x="1344" y="825"/>
                </a:cubicBezTo>
                <a:cubicBezTo>
                  <a:pt x="1344" y="825"/>
                  <a:pt x="1353" y="819"/>
                  <a:pt x="1357" y="820"/>
                </a:cubicBezTo>
                <a:cubicBezTo>
                  <a:pt x="1362" y="820"/>
                  <a:pt x="1363" y="819"/>
                  <a:pt x="1363" y="819"/>
                </a:cubicBezTo>
                <a:cubicBezTo>
                  <a:pt x="1363" y="819"/>
                  <a:pt x="1370" y="817"/>
                  <a:pt x="1371" y="818"/>
                </a:cubicBezTo>
                <a:cubicBezTo>
                  <a:pt x="1373" y="819"/>
                  <a:pt x="1374" y="820"/>
                  <a:pt x="1375" y="820"/>
                </a:cubicBezTo>
                <a:cubicBezTo>
                  <a:pt x="1377" y="819"/>
                  <a:pt x="1379" y="817"/>
                  <a:pt x="1379" y="817"/>
                </a:cubicBezTo>
                <a:cubicBezTo>
                  <a:pt x="1379" y="817"/>
                  <a:pt x="1380" y="820"/>
                  <a:pt x="1383" y="821"/>
                </a:cubicBezTo>
                <a:cubicBezTo>
                  <a:pt x="1384" y="821"/>
                  <a:pt x="1385" y="822"/>
                  <a:pt x="1385" y="822"/>
                </a:cubicBezTo>
                <a:cubicBezTo>
                  <a:pt x="1387" y="822"/>
                  <a:pt x="1389" y="822"/>
                  <a:pt x="1389" y="822"/>
                </a:cubicBezTo>
                <a:cubicBezTo>
                  <a:pt x="1389" y="822"/>
                  <a:pt x="1389" y="825"/>
                  <a:pt x="1391" y="825"/>
                </a:cubicBezTo>
                <a:cubicBezTo>
                  <a:pt x="1394" y="824"/>
                  <a:pt x="1398" y="820"/>
                  <a:pt x="1399" y="820"/>
                </a:cubicBezTo>
                <a:cubicBezTo>
                  <a:pt x="1401" y="819"/>
                  <a:pt x="1403" y="820"/>
                  <a:pt x="1403" y="820"/>
                </a:cubicBezTo>
                <a:cubicBezTo>
                  <a:pt x="1403" y="820"/>
                  <a:pt x="1408" y="816"/>
                  <a:pt x="1408" y="816"/>
                </a:cubicBezTo>
                <a:cubicBezTo>
                  <a:pt x="1409" y="815"/>
                  <a:pt x="1412" y="815"/>
                  <a:pt x="1412" y="815"/>
                </a:cubicBezTo>
                <a:cubicBezTo>
                  <a:pt x="1412" y="815"/>
                  <a:pt x="1413" y="811"/>
                  <a:pt x="1415" y="812"/>
                </a:cubicBezTo>
                <a:cubicBezTo>
                  <a:pt x="1417" y="812"/>
                  <a:pt x="1418" y="813"/>
                  <a:pt x="1420" y="812"/>
                </a:cubicBezTo>
                <a:cubicBezTo>
                  <a:pt x="1421" y="812"/>
                  <a:pt x="1422" y="811"/>
                  <a:pt x="1423" y="809"/>
                </a:cubicBezTo>
                <a:cubicBezTo>
                  <a:pt x="1424" y="808"/>
                  <a:pt x="1426" y="807"/>
                  <a:pt x="1427" y="807"/>
                </a:cubicBezTo>
                <a:cubicBezTo>
                  <a:pt x="1428" y="807"/>
                  <a:pt x="1429" y="807"/>
                  <a:pt x="1430" y="807"/>
                </a:cubicBezTo>
                <a:cubicBezTo>
                  <a:pt x="1430" y="807"/>
                  <a:pt x="1430" y="807"/>
                  <a:pt x="1430" y="807"/>
                </a:cubicBezTo>
                <a:cubicBezTo>
                  <a:pt x="1432" y="807"/>
                  <a:pt x="1434" y="808"/>
                  <a:pt x="1434" y="808"/>
                </a:cubicBezTo>
                <a:cubicBezTo>
                  <a:pt x="1436" y="805"/>
                  <a:pt x="1436" y="805"/>
                  <a:pt x="1436" y="805"/>
                </a:cubicBezTo>
                <a:cubicBezTo>
                  <a:pt x="1436" y="805"/>
                  <a:pt x="1437" y="805"/>
                  <a:pt x="1438" y="806"/>
                </a:cubicBezTo>
                <a:cubicBezTo>
                  <a:pt x="1440" y="806"/>
                  <a:pt x="1442" y="807"/>
                  <a:pt x="1443" y="807"/>
                </a:cubicBezTo>
                <a:cubicBezTo>
                  <a:pt x="1445" y="806"/>
                  <a:pt x="1447" y="804"/>
                  <a:pt x="1447" y="804"/>
                </a:cubicBezTo>
                <a:cubicBezTo>
                  <a:pt x="1448" y="805"/>
                  <a:pt x="1448" y="805"/>
                  <a:pt x="1448" y="805"/>
                </a:cubicBezTo>
                <a:cubicBezTo>
                  <a:pt x="1448" y="805"/>
                  <a:pt x="1455" y="804"/>
                  <a:pt x="1458" y="808"/>
                </a:cubicBezTo>
                <a:cubicBezTo>
                  <a:pt x="1462" y="812"/>
                  <a:pt x="1462" y="814"/>
                  <a:pt x="1462" y="814"/>
                </a:cubicBezTo>
                <a:cubicBezTo>
                  <a:pt x="1465" y="814"/>
                  <a:pt x="1465" y="814"/>
                  <a:pt x="1465" y="814"/>
                </a:cubicBezTo>
                <a:cubicBezTo>
                  <a:pt x="1465" y="814"/>
                  <a:pt x="1463" y="817"/>
                  <a:pt x="1463" y="817"/>
                </a:cubicBezTo>
                <a:cubicBezTo>
                  <a:pt x="1464" y="817"/>
                  <a:pt x="1466" y="816"/>
                  <a:pt x="1466" y="816"/>
                </a:cubicBezTo>
                <a:cubicBezTo>
                  <a:pt x="1466" y="817"/>
                  <a:pt x="1465" y="819"/>
                  <a:pt x="1465" y="820"/>
                </a:cubicBezTo>
                <a:cubicBezTo>
                  <a:pt x="1465" y="822"/>
                  <a:pt x="1467" y="828"/>
                  <a:pt x="1471" y="828"/>
                </a:cubicBezTo>
                <a:cubicBezTo>
                  <a:pt x="1475" y="829"/>
                  <a:pt x="1478" y="828"/>
                  <a:pt x="1478" y="828"/>
                </a:cubicBezTo>
                <a:cubicBezTo>
                  <a:pt x="1479" y="824"/>
                  <a:pt x="1479" y="824"/>
                  <a:pt x="1479" y="824"/>
                </a:cubicBezTo>
                <a:cubicBezTo>
                  <a:pt x="1482" y="826"/>
                  <a:pt x="1482" y="826"/>
                  <a:pt x="1482" y="826"/>
                </a:cubicBezTo>
                <a:cubicBezTo>
                  <a:pt x="1486" y="825"/>
                  <a:pt x="1486" y="825"/>
                  <a:pt x="1486" y="825"/>
                </a:cubicBezTo>
                <a:cubicBezTo>
                  <a:pt x="1488" y="827"/>
                  <a:pt x="1488" y="827"/>
                  <a:pt x="1488" y="827"/>
                </a:cubicBezTo>
                <a:cubicBezTo>
                  <a:pt x="1494" y="827"/>
                  <a:pt x="1494" y="827"/>
                  <a:pt x="1494" y="827"/>
                </a:cubicBezTo>
                <a:cubicBezTo>
                  <a:pt x="1494" y="824"/>
                  <a:pt x="1494" y="824"/>
                  <a:pt x="1494" y="824"/>
                </a:cubicBezTo>
                <a:cubicBezTo>
                  <a:pt x="1497" y="823"/>
                  <a:pt x="1497" y="823"/>
                  <a:pt x="1497" y="823"/>
                </a:cubicBezTo>
                <a:cubicBezTo>
                  <a:pt x="1497" y="824"/>
                  <a:pt x="1497" y="824"/>
                  <a:pt x="1497" y="824"/>
                </a:cubicBezTo>
                <a:cubicBezTo>
                  <a:pt x="1496" y="826"/>
                  <a:pt x="1496" y="826"/>
                  <a:pt x="1496" y="826"/>
                </a:cubicBezTo>
                <a:cubicBezTo>
                  <a:pt x="1500" y="825"/>
                  <a:pt x="1500" y="825"/>
                  <a:pt x="1500" y="825"/>
                </a:cubicBezTo>
                <a:cubicBezTo>
                  <a:pt x="1500" y="825"/>
                  <a:pt x="1500" y="830"/>
                  <a:pt x="1502" y="832"/>
                </a:cubicBezTo>
                <a:cubicBezTo>
                  <a:pt x="1504" y="834"/>
                  <a:pt x="1505" y="834"/>
                  <a:pt x="1505" y="834"/>
                </a:cubicBezTo>
                <a:cubicBezTo>
                  <a:pt x="1508" y="831"/>
                  <a:pt x="1508" y="831"/>
                  <a:pt x="1508" y="831"/>
                </a:cubicBezTo>
                <a:cubicBezTo>
                  <a:pt x="1506" y="836"/>
                  <a:pt x="1506" y="836"/>
                  <a:pt x="1506" y="836"/>
                </a:cubicBezTo>
                <a:cubicBezTo>
                  <a:pt x="1508" y="839"/>
                  <a:pt x="1508" y="839"/>
                  <a:pt x="1508" y="839"/>
                </a:cubicBezTo>
                <a:cubicBezTo>
                  <a:pt x="1511" y="840"/>
                  <a:pt x="1511" y="840"/>
                  <a:pt x="1511" y="840"/>
                </a:cubicBezTo>
                <a:cubicBezTo>
                  <a:pt x="1510" y="847"/>
                  <a:pt x="1510" y="847"/>
                  <a:pt x="1510" y="847"/>
                </a:cubicBezTo>
                <a:cubicBezTo>
                  <a:pt x="1509" y="847"/>
                  <a:pt x="1509" y="847"/>
                  <a:pt x="1509" y="847"/>
                </a:cubicBezTo>
                <a:cubicBezTo>
                  <a:pt x="1509" y="852"/>
                  <a:pt x="1509" y="852"/>
                  <a:pt x="1509" y="852"/>
                </a:cubicBezTo>
                <a:cubicBezTo>
                  <a:pt x="1508" y="852"/>
                  <a:pt x="1508" y="852"/>
                  <a:pt x="1508" y="852"/>
                </a:cubicBezTo>
                <a:cubicBezTo>
                  <a:pt x="1508" y="852"/>
                  <a:pt x="1509" y="856"/>
                  <a:pt x="1508" y="858"/>
                </a:cubicBezTo>
                <a:cubicBezTo>
                  <a:pt x="1507" y="859"/>
                  <a:pt x="1503" y="862"/>
                  <a:pt x="1504" y="863"/>
                </a:cubicBezTo>
                <a:cubicBezTo>
                  <a:pt x="1504" y="865"/>
                  <a:pt x="1506" y="865"/>
                  <a:pt x="1507" y="866"/>
                </a:cubicBezTo>
                <a:cubicBezTo>
                  <a:pt x="1509" y="865"/>
                  <a:pt x="1509" y="865"/>
                  <a:pt x="1509" y="865"/>
                </a:cubicBezTo>
                <a:cubicBezTo>
                  <a:pt x="1507" y="866"/>
                  <a:pt x="1507" y="866"/>
                  <a:pt x="1507" y="866"/>
                </a:cubicBezTo>
                <a:cubicBezTo>
                  <a:pt x="1507" y="866"/>
                  <a:pt x="1508" y="866"/>
                  <a:pt x="1508" y="866"/>
                </a:cubicBezTo>
                <a:cubicBezTo>
                  <a:pt x="1506" y="867"/>
                  <a:pt x="1506" y="867"/>
                  <a:pt x="1506" y="867"/>
                </a:cubicBezTo>
                <a:cubicBezTo>
                  <a:pt x="1506" y="867"/>
                  <a:pt x="1508" y="873"/>
                  <a:pt x="1507" y="873"/>
                </a:cubicBezTo>
                <a:cubicBezTo>
                  <a:pt x="1506" y="874"/>
                  <a:pt x="1504" y="873"/>
                  <a:pt x="1504" y="873"/>
                </a:cubicBezTo>
                <a:cubicBezTo>
                  <a:pt x="1504" y="873"/>
                  <a:pt x="1504" y="882"/>
                  <a:pt x="1502" y="884"/>
                </a:cubicBezTo>
                <a:cubicBezTo>
                  <a:pt x="1500" y="886"/>
                  <a:pt x="1498" y="885"/>
                  <a:pt x="1498" y="885"/>
                </a:cubicBezTo>
                <a:cubicBezTo>
                  <a:pt x="1501" y="893"/>
                  <a:pt x="1501" y="893"/>
                  <a:pt x="1501" y="893"/>
                </a:cubicBezTo>
                <a:cubicBezTo>
                  <a:pt x="1503" y="891"/>
                  <a:pt x="1503" y="891"/>
                  <a:pt x="1503" y="891"/>
                </a:cubicBezTo>
                <a:cubicBezTo>
                  <a:pt x="1505" y="894"/>
                  <a:pt x="1505" y="894"/>
                  <a:pt x="1505" y="894"/>
                </a:cubicBezTo>
                <a:cubicBezTo>
                  <a:pt x="1505" y="894"/>
                  <a:pt x="1503" y="897"/>
                  <a:pt x="1503" y="898"/>
                </a:cubicBezTo>
                <a:cubicBezTo>
                  <a:pt x="1504" y="900"/>
                  <a:pt x="1506" y="899"/>
                  <a:pt x="1506" y="899"/>
                </a:cubicBezTo>
                <a:cubicBezTo>
                  <a:pt x="1507" y="905"/>
                  <a:pt x="1507" y="905"/>
                  <a:pt x="1507" y="905"/>
                </a:cubicBezTo>
                <a:cubicBezTo>
                  <a:pt x="1511" y="906"/>
                  <a:pt x="1511" y="906"/>
                  <a:pt x="1511" y="906"/>
                </a:cubicBezTo>
                <a:cubicBezTo>
                  <a:pt x="1510" y="907"/>
                  <a:pt x="1510" y="907"/>
                  <a:pt x="1510" y="907"/>
                </a:cubicBezTo>
                <a:cubicBezTo>
                  <a:pt x="1517" y="915"/>
                  <a:pt x="1517" y="915"/>
                  <a:pt x="1517" y="915"/>
                </a:cubicBezTo>
                <a:cubicBezTo>
                  <a:pt x="1517" y="916"/>
                  <a:pt x="1517" y="916"/>
                  <a:pt x="1517" y="916"/>
                </a:cubicBezTo>
                <a:cubicBezTo>
                  <a:pt x="1521" y="921"/>
                  <a:pt x="1521" y="921"/>
                  <a:pt x="1521" y="921"/>
                </a:cubicBezTo>
                <a:cubicBezTo>
                  <a:pt x="1521" y="922"/>
                  <a:pt x="1521" y="922"/>
                  <a:pt x="1521" y="922"/>
                </a:cubicBezTo>
                <a:cubicBezTo>
                  <a:pt x="1529" y="928"/>
                  <a:pt x="1529" y="928"/>
                  <a:pt x="1529" y="928"/>
                </a:cubicBezTo>
                <a:cubicBezTo>
                  <a:pt x="1529" y="931"/>
                  <a:pt x="1529" y="931"/>
                  <a:pt x="1529" y="931"/>
                </a:cubicBezTo>
                <a:cubicBezTo>
                  <a:pt x="1532" y="934"/>
                  <a:pt x="1532" y="934"/>
                  <a:pt x="1532" y="934"/>
                </a:cubicBezTo>
                <a:cubicBezTo>
                  <a:pt x="1532" y="942"/>
                  <a:pt x="1532" y="942"/>
                  <a:pt x="1532" y="942"/>
                </a:cubicBezTo>
                <a:cubicBezTo>
                  <a:pt x="1532" y="942"/>
                  <a:pt x="1533" y="942"/>
                  <a:pt x="1533" y="942"/>
                </a:cubicBezTo>
                <a:cubicBezTo>
                  <a:pt x="1534" y="942"/>
                  <a:pt x="1534" y="942"/>
                  <a:pt x="1535" y="941"/>
                </a:cubicBezTo>
                <a:cubicBezTo>
                  <a:pt x="1534" y="942"/>
                  <a:pt x="1534" y="942"/>
                  <a:pt x="1533" y="942"/>
                </a:cubicBezTo>
                <a:cubicBezTo>
                  <a:pt x="1534" y="943"/>
                  <a:pt x="1535" y="944"/>
                  <a:pt x="1535" y="945"/>
                </a:cubicBezTo>
                <a:cubicBezTo>
                  <a:pt x="1535" y="946"/>
                  <a:pt x="1535" y="946"/>
                  <a:pt x="1535" y="946"/>
                </a:cubicBezTo>
                <a:cubicBezTo>
                  <a:pt x="1534" y="947"/>
                  <a:pt x="1533" y="947"/>
                  <a:pt x="1533" y="947"/>
                </a:cubicBezTo>
                <a:cubicBezTo>
                  <a:pt x="1533" y="947"/>
                  <a:pt x="1536" y="951"/>
                  <a:pt x="1536" y="953"/>
                </a:cubicBezTo>
                <a:cubicBezTo>
                  <a:pt x="1537" y="954"/>
                  <a:pt x="1539" y="955"/>
                  <a:pt x="1539" y="955"/>
                </a:cubicBezTo>
                <a:cubicBezTo>
                  <a:pt x="1538" y="959"/>
                  <a:pt x="1538" y="959"/>
                  <a:pt x="1538" y="959"/>
                </a:cubicBezTo>
                <a:cubicBezTo>
                  <a:pt x="1538" y="959"/>
                  <a:pt x="1545" y="966"/>
                  <a:pt x="1544" y="972"/>
                </a:cubicBezTo>
                <a:cubicBezTo>
                  <a:pt x="1543" y="978"/>
                  <a:pt x="1541" y="979"/>
                  <a:pt x="1541" y="979"/>
                </a:cubicBezTo>
                <a:cubicBezTo>
                  <a:pt x="1540" y="983"/>
                  <a:pt x="1540" y="983"/>
                  <a:pt x="1540" y="983"/>
                </a:cubicBezTo>
                <a:cubicBezTo>
                  <a:pt x="1542" y="982"/>
                  <a:pt x="1542" y="982"/>
                  <a:pt x="1542" y="982"/>
                </a:cubicBezTo>
                <a:cubicBezTo>
                  <a:pt x="1542" y="982"/>
                  <a:pt x="1541" y="987"/>
                  <a:pt x="1544" y="992"/>
                </a:cubicBezTo>
                <a:cubicBezTo>
                  <a:pt x="1547" y="996"/>
                  <a:pt x="1549" y="1004"/>
                  <a:pt x="1549" y="1007"/>
                </a:cubicBezTo>
                <a:cubicBezTo>
                  <a:pt x="1548" y="1010"/>
                  <a:pt x="1546" y="1014"/>
                  <a:pt x="1546" y="1014"/>
                </a:cubicBezTo>
                <a:cubicBezTo>
                  <a:pt x="1546" y="1014"/>
                  <a:pt x="1547" y="1017"/>
                  <a:pt x="1546" y="1018"/>
                </a:cubicBezTo>
                <a:cubicBezTo>
                  <a:pt x="1544" y="1020"/>
                  <a:pt x="1541" y="1019"/>
                  <a:pt x="1541" y="1019"/>
                </a:cubicBezTo>
                <a:cubicBezTo>
                  <a:pt x="1540" y="1022"/>
                  <a:pt x="1540" y="1022"/>
                  <a:pt x="1540" y="1022"/>
                </a:cubicBezTo>
                <a:cubicBezTo>
                  <a:pt x="1540" y="1025"/>
                  <a:pt x="1540" y="1025"/>
                  <a:pt x="1540" y="1025"/>
                </a:cubicBezTo>
                <a:cubicBezTo>
                  <a:pt x="1540" y="1025"/>
                  <a:pt x="1535" y="1025"/>
                  <a:pt x="1535" y="1027"/>
                </a:cubicBezTo>
                <a:cubicBezTo>
                  <a:pt x="1536" y="1030"/>
                  <a:pt x="1535" y="1033"/>
                  <a:pt x="1535" y="1033"/>
                </a:cubicBezTo>
                <a:cubicBezTo>
                  <a:pt x="1533" y="1035"/>
                  <a:pt x="1533" y="1035"/>
                  <a:pt x="1533" y="1035"/>
                </a:cubicBezTo>
                <a:cubicBezTo>
                  <a:pt x="1533" y="1035"/>
                  <a:pt x="1534" y="1042"/>
                  <a:pt x="1534" y="1044"/>
                </a:cubicBezTo>
                <a:cubicBezTo>
                  <a:pt x="1533" y="1046"/>
                  <a:pt x="1531" y="1047"/>
                  <a:pt x="1531" y="1047"/>
                </a:cubicBezTo>
                <a:cubicBezTo>
                  <a:pt x="1531" y="1053"/>
                  <a:pt x="1531" y="1053"/>
                  <a:pt x="1531" y="1053"/>
                </a:cubicBezTo>
                <a:cubicBezTo>
                  <a:pt x="1527" y="1055"/>
                  <a:pt x="1527" y="1055"/>
                  <a:pt x="1527" y="1055"/>
                </a:cubicBezTo>
                <a:cubicBezTo>
                  <a:pt x="1527" y="1061"/>
                  <a:pt x="1527" y="1061"/>
                  <a:pt x="1527" y="1061"/>
                </a:cubicBezTo>
                <a:cubicBezTo>
                  <a:pt x="1529" y="1063"/>
                  <a:pt x="1529" y="1063"/>
                  <a:pt x="1529" y="1063"/>
                </a:cubicBezTo>
                <a:cubicBezTo>
                  <a:pt x="1526" y="1066"/>
                  <a:pt x="1526" y="1066"/>
                  <a:pt x="1526" y="1066"/>
                </a:cubicBezTo>
                <a:cubicBezTo>
                  <a:pt x="1527" y="1071"/>
                  <a:pt x="1527" y="1071"/>
                  <a:pt x="1527" y="1071"/>
                </a:cubicBezTo>
                <a:cubicBezTo>
                  <a:pt x="1528" y="1081"/>
                  <a:pt x="1528" y="1081"/>
                  <a:pt x="1528" y="1081"/>
                </a:cubicBezTo>
                <a:cubicBezTo>
                  <a:pt x="1528" y="1081"/>
                  <a:pt x="1530" y="1085"/>
                  <a:pt x="1531" y="1087"/>
                </a:cubicBezTo>
                <a:cubicBezTo>
                  <a:pt x="1533" y="1090"/>
                  <a:pt x="1540" y="1100"/>
                  <a:pt x="1540" y="1104"/>
                </a:cubicBezTo>
                <a:cubicBezTo>
                  <a:pt x="1541" y="1107"/>
                  <a:pt x="1543" y="1111"/>
                  <a:pt x="1544" y="1114"/>
                </a:cubicBezTo>
                <a:cubicBezTo>
                  <a:pt x="1545" y="1116"/>
                  <a:pt x="1548" y="1119"/>
                  <a:pt x="1548" y="1119"/>
                </a:cubicBezTo>
                <a:cubicBezTo>
                  <a:pt x="1548" y="1122"/>
                  <a:pt x="1548" y="1122"/>
                  <a:pt x="1548" y="1122"/>
                </a:cubicBezTo>
                <a:cubicBezTo>
                  <a:pt x="1548" y="1122"/>
                  <a:pt x="1554" y="1127"/>
                  <a:pt x="1554" y="1130"/>
                </a:cubicBezTo>
                <a:cubicBezTo>
                  <a:pt x="1554" y="1133"/>
                  <a:pt x="1554" y="1149"/>
                  <a:pt x="1554" y="1149"/>
                </a:cubicBezTo>
                <a:cubicBezTo>
                  <a:pt x="1554" y="1149"/>
                  <a:pt x="1557" y="1154"/>
                  <a:pt x="1557" y="1158"/>
                </a:cubicBezTo>
                <a:cubicBezTo>
                  <a:pt x="1558" y="1162"/>
                  <a:pt x="1556" y="1162"/>
                  <a:pt x="1556" y="1162"/>
                </a:cubicBezTo>
                <a:cubicBezTo>
                  <a:pt x="1558" y="1169"/>
                  <a:pt x="1558" y="1169"/>
                  <a:pt x="1558" y="1169"/>
                </a:cubicBezTo>
                <a:cubicBezTo>
                  <a:pt x="1558" y="1174"/>
                  <a:pt x="1558" y="1174"/>
                  <a:pt x="1558" y="1174"/>
                </a:cubicBezTo>
                <a:cubicBezTo>
                  <a:pt x="1560" y="1174"/>
                  <a:pt x="1560" y="1174"/>
                  <a:pt x="1560" y="1174"/>
                </a:cubicBezTo>
                <a:cubicBezTo>
                  <a:pt x="1560" y="1174"/>
                  <a:pt x="1559" y="1179"/>
                  <a:pt x="1560" y="1179"/>
                </a:cubicBezTo>
                <a:cubicBezTo>
                  <a:pt x="1560" y="1180"/>
                  <a:pt x="1562" y="1182"/>
                  <a:pt x="1562" y="1182"/>
                </a:cubicBezTo>
                <a:cubicBezTo>
                  <a:pt x="1562" y="1186"/>
                  <a:pt x="1562" y="1186"/>
                  <a:pt x="1562" y="1186"/>
                </a:cubicBezTo>
                <a:cubicBezTo>
                  <a:pt x="1562" y="1186"/>
                  <a:pt x="1565" y="1193"/>
                  <a:pt x="1567" y="1195"/>
                </a:cubicBezTo>
                <a:cubicBezTo>
                  <a:pt x="1568" y="1197"/>
                  <a:pt x="1572" y="1199"/>
                  <a:pt x="1572" y="1199"/>
                </a:cubicBezTo>
                <a:cubicBezTo>
                  <a:pt x="1572" y="1199"/>
                  <a:pt x="1574" y="1203"/>
                  <a:pt x="1574" y="1204"/>
                </a:cubicBezTo>
                <a:cubicBezTo>
                  <a:pt x="1575" y="1205"/>
                  <a:pt x="1579" y="1209"/>
                  <a:pt x="1579" y="1212"/>
                </a:cubicBezTo>
                <a:cubicBezTo>
                  <a:pt x="1579" y="1214"/>
                  <a:pt x="1578" y="1220"/>
                  <a:pt x="1580" y="1223"/>
                </a:cubicBezTo>
                <a:cubicBezTo>
                  <a:pt x="1582" y="1226"/>
                  <a:pt x="1589" y="1233"/>
                  <a:pt x="1589" y="1236"/>
                </a:cubicBezTo>
                <a:cubicBezTo>
                  <a:pt x="1589" y="1239"/>
                  <a:pt x="1589" y="1245"/>
                  <a:pt x="1588" y="1245"/>
                </a:cubicBezTo>
                <a:cubicBezTo>
                  <a:pt x="1588" y="1246"/>
                  <a:pt x="1585" y="1245"/>
                  <a:pt x="1585" y="1246"/>
                </a:cubicBezTo>
                <a:cubicBezTo>
                  <a:pt x="1585" y="1248"/>
                  <a:pt x="1585" y="1250"/>
                  <a:pt x="1587" y="1253"/>
                </a:cubicBezTo>
                <a:cubicBezTo>
                  <a:pt x="1589" y="1257"/>
                  <a:pt x="1588" y="1261"/>
                  <a:pt x="1589" y="1262"/>
                </a:cubicBezTo>
                <a:cubicBezTo>
                  <a:pt x="1590" y="1264"/>
                  <a:pt x="1590" y="1262"/>
                  <a:pt x="1591" y="1261"/>
                </a:cubicBezTo>
                <a:cubicBezTo>
                  <a:pt x="1592" y="1260"/>
                  <a:pt x="1594" y="1263"/>
                  <a:pt x="1594" y="1263"/>
                </a:cubicBezTo>
                <a:cubicBezTo>
                  <a:pt x="1597" y="1264"/>
                  <a:pt x="1597" y="1264"/>
                  <a:pt x="1597" y="1264"/>
                </a:cubicBezTo>
                <a:cubicBezTo>
                  <a:pt x="1597" y="1264"/>
                  <a:pt x="1598" y="1269"/>
                  <a:pt x="1602" y="1269"/>
                </a:cubicBezTo>
                <a:cubicBezTo>
                  <a:pt x="1606" y="1268"/>
                  <a:pt x="1607" y="1265"/>
                  <a:pt x="1609" y="1264"/>
                </a:cubicBezTo>
                <a:cubicBezTo>
                  <a:pt x="1612" y="1263"/>
                  <a:pt x="1619" y="1266"/>
                  <a:pt x="1621" y="1265"/>
                </a:cubicBezTo>
                <a:cubicBezTo>
                  <a:pt x="1623" y="1264"/>
                  <a:pt x="1622" y="1260"/>
                  <a:pt x="1627" y="1260"/>
                </a:cubicBezTo>
                <a:cubicBezTo>
                  <a:pt x="1631" y="1260"/>
                  <a:pt x="1633" y="1262"/>
                  <a:pt x="1633" y="1262"/>
                </a:cubicBezTo>
                <a:cubicBezTo>
                  <a:pt x="1633" y="1262"/>
                  <a:pt x="1635" y="1259"/>
                  <a:pt x="1640" y="1260"/>
                </a:cubicBezTo>
                <a:cubicBezTo>
                  <a:pt x="1645" y="1260"/>
                  <a:pt x="1648" y="1262"/>
                  <a:pt x="1649" y="1262"/>
                </a:cubicBezTo>
                <a:cubicBezTo>
                  <a:pt x="1650" y="1261"/>
                  <a:pt x="1652" y="1259"/>
                  <a:pt x="1652" y="1259"/>
                </a:cubicBezTo>
                <a:cubicBezTo>
                  <a:pt x="1652" y="1259"/>
                  <a:pt x="1655" y="1261"/>
                  <a:pt x="1657" y="1260"/>
                </a:cubicBezTo>
                <a:cubicBezTo>
                  <a:pt x="1659" y="1259"/>
                  <a:pt x="1661" y="1257"/>
                  <a:pt x="1661" y="1257"/>
                </a:cubicBezTo>
                <a:cubicBezTo>
                  <a:pt x="1661" y="1257"/>
                  <a:pt x="1666" y="1259"/>
                  <a:pt x="1671" y="1256"/>
                </a:cubicBezTo>
                <a:cubicBezTo>
                  <a:pt x="1676" y="1252"/>
                  <a:pt x="1682" y="1246"/>
                  <a:pt x="1682" y="1246"/>
                </a:cubicBezTo>
                <a:cubicBezTo>
                  <a:pt x="1685" y="1245"/>
                  <a:pt x="1685" y="1245"/>
                  <a:pt x="1685" y="1245"/>
                </a:cubicBezTo>
                <a:cubicBezTo>
                  <a:pt x="1698" y="1231"/>
                  <a:pt x="1698" y="1231"/>
                  <a:pt x="1698" y="1231"/>
                </a:cubicBezTo>
                <a:cubicBezTo>
                  <a:pt x="1701" y="1231"/>
                  <a:pt x="1701" y="1231"/>
                  <a:pt x="1701" y="1231"/>
                </a:cubicBezTo>
                <a:cubicBezTo>
                  <a:pt x="1701" y="1231"/>
                  <a:pt x="1708" y="1220"/>
                  <a:pt x="1709" y="1218"/>
                </a:cubicBezTo>
                <a:cubicBezTo>
                  <a:pt x="1710" y="1215"/>
                  <a:pt x="1714" y="1207"/>
                  <a:pt x="1716" y="1206"/>
                </a:cubicBezTo>
                <a:cubicBezTo>
                  <a:pt x="1717" y="1205"/>
                  <a:pt x="1724" y="1202"/>
                  <a:pt x="1725" y="1200"/>
                </a:cubicBezTo>
                <a:cubicBezTo>
                  <a:pt x="1725" y="1197"/>
                  <a:pt x="1729" y="1189"/>
                  <a:pt x="1729" y="1189"/>
                </a:cubicBezTo>
                <a:cubicBezTo>
                  <a:pt x="1729" y="1189"/>
                  <a:pt x="1730" y="1185"/>
                  <a:pt x="1731" y="1182"/>
                </a:cubicBezTo>
                <a:cubicBezTo>
                  <a:pt x="1731" y="1180"/>
                  <a:pt x="1732" y="1179"/>
                  <a:pt x="1732" y="1178"/>
                </a:cubicBezTo>
                <a:cubicBezTo>
                  <a:pt x="1732" y="1174"/>
                  <a:pt x="1730" y="1172"/>
                  <a:pt x="1730" y="1172"/>
                </a:cubicBezTo>
                <a:cubicBezTo>
                  <a:pt x="1730" y="1172"/>
                  <a:pt x="1726" y="1171"/>
                  <a:pt x="1730" y="1167"/>
                </a:cubicBezTo>
                <a:cubicBezTo>
                  <a:pt x="1735" y="1162"/>
                  <a:pt x="1742" y="1160"/>
                  <a:pt x="1747" y="1157"/>
                </a:cubicBezTo>
                <a:cubicBezTo>
                  <a:pt x="1751" y="1155"/>
                  <a:pt x="1758" y="1151"/>
                  <a:pt x="1758" y="1149"/>
                </a:cubicBezTo>
                <a:cubicBezTo>
                  <a:pt x="1758" y="1147"/>
                  <a:pt x="1758" y="1146"/>
                  <a:pt x="1758" y="1146"/>
                </a:cubicBezTo>
                <a:cubicBezTo>
                  <a:pt x="1758" y="1146"/>
                  <a:pt x="1756" y="1147"/>
                  <a:pt x="1756" y="1144"/>
                </a:cubicBezTo>
                <a:cubicBezTo>
                  <a:pt x="1756" y="1142"/>
                  <a:pt x="1760" y="1138"/>
                  <a:pt x="1759" y="1136"/>
                </a:cubicBezTo>
                <a:cubicBezTo>
                  <a:pt x="1759" y="1134"/>
                  <a:pt x="1758" y="1131"/>
                  <a:pt x="1758" y="1131"/>
                </a:cubicBezTo>
                <a:cubicBezTo>
                  <a:pt x="1759" y="1127"/>
                  <a:pt x="1759" y="1127"/>
                  <a:pt x="1759" y="1127"/>
                </a:cubicBezTo>
                <a:cubicBezTo>
                  <a:pt x="1759" y="1126"/>
                  <a:pt x="1759" y="1126"/>
                  <a:pt x="1759" y="1126"/>
                </a:cubicBezTo>
                <a:cubicBezTo>
                  <a:pt x="1757" y="1129"/>
                  <a:pt x="1757" y="1129"/>
                  <a:pt x="1757" y="1129"/>
                </a:cubicBezTo>
                <a:cubicBezTo>
                  <a:pt x="1757" y="1123"/>
                  <a:pt x="1757" y="1123"/>
                  <a:pt x="1757" y="1123"/>
                </a:cubicBezTo>
                <a:cubicBezTo>
                  <a:pt x="1757" y="1123"/>
                  <a:pt x="1754" y="1120"/>
                  <a:pt x="1754" y="1118"/>
                </a:cubicBezTo>
                <a:cubicBezTo>
                  <a:pt x="1754" y="1116"/>
                  <a:pt x="1756" y="1114"/>
                  <a:pt x="1755" y="1111"/>
                </a:cubicBezTo>
                <a:cubicBezTo>
                  <a:pt x="1754" y="1109"/>
                  <a:pt x="1751" y="1111"/>
                  <a:pt x="1751" y="1108"/>
                </a:cubicBezTo>
                <a:cubicBezTo>
                  <a:pt x="1751" y="1106"/>
                  <a:pt x="1753" y="1101"/>
                  <a:pt x="1754" y="1101"/>
                </a:cubicBezTo>
                <a:cubicBezTo>
                  <a:pt x="1755" y="1100"/>
                  <a:pt x="1760" y="1098"/>
                  <a:pt x="1760" y="1097"/>
                </a:cubicBezTo>
                <a:cubicBezTo>
                  <a:pt x="1761" y="1095"/>
                  <a:pt x="1762" y="1092"/>
                  <a:pt x="1763" y="1091"/>
                </a:cubicBezTo>
                <a:cubicBezTo>
                  <a:pt x="1765" y="1089"/>
                  <a:pt x="1766" y="1091"/>
                  <a:pt x="1768" y="1089"/>
                </a:cubicBezTo>
                <a:cubicBezTo>
                  <a:pt x="1769" y="1088"/>
                  <a:pt x="1772" y="1086"/>
                  <a:pt x="1773" y="1083"/>
                </a:cubicBezTo>
                <a:cubicBezTo>
                  <a:pt x="1773" y="1080"/>
                  <a:pt x="1777" y="1076"/>
                  <a:pt x="1780" y="1074"/>
                </a:cubicBezTo>
                <a:cubicBezTo>
                  <a:pt x="1784" y="1073"/>
                  <a:pt x="1793" y="1070"/>
                  <a:pt x="1795" y="1068"/>
                </a:cubicBezTo>
                <a:cubicBezTo>
                  <a:pt x="1797" y="1067"/>
                  <a:pt x="1803" y="1063"/>
                  <a:pt x="1803" y="1063"/>
                </a:cubicBezTo>
                <a:cubicBezTo>
                  <a:pt x="1803" y="1061"/>
                  <a:pt x="1803" y="1061"/>
                  <a:pt x="1803" y="1061"/>
                </a:cubicBezTo>
                <a:cubicBezTo>
                  <a:pt x="1803" y="1061"/>
                  <a:pt x="1807" y="1057"/>
                  <a:pt x="1807" y="1056"/>
                </a:cubicBezTo>
                <a:cubicBezTo>
                  <a:pt x="1807" y="1055"/>
                  <a:pt x="1812" y="1050"/>
                  <a:pt x="1812" y="1050"/>
                </a:cubicBezTo>
                <a:cubicBezTo>
                  <a:pt x="1811" y="1048"/>
                  <a:pt x="1811" y="1048"/>
                  <a:pt x="1811" y="1048"/>
                </a:cubicBezTo>
                <a:cubicBezTo>
                  <a:pt x="1811" y="1048"/>
                  <a:pt x="1814" y="1045"/>
                  <a:pt x="1814" y="1043"/>
                </a:cubicBezTo>
                <a:cubicBezTo>
                  <a:pt x="1814" y="1042"/>
                  <a:pt x="1814" y="1039"/>
                  <a:pt x="1814" y="1039"/>
                </a:cubicBezTo>
                <a:cubicBezTo>
                  <a:pt x="1812" y="1039"/>
                  <a:pt x="1812" y="1039"/>
                  <a:pt x="1812" y="1039"/>
                </a:cubicBezTo>
                <a:cubicBezTo>
                  <a:pt x="1812" y="1031"/>
                  <a:pt x="1812" y="1031"/>
                  <a:pt x="1812" y="1031"/>
                </a:cubicBezTo>
                <a:cubicBezTo>
                  <a:pt x="1810" y="1029"/>
                  <a:pt x="1810" y="1029"/>
                  <a:pt x="1810" y="1029"/>
                </a:cubicBezTo>
                <a:cubicBezTo>
                  <a:pt x="1813" y="1028"/>
                  <a:pt x="1813" y="1028"/>
                  <a:pt x="1813" y="1028"/>
                </a:cubicBezTo>
                <a:cubicBezTo>
                  <a:pt x="1811" y="1021"/>
                  <a:pt x="1811" y="1021"/>
                  <a:pt x="1811" y="1021"/>
                </a:cubicBezTo>
                <a:cubicBezTo>
                  <a:pt x="1813" y="1017"/>
                  <a:pt x="1813" y="1017"/>
                  <a:pt x="1813" y="1017"/>
                </a:cubicBezTo>
                <a:cubicBezTo>
                  <a:pt x="1811" y="1012"/>
                  <a:pt x="1811" y="1012"/>
                  <a:pt x="1811" y="1012"/>
                </a:cubicBezTo>
                <a:cubicBezTo>
                  <a:pt x="1811" y="1012"/>
                  <a:pt x="1813" y="1000"/>
                  <a:pt x="1813" y="998"/>
                </a:cubicBezTo>
                <a:cubicBezTo>
                  <a:pt x="1813" y="996"/>
                  <a:pt x="1812" y="995"/>
                  <a:pt x="1812" y="995"/>
                </a:cubicBezTo>
                <a:cubicBezTo>
                  <a:pt x="1812" y="995"/>
                  <a:pt x="1812" y="995"/>
                  <a:pt x="1812" y="995"/>
                </a:cubicBezTo>
                <a:cubicBezTo>
                  <a:pt x="1811" y="993"/>
                  <a:pt x="1811" y="993"/>
                  <a:pt x="1811" y="993"/>
                </a:cubicBezTo>
                <a:cubicBezTo>
                  <a:pt x="1811" y="993"/>
                  <a:pt x="1805" y="992"/>
                  <a:pt x="1805" y="989"/>
                </a:cubicBezTo>
                <a:cubicBezTo>
                  <a:pt x="1804" y="987"/>
                  <a:pt x="1804" y="980"/>
                  <a:pt x="1804" y="980"/>
                </a:cubicBezTo>
                <a:cubicBezTo>
                  <a:pt x="1801" y="974"/>
                  <a:pt x="1801" y="974"/>
                  <a:pt x="1801" y="974"/>
                </a:cubicBezTo>
                <a:cubicBezTo>
                  <a:pt x="1803" y="967"/>
                  <a:pt x="1803" y="967"/>
                  <a:pt x="1803" y="967"/>
                </a:cubicBezTo>
                <a:cubicBezTo>
                  <a:pt x="1800" y="965"/>
                  <a:pt x="1800" y="965"/>
                  <a:pt x="1800" y="965"/>
                </a:cubicBezTo>
                <a:cubicBezTo>
                  <a:pt x="1800" y="965"/>
                  <a:pt x="1804" y="957"/>
                  <a:pt x="1803" y="956"/>
                </a:cubicBezTo>
                <a:cubicBezTo>
                  <a:pt x="1802" y="954"/>
                  <a:pt x="1797" y="952"/>
                  <a:pt x="1796" y="950"/>
                </a:cubicBezTo>
                <a:cubicBezTo>
                  <a:pt x="1795" y="947"/>
                  <a:pt x="1799" y="939"/>
                  <a:pt x="1799" y="938"/>
                </a:cubicBezTo>
                <a:cubicBezTo>
                  <a:pt x="1799" y="936"/>
                  <a:pt x="1800" y="932"/>
                  <a:pt x="1800" y="931"/>
                </a:cubicBezTo>
                <a:cubicBezTo>
                  <a:pt x="1800" y="930"/>
                  <a:pt x="1800" y="930"/>
                  <a:pt x="1800" y="930"/>
                </a:cubicBezTo>
                <a:cubicBezTo>
                  <a:pt x="1803" y="930"/>
                  <a:pt x="1803" y="930"/>
                  <a:pt x="1803" y="930"/>
                </a:cubicBezTo>
                <a:cubicBezTo>
                  <a:pt x="1807" y="921"/>
                  <a:pt x="1807" y="921"/>
                  <a:pt x="1807" y="921"/>
                </a:cubicBezTo>
                <a:cubicBezTo>
                  <a:pt x="1807" y="921"/>
                  <a:pt x="1807" y="918"/>
                  <a:pt x="1807" y="916"/>
                </a:cubicBezTo>
                <a:cubicBezTo>
                  <a:pt x="1807" y="915"/>
                  <a:pt x="1811" y="915"/>
                  <a:pt x="1811" y="913"/>
                </a:cubicBezTo>
                <a:cubicBezTo>
                  <a:pt x="1811" y="911"/>
                  <a:pt x="1809" y="908"/>
                  <a:pt x="1811" y="907"/>
                </a:cubicBezTo>
                <a:cubicBezTo>
                  <a:pt x="1813" y="907"/>
                  <a:pt x="1816" y="905"/>
                  <a:pt x="1816" y="905"/>
                </a:cubicBezTo>
                <a:cubicBezTo>
                  <a:pt x="1817" y="900"/>
                  <a:pt x="1817" y="900"/>
                  <a:pt x="1817" y="900"/>
                </a:cubicBezTo>
                <a:cubicBezTo>
                  <a:pt x="1817" y="900"/>
                  <a:pt x="1822" y="901"/>
                  <a:pt x="1824" y="898"/>
                </a:cubicBezTo>
                <a:cubicBezTo>
                  <a:pt x="1824" y="897"/>
                  <a:pt x="1824" y="897"/>
                  <a:pt x="1824" y="896"/>
                </a:cubicBezTo>
                <a:cubicBezTo>
                  <a:pt x="1824" y="896"/>
                  <a:pt x="1824" y="897"/>
                  <a:pt x="1824" y="897"/>
                </a:cubicBezTo>
                <a:cubicBezTo>
                  <a:pt x="1826" y="893"/>
                  <a:pt x="1829" y="886"/>
                  <a:pt x="1831" y="884"/>
                </a:cubicBezTo>
                <a:cubicBezTo>
                  <a:pt x="1832" y="882"/>
                  <a:pt x="1839" y="879"/>
                  <a:pt x="1839" y="876"/>
                </a:cubicBezTo>
                <a:cubicBezTo>
                  <a:pt x="1840" y="873"/>
                  <a:pt x="1849" y="865"/>
                  <a:pt x="1851" y="862"/>
                </a:cubicBezTo>
                <a:cubicBezTo>
                  <a:pt x="1854" y="859"/>
                  <a:pt x="1861" y="855"/>
                  <a:pt x="1862" y="854"/>
                </a:cubicBezTo>
                <a:cubicBezTo>
                  <a:pt x="1864" y="853"/>
                  <a:pt x="1876" y="843"/>
                  <a:pt x="1877" y="841"/>
                </a:cubicBezTo>
                <a:cubicBezTo>
                  <a:pt x="1879" y="839"/>
                  <a:pt x="1888" y="829"/>
                  <a:pt x="1889" y="826"/>
                </a:cubicBezTo>
                <a:cubicBezTo>
                  <a:pt x="1889" y="823"/>
                  <a:pt x="1895" y="813"/>
                  <a:pt x="1896" y="812"/>
                </a:cubicBezTo>
                <a:cubicBezTo>
                  <a:pt x="1897" y="811"/>
                  <a:pt x="1899" y="808"/>
                  <a:pt x="1899" y="807"/>
                </a:cubicBezTo>
                <a:cubicBezTo>
                  <a:pt x="1899" y="805"/>
                  <a:pt x="1900" y="799"/>
                  <a:pt x="1902" y="797"/>
                </a:cubicBezTo>
                <a:cubicBezTo>
                  <a:pt x="1903" y="795"/>
                  <a:pt x="1906" y="793"/>
                  <a:pt x="1906" y="790"/>
                </a:cubicBezTo>
                <a:cubicBezTo>
                  <a:pt x="1906" y="787"/>
                  <a:pt x="1908" y="785"/>
                  <a:pt x="1908" y="785"/>
                </a:cubicBezTo>
                <a:cubicBezTo>
                  <a:pt x="1911" y="777"/>
                  <a:pt x="1911" y="777"/>
                  <a:pt x="1911" y="777"/>
                </a:cubicBezTo>
                <a:cubicBezTo>
                  <a:pt x="1911" y="777"/>
                  <a:pt x="1914" y="778"/>
                  <a:pt x="1914" y="773"/>
                </a:cubicBezTo>
                <a:cubicBezTo>
                  <a:pt x="1914" y="767"/>
                  <a:pt x="1914" y="762"/>
                  <a:pt x="1914" y="762"/>
                </a:cubicBezTo>
                <a:cubicBezTo>
                  <a:pt x="1917" y="760"/>
                  <a:pt x="1917" y="760"/>
                  <a:pt x="1917" y="760"/>
                </a:cubicBezTo>
                <a:cubicBezTo>
                  <a:pt x="1916" y="750"/>
                  <a:pt x="1916" y="750"/>
                  <a:pt x="1916" y="750"/>
                </a:cubicBezTo>
                <a:cubicBezTo>
                  <a:pt x="1916" y="750"/>
                  <a:pt x="1919" y="745"/>
                  <a:pt x="1918" y="744"/>
                </a:cubicBezTo>
                <a:cubicBezTo>
                  <a:pt x="1916" y="743"/>
                  <a:pt x="1912" y="742"/>
                  <a:pt x="1912" y="742"/>
                </a:cubicBezTo>
                <a:cubicBezTo>
                  <a:pt x="1912" y="742"/>
                  <a:pt x="1910" y="745"/>
                  <a:pt x="1909" y="746"/>
                </a:cubicBezTo>
                <a:cubicBezTo>
                  <a:pt x="1907" y="748"/>
                  <a:pt x="1900" y="750"/>
                  <a:pt x="1898" y="750"/>
                </a:cubicBezTo>
                <a:cubicBezTo>
                  <a:pt x="1897" y="750"/>
                  <a:pt x="1893" y="749"/>
                  <a:pt x="1891" y="749"/>
                </a:cubicBezTo>
                <a:cubicBezTo>
                  <a:pt x="1889" y="750"/>
                  <a:pt x="1886" y="753"/>
                  <a:pt x="1885" y="753"/>
                </a:cubicBezTo>
                <a:cubicBezTo>
                  <a:pt x="1884" y="753"/>
                  <a:pt x="1882" y="751"/>
                  <a:pt x="1880" y="751"/>
                </a:cubicBezTo>
                <a:cubicBezTo>
                  <a:pt x="1879" y="751"/>
                  <a:pt x="1873" y="757"/>
                  <a:pt x="1871" y="757"/>
                </a:cubicBezTo>
                <a:cubicBezTo>
                  <a:pt x="1869" y="758"/>
                  <a:pt x="1868" y="754"/>
                  <a:pt x="1865" y="755"/>
                </a:cubicBezTo>
                <a:cubicBezTo>
                  <a:pt x="1862" y="756"/>
                  <a:pt x="1858" y="759"/>
                  <a:pt x="1856" y="760"/>
                </a:cubicBezTo>
                <a:cubicBezTo>
                  <a:pt x="1855" y="760"/>
                  <a:pt x="1848" y="760"/>
                  <a:pt x="1848" y="760"/>
                </a:cubicBezTo>
                <a:cubicBezTo>
                  <a:pt x="1848" y="760"/>
                  <a:pt x="1842" y="754"/>
                  <a:pt x="1842" y="752"/>
                </a:cubicBezTo>
                <a:cubicBezTo>
                  <a:pt x="1842" y="750"/>
                  <a:pt x="1840" y="750"/>
                  <a:pt x="1839" y="749"/>
                </a:cubicBezTo>
                <a:cubicBezTo>
                  <a:pt x="1839" y="749"/>
                  <a:pt x="1839" y="749"/>
                  <a:pt x="1839" y="749"/>
                </a:cubicBezTo>
                <a:cubicBezTo>
                  <a:pt x="1838" y="747"/>
                  <a:pt x="1838" y="747"/>
                  <a:pt x="1838" y="747"/>
                </a:cubicBezTo>
                <a:cubicBezTo>
                  <a:pt x="1833" y="748"/>
                  <a:pt x="1833" y="748"/>
                  <a:pt x="1833" y="748"/>
                </a:cubicBezTo>
                <a:cubicBezTo>
                  <a:pt x="1833" y="748"/>
                  <a:pt x="1841" y="741"/>
                  <a:pt x="1839" y="738"/>
                </a:cubicBezTo>
                <a:cubicBezTo>
                  <a:pt x="1839" y="737"/>
                  <a:pt x="1838" y="736"/>
                  <a:pt x="1837" y="735"/>
                </a:cubicBezTo>
                <a:cubicBezTo>
                  <a:pt x="1835" y="732"/>
                  <a:pt x="1833" y="731"/>
                  <a:pt x="1833" y="731"/>
                </a:cubicBezTo>
                <a:cubicBezTo>
                  <a:pt x="1833" y="731"/>
                  <a:pt x="1830" y="731"/>
                  <a:pt x="1829" y="730"/>
                </a:cubicBezTo>
                <a:cubicBezTo>
                  <a:pt x="1829" y="728"/>
                  <a:pt x="1829" y="725"/>
                  <a:pt x="1829" y="725"/>
                </a:cubicBezTo>
                <a:cubicBezTo>
                  <a:pt x="1829" y="725"/>
                  <a:pt x="1821" y="722"/>
                  <a:pt x="1820" y="720"/>
                </a:cubicBezTo>
                <a:cubicBezTo>
                  <a:pt x="1820" y="718"/>
                  <a:pt x="1820" y="713"/>
                  <a:pt x="1818" y="712"/>
                </a:cubicBezTo>
                <a:cubicBezTo>
                  <a:pt x="1817" y="712"/>
                  <a:pt x="1813" y="712"/>
                  <a:pt x="1812" y="712"/>
                </a:cubicBezTo>
                <a:cubicBezTo>
                  <a:pt x="1812" y="711"/>
                  <a:pt x="1809" y="708"/>
                  <a:pt x="1809" y="708"/>
                </a:cubicBezTo>
                <a:cubicBezTo>
                  <a:pt x="1807" y="709"/>
                  <a:pt x="1807" y="709"/>
                  <a:pt x="1807" y="709"/>
                </a:cubicBezTo>
                <a:cubicBezTo>
                  <a:pt x="1805" y="706"/>
                  <a:pt x="1805" y="706"/>
                  <a:pt x="1805" y="706"/>
                </a:cubicBezTo>
                <a:cubicBezTo>
                  <a:pt x="1803" y="706"/>
                  <a:pt x="1803" y="706"/>
                  <a:pt x="1803" y="706"/>
                </a:cubicBezTo>
                <a:cubicBezTo>
                  <a:pt x="1803" y="706"/>
                  <a:pt x="1798" y="701"/>
                  <a:pt x="1798" y="699"/>
                </a:cubicBezTo>
                <a:cubicBezTo>
                  <a:pt x="1797" y="696"/>
                  <a:pt x="1798" y="692"/>
                  <a:pt x="1797" y="687"/>
                </a:cubicBezTo>
                <a:cubicBezTo>
                  <a:pt x="1795" y="683"/>
                  <a:pt x="1791" y="675"/>
                  <a:pt x="1791" y="675"/>
                </a:cubicBezTo>
                <a:cubicBezTo>
                  <a:pt x="1790" y="674"/>
                  <a:pt x="1790" y="674"/>
                  <a:pt x="1790" y="674"/>
                </a:cubicBezTo>
                <a:cubicBezTo>
                  <a:pt x="1785" y="671"/>
                  <a:pt x="1785" y="671"/>
                  <a:pt x="1785" y="671"/>
                </a:cubicBezTo>
                <a:cubicBezTo>
                  <a:pt x="1785" y="671"/>
                  <a:pt x="1784" y="668"/>
                  <a:pt x="1783" y="667"/>
                </a:cubicBezTo>
                <a:cubicBezTo>
                  <a:pt x="1782" y="666"/>
                  <a:pt x="1779" y="668"/>
                  <a:pt x="1778" y="666"/>
                </a:cubicBezTo>
                <a:cubicBezTo>
                  <a:pt x="1777" y="663"/>
                  <a:pt x="1777" y="655"/>
                  <a:pt x="1777" y="655"/>
                </a:cubicBezTo>
                <a:cubicBezTo>
                  <a:pt x="1775" y="654"/>
                  <a:pt x="1775" y="654"/>
                  <a:pt x="1775" y="654"/>
                </a:cubicBezTo>
                <a:cubicBezTo>
                  <a:pt x="1775" y="654"/>
                  <a:pt x="1775" y="645"/>
                  <a:pt x="1775" y="644"/>
                </a:cubicBezTo>
                <a:cubicBezTo>
                  <a:pt x="1775" y="643"/>
                  <a:pt x="1774" y="641"/>
                  <a:pt x="1774" y="641"/>
                </a:cubicBezTo>
                <a:cubicBezTo>
                  <a:pt x="1776" y="640"/>
                  <a:pt x="1776" y="640"/>
                  <a:pt x="1776" y="640"/>
                </a:cubicBezTo>
                <a:cubicBezTo>
                  <a:pt x="1776" y="640"/>
                  <a:pt x="1773" y="637"/>
                  <a:pt x="1772" y="635"/>
                </a:cubicBezTo>
                <a:cubicBezTo>
                  <a:pt x="1772" y="633"/>
                  <a:pt x="1774" y="630"/>
                  <a:pt x="1772" y="629"/>
                </a:cubicBezTo>
                <a:cubicBezTo>
                  <a:pt x="1770" y="628"/>
                  <a:pt x="1768" y="626"/>
                  <a:pt x="1768" y="626"/>
                </a:cubicBezTo>
                <a:cubicBezTo>
                  <a:pt x="1768" y="626"/>
                  <a:pt x="1766" y="623"/>
                  <a:pt x="1765" y="623"/>
                </a:cubicBezTo>
                <a:cubicBezTo>
                  <a:pt x="1764" y="622"/>
                  <a:pt x="1764" y="623"/>
                  <a:pt x="1763" y="622"/>
                </a:cubicBezTo>
                <a:cubicBezTo>
                  <a:pt x="1762" y="622"/>
                  <a:pt x="1761" y="620"/>
                  <a:pt x="1759" y="618"/>
                </a:cubicBezTo>
                <a:cubicBezTo>
                  <a:pt x="1759" y="617"/>
                  <a:pt x="1758" y="615"/>
                  <a:pt x="1758" y="614"/>
                </a:cubicBezTo>
                <a:cubicBezTo>
                  <a:pt x="1758" y="611"/>
                  <a:pt x="1758" y="608"/>
                  <a:pt x="1758" y="608"/>
                </a:cubicBezTo>
                <a:cubicBezTo>
                  <a:pt x="1761" y="608"/>
                  <a:pt x="1761" y="608"/>
                  <a:pt x="1761" y="608"/>
                </a:cubicBezTo>
                <a:cubicBezTo>
                  <a:pt x="1761" y="608"/>
                  <a:pt x="1755" y="604"/>
                  <a:pt x="1752" y="598"/>
                </a:cubicBezTo>
                <a:cubicBezTo>
                  <a:pt x="1749" y="592"/>
                  <a:pt x="1750" y="589"/>
                  <a:pt x="1748" y="587"/>
                </a:cubicBezTo>
                <a:cubicBezTo>
                  <a:pt x="1746" y="585"/>
                  <a:pt x="1745" y="584"/>
                  <a:pt x="1743" y="581"/>
                </a:cubicBezTo>
                <a:cubicBezTo>
                  <a:pt x="1742" y="578"/>
                  <a:pt x="1742" y="574"/>
                  <a:pt x="1742" y="574"/>
                </a:cubicBezTo>
                <a:cubicBezTo>
                  <a:pt x="1736" y="568"/>
                  <a:pt x="1736" y="568"/>
                  <a:pt x="1736" y="568"/>
                </a:cubicBezTo>
                <a:cubicBezTo>
                  <a:pt x="1736" y="568"/>
                  <a:pt x="1737" y="566"/>
                  <a:pt x="1736" y="564"/>
                </a:cubicBezTo>
                <a:cubicBezTo>
                  <a:pt x="1735" y="561"/>
                  <a:pt x="1729" y="557"/>
                  <a:pt x="1729" y="555"/>
                </a:cubicBezTo>
                <a:cubicBezTo>
                  <a:pt x="1728" y="553"/>
                  <a:pt x="1727" y="552"/>
                  <a:pt x="1727" y="552"/>
                </a:cubicBezTo>
                <a:cubicBezTo>
                  <a:pt x="1727" y="552"/>
                  <a:pt x="1728" y="550"/>
                  <a:pt x="1727" y="547"/>
                </a:cubicBezTo>
                <a:cubicBezTo>
                  <a:pt x="1725" y="545"/>
                  <a:pt x="1723" y="545"/>
                  <a:pt x="1723" y="545"/>
                </a:cubicBezTo>
                <a:cubicBezTo>
                  <a:pt x="1725" y="542"/>
                  <a:pt x="1725" y="542"/>
                  <a:pt x="1725" y="542"/>
                </a:cubicBezTo>
                <a:cubicBezTo>
                  <a:pt x="1728" y="544"/>
                  <a:pt x="1728" y="544"/>
                  <a:pt x="1728" y="544"/>
                </a:cubicBezTo>
                <a:cubicBezTo>
                  <a:pt x="1728" y="544"/>
                  <a:pt x="1727" y="547"/>
                  <a:pt x="1729" y="548"/>
                </a:cubicBezTo>
                <a:cubicBezTo>
                  <a:pt x="1731" y="550"/>
                  <a:pt x="1732" y="551"/>
                  <a:pt x="1732" y="551"/>
                </a:cubicBezTo>
                <a:cubicBezTo>
                  <a:pt x="1732" y="555"/>
                  <a:pt x="1732" y="555"/>
                  <a:pt x="1732" y="555"/>
                </a:cubicBezTo>
                <a:cubicBezTo>
                  <a:pt x="1732" y="555"/>
                  <a:pt x="1739" y="566"/>
                  <a:pt x="1741" y="564"/>
                </a:cubicBezTo>
                <a:cubicBezTo>
                  <a:pt x="1744" y="563"/>
                  <a:pt x="1745" y="562"/>
                  <a:pt x="1745" y="562"/>
                </a:cubicBezTo>
                <a:cubicBezTo>
                  <a:pt x="1744" y="559"/>
                  <a:pt x="1744" y="559"/>
                  <a:pt x="1744" y="559"/>
                </a:cubicBezTo>
                <a:cubicBezTo>
                  <a:pt x="1744" y="559"/>
                  <a:pt x="1746" y="554"/>
                  <a:pt x="1746" y="551"/>
                </a:cubicBezTo>
                <a:cubicBezTo>
                  <a:pt x="1746" y="548"/>
                  <a:pt x="1748" y="545"/>
                  <a:pt x="1748" y="545"/>
                </a:cubicBezTo>
                <a:cubicBezTo>
                  <a:pt x="1749" y="547"/>
                  <a:pt x="1749" y="547"/>
                  <a:pt x="1749" y="547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49" y="548"/>
                  <a:pt x="1749" y="549"/>
                  <a:pt x="1749" y="549"/>
                </a:cubicBezTo>
                <a:cubicBezTo>
                  <a:pt x="1749" y="549"/>
                  <a:pt x="1749" y="549"/>
                  <a:pt x="1749" y="549"/>
                </a:cubicBezTo>
                <a:cubicBezTo>
                  <a:pt x="1749" y="551"/>
                  <a:pt x="1746" y="565"/>
                  <a:pt x="1749" y="568"/>
                </a:cubicBezTo>
                <a:cubicBezTo>
                  <a:pt x="1751" y="570"/>
                  <a:pt x="1756" y="570"/>
                  <a:pt x="1757" y="573"/>
                </a:cubicBezTo>
                <a:cubicBezTo>
                  <a:pt x="1759" y="576"/>
                  <a:pt x="1762" y="583"/>
                  <a:pt x="1764" y="585"/>
                </a:cubicBezTo>
                <a:cubicBezTo>
                  <a:pt x="1766" y="587"/>
                  <a:pt x="1770" y="590"/>
                  <a:pt x="1771" y="593"/>
                </a:cubicBezTo>
                <a:cubicBezTo>
                  <a:pt x="1773" y="596"/>
                  <a:pt x="1774" y="604"/>
                  <a:pt x="1776" y="606"/>
                </a:cubicBezTo>
                <a:cubicBezTo>
                  <a:pt x="1779" y="609"/>
                  <a:pt x="1785" y="606"/>
                  <a:pt x="1788" y="610"/>
                </a:cubicBezTo>
                <a:cubicBezTo>
                  <a:pt x="1792" y="614"/>
                  <a:pt x="1795" y="627"/>
                  <a:pt x="1795" y="633"/>
                </a:cubicBezTo>
                <a:cubicBezTo>
                  <a:pt x="1795" y="639"/>
                  <a:pt x="1802" y="646"/>
                  <a:pt x="1802" y="646"/>
                </a:cubicBezTo>
                <a:cubicBezTo>
                  <a:pt x="1802" y="646"/>
                  <a:pt x="1807" y="646"/>
                  <a:pt x="1809" y="648"/>
                </a:cubicBezTo>
                <a:cubicBezTo>
                  <a:pt x="1811" y="649"/>
                  <a:pt x="1818" y="663"/>
                  <a:pt x="1821" y="668"/>
                </a:cubicBezTo>
                <a:cubicBezTo>
                  <a:pt x="1824" y="673"/>
                  <a:pt x="1834" y="685"/>
                  <a:pt x="1834" y="688"/>
                </a:cubicBezTo>
                <a:cubicBezTo>
                  <a:pt x="1834" y="690"/>
                  <a:pt x="1833" y="692"/>
                  <a:pt x="1833" y="694"/>
                </a:cubicBezTo>
                <a:cubicBezTo>
                  <a:pt x="1832" y="695"/>
                  <a:pt x="1832" y="697"/>
                  <a:pt x="1831" y="698"/>
                </a:cubicBezTo>
                <a:cubicBezTo>
                  <a:pt x="1831" y="700"/>
                  <a:pt x="1836" y="704"/>
                  <a:pt x="1836" y="704"/>
                </a:cubicBezTo>
                <a:cubicBezTo>
                  <a:pt x="1834" y="721"/>
                  <a:pt x="1834" y="721"/>
                  <a:pt x="1834" y="721"/>
                </a:cubicBezTo>
                <a:cubicBezTo>
                  <a:pt x="1839" y="725"/>
                  <a:pt x="1839" y="725"/>
                  <a:pt x="1839" y="725"/>
                </a:cubicBezTo>
                <a:cubicBezTo>
                  <a:pt x="1839" y="725"/>
                  <a:pt x="1840" y="731"/>
                  <a:pt x="1844" y="732"/>
                </a:cubicBezTo>
                <a:cubicBezTo>
                  <a:pt x="1848" y="733"/>
                  <a:pt x="1851" y="733"/>
                  <a:pt x="1853" y="731"/>
                </a:cubicBezTo>
                <a:cubicBezTo>
                  <a:pt x="1856" y="730"/>
                  <a:pt x="1857" y="724"/>
                  <a:pt x="1859" y="724"/>
                </a:cubicBezTo>
                <a:cubicBezTo>
                  <a:pt x="1861" y="724"/>
                  <a:pt x="1865" y="725"/>
                  <a:pt x="1869" y="725"/>
                </a:cubicBezTo>
                <a:cubicBezTo>
                  <a:pt x="1874" y="724"/>
                  <a:pt x="1879" y="723"/>
                  <a:pt x="1882" y="723"/>
                </a:cubicBezTo>
                <a:cubicBezTo>
                  <a:pt x="1885" y="723"/>
                  <a:pt x="1889" y="716"/>
                  <a:pt x="1892" y="715"/>
                </a:cubicBezTo>
                <a:cubicBezTo>
                  <a:pt x="1895" y="714"/>
                  <a:pt x="1897" y="710"/>
                  <a:pt x="1901" y="709"/>
                </a:cubicBezTo>
                <a:cubicBezTo>
                  <a:pt x="1905" y="707"/>
                  <a:pt x="1914" y="702"/>
                  <a:pt x="1914" y="702"/>
                </a:cubicBezTo>
                <a:cubicBezTo>
                  <a:pt x="1924" y="702"/>
                  <a:pt x="1924" y="702"/>
                  <a:pt x="1924" y="702"/>
                </a:cubicBezTo>
                <a:cubicBezTo>
                  <a:pt x="1924" y="702"/>
                  <a:pt x="1929" y="692"/>
                  <a:pt x="1931" y="690"/>
                </a:cubicBezTo>
                <a:cubicBezTo>
                  <a:pt x="1931" y="690"/>
                  <a:pt x="1932" y="690"/>
                  <a:pt x="1933" y="689"/>
                </a:cubicBezTo>
                <a:cubicBezTo>
                  <a:pt x="1939" y="687"/>
                  <a:pt x="1955" y="683"/>
                  <a:pt x="1956" y="682"/>
                </a:cubicBezTo>
                <a:cubicBezTo>
                  <a:pt x="1957" y="681"/>
                  <a:pt x="1957" y="674"/>
                  <a:pt x="1957" y="674"/>
                </a:cubicBezTo>
                <a:cubicBezTo>
                  <a:pt x="1957" y="674"/>
                  <a:pt x="1966" y="673"/>
                  <a:pt x="1968" y="671"/>
                </a:cubicBezTo>
                <a:cubicBezTo>
                  <a:pt x="1969" y="669"/>
                  <a:pt x="1969" y="665"/>
                  <a:pt x="1969" y="665"/>
                </a:cubicBezTo>
                <a:cubicBezTo>
                  <a:pt x="1969" y="665"/>
                  <a:pt x="1976" y="663"/>
                  <a:pt x="1978" y="660"/>
                </a:cubicBezTo>
                <a:cubicBezTo>
                  <a:pt x="1980" y="656"/>
                  <a:pt x="1979" y="648"/>
                  <a:pt x="1981" y="648"/>
                </a:cubicBezTo>
                <a:cubicBezTo>
                  <a:pt x="1983" y="648"/>
                  <a:pt x="1985" y="650"/>
                  <a:pt x="1987" y="648"/>
                </a:cubicBezTo>
                <a:cubicBezTo>
                  <a:pt x="1989" y="646"/>
                  <a:pt x="1988" y="642"/>
                  <a:pt x="1988" y="642"/>
                </a:cubicBezTo>
                <a:cubicBezTo>
                  <a:pt x="1996" y="635"/>
                  <a:pt x="1996" y="635"/>
                  <a:pt x="1996" y="635"/>
                </a:cubicBezTo>
                <a:cubicBezTo>
                  <a:pt x="1996" y="635"/>
                  <a:pt x="1998" y="626"/>
                  <a:pt x="1997" y="624"/>
                </a:cubicBezTo>
                <a:cubicBezTo>
                  <a:pt x="1996" y="622"/>
                  <a:pt x="1993" y="623"/>
                  <a:pt x="1993" y="623"/>
                </a:cubicBezTo>
                <a:cubicBezTo>
                  <a:pt x="1993" y="623"/>
                  <a:pt x="1988" y="614"/>
                  <a:pt x="1985" y="612"/>
                </a:cubicBezTo>
                <a:cubicBezTo>
                  <a:pt x="1982" y="609"/>
                  <a:pt x="1971" y="607"/>
                  <a:pt x="1971" y="607"/>
                </a:cubicBezTo>
                <a:cubicBezTo>
                  <a:pt x="1971" y="607"/>
                  <a:pt x="1962" y="604"/>
                  <a:pt x="1962" y="601"/>
                </a:cubicBezTo>
                <a:cubicBezTo>
                  <a:pt x="1961" y="600"/>
                  <a:pt x="1961" y="599"/>
                  <a:pt x="1960" y="597"/>
                </a:cubicBezTo>
                <a:cubicBezTo>
                  <a:pt x="1959" y="595"/>
                  <a:pt x="1958" y="592"/>
                  <a:pt x="1958" y="589"/>
                </a:cubicBezTo>
                <a:cubicBezTo>
                  <a:pt x="1959" y="586"/>
                  <a:pt x="1960" y="580"/>
                  <a:pt x="1958" y="579"/>
                </a:cubicBezTo>
                <a:cubicBezTo>
                  <a:pt x="1957" y="578"/>
                  <a:pt x="1952" y="589"/>
                  <a:pt x="1952" y="589"/>
                </a:cubicBezTo>
                <a:cubicBezTo>
                  <a:pt x="1952" y="589"/>
                  <a:pt x="1949" y="590"/>
                  <a:pt x="1948" y="591"/>
                </a:cubicBezTo>
                <a:cubicBezTo>
                  <a:pt x="1947" y="593"/>
                  <a:pt x="1941" y="600"/>
                  <a:pt x="1941" y="600"/>
                </a:cubicBezTo>
                <a:cubicBezTo>
                  <a:pt x="1941" y="600"/>
                  <a:pt x="1941" y="606"/>
                  <a:pt x="1939" y="606"/>
                </a:cubicBezTo>
                <a:cubicBezTo>
                  <a:pt x="1937" y="606"/>
                  <a:pt x="1928" y="605"/>
                  <a:pt x="1926" y="605"/>
                </a:cubicBezTo>
                <a:cubicBezTo>
                  <a:pt x="1925" y="605"/>
                  <a:pt x="1918" y="609"/>
                  <a:pt x="1917" y="608"/>
                </a:cubicBezTo>
                <a:cubicBezTo>
                  <a:pt x="1916" y="607"/>
                  <a:pt x="1914" y="606"/>
                  <a:pt x="1913" y="605"/>
                </a:cubicBezTo>
                <a:cubicBezTo>
                  <a:pt x="1913" y="605"/>
                  <a:pt x="1913" y="605"/>
                  <a:pt x="1913" y="605"/>
                </a:cubicBezTo>
                <a:cubicBezTo>
                  <a:pt x="1913" y="604"/>
                  <a:pt x="1912" y="603"/>
                  <a:pt x="1912" y="602"/>
                </a:cubicBezTo>
                <a:cubicBezTo>
                  <a:pt x="1912" y="602"/>
                  <a:pt x="1912" y="602"/>
                  <a:pt x="1912" y="602"/>
                </a:cubicBezTo>
                <a:cubicBezTo>
                  <a:pt x="1913" y="600"/>
                  <a:pt x="1916" y="594"/>
                  <a:pt x="1916" y="589"/>
                </a:cubicBezTo>
                <a:cubicBezTo>
                  <a:pt x="1915" y="585"/>
                  <a:pt x="1912" y="582"/>
                  <a:pt x="1911" y="582"/>
                </a:cubicBezTo>
                <a:cubicBezTo>
                  <a:pt x="1908" y="583"/>
                  <a:pt x="1908" y="588"/>
                  <a:pt x="1908" y="592"/>
                </a:cubicBezTo>
                <a:cubicBezTo>
                  <a:pt x="1908" y="595"/>
                  <a:pt x="1908" y="599"/>
                  <a:pt x="1906" y="599"/>
                </a:cubicBezTo>
                <a:cubicBezTo>
                  <a:pt x="1906" y="599"/>
                  <a:pt x="1906" y="599"/>
                  <a:pt x="1906" y="599"/>
                </a:cubicBezTo>
                <a:cubicBezTo>
                  <a:pt x="1904" y="599"/>
                  <a:pt x="1903" y="591"/>
                  <a:pt x="1902" y="590"/>
                </a:cubicBezTo>
                <a:cubicBezTo>
                  <a:pt x="1901" y="588"/>
                  <a:pt x="1897" y="588"/>
                  <a:pt x="1897" y="585"/>
                </a:cubicBezTo>
                <a:cubicBezTo>
                  <a:pt x="1896" y="582"/>
                  <a:pt x="1897" y="577"/>
                  <a:pt x="1894" y="575"/>
                </a:cubicBezTo>
                <a:cubicBezTo>
                  <a:pt x="1891" y="573"/>
                  <a:pt x="1887" y="573"/>
                  <a:pt x="1886" y="571"/>
                </a:cubicBezTo>
                <a:cubicBezTo>
                  <a:pt x="1885" y="568"/>
                  <a:pt x="1886" y="565"/>
                  <a:pt x="1885" y="565"/>
                </a:cubicBezTo>
                <a:cubicBezTo>
                  <a:pt x="1884" y="564"/>
                  <a:pt x="1881" y="561"/>
                  <a:pt x="1881" y="561"/>
                </a:cubicBezTo>
                <a:cubicBezTo>
                  <a:pt x="1881" y="558"/>
                  <a:pt x="1881" y="558"/>
                  <a:pt x="1881" y="558"/>
                </a:cubicBezTo>
                <a:cubicBezTo>
                  <a:pt x="1881" y="558"/>
                  <a:pt x="1880" y="557"/>
                  <a:pt x="1879" y="556"/>
                </a:cubicBezTo>
                <a:cubicBezTo>
                  <a:pt x="1877" y="555"/>
                  <a:pt x="1874" y="552"/>
                  <a:pt x="1874" y="549"/>
                </a:cubicBezTo>
                <a:cubicBezTo>
                  <a:pt x="1874" y="549"/>
                  <a:pt x="1874" y="549"/>
                  <a:pt x="1874" y="549"/>
                </a:cubicBezTo>
                <a:cubicBezTo>
                  <a:pt x="1872" y="548"/>
                  <a:pt x="1872" y="548"/>
                  <a:pt x="1872" y="548"/>
                </a:cubicBezTo>
                <a:cubicBezTo>
                  <a:pt x="1872" y="545"/>
                  <a:pt x="1872" y="545"/>
                  <a:pt x="1872" y="545"/>
                </a:cubicBezTo>
                <a:cubicBezTo>
                  <a:pt x="1872" y="545"/>
                  <a:pt x="1875" y="545"/>
                  <a:pt x="1876" y="545"/>
                </a:cubicBezTo>
                <a:cubicBezTo>
                  <a:pt x="1877" y="545"/>
                  <a:pt x="1877" y="543"/>
                  <a:pt x="1877" y="543"/>
                </a:cubicBezTo>
                <a:cubicBezTo>
                  <a:pt x="1877" y="543"/>
                  <a:pt x="1877" y="541"/>
                  <a:pt x="1875" y="541"/>
                </a:cubicBezTo>
                <a:cubicBezTo>
                  <a:pt x="1873" y="541"/>
                  <a:pt x="1873" y="542"/>
                  <a:pt x="1873" y="542"/>
                </a:cubicBezTo>
                <a:cubicBezTo>
                  <a:pt x="1872" y="540"/>
                  <a:pt x="1872" y="540"/>
                  <a:pt x="1872" y="540"/>
                </a:cubicBezTo>
                <a:cubicBezTo>
                  <a:pt x="1873" y="541"/>
                  <a:pt x="1873" y="541"/>
                  <a:pt x="1873" y="541"/>
                </a:cubicBezTo>
                <a:cubicBezTo>
                  <a:pt x="1876" y="539"/>
                  <a:pt x="1876" y="539"/>
                  <a:pt x="1876" y="539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9" y="540"/>
                  <a:pt x="1881" y="541"/>
                  <a:pt x="1882" y="540"/>
                </a:cubicBezTo>
                <a:cubicBezTo>
                  <a:pt x="1883" y="539"/>
                  <a:pt x="1879" y="537"/>
                  <a:pt x="1882" y="535"/>
                </a:cubicBezTo>
                <a:cubicBezTo>
                  <a:pt x="1885" y="534"/>
                  <a:pt x="1885" y="538"/>
                  <a:pt x="1885" y="538"/>
                </a:cubicBezTo>
                <a:cubicBezTo>
                  <a:pt x="1887" y="539"/>
                  <a:pt x="1887" y="539"/>
                  <a:pt x="1887" y="539"/>
                </a:cubicBezTo>
                <a:cubicBezTo>
                  <a:pt x="1887" y="539"/>
                  <a:pt x="1887" y="539"/>
                  <a:pt x="1888" y="539"/>
                </a:cubicBezTo>
                <a:cubicBezTo>
                  <a:pt x="1888" y="539"/>
                  <a:pt x="1889" y="539"/>
                  <a:pt x="1889" y="539"/>
                </a:cubicBezTo>
                <a:cubicBezTo>
                  <a:pt x="1889" y="539"/>
                  <a:pt x="1889" y="539"/>
                  <a:pt x="1889" y="538"/>
                </a:cubicBezTo>
                <a:cubicBezTo>
                  <a:pt x="1890" y="538"/>
                  <a:pt x="1892" y="537"/>
                  <a:pt x="1893" y="537"/>
                </a:cubicBezTo>
                <a:cubicBezTo>
                  <a:pt x="1893" y="538"/>
                  <a:pt x="1892" y="542"/>
                  <a:pt x="1894" y="543"/>
                </a:cubicBezTo>
                <a:cubicBezTo>
                  <a:pt x="1895" y="544"/>
                  <a:pt x="1898" y="546"/>
                  <a:pt x="1898" y="546"/>
                </a:cubicBezTo>
                <a:cubicBezTo>
                  <a:pt x="1898" y="546"/>
                  <a:pt x="1898" y="547"/>
                  <a:pt x="1898" y="548"/>
                </a:cubicBezTo>
                <a:cubicBezTo>
                  <a:pt x="1899" y="549"/>
                  <a:pt x="1900" y="550"/>
                  <a:pt x="1901" y="552"/>
                </a:cubicBezTo>
                <a:cubicBezTo>
                  <a:pt x="1901" y="552"/>
                  <a:pt x="1901" y="552"/>
                  <a:pt x="1901" y="552"/>
                </a:cubicBezTo>
                <a:cubicBezTo>
                  <a:pt x="1901" y="552"/>
                  <a:pt x="1902" y="553"/>
                  <a:pt x="1902" y="553"/>
                </a:cubicBezTo>
                <a:cubicBezTo>
                  <a:pt x="1904" y="555"/>
                  <a:pt x="1904" y="555"/>
                  <a:pt x="1904" y="555"/>
                </a:cubicBezTo>
                <a:cubicBezTo>
                  <a:pt x="1904" y="555"/>
                  <a:pt x="1904" y="560"/>
                  <a:pt x="1906" y="561"/>
                </a:cubicBezTo>
                <a:cubicBezTo>
                  <a:pt x="1908" y="561"/>
                  <a:pt x="1908" y="564"/>
                  <a:pt x="1908" y="564"/>
                </a:cubicBezTo>
                <a:cubicBezTo>
                  <a:pt x="1913" y="564"/>
                  <a:pt x="1913" y="564"/>
                  <a:pt x="1913" y="564"/>
                </a:cubicBezTo>
                <a:cubicBezTo>
                  <a:pt x="1916" y="567"/>
                  <a:pt x="1916" y="567"/>
                  <a:pt x="1916" y="567"/>
                </a:cubicBezTo>
                <a:cubicBezTo>
                  <a:pt x="1917" y="567"/>
                  <a:pt x="1919" y="566"/>
                  <a:pt x="1920" y="567"/>
                </a:cubicBezTo>
                <a:cubicBezTo>
                  <a:pt x="1922" y="568"/>
                  <a:pt x="1928" y="573"/>
                  <a:pt x="1933" y="577"/>
                </a:cubicBezTo>
                <a:cubicBezTo>
                  <a:pt x="1933" y="577"/>
                  <a:pt x="1933" y="577"/>
                  <a:pt x="1934" y="577"/>
                </a:cubicBezTo>
                <a:cubicBezTo>
                  <a:pt x="1935" y="577"/>
                  <a:pt x="1937" y="577"/>
                  <a:pt x="1937" y="577"/>
                </a:cubicBezTo>
                <a:cubicBezTo>
                  <a:pt x="1937" y="577"/>
                  <a:pt x="1938" y="580"/>
                  <a:pt x="1941" y="579"/>
                </a:cubicBezTo>
                <a:cubicBezTo>
                  <a:pt x="1944" y="578"/>
                  <a:pt x="1945" y="577"/>
                  <a:pt x="1945" y="577"/>
                </a:cubicBezTo>
                <a:cubicBezTo>
                  <a:pt x="1948" y="577"/>
                  <a:pt x="1948" y="577"/>
                  <a:pt x="1948" y="577"/>
                </a:cubicBezTo>
                <a:cubicBezTo>
                  <a:pt x="1950" y="574"/>
                  <a:pt x="1950" y="574"/>
                  <a:pt x="1950" y="574"/>
                </a:cubicBezTo>
                <a:cubicBezTo>
                  <a:pt x="1953" y="574"/>
                  <a:pt x="1953" y="574"/>
                  <a:pt x="1953" y="574"/>
                </a:cubicBezTo>
                <a:cubicBezTo>
                  <a:pt x="1956" y="571"/>
                  <a:pt x="1956" y="571"/>
                  <a:pt x="1956" y="571"/>
                </a:cubicBezTo>
                <a:cubicBezTo>
                  <a:pt x="1957" y="572"/>
                  <a:pt x="1957" y="572"/>
                  <a:pt x="1957" y="572"/>
                </a:cubicBezTo>
                <a:cubicBezTo>
                  <a:pt x="1959" y="572"/>
                  <a:pt x="1960" y="572"/>
                  <a:pt x="1961" y="573"/>
                </a:cubicBezTo>
                <a:cubicBezTo>
                  <a:pt x="1963" y="575"/>
                  <a:pt x="1966" y="580"/>
                  <a:pt x="1967" y="583"/>
                </a:cubicBezTo>
                <a:cubicBezTo>
                  <a:pt x="1967" y="587"/>
                  <a:pt x="1973" y="587"/>
                  <a:pt x="1973" y="587"/>
                </a:cubicBezTo>
                <a:cubicBezTo>
                  <a:pt x="1973" y="587"/>
                  <a:pt x="1973" y="588"/>
                  <a:pt x="1976" y="589"/>
                </a:cubicBezTo>
                <a:cubicBezTo>
                  <a:pt x="1978" y="590"/>
                  <a:pt x="1985" y="589"/>
                  <a:pt x="1985" y="589"/>
                </a:cubicBezTo>
                <a:cubicBezTo>
                  <a:pt x="1985" y="589"/>
                  <a:pt x="1990" y="593"/>
                  <a:pt x="1991" y="593"/>
                </a:cubicBezTo>
                <a:cubicBezTo>
                  <a:pt x="1992" y="593"/>
                  <a:pt x="1996" y="591"/>
                  <a:pt x="1996" y="591"/>
                </a:cubicBezTo>
                <a:cubicBezTo>
                  <a:pt x="1996" y="591"/>
                  <a:pt x="2002" y="595"/>
                  <a:pt x="2005" y="595"/>
                </a:cubicBezTo>
                <a:cubicBezTo>
                  <a:pt x="2007" y="595"/>
                  <a:pt x="2008" y="595"/>
                  <a:pt x="2009" y="594"/>
                </a:cubicBezTo>
                <a:cubicBezTo>
                  <a:pt x="2009" y="594"/>
                  <a:pt x="2009" y="594"/>
                  <a:pt x="2009" y="594"/>
                </a:cubicBezTo>
                <a:cubicBezTo>
                  <a:pt x="2011" y="593"/>
                  <a:pt x="2013" y="592"/>
                  <a:pt x="2013" y="592"/>
                </a:cubicBezTo>
                <a:cubicBezTo>
                  <a:pt x="2013" y="592"/>
                  <a:pt x="2017" y="594"/>
                  <a:pt x="2020" y="594"/>
                </a:cubicBezTo>
                <a:cubicBezTo>
                  <a:pt x="2022" y="594"/>
                  <a:pt x="2028" y="591"/>
                  <a:pt x="2028" y="591"/>
                </a:cubicBezTo>
                <a:cubicBezTo>
                  <a:pt x="2028" y="591"/>
                  <a:pt x="2031" y="592"/>
                  <a:pt x="2033" y="592"/>
                </a:cubicBezTo>
                <a:cubicBezTo>
                  <a:pt x="2035" y="591"/>
                  <a:pt x="2040" y="590"/>
                  <a:pt x="2040" y="590"/>
                </a:cubicBezTo>
                <a:cubicBezTo>
                  <a:pt x="2045" y="591"/>
                  <a:pt x="2045" y="591"/>
                  <a:pt x="2045" y="591"/>
                </a:cubicBezTo>
                <a:cubicBezTo>
                  <a:pt x="2045" y="591"/>
                  <a:pt x="2049" y="587"/>
                  <a:pt x="2052" y="589"/>
                </a:cubicBezTo>
                <a:cubicBezTo>
                  <a:pt x="2056" y="591"/>
                  <a:pt x="2056" y="599"/>
                  <a:pt x="2059" y="599"/>
                </a:cubicBezTo>
                <a:cubicBezTo>
                  <a:pt x="2062" y="600"/>
                  <a:pt x="2067" y="600"/>
                  <a:pt x="2069" y="602"/>
                </a:cubicBezTo>
                <a:cubicBezTo>
                  <a:pt x="2071" y="604"/>
                  <a:pt x="2072" y="608"/>
                  <a:pt x="2074" y="608"/>
                </a:cubicBezTo>
                <a:cubicBezTo>
                  <a:pt x="2075" y="608"/>
                  <a:pt x="2075" y="608"/>
                  <a:pt x="2076" y="608"/>
                </a:cubicBezTo>
                <a:cubicBezTo>
                  <a:pt x="2079" y="609"/>
                  <a:pt x="2081" y="609"/>
                  <a:pt x="2081" y="609"/>
                </a:cubicBezTo>
                <a:cubicBezTo>
                  <a:pt x="2081" y="609"/>
                  <a:pt x="2079" y="614"/>
                  <a:pt x="2082" y="615"/>
                </a:cubicBezTo>
                <a:cubicBezTo>
                  <a:pt x="2084" y="618"/>
                  <a:pt x="2091" y="618"/>
                  <a:pt x="2093" y="618"/>
                </a:cubicBezTo>
                <a:cubicBezTo>
                  <a:pt x="2094" y="617"/>
                  <a:pt x="2099" y="614"/>
                  <a:pt x="2099" y="614"/>
                </a:cubicBezTo>
                <a:cubicBezTo>
                  <a:pt x="2099" y="614"/>
                  <a:pt x="2101" y="616"/>
                  <a:pt x="2098" y="619"/>
                </a:cubicBezTo>
                <a:cubicBezTo>
                  <a:pt x="2096" y="621"/>
                  <a:pt x="2091" y="622"/>
                  <a:pt x="2091" y="622"/>
                </a:cubicBezTo>
                <a:cubicBezTo>
                  <a:pt x="2091" y="622"/>
                  <a:pt x="2083" y="623"/>
                  <a:pt x="2083" y="626"/>
                </a:cubicBezTo>
                <a:cubicBezTo>
                  <a:pt x="2082" y="628"/>
                  <a:pt x="2088" y="633"/>
                  <a:pt x="2091" y="635"/>
                </a:cubicBezTo>
                <a:cubicBezTo>
                  <a:pt x="2094" y="637"/>
                  <a:pt x="2098" y="643"/>
                  <a:pt x="2105" y="643"/>
                </a:cubicBezTo>
                <a:cubicBezTo>
                  <a:pt x="2111" y="644"/>
                  <a:pt x="2119" y="638"/>
                  <a:pt x="2118" y="634"/>
                </a:cubicBezTo>
                <a:cubicBezTo>
                  <a:pt x="2117" y="630"/>
                  <a:pt x="2120" y="627"/>
                  <a:pt x="2122" y="625"/>
                </a:cubicBezTo>
                <a:cubicBezTo>
                  <a:pt x="2124" y="623"/>
                  <a:pt x="2128" y="622"/>
                  <a:pt x="2126" y="626"/>
                </a:cubicBezTo>
                <a:cubicBezTo>
                  <a:pt x="2124" y="629"/>
                  <a:pt x="2119" y="632"/>
                  <a:pt x="2121" y="635"/>
                </a:cubicBezTo>
                <a:cubicBezTo>
                  <a:pt x="2122" y="638"/>
                  <a:pt x="2126" y="638"/>
                  <a:pt x="2126" y="641"/>
                </a:cubicBezTo>
                <a:cubicBezTo>
                  <a:pt x="2126" y="644"/>
                  <a:pt x="2125" y="647"/>
                  <a:pt x="2124" y="652"/>
                </a:cubicBezTo>
                <a:cubicBezTo>
                  <a:pt x="2122" y="657"/>
                  <a:pt x="2122" y="662"/>
                  <a:pt x="2124" y="668"/>
                </a:cubicBezTo>
                <a:cubicBezTo>
                  <a:pt x="2125" y="674"/>
                  <a:pt x="2128" y="684"/>
                  <a:pt x="2130" y="687"/>
                </a:cubicBezTo>
                <a:cubicBezTo>
                  <a:pt x="2133" y="691"/>
                  <a:pt x="2133" y="689"/>
                  <a:pt x="2132" y="694"/>
                </a:cubicBezTo>
                <a:cubicBezTo>
                  <a:pt x="2131" y="699"/>
                  <a:pt x="2139" y="700"/>
                  <a:pt x="2139" y="700"/>
                </a:cubicBezTo>
                <a:cubicBezTo>
                  <a:pt x="2139" y="700"/>
                  <a:pt x="2140" y="707"/>
                  <a:pt x="2142" y="709"/>
                </a:cubicBezTo>
                <a:cubicBezTo>
                  <a:pt x="2143" y="712"/>
                  <a:pt x="2147" y="714"/>
                  <a:pt x="2147" y="714"/>
                </a:cubicBezTo>
                <a:cubicBezTo>
                  <a:pt x="2147" y="714"/>
                  <a:pt x="2148" y="728"/>
                  <a:pt x="2150" y="734"/>
                </a:cubicBezTo>
                <a:cubicBezTo>
                  <a:pt x="2153" y="740"/>
                  <a:pt x="2160" y="749"/>
                  <a:pt x="2161" y="751"/>
                </a:cubicBezTo>
                <a:cubicBezTo>
                  <a:pt x="2162" y="754"/>
                  <a:pt x="2163" y="759"/>
                  <a:pt x="2163" y="762"/>
                </a:cubicBezTo>
                <a:cubicBezTo>
                  <a:pt x="2162" y="764"/>
                  <a:pt x="2176" y="786"/>
                  <a:pt x="2176" y="786"/>
                </a:cubicBezTo>
                <a:cubicBezTo>
                  <a:pt x="2176" y="786"/>
                  <a:pt x="2183" y="784"/>
                  <a:pt x="2185" y="782"/>
                </a:cubicBezTo>
                <a:cubicBezTo>
                  <a:pt x="2186" y="780"/>
                  <a:pt x="2184" y="776"/>
                  <a:pt x="2186" y="774"/>
                </a:cubicBezTo>
                <a:cubicBezTo>
                  <a:pt x="2188" y="773"/>
                  <a:pt x="2189" y="775"/>
                  <a:pt x="2191" y="774"/>
                </a:cubicBezTo>
                <a:cubicBezTo>
                  <a:pt x="2194" y="773"/>
                  <a:pt x="2197" y="771"/>
                  <a:pt x="2197" y="771"/>
                </a:cubicBezTo>
                <a:cubicBezTo>
                  <a:pt x="2197" y="771"/>
                  <a:pt x="2194" y="771"/>
                  <a:pt x="2195" y="768"/>
                </a:cubicBezTo>
                <a:cubicBezTo>
                  <a:pt x="2195" y="764"/>
                  <a:pt x="2197" y="764"/>
                  <a:pt x="2199" y="762"/>
                </a:cubicBezTo>
                <a:cubicBezTo>
                  <a:pt x="2202" y="761"/>
                  <a:pt x="2204" y="761"/>
                  <a:pt x="2204" y="759"/>
                </a:cubicBezTo>
                <a:cubicBezTo>
                  <a:pt x="2205" y="757"/>
                  <a:pt x="2202" y="750"/>
                  <a:pt x="2202" y="746"/>
                </a:cubicBezTo>
                <a:cubicBezTo>
                  <a:pt x="2202" y="743"/>
                  <a:pt x="2202" y="736"/>
                  <a:pt x="2203" y="736"/>
                </a:cubicBezTo>
                <a:cubicBezTo>
                  <a:pt x="2204" y="735"/>
                  <a:pt x="2204" y="733"/>
                  <a:pt x="2204" y="727"/>
                </a:cubicBezTo>
                <a:cubicBezTo>
                  <a:pt x="2204" y="720"/>
                  <a:pt x="2200" y="720"/>
                  <a:pt x="2200" y="717"/>
                </a:cubicBezTo>
                <a:cubicBezTo>
                  <a:pt x="2199" y="715"/>
                  <a:pt x="2201" y="713"/>
                  <a:pt x="2202" y="711"/>
                </a:cubicBezTo>
                <a:cubicBezTo>
                  <a:pt x="2202" y="708"/>
                  <a:pt x="2201" y="707"/>
                  <a:pt x="2201" y="704"/>
                </a:cubicBezTo>
                <a:cubicBezTo>
                  <a:pt x="2201" y="700"/>
                  <a:pt x="2208" y="700"/>
                  <a:pt x="2208" y="698"/>
                </a:cubicBezTo>
                <a:cubicBezTo>
                  <a:pt x="2208" y="697"/>
                  <a:pt x="2208" y="694"/>
                  <a:pt x="2210" y="692"/>
                </a:cubicBezTo>
                <a:cubicBezTo>
                  <a:pt x="2211" y="691"/>
                  <a:pt x="2214" y="692"/>
                  <a:pt x="2214" y="692"/>
                </a:cubicBezTo>
                <a:cubicBezTo>
                  <a:pt x="2215" y="690"/>
                  <a:pt x="2215" y="690"/>
                  <a:pt x="2215" y="690"/>
                </a:cubicBezTo>
                <a:cubicBezTo>
                  <a:pt x="2215" y="690"/>
                  <a:pt x="2220" y="693"/>
                  <a:pt x="2220" y="690"/>
                </a:cubicBezTo>
                <a:cubicBezTo>
                  <a:pt x="2221" y="688"/>
                  <a:pt x="2225" y="681"/>
                  <a:pt x="2226" y="679"/>
                </a:cubicBezTo>
                <a:cubicBezTo>
                  <a:pt x="2227" y="677"/>
                  <a:pt x="2232" y="677"/>
                  <a:pt x="2233" y="674"/>
                </a:cubicBezTo>
                <a:cubicBezTo>
                  <a:pt x="2235" y="671"/>
                  <a:pt x="2237" y="666"/>
                  <a:pt x="2239" y="664"/>
                </a:cubicBezTo>
                <a:cubicBezTo>
                  <a:pt x="2241" y="662"/>
                  <a:pt x="2249" y="657"/>
                  <a:pt x="2249" y="657"/>
                </a:cubicBezTo>
                <a:cubicBezTo>
                  <a:pt x="2248" y="653"/>
                  <a:pt x="2248" y="653"/>
                  <a:pt x="2248" y="653"/>
                </a:cubicBezTo>
                <a:cubicBezTo>
                  <a:pt x="2249" y="652"/>
                  <a:pt x="2249" y="652"/>
                  <a:pt x="2249" y="652"/>
                </a:cubicBezTo>
                <a:cubicBezTo>
                  <a:pt x="2252" y="656"/>
                  <a:pt x="2252" y="656"/>
                  <a:pt x="2252" y="656"/>
                </a:cubicBezTo>
                <a:cubicBezTo>
                  <a:pt x="2260" y="648"/>
                  <a:pt x="2260" y="648"/>
                  <a:pt x="2260" y="648"/>
                </a:cubicBezTo>
                <a:cubicBezTo>
                  <a:pt x="2262" y="644"/>
                  <a:pt x="2262" y="644"/>
                  <a:pt x="2262" y="644"/>
                </a:cubicBezTo>
                <a:cubicBezTo>
                  <a:pt x="2262" y="644"/>
                  <a:pt x="2259" y="641"/>
                  <a:pt x="2259" y="638"/>
                </a:cubicBezTo>
                <a:cubicBezTo>
                  <a:pt x="2259" y="636"/>
                  <a:pt x="2264" y="637"/>
                  <a:pt x="2266" y="634"/>
                </a:cubicBezTo>
                <a:cubicBezTo>
                  <a:pt x="2269" y="630"/>
                  <a:pt x="2268" y="628"/>
                  <a:pt x="2268" y="628"/>
                </a:cubicBezTo>
                <a:cubicBezTo>
                  <a:pt x="2270" y="629"/>
                  <a:pt x="2270" y="629"/>
                  <a:pt x="2270" y="629"/>
                </a:cubicBezTo>
                <a:cubicBezTo>
                  <a:pt x="2272" y="632"/>
                  <a:pt x="2272" y="632"/>
                  <a:pt x="2272" y="632"/>
                </a:cubicBezTo>
                <a:cubicBezTo>
                  <a:pt x="2273" y="628"/>
                  <a:pt x="2273" y="628"/>
                  <a:pt x="2273" y="628"/>
                </a:cubicBezTo>
                <a:cubicBezTo>
                  <a:pt x="2273" y="628"/>
                  <a:pt x="2275" y="636"/>
                  <a:pt x="2276" y="637"/>
                </a:cubicBezTo>
                <a:cubicBezTo>
                  <a:pt x="2278" y="637"/>
                  <a:pt x="2279" y="632"/>
                  <a:pt x="2279" y="632"/>
                </a:cubicBezTo>
                <a:cubicBezTo>
                  <a:pt x="2282" y="636"/>
                  <a:pt x="2282" y="636"/>
                  <a:pt x="2282" y="636"/>
                </a:cubicBezTo>
                <a:cubicBezTo>
                  <a:pt x="2283" y="628"/>
                  <a:pt x="2283" y="628"/>
                  <a:pt x="2283" y="628"/>
                </a:cubicBezTo>
                <a:cubicBezTo>
                  <a:pt x="2283" y="628"/>
                  <a:pt x="2292" y="632"/>
                  <a:pt x="2293" y="631"/>
                </a:cubicBezTo>
                <a:cubicBezTo>
                  <a:pt x="2295" y="631"/>
                  <a:pt x="2292" y="627"/>
                  <a:pt x="2293" y="626"/>
                </a:cubicBezTo>
                <a:cubicBezTo>
                  <a:pt x="2295" y="626"/>
                  <a:pt x="2299" y="630"/>
                  <a:pt x="2302" y="629"/>
                </a:cubicBezTo>
                <a:cubicBezTo>
                  <a:pt x="2304" y="628"/>
                  <a:pt x="2303" y="626"/>
                  <a:pt x="2303" y="626"/>
                </a:cubicBezTo>
                <a:cubicBezTo>
                  <a:pt x="2302" y="621"/>
                  <a:pt x="2302" y="621"/>
                  <a:pt x="2302" y="621"/>
                </a:cubicBezTo>
                <a:cubicBezTo>
                  <a:pt x="2308" y="628"/>
                  <a:pt x="2308" y="628"/>
                  <a:pt x="2308" y="628"/>
                </a:cubicBezTo>
                <a:cubicBezTo>
                  <a:pt x="2308" y="628"/>
                  <a:pt x="2306" y="636"/>
                  <a:pt x="2307" y="637"/>
                </a:cubicBezTo>
                <a:cubicBezTo>
                  <a:pt x="2308" y="638"/>
                  <a:pt x="2309" y="638"/>
                  <a:pt x="2310" y="638"/>
                </a:cubicBezTo>
                <a:cubicBezTo>
                  <a:pt x="2310" y="638"/>
                  <a:pt x="2310" y="638"/>
                  <a:pt x="2310" y="638"/>
                </a:cubicBezTo>
                <a:cubicBezTo>
                  <a:pt x="2311" y="638"/>
                  <a:pt x="2312" y="638"/>
                  <a:pt x="2312" y="638"/>
                </a:cubicBezTo>
                <a:cubicBezTo>
                  <a:pt x="2312" y="645"/>
                  <a:pt x="2312" y="645"/>
                  <a:pt x="2312" y="645"/>
                </a:cubicBezTo>
                <a:cubicBezTo>
                  <a:pt x="2312" y="645"/>
                  <a:pt x="2317" y="646"/>
                  <a:pt x="2319" y="648"/>
                </a:cubicBezTo>
                <a:cubicBezTo>
                  <a:pt x="2321" y="650"/>
                  <a:pt x="2322" y="655"/>
                  <a:pt x="2322" y="655"/>
                </a:cubicBezTo>
                <a:cubicBezTo>
                  <a:pt x="2327" y="654"/>
                  <a:pt x="2327" y="654"/>
                  <a:pt x="2327" y="654"/>
                </a:cubicBezTo>
                <a:cubicBezTo>
                  <a:pt x="2324" y="660"/>
                  <a:pt x="2324" y="660"/>
                  <a:pt x="2324" y="660"/>
                </a:cubicBezTo>
                <a:cubicBezTo>
                  <a:pt x="2324" y="660"/>
                  <a:pt x="2330" y="661"/>
                  <a:pt x="2333" y="663"/>
                </a:cubicBezTo>
                <a:cubicBezTo>
                  <a:pt x="2335" y="665"/>
                  <a:pt x="2337" y="673"/>
                  <a:pt x="2338" y="674"/>
                </a:cubicBezTo>
                <a:cubicBezTo>
                  <a:pt x="2338" y="675"/>
                  <a:pt x="2341" y="678"/>
                  <a:pt x="2341" y="678"/>
                </a:cubicBezTo>
                <a:cubicBezTo>
                  <a:pt x="2339" y="681"/>
                  <a:pt x="2339" y="681"/>
                  <a:pt x="2339" y="681"/>
                </a:cubicBezTo>
                <a:cubicBezTo>
                  <a:pt x="2340" y="693"/>
                  <a:pt x="2340" y="693"/>
                  <a:pt x="2340" y="693"/>
                </a:cubicBezTo>
                <a:cubicBezTo>
                  <a:pt x="2338" y="695"/>
                  <a:pt x="2338" y="695"/>
                  <a:pt x="2338" y="695"/>
                </a:cubicBezTo>
                <a:cubicBezTo>
                  <a:pt x="2338" y="695"/>
                  <a:pt x="2339" y="699"/>
                  <a:pt x="2341" y="699"/>
                </a:cubicBezTo>
                <a:cubicBezTo>
                  <a:pt x="2343" y="699"/>
                  <a:pt x="2345" y="697"/>
                  <a:pt x="2345" y="697"/>
                </a:cubicBezTo>
                <a:cubicBezTo>
                  <a:pt x="2345" y="697"/>
                  <a:pt x="2346" y="700"/>
                  <a:pt x="2348" y="699"/>
                </a:cubicBezTo>
                <a:cubicBezTo>
                  <a:pt x="2351" y="698"/>
                  <a:pt x="2353" y="693"/>
                  <a:pt x="2353" y="693"/>
                </a:cubicBezTo>
                <a:cubicBezTo>
                  <a:pt x="2353" y="693"/>
                  <a:pt x="2358" y="692"/>
                  <a:pt x="2360" y="691"/>
                </a:cubicBezTo>
                <a:cubicBezTo>
                  <a:pt x="2363" y="689"/>
                  <a:pt x="2360" y="682"/>
                  <a:pt x="2361" y="681"/>
                </a:cubicBezTo>
                <a:close/>
                <a:moveTo>
                  <a:pt x="1719" y="975"/>
                </a:moveTo>
                <a:cubicBezTo>
                  <a:pt x="1719" y="976"/>
                  <a:pt x="1718" y="977"/>
                  <a:pt x="1718" y="977"/>
                </a:cubicBezTo>
                <a:cubicBezTo>
                  <a:pt x="1716" y="978"/>
                  <a:pt x="1716" y="975"/>
                  <a:pt x="1716" y="975"/>
                </a:cubicBezTo>
                <a:cubicBezTo>
                  <a:pt x="1716" y="975"/>
                  <a:pt x="1714" y="974"/>
                  <a:pt x="1712" y="973"/>
                </a:cubicBezTo>
                <a:cubicBezTo>
                  <a:pt x="1710" y="972"/>
                  <a:pt x="1711" y="971"/>
                  <a:pt x="1712" y="969"/>
                </a:cubicBezTo>
                <a:cubicBezTo>
                  <a:pt x="1713" y="969"/>
                  <a:pt x="1713" y="968"/>
                  <a:pt x="1713" y="968"/>
                </a:cubicBezTo>
                <a:cubicBezTo>
                  <a:pt x="1713" y="968"/>
                  <a:pt x="1712" y="966"/>
                  <a:pt x="1711" y="965"/>
                </a:cubicBezTo>
                <a:cubicBezTo>
                  <a:pt x="1710" y="964"/>
                  <a:pt x="1711" y="960"/>
                  <a:pt x="1711" y="959"/>
                </a:cubicBezTo>
                <a:cubicBezTo>
                  <a:pt x="1711" y="957"/>
                  <a:pt x="1708" y="958"/>
                  <a:pt x="1707" y="958"/>
                </a:cubicBezTo>
                <a:cubicBezTo>
                  <a:pt x="1707" y="958"/>
                  <a:pt x="1706" y="956"/>
                  <a:pt x="1706" y="954"/>
                </a:cubicBezTo>
                <a:cubicBezTo>
                  <a:pt x="1706" y="952"/>
                  <a:pt x="1704" y="952"/>
                  <a:pt x="1703" y="951"/>
                </a:cubicBezTo>
                <a:cubicBezTo>
                  <a:pt x="1701" y="949"/>
                  <a:pt x="1701" y="946"/>
                  <a:pt x="1701" y="944"/>
                </a:cubicBezTo>
                <a:cubicBezTo>
                  <a:pt x="1701" y="943"/>
                  <a:pt x="1702" y="941"/>
                  <a:pt x="1702" y="940"/>
                </a:cubicBezTo>
                <a:cubicBezTo>
                  <a:pt x="1702" y="938"/>
                  <a:pt x="1700" y="938"/>
                  <a:pt x="1699" y="936"/>
                </a:cubicBezTo>
                <a:cubicBezTo>
                  <a:pt x="1699" y="934"/>
                  <a:pt x="1699" y="931"/>
                  <a:pt x="1700" y="929"/>
                </a:cubicBezTo>
                <a:cubicBezTo>
                  <a:pt x="1700" y="926"/>
                  <a:pt x="1700" y="924"/>
                  <a:pt x="1701" y="921"/>
                </a:cubicBezTo>
                <a:cubicBezTo>
                  <a:pt x="1701" y="920"/>
                  <a:pt x="1702" y="920"/>
                  <a:pt x="1703" y="921"/>
                </a:cubicBezTo>
                <a:cubicBezTo>
                  <a:pt x="1703" y="922"/>
                  <a:pt x="1703" y="926"/>
                  <a:pt x="1704" y="928"/>
                </a:cubicBezTo>
                <a:cubicBezTo>
                  <a:pt x="1705" y="928"/>
                  <a:pt x="1705" y="928"/>
                  <a:pt x="1706" y="928"/>
                </a:cubicBezTo>
                <a:cubicBezTo>
                  <a:pt x="1705" y="928"/>
                  <a:pt x="1705" y="928"/>
                  <a:pt x="1705" y="928"/>
                </a:cubicBezTo>
                <a:cubicBezTo>
                  <a:pt x="1705" y="930"/>
                  <a:pt x="1705" y="930"/>
                  <a:pt x="1705" y="930"/>
                </a:cubicBezTo>
                <a:cubicBezTo>
                  <a:pt x="1705" y="930"/>
                  <a:pt x="1706" y="932"/>
                  <a:pt x="1707" y="933"/>
                </a:cubicBezTo>
                <a:cubicBezTo>
                  <a:pt x="1707" y="934"/>
                  <a:pt x="1707" y="936"/>
                  <a:pt x="1707" y="936"/>
                </a:cubicBezTo>
                <a:cubicBezTo>
                  <a:pt x="1707" y="936"/>
                  <a:pt x="1709" y="943"/>
                  <a:pt x="1708" y="944"/>
                </a:cubicBezTo>
                <a:cubicBezTo>
                  <a:pt x="1707" y="945"/>
                  <a:pt x="1707" y="945"/>
                  <a:pt x="1707" y="948"/>
                </a:cubicBezTo>
                <a:cubicBezTo>
                  <a:pt x="1707" y="950"/>
                  <a:pt x="1709" y="951"/>
                  <a:pt x="1710" y="951"/>
                </a:cubicBezTo>
                <a:cubicBezTo>
                  <a:pt x="1711" y="952"/>
                  <a:pt x="1715" y="955"/>
                  <a:pt x="1716" y="957"/>
                </a:cubicBezTo>
                <a:cubicBezTo>
                  <a:pt x="1716" y="958"/>
                  <a:pt x="1716" y="960"/>
                  <a:pt x="1715" y="961"/>
                </a:cubicBezTo>
                <a:cubicBezTo>
                  <a:pt x="1715" y="963"/>
                  <a:pt x="1717" y="967"/>
                  <a:pt x="1717" y="967"/>
                </a:cubicBezTo>
                <a:cubicBezTo>
                  <a:pt x="1720" y="972"/>
                  <a:pt x="1720" y="972"/>
                  <a:pt x="1720" y="972"/>
                </a:cubicBezTo>
                <a:cubicBezTo>
                  <a:pt x="1720" y="972"/>
                  <a:pt x="1720" y="973"/>
                  <a:pt x="1719" y="975"/>
                </a:cubicBezTo>
                <a:close/>
                <a:moveTo>
                  <a:pt x="1763" y="1008"/>
                </a:moveTo>
                <a:cubicBezTo>
                  <a:pt x="1763" y="1008"/>
                  <a:pt x="1763" y="1008"/>
                  <a:pt x="1763" y="1008"/>
                </a:cubicBezTo>
                <a:cubicBezTo>
                  <a:pt x="1763" y="1008"/>
                  <a:pt x="1763" y="1008"/>
                  <a:pt x="1763" y="1008"/>
                </a:cubicBezTo>
                <a:close/>
                <a:moveTo>
                  <a:pt x="1763" y="1008"/>
                </a:moveTo>
                <a:cubicBezTo>
                  <a:pt x="1763" y="1008"/>
                  <a:pt x="1761" y="1008"/>
                  <a:pt x="1759" y="1008"/>
                </a:cubicBezTo>
                <a:cubicBezTo>
                  <a:pt x="1761" y="1008"/>
                  <a:pt x="1763" y="1008"/>
                  <a:pt x="1763" y="1008"/>
                </a:cubicBezTo>
                <a:close/>
                <a:moveTo>
                  <a:pt x="1757" y="1008"/>
                </a:moveTo>
                <a:cubicBezTo>
                  <a:pt x="1757" y="1008"/>
                  <a:pt x="1757" y="1008"/>
                  <a:pt x="1757" y="1008"/>
                </a:cubicBezTo>
                <a:cubicBezTo>
                  <a:pt x="1757" y="1009"/>
                  <a:pt x="1757" y="1010"/>
                  <a:pt x="1757" y="1010"/>
                </a:cubicBezTo>
                <a:cubicBezTo>
                  <a:pt x="1757" y="1011"/>
                  <a:pt x="1756" y="1012"/>
                  <a:pt x="1754" y="1014"/>
                </a:cubicBezTo>
                <a:cubicBezTo>
                  <a:pt x="1753" y="1016"/>
                  <a:pt x="1755" y="1017"/>
                  <a:pt x="1756" y="1018"/>
                </a:cubicBezTo>
                <a:cubicBezTo>
                  <a:pt x="1756" y="1019"/>
                  <a:pt x="1756" y="1023"/>
                  <a:pt x="1755" y="1025"/>
                </a:cubicBezTo>
                <a:cubicBezTo>
                  <a:pt x="1755" y="1027"/>
                  <a:pt x="1755" y="1029"/>
                  <a:pt x="1755" y="1030"/>
                </a:cubicBezTo>
                <a:cubicBezTo>
                  <a:pt x="1755" y="1031"/>
                  <a:pt x="1755" y="1031"/>
                  <a:pt x="1756" y="1031"/>
                </a:cubicBezTo>
                <a:cubicBezTo>
                  <a:pt x="1757" y="1032"/>
                  <a:pt x="1758" y="1033"/>
                  <a:pt x="1758" y="1033"/>
                </a:cubicBezTo>
                <a:cubicBezTo>
                  <a:pt x="1758" y="1033"/>
                  <a:pt x="1759" y="1038"/>
                  <a:pt x="1757" y="1039"/>
                </a:cubicBezTo>
                <a:cubicBezTo>
                  <a:pt x="1756" y="1039"/>
                  <a:pt x="1756" y="1037"/>
                  <a:pt x="1756" y="1037"/>
                </a:cubicBezTo>
                <a:cubicBezTo>
                  <a:pt x="1756" y="1037"/>
                  <a:pt x="1753" y="1038"/>
                  <a:pt x="1753" y="1037"/>
                </a:cubicBezTo>
                <a:cubicBezTo>
                  <a:pt x="1752" y="1037"/>
                  <a:pt x="1752" y="1034"/>
                  <a:pt x="1752" y="1033"/>
                </a:cubicBezTo>
                <a:cubicBezTo>
                  <a:pt x="1752" y="1031"/>
                  <a:pt x="1751" y="1030"/>
                  <a:pt x="1751" y="1030"/>
                </a:cubicBezTo>
                <a:cubicBezTo>
                  <a:pt x="1750" y="1029"/>
                  <a:pt x="1751" y="1026"/>
                  <a:pt x="1751" y="1024"/>
                </a:cubicBezTo>
                <a:cubicBezTo>
                  <a:pt x="1751" y="1023"/>
                  <a:pt x="1750" y="1021"/>
                  <a:pt x="1747" y="1019"/>
                </a:cubicBezTo>
                <a:cubicBezTo>
                  <a:pt x="1745" y="1017"/>
                  <a:pt x="1747" y="1018"/>
                  <a:pt x="1746" y="1016"/>
                </a:cubicBezTo>
                <a:cubicBezTo>
                  <a:pt x="1746" y="1014"/>
                  <a:pt x="1748" y="1012"/>
                  <a:pt x="1750" y="1010"/>
                </a:cubicBezTo>
                <a:cubicBezTo>
                  <a:pt x="1752" y="1008"/>
                  <a:pt x="1751" y="1007"/>
                  <a:pt x="1751" y="1006"/>
                </a:cubicBezTo>
                <a:cubicBezTo>
                  <a:pt x="1752" y="1005"/>
                  <a:pt x="1751" y="1004"/>
                  <a:pt x="1751" y="1002"/>
                </a:cubicBezTo>
                <a:cubicBezTo>
                  <a:pt x="1751" y="1001"/>
                  <a:pt x="1750" y="998"/>
                  <a:pt x="1750" y="994"/>
                </a:cubicBezTo>
                <a:cubicBezTo>
                  <a:pt x="1750" y="991"/>
                  <a:pt x="1749" y="993"/>
                  <a:pt x="1747" y="991"/>
                </a:cubicBezTo>
                <a:cubicBezTo>
                  <a:pt x="1745" y="990"/>
                  <a:pt x="1747" y="988"/>
                  <a:pt x="1746" y="986"/>
                </a:cubicBezTo>
                <a:cubicBezTo>
                  <a:pt x="1746" y="986"/>
                  <a:pt x="1747" y="983"/>
                  <a:pt x="1749" y="984"/>
                </a:cubicBezTo>
                <a:cubicBezTo>
                  <a:pt x="1751" y="985"/>
                  <a:pt x="1753" y="989"/>
                  <a:pt x="1753" y="989"/>
                </a:cubicBezTo>
                <a:cubicBezTo>
                  <a:pt x="1753" y="997"/>
                  <a:pt x="1753" y="997"/>
                  <a:pt x="1753" y="997"/>
                </a:cubicBezTo>
                <a:cubicBezTo>
                  <a:pt x="1753" y="997"/>
                  <a:pt x="1754" y="997"/>
                  <a:pt x="1754" y="998"/>
                </a:cubicBezTo>
                <a:cubicBezTo>
                  <a:pt x="1754" y="1000"/>
                  <a:pt x="1754" y="1000"/>
                  <a:pt x="1753" y="1002"/>
                </a:cubicBezTo>
                <a:cubicBezTo>
                  <a:pt x="1753" y="1004"/>
                  <a:pt x="1757" y="1006"/>
                  <a:pt x="1757" y="1006"/>
                </a:cubicBezTo>
                <a:cubicBezTo>
                  <a:pt x="1757" y="1008"/>
                  <a:pt x="1757" y="1008"/>
                  <a:pt x="1757" y="1008"/>
                </a:cubicBezTo>
                <a:cubicBezTo>
                  <a:pt x="1757" y="1008"/>
                  <a:pt x="1757" y="1008"/>
                  <a:pt x="1757" y="1008"/>
                </a:cubicBezTo>
                <a:close/>
                <a:moveTo>
                  <a:pt x="1726" y="898"/>
                </a:moveTo>
                <a:cubicBezTo>
                  <a:pt x="1726" y="895"/>
                  <a:pt x="1728" y="891"/>
                  <a:pt x="1728" y="890"/>
                </a:cubicBezTo>
                <a:cubicBezTo>
                  <a:pt x="1728" y="889"/>
                  <a:pt x="1728" y="889"/>
                  <a:pt x="1728" y="889"/>
                </a:cubicBezTo>
                <a:cubicBezTo>
                  <a:pt x="1728" y="888"/>
                  <a:pt x="1727" y="887"/>
                  <a:pt x="1727" y="886"/>
                </a:cubicBezTo>
                <a:cubicBezTo>
                  <a:pt x="1726" y="884"/>
                  <a:pt x="1728" y="882"/>
                  <a:pt x="1729" y="882"/>
                </a:cubicBezTo>
                <a:cubicBezTo>
                  <a:pt x="1729" y="881"/>
                  <a:pt x="1728" y="878"/>
                  <a:pt x="1730" y="877"/>
                </a:cubicBezTo>
                <a:cubicBezTo>
                  <a:pt x="1732" y="875"/>
                  <a:pt x="1738" y="876"/>
                  <a:pt x="1739" y="875"/>
                </a:cubicBezTo>
                <a:cubicBezTo>
                  <a:pt x="1739" y="875"/>
                  <a:pt x="1741" y="872"/>
                  <a:pt x="1742" y="872"/>
                </a:cubicBezTo>
                <a:cubicBezTo>
                  <a:pt x="1743" y="872"/>
                  <a:pt x="1743" y="876"/>
                  <a:pt x="1743" y="876"/>
                </a:cubicBezTo>
                <a:cubicBezTo>
                  <a:pt x="1743" y="876"/>
                  <a:pt x="1745" y="875"/>
                  <a:pt x="1747" y="875"/>
                </a:cubicBezTo>
                <a:cubicBezTo>
                  <a:pt x="1748" y="875"/>
                  <a:pt x="1748" y="875"/>
                  <a:pt x="1749" y="876"/>
                </a:cubicBezTo>
                <a:cubicBezTo>
                  <a:pt x="1749" y="876"/>
                  <a:pt x="1749" y="876"/>
                  <a:pt x="1749" y="876"/>
                </a:cubicBezTo>
                <a:cubicBezTo>
                  <a:pt x="1749" y="878"/>
                  <a:pt x="1750" y="880"/>
                  <a:pt x="1752" y="881"/>
                </a:cubicBezTo>
                <a:cubicBezTo>
                  <a:pt x="1753" y="881"/>
                  <a:pt x="1753" y="879"/>
                  <a:pt x="1753" y="879"/>
                </a:cubicBezTo>
                <a:cubicBezTo>
                  <a:pt x="1756" y="879"/>
                  <a:pt x="1756" y="879"/>
                  <a:pt x="1756" y="879"/>
                </a:cubicBezTo>
                <a:cubicBezTo>
                  <a:pt x="1757" y="881"/>
                  <a:pt x="1757" y="881"/>
                  <a:pt x="1757" y="881"/>
                </a:cubicBezTo>
                <a:cubicBezTo>
                  <a:pt x="1755" y="882"/>
                  <a:pt x="1755" y="882"/>
                  <a:pt x="1755" y="882"/>
                </a:cubicBezTo>
                <a:cubicBezTo>
                  <a:pt x="1753" y="883"/>
                  <a:pt x="1753" y="883"/>
                  <a:pt x="1753" y="883"/>
                </a:cubicBezTo>
                <a:cubicBezTo>
                  <a:pt x="1753" y="883"/>
                  <a:pt x="1752" y="881"/>
                  <a:pt x="1750" y="883"/>
                </a:cubicBezTo>
                <a:cubicBezTo>
                  <a:pt x="1748" y="885"/>
                  <a:pt x="1751" y="887"/>
                  <a:pt x="1751" y="887"/>
                </a:cubicBezTo>
                <a:cubicBezTo>
                  <a:pt x="1750" y="889"/>
                  <a:pt x="1750" y="889"/>
                  <a:pt x="1750" y="889"/>
                </a:cubicBezTo>
                <a:cubicBezTo>
                  <a:pt x="1749" y="889"/>
                  <a:pt x="1748" y="889"/>
                  <a:pt x="1748" y="889"/>
                </a:cubicBezTo>
                <a:cubicBezTo>
                  <a:pt x="1748" y="889"/>
                  <a:pt x="1748" y="889"/>
                  <a:pt x="1748" y="889"/>
                </a:cubicBezTo>
                <a:cubicBezTo>
                  <a:pt x="1748" y="891"/>
                  <a:pt x="1749" y="894"/>
                  <a:pt x="1749" y="894"/>
                </a:cubicBezTo>
                <a:cubicBezTo>
                  <a:pt x="1745" y="896"/>
                  <a:pt x="1745" y="896"/>
                  <a:pt x="1745" y="896"/>
                </a:cubicBezTo>
                <a:cubicBezTo>
                  <a:pt x="1745" y="896"/>
                  <a:pt x="1743" y="898"/>
                  <a:pt x="1742" y="901"/>
                </a:cubicBezTo>
                <a:cubicBezTo>
                  <a:pt x="1741" y="904"/>
                  <a:pt x="1748" y="902"/>
                  <a:pt x="1748" y="902"/>
                </a:cubicBezTo>
                <a:cubicBezTo>
                  <a:pt x="1748" y="902"/>
                  <a:pt x="1744" y="905"/>
                  <a:pt x="1743" y="906"/>
                </a:cubicBezTo>
                <a:cubicBezTo>
                  <a:pt x="1741" y="906"/>
                  <a:pt x="1741" y="904"/>
                  <a:pt x="1739" y="904"/>
                </a:cubicBezTo>
                <a:cubicBezTo>
                  <a:pt x="1737" y="904"/>
                  <a:pt x="1737" y="908"/>
                  <a:pt x="1737" y="908"/>
                </a:cubicBezTo>
                <a:cubicBezTo>
                  <a:pt x="1739" y="910"/>
                  <a:pt x="1739" y="910"/>
                  <a:pt x="1739" y="910"/>
                </a:cubicBezTo>
                <a:cubicBezTo>
                  <a:pt x="1739" y="910"/>
                  <a:pt x="1738" y="910"/>
                  <a:pt x="1736" y="910"/>
                </a:cubicBezTo>
                <a:cubicBezTo>
                  <a:pt x="1734" y="910"/>
                  <a:pt x="1736" y="904"/>
                  <a:pt x="1736" y="904"/>
                </a:cubicBezTo>
                <a:cubicBezTo>
                  <a:pt x="1734" y="906"/>
                  <a:pt x="1734" y="906"/>
                  <a:pt x="1734" y="906"/>
                </a:cubicBezTo>
                <a:cubicBezTo>
                  <a:pt x="1734" y="906"/>
                  <a:pt x="1732" y="903"/>
                  <a:pt x="1731" y="903"/>
                </a:cubicBezTo>
                <a:cubicBezTo>
                  <a:pt x="1729" y="903"/>
                  <a:pt x="1729" y="908"/>
                  <a:pt x="1728" y="908"/>
                </a:cubicBezTo>
                <a:cubicBezTo>
                  <a:pt x="1727" y="908"/>
                  <a:pt x="1727" y="906"/>
                  <a:pt x="1727" y="906"/>
                </a:cubicBezTo>
                <a:cubicBezTo>
                  <a:pt x="1727" y="906"/>
                  <a:pt x="1726" y="900"/>
                  <a:pt x="1726" y="898"/>
                </a:cubicBezTo>
                <a:close/>
                <a:moveTo>
                  <a:pt x="1796" y="411"/>
                </a:moveTo>
                <a:cubicBezTo>
                  <a:pt x="1795" y="413"/>
                  <a:pt x="1791" y="416"/>
                  <a:pt x="1789" y="417"/>
                </a:cubicBezTo>
                <a:cubicBezTo>
                  <a:pt x="1786" y="418"/>
                  <a:pt x="1777" y="417"/>
                  <a:pt x="1777" y="417"/>
                </a:cubicBezTo>
                <a:cubicBezTo>
                  <a:pt x="1769" y="419"/>
                  <a:pt x="1769" y="419"/>
                  <a:pt x="1769" y="419"/>
                </a:cubicBezTo>
                <a:cubicBezTo>
                  <a:pt x="1760" y="416"/>
                  <a:pt x="1760" y="416"/>
                  <a:pt x="1760" y="416"/>
                </a:cubicBezTo>
                <a:cubicBezTo>
                  <a:pt x="1756" y="417"/>
                  <a:pt x="1756" y="417"/>
                  <a:pt x="1756" y="417"/>
                </a:cubicBezTo>
                <a:cubicBezTo>
                  <a:pt x="1756" y="417"/>
                  <a:pt x="1754" y="412"/>
                  <a:pt x="1753" y="413"/>
                </a:cubicBezTo>
                <a:cubicBezTo>
                  <a:pt x="1751" y="413"/>
                  <a:pt x="1749" y="414"/>
                  <a:pt x="1749" y="414"/>
                </a:cubicBezTo>
                <a:cubicBezTo>
                  <a:pt x="1746" y="412"/>
                  <a:pt x="1746" y="412"/>
                  <a:pt x="1746" y="412"/>
                </a:cubicBezTo>
                <a:cubicBezTo>
                  <a:pt x="1745" y="409"/>
                  <a:pt x="1745" y="409"/>
                  <a:pt x="1745" y="409"/>
                </a:cubicBezTo>
                <a:cubicBezTo>
                  <a:pt x="1739" y="410"/>
                  <a:pt x="1739" y="410"/>
                  <a:pt x="1739" y="410"/>
                </a:cubicBezTo>
                <a:cubicBezTo>
                  <a:pt x="1735" y="408"/>
                  <a:pt x="1735" y="408"/>
                  <a:pt x="1735" y="408"/>
                </a:cubicBezTo>
                <a:cubicBezTo>
                  <a:pt x="1734" y="405"/>
                  <a:pt x="1734" y="405"/>
                  <a:pt x="1734" y="405"/>
                </a:cubicBezTo>
                <a:cubicBezTo>
                  <a:pt x="1734" y="405"/>
                  <a:pt x="1730" y="407"/>
                  <a:pt x="1727" y="407"/>
                </a:cubicBezTo>
                <a:cubicBezTo>
                  <a:pt x="1724" y="407"/>
                  <a:pt x="1721" y="406"/>
                  <a:pt x="1718" y="406"/>
                </a:cubicBezTo>
                <a:cubicBezTo>
                  <a:pt x="1716" y="406"/>
                  <a:pt x="1708" y="409"/>
                  <a:pt x="1707" y="411"/>
                </a:cubicBezTo>
                <a:cubicBezTo>
                  <a:pt x="1706" y="412"/>
                  <a:pt x="1703" y="413"/>
                  <a:pt x="1703" y="413"/>
                </a:cubicBezTo>
                <a:cubicBezTo>
                  <a:pt x="1702" y="416"/>
                  <a:pt x="1702" y="416"/>
                  <a:pt x="1702" y="416"/>
                </a:cubicBezTo>
                <a:cubicBezTo>
                  <a:pt x="1702" y="416"/>
                  <a:pt x="1702" y="417"/>
                  <a:pt x="1699" y="416"/>
                </a:cubicBezTo>
                <a:cubicBezTo>
                  <a:pt x="1696" y="415"/>
                  <a:pt x="1691" y="415"/>
                  <a:pt x="1689" y="415"/>
                </a:cubicBezTo>
                <a:cubicBezTo>
                  <a:pt x="1686" y="415"/>
                  <a:pt x="1678" y="413"/>
                  <a:pt x="1678" y="413"/>
                </a:cubicBezTo>
                <a:cubicBezTo>
                  <a:pt x="1678" y="413"/>
                  <a:pt x="1672" y="414"/>
                  <a:pt x="1672" y="411"/>
                </a:cubicBezTo>
                <a:cubicBezTo>
                  <a:pt x="1671" y="409"/>
                  <a:pt x="1671" y="408"/>
                  <a:pt x="1671" y="407"/>
                </a:cubicBezTo>
                <a:cubicBezTo>
                  <a:pt x="1669" y="407"/>
                  <a:pt x="1666" y="407"/>
                  <a:pt x="1666" y="407"/>
                </a:cubicBezTo>
                <a:cubicBezTo>
                  <a:pt x="1666" y="406"/>
                  <a:pt x="1666" y="406"/>
                  <a:pt x="1665" y="405"/>
                </a:cubicBezTo>
                <a:cubicBezTo>
                  <a:pt x="1667" y="404"/>
                  <a:pt x="1667" y="404"/>
                  <a:pt x="1667" y="404"/>
                </a:cubicBezTo>
                <a:cubicBezTo>
                  <a:pt x="1669" y="406"/>
                  <a:pt x="1669" y="406"/>
                  <a:pt x="1669" y="406"/>
                </a:cubicBezTo>
                <a:cubicBezTo>
                  <a:pt x="1669" y="406"/>
                  <a:pt x="1672" y="407"/>
                  <a:pt x="1674" y="406"/>
                </a:cubicBezTo>
                <a:cubicBezTo>
                  <a:pt x="1673" y="406"/>
                  <a:pt x="1673" y="405"/>
                  <a:pt x="1673" y="405"/>
                </a:cubicBezTo>
                <a:cubicBezTo>
                  <a:pt x="1668" y="400"/>
                  <a:pt x="1668" y="400"/>
                  <a:pt x="1668" y="400"/>
                </a:cubicBezTo>
                <a:cubicBezTo>
                  <a:pt x="1668" y="400"/>
                  <a:pt x="1671" y="398"/>
                  <a:pt x="1671" y="397"/>
                </a:cubicBezTo>
                <a:cubicBezTo>
                  <a:pt x="1672" y="396"/>
                  <a:pt x="1670" y="393"/>
                  <a:pt x="1672" y="391"/>
                </a:cubicBezTo>
                <a:cubicBezTo>
                  <a:pt x="1674" y="390"/>
                  <a:pt x="1677" y="391"/>
                  <a:pt x="1677" y="391"/>
                </a:cubicBezTo>
                <a:cubicBezTo>
                  <a:pt x="1677" y="391"/>
                  <a:pt x="1677" y="389"/>
                  <a:pt x="1677" y="386"/>
                </a:cubicBezTo>
                <a:cubicBezTo>
                  <a:pt x="1676" y="384"/>
                  <a:pt x="1676" y="381"/>
                  <a:pt x="1677" y="379"/>
                </a:cubicBezTo>
                <a:cubicBezTo>
                  <a:pt x="1679" y="377"/>
                  <a:pt x="1681" y="375"/>
                  <a:pt x="1681" y="375"/>
                </a:cubicBezTo>
                <a:cubicBezTo>
                  <a:pt x="1681" y="375"/>
                  <a:pt x="1687" y="377"/>
                  <a:pt x="1686" y="372"/>
                </a:cubicBezTo>
                <a:cubicBezTo>
                  <a:pt x="1686" y="369"/>
                  <a:pt x="1685" y="367"/>
                  <a:pt x="1684" y="366"/>
                </a:cubicBezTo>
                <a:cubicBezTo>
                  <a:pt x="1684" y="366"/>
                  <a:pt x="1684" y="366"/>
                  <a:pt x="1684" y="366"/>
                </a:cubicBezTo>
                <a:cubicBezTo>
                  <a:pt x="1684" y="366"/>
                  <a:pt x="1688" y="364"/>
                  <a:pt x="1689" y="363"/>
                </a:cubicBezTo>
                <a:cubicBezTo>
                  <a:pt x="1691" y="362"/>
                  <a:pt x="1694" y="357"/>
                  <a:pt x="1694" y="357"/>
                </a:cubicBezTo>
                <a:cubicBezTo>
                  <a:pt x="1698" y="355"/>
                  <a:pt x="1698" y="355"/>
                  <a:pt x="1698" y="355"/>
                </a:cubicBezTo>
                <a:cubicBezTo>
                  <a:pt x="1700" y="353"/>
                  <a:pt x="1700" y="353"/>
                  <a:pt x="1700" y="353"/>
                </a:cubicBezTo>
                <a:cubicBezTo>
                  <a:pt x="1702" y="354"/>
                  <a:pt x="1702" y="354"/>
                  <a:pt x="1702" y="354"/>
                </a:cubicBezTo>
                <a:cubicBezTo>
                  <a:pt x="1702" y="354"/>
                  <a:pt x="1707" y="355"/>
                  <a:pt x="1708" y="355"/>
                </a:cubicBezTo>
                <a:cubicBezTo>
                  <a:pt x="1708" y="355"/>
                  <a:pt x="1710" y="353"/>
                  <a:pt x="1710" y="353"/>
                </a:cubicBezTo>
                <a:cubicBezTo>
                  <a:pt x="1707" y="357"/>
                  <a:pt x="1707" y="357"/>
                  <a:pt x="1707" y="357"/>
                </a:cubicBezTo>
                <a:cubicBezTo>
                  <a:pt x="1707" y="357"/>
                  <a:pt x="1704" y="355"/>
                  <a:pt x="1704" y="357"/>
                </a:cubicBezTo>
                <a:cubicBezTo>
                  <a:pt x="1705" y="358"/>
                  <a:pt x="1709" y="359"/>
                  <a:pt x="1709" y="359"/>
                </a:cubicBezTo>
                <a:cubicBezTo>
                  <a:pt x="1716" y="360"/>
                  <a:pt x="1716" y="360"/>
                  <a:pt x="1716" y="360"/>
                </a:cubicBezTo>
                <a:cubicBezTo>
                  <a:pt x="1718" y="360"/>
                  <a:pt x="1718" y="360"/>
                  <a:pt x="1718" y="360"/>
                </a:cubicBezTo>
                <a:cubicBezTo>
                  <a:pt x="1720" y="362"/>
                  <a:pt x="1720" y="362"/>
                  <a:pt x="1720" y="362"/>
                </a:cubicBezTo>
                <a:cubicBezTo>
                  <a:pt x="1720" y="362"/>
                  <a:pt x="1710" y="368"/>
                  <a:pt x="1711" y="368"/>
                </a:cubicBezTo>
                <a:cubicBezTo>
                  <a:pt x="1712" y="369"/>
                  <a:pt x="1720" y="369"/>
                  <a:pt x="1721" y="372"/>
                </a:cubicBezTo>
                <a:cubicBezTo>
                  <a:pt x="1721" y="375"/>
                  <a:pt x="1719" y="378"/>
                  <a:pt x="1720" y="378"/>
                </a:cubicBezTo>
                <a:cubicBezTo>
                  <a:pt x="1721" y="378"/>
                  <a:pt x="1725" y="379"/>
                  <a:pt x="1725" y="379"/>
                </a:cubicBezTo>
                <a:cubicBezTo>
                  <a:pt x="1725" y="379"/>
                  <a:pt x="1728" y="375"/>
                  <a:pt x="1730" y="375"/>
                </a:cubicBezTo>
                <a:cubicBezTo>
                  <a:pt x="1731" y="375"/>
                  <a:pt x="1732" y="376"/>
                  <a:pt x="1734" y="375"/>
                </a:cubicBezTo>
                <a:cubicBezTo>
                  <a:pt x="1736" y="374"/>
                  <a:pt x="1736" y="371"/>
                  <a:pt x="1737" y="371"/>
                </a:cubicBezTo>
                <a:cubicBezTo>
                  <a:pt x="1739" y="371"/>
                  <a:pt x="1740" y="373"/>
                  <a:pt x="1740" y="373"/>
                </a:cubicBezTo>
                <a:cubicBezTo>
                  <a:pt x="1745" y="372"/>
                  <a:pt x="1745" y="372"/>
                  <a:pt x="1745" y="372"/>
                </a:cubicBezTo>
                <a:cubicBezTo>
                  <a:pt x="1745" y="369"/>
                  <a:pt x="1745" y="369"/>
                  <a:pt x="1745" y="369"/>
                </a:cubicBezTo>
                <a:cubicBezTo>
                  <a:pt x="1747" y="368"/>
                  <a:pt x="1747" y="368"/>
                  <a:pt x="1747" y="368"/>
                </a:cubicBezTo>
                <a:cubicBezTo>
                  <a:pt x="1747" y="368"/>
                  <a:pt x="1744" y="366"/>
                  <a:pt x="1742" y="368"/>
                </a:cubicBezTo>
                <a:cubicBezTo>
                  <a:pt x="1741" y="369"/>
                  <a:pt x="1736" y="369"/>
                  <a:pt x="1736" y="369"/>
                </a:cubicBezTo>
                <a:cubicBezTo>
                  <a:pt x="1736" y="369"/>
                  <a:pt x="1732" y="368"/>
                  <a:pt x="1732" y="366"/>
                </a:cubicBezTo>
                <a:cubicBezTo>
                  <a:pt x="1732" y="364"/>
                  <a:pt x="1729" y="364"/>
                  <a:pt x="1729" y="364"/>
                </a:cubicBezTo>
                <a:cubicBezTo>
                  <a:pt x="1727" y="361"/>
                  <a:pt x="1727" y="361"/>
                  <a:pt x="1727" y="361"/>
                </a:cubicBezTo>
                <a:cubicBezTo>
                  <a:pt x="1722" y="361"/>
                  <a:pt x="1722" y="361"/>
                  <a:pt x="1722" y="361"/>
                </a:cubicBezTo>
                <a:cubicBezTo>
                  <a:pt x="1720" y="359"/>
                  <a:pt x="1720" y="359"/>
                  <a:pt x="1720" y="359"/>
                </a:cubicBezTo>
                <a:cubicBezTo>
                  <a:pt x="1724" y="359"/>
                  <a:pt x="1724" y="359"/>
                  <a:pt x="1724" y="359"/>
                </a:cubicBezTo>
                <a:cubicBezTo>
                  <a:pt x="1724" y="359"/>
                  <a:pt x="1727" y="360"/>
                  <a:pt x="1729" y="359"/>
                </a:cubicBezTo>
                <a:cubicBezTo>
                  <a:pt x="1730" y="359"/>
                  <a:pt x="1733" y="356"/>
                  <a:pt x="1733" y="356"/>
                </a:cubicBezTo>
                <a:cubicBezTo>
                  <a:pt x="1735" y="357"/>
                  <a:pt x="1735" y="357"/>
                  <a:pt x="1735" y="357"/>
                </a:cubicBezTo>
                <a:cubicBezTo>
                  <a:pt x="1735" y="357"/>
                  <a:pt x="1738" y="355"/>
                  <a:pt x="1739" y="354"/>
                </a:cubicBezTo>
                <a:cubicBezTo>
                  <a:pt x="1741" y="353"/>
                  <a:pt x="1747" y="353"/>
                  <a:pt x="1747" y="353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4" y="349"/>
                </a:cubicBezTo>
                <a:cubicBezTo>
                  <a:pt x="1755" y="349"/>
                  <a:pt x="1757" y="350"/>
                  <a:pt x="1758" y="349"/>
                </a:cubicBezTo>
                <a:cubicBezTo>
                  <a:pt x="1758" y="349"/>
                  <a:pt x="1758" y="349"/>
                  <a:pt x="1758" y="349"/>
                </a:cubicBezTo>
                <a:cubicBezTo>
                  <a:pt x="1758" y="349"/>
                  <a:pt x="1758" y="349"/>
                  <a:pt x="1759" y="349"/>
                </a:cubicBezTo>
                <a:cubicBezTo>
                  <a:pt x="1761" y="348"/>
                  <a:pt x="1767" y="346"/>
                  <a:pt x="1767" y="348"/>
                </a:cubicBezTo>
                <a:cubicBezTo>
                  <a:pt x="1768" y="350"/>
                  <a:pt x="1763" y="353"/>
                  <a:pt x="1763" y="353"/>
                </a:cubicBezTo>
                <a:cubicBezTo>
                  <a:pt x="1756" y="355"/>
                  <a:pt x="1756" y="355"/>
                  <a:pt x="1756" y="355"/>
                </a:cubicBezTo>
                <a:cubicBezTo>
                  <a:pt x="1762" y="360"/>
                  <a:pt x="1762" y="360"/>
                  <a:pt x="1762" y="360"/>
                </a:cubicBezTo>
                <a:cubicBezTo>
                  <a:pt x="1762" y="360"/>
                  <a:pt x="1757" y="361"/>
                  <a:pt x="1757" y="363"/>
                </a:cubicBezTo>
                <a:cubicBezTo>
                  <a:pt x="1757" y="365"/>
                  <a:pt x="1757" y="367"/>
                  <a:pt x="1757" y="367"/>
                </a:cubicBezTo>
                <a:cubicBezTo>
                  <a:pt x="1757" y="367"/>
                  <a:pt x="1754" y="369"/>
                  <a:pt x="1753" y="369"/>
                </a:cubicBezTo>
                <a:cubicBezTo>
                  <a:pt x="1752" y="369"/>
                  <a:pt x="1749" y="367"/>
                  <a:pt x="1749" y="367"/>
                </a:cubicBezTo>
                <a:cubicBezTo>
                  <a:pt x="1748" y="369"/>
                  <a:pt x="1748" y="369"/>
                  <a:pt x="1748" y="369"/>
                </a:cubicBezTo>
                <a:cubicBezTo>
                  <a:pt x="1748" y="369"/>
                  <a:pt x="1751" y="372"/>
                  <a:pt x="1751" y="372"/>
                </a:cubicBezTo>
                <a:cubicBezTo>
                  <a:pt x="1752" y="372"/>
                  <a:pt x="1754" y="376"/>
                  <a:pt x="1754" y="376"/>
                </a:cubicBezTo>
                <a:cubicBezTo>
                  <a:pt x="1759" y="375"/>
                  <a:pt x="1759" y="375"/>
                  <a:pt x="1759" y="375"/>
                </a:cubicBezTo>
                <a:cubicBezTo>
                  <a:pt x="1759" y="375"/>
                  <a:pt x="1763" y="379"/>
                  <a:pt x="1764" y="379"/>
                </a:cubicBezTo>
                <a:cubicBezTo>
                  <a:pt x="1765" y="379"/>
                  <a:pt x="1768" y="380"/>
                  <a:pt x="1768" y="380"/>
                </a:cubicBezTo>
                <a:cubicBezTo>
                  <a:pt x="1768" y="380"/>
                  <a:pt x="1774" y="387"/>
                  <a:pt x="1776" y="388"/>
                </a:cubicBezTo>
                <a:cubicBezTo>
                  <a:pt x="1777" y="388"/>
                  <a:pt x="1778" y="389"/>
                  <a:pt x="1779" y="389"/>
                </a:cubicBezTo>
                <a:cubicBezTo>
                  <a:pt x="1779" y="389"/>
                  <a:pt x="1779" y="390"/>
                  <a:pt x="1779" y="390"/>
                </a:cubicBezTo>
                <a:cubicBezTo>
                  <a:pt x="1779" y="390"/>
                  <a:pt x="1779" y="390"/>
                  <a:pt x="1779" y="390"/>
                </a:cubicBezTo>
                <a:cubicBezTo>
                  <a:pt x="1779" y="390"/>
                  <a:pt x="1788" y="395"/>
                  <a:pt x="1790" y="396"/>
                </a:cubicBezTo>
                <a:cubicBezTo>
                  <a:pt x="1791" y="396"/>
                  <a:pt x="1794" y="399"/>
                  <a:pt x="1794" y="399"/>
                </a:cubicBezTo>
                <a:cubicBezTo>
                  <a:pt x="1794" y="399"/>
                  <a:pt x="1795" y="405"/>
                  <a:pt x="1795" y="406"/>
                </a:cubicBezTo>
                <a:cubicBezTo>
                  <a:pt x="1795" y="406"/>
                  <a:pt x="1798" y="410"/>
                  <a:pt x="1798" y="410"/>
                </a:cubicBezTo>
                <a:cubicBezTo>
                  <a:pt x="1798" y="410"/>
                  <a:pt x="1797" y="410"/>
                  <a:pt x="1796" y="411"/>
                </a:cubicBezTo>
                <a:close/>
                <a:moveTo>
                  <a:pt x="1835" y="337"/>
                </a:move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lose/>
                <a:moveTo>
                  <a:pt x="1835" y="313"/>
                </a:moveTo>
                <a:cubicBezTo>
                  <a:pt x="1835" y="312"/>
                  <a:pt x="1835" y="312"/>
                  <a:pt x="1834" y="312"/>
                </a:cubicBezTo>
                <a:cubicBezTo>
                  <a:pt x="1835" y="312"/>
                  <a:pt x="1835" y="312"/>
                  <a:pt x="1835" y="313"/>
                </a:cubicBezTo>
                <a:cubicBezTo>
                  <a:pt x="1835" y="313"/>
                  <a:pt x="1835" y="313"/>
                  <a:pt x="1835" y="313"/>
                </a:cubicBezTo>
                <a:close/>
                <a:moveTo>
                  <a:pt x="1908" y="405"/>
                </a:moveTo>
                <a:cubicBezTo>
                  <a:pt x="1908" y="406"/>
                  <a:pt x="1908" y="406"/>
                  <a:pt x="1910" y="409"/>
                </a:cubicBezTo>
                <a:cubicBezTo>
                  <a:pt x="1911" y="411"/>
                  <a:pt x="1919" y="413"/>
                  <a:pt x="1918" y="415"/>
                </a:cubicBezTo>
                <a:cubicBezTo>
                  <a:pt x="1918" y="418"/>
                  <a:pt x="1918" y="419"/>
                  <a:pt x="1916" y="418"/>
                </a:cubicBezTo>
                <a:cubicBezTo>
                  <a:pt x="1915" y="418"/>
                  <a:pt x="1912" y="415"/>
                  <a:pt x="1912" y="416"/>
                </a:cubicBezTo>
                <a:cubicBezTo>
                  <a:pt x="1913" y="417"/>
                  <a:pt x="1912" y="419"/>
                  <a:pt x="1912" y="419"/>
                </a:cubicBezTo>
                <a:cubicBezTo>
                  <a:pt x="1906" y="419"/>
                  <a:pt x="1906" y="419"/>
                  <a:pt x="1906" y="419"/>
                </a:cubicBezTo>
                <a:cubicBezTo>
                  <a:pt x="1904" y="416"/>
                  <a:pt x="1904" y="416"/>
                  <a:pt x="1904" y="416"/>
                </a:cubicBezTo>
                <a:cubicBezTo>
                  <a:pt x="1904" y="418"/>
                  <a:pt x="1904" y="418"/>
                  <a:pt x="1904" y="418"/>
                </a:cubicBezTo>
                <a:cubicBezTo>
                  <a:pt x="1904" y="418"/>
                  <a:pt x="1902" y="415"/>
                  <a:pt x="1900" y="413"/>
                </a:cubicBezTo>
                <a:cubicBezTo>
                  <a:pt x="1899" y="411"/>
                  <a:pt x="1900" y="408"/>
                  <a:pt x="1899" y="408"/>
                </a:cubicBezTo>
                <a:cubicBezTo>
                  <a:pt x="1899" y="408"/>
                  <a:pt x="1899" y="408"/>
                  <a:pt x="1898" y="408"/>
                </a:cubicBezTo>
                <a:cubicBezTo>
                  <a:pt x="1898" y="408"/>
                  <a:pt x="1898" y="408"/>
                  <a:pt x="1898" y="408"/>
                </a:cubicBezTo>
                <a:cubicBezTo>
                  <a:pt x="1899" y="406"/>
                  <a:pt x="1900" y="402"/>
                  <a:pt x="1902" y="402"/>
                </a:cubicBezTo>
                <a:cubicBezTo>
                  <a:pt x="1903" y="402"/>
                  <a:pt x="1904" y="402"/>
                  <a:pt x="1906" y="402"/>
                </a:cubicBezTo>
                <a:cubicBezTo>
                  <a:pt x="1906" y="403"/>
                  <a:pt x="1906" y="403"/>
                  <a:pt x="1906" y="403"/>
                </a:cubicBezTo>
                <a:cubicBezTo>
                  <a:pt x="1906" y="403"/>
                  <a:pt x="1908" y="405"/>
                  <a:pt x="1908" y="405"/>
                </a:cubicBezTo>
                <a:close/>
                <a:moveTo>
                  <a:pt x="1883" y="302"/>
                </a:moveTo>
                <a:cubicBezTo>
                  <a:pt x="1883" y="302"/>
                  <a:pt x="1882" y="302"/>
                  <a:pt x="1882" y="302"/>
                </a:cubicBezTo>
                <a:cubicBezTo>
                  <a:pt x="1882" y="302"/>
                  <a:pt x="1883" y="302"/>
                  <a:pt x="1883" y="302"/>
                </a:cubicBezTo>
                <a:close/>
                <a:moveTo>
                  <a:pt x="1882" y="301"/>
                </a:moveTo>
                <a:cubicBezTo>
                  <a:pt x="1881" y="301"/>
                  <a:pt x="1881" y="301"/>
                  <a:pt x="1881" y="301"/>
                </a:cubicBezTo>
                <a:cubicBezTo>
                  <a:pt x="1881" y="301"/>
                  <a:pt x="1881" y="301"/>
                  <a:pt x="1882" y="301"/>
                </a:cubicBezTo>
                <a:close/>
                <a:moveTo>
                  <a:pt x="1852" y="353"/>
                </a:moveTo>
                <a:cubicBezTo>
                  <a:pt x="1852" y="353"/>
                  <a:pt x="1852" y="353"/>
                  <a:pt x="1852" y="353"/>
                </a:cubicBezTo>
                <a:cubicBezTo>
                  <a:pt x="1852" y="353"/>
                  <a:pt x="1852" y="353"/>
                  <a:pt x="1851" y="353"/>
                </a:cubicBezTo>
                <a:cubicBezTo>
                  <a:pt x="1852" y="353"/>
                  <a:pt x="1852" y="353"/>
                  <a:pt x="1852" y="353"/>
                </a:cubicBezTo>
                <a:close/>
                <a:moveTo>
                  <a:pt x="1851" y="347"/>
                </a:moveTo>
                <a:cubicBezTo>
                  <a:pt x="1851" y="347"/>
                  <a:pt x="1851" y="347"/>
                  <a:pt x="1851" y="347"/>
                </a:cubicBezTo>
                <a:cubicBezTo>
                  <a:pt x="1850" y="352"/>
                  <a:pt x="1850" y="352"/>
                  <a:pt x="1850" y="352"/>
                </a:cubicBezTo>
                <a:cubicBezTo>
                  <a:pt x="1851" y="347"/>
                  <a:pt x="1851" y="347"/>
                  <a:pt x="1851" y="347"/>
                </a:cubicBezTo>
                <a:cubicBezTo>
                  <a:pt x="1851" y="347"/>
                  <a:pt x="1851" y="347"/>
                  <a:pt x="1851" y="347"/>
                </a:cubicBezTo>
                <a:close/>
                <a:moveTo>
                  <a:pt x="1845" y="313"/>
                </a:move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5" y="312"/>
                  <a:pt x="1845" y="312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4" y="312"/>
                  <a:pt x="1844" y="312"/>
                </a:cubicBezTo>
                <a:cubicBezTo>
                  <a:pt x="1844" y="312"/>
                  <a:pt x="1844" y="312"/>
                  <a:pt x="1845" y="312"/>
                </a:cubicBezTo>
                <a:close/>
                <a:moveTo>
                  <a:pt x="1844" y="311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1"/>
                </a:cubicBezTo>
                <a:cubicBezTo>
                  <a:pt x="1844" y="311"/>
                  <a:pt x="1844" y="311"/>
                  <a:pt x="1844" y="311"/>
                </a:cubicBezTo>
                <a:close/>
                <a:moveTo>
                  <a:pt x="1868" y="446"/>
                </a:moveTo>
                <a:cubicBezTo>
                  <a:pt x="1868" y="446"/>
                  <a:pt x="1868" y="447"/>
                  <a:pt x="1869" y="447"/>
                </a:cubicBezTo>
                <a:cubicBezTo>
                  <a:pt x="1868" y="447"/>
                  <a:pt x="1868" y="446"/>
                  <a:pt x="1868" y="446"/>
                </a:cubicBezTo>
                <a:close/>
                <a:moveTo>
                  <a:pt x="1919" y="463"/>
                </a:moveTo>
                <a:cubicBezTo>
                  <a:pt x="1917" y="464"/>
                  <a:pt x="1914" y="462"/>
                  <a:pt x="1914" y="462"/>
                </a:cubicBezTo>
                <a:cubicBezTo>
                  <a:pt x="1914" y="462"/>
                  <a:pt x="1909" y="463"/>
                  <a:pt x="1906" y="464"/>
                </a:cubicBezTo>
                <a:cubicBezTo>
                  <a:pt x="1904" y="465"/>
                  <a:pt x="1902" y="466"/>
                  <a:pt x="1901" y="466"/>
                </a:cubicBezTo>
                <a:cubicBezTo>
                  <a:pt x="1899" y="466"/>
                  <a:pt x="1897" y="464"/>
                  <a:pt x="1895" y="464"/>
                </a:cubicBezTo>
                <a:cubicBezTo>
                  <a:pt x="1893" y="464"/>
                  <a:pt x="1890" y="464"/>
                  <a:pt x="1888" y="462"/>
                </a:cubicBezTo>
                <a:cubicBezTo>
                  <a:pt x="1885" y="460"/>
                  <a:pt x="1883" y="456"/>
                  <a:pt x="1883" y="456"/>
                </a:cubicBezTo>
                <a:cubicBezTo>
                  <a:pt x="1883" y="456"/>
                  <a:pt x="1877" y="456"/>
                  <a:pt x="1876" y="456"/>
                </a:cubicBezTo>
                <a:cubicBezTo>
                  <a:pt x="1876" y="456"/>
                  <a:pt x="1873" y="454"/>
                  <a:pt x="1872" y="453"/>
                </a:cubicBezTo>
                <a:cubicBezTo>
                  <a:pt x="1871" y="451"/>
                  <a:pt x="1869" y="449"/>
                  <a:pt x="1869" y="447"/>
                </a:cubicBezTo>
                <a:cubicBezTo>
                  <a:pt x="1869" y="446"/>
                  <a:pt x="1870" y="444"/>
                  <a:pt x="1869" y="443"/>
                </a:cubicBezTo>
                <a:cubicBezTo>
                  <a:pt x="1869" y="442"/>
                  <a:pt x="1867" y="441"/>
                  <a:pt x="1867" y="441"/>
                </a:cubicBezTo>
                <a:cubicBezTo>
                  <a:pt x="1869" y="440"/>
                  <a:pt x="1869" y="440"/>
                  <a:pt x="1869" y="440"/>
                </a:cubicBezTo>
                <a:cubicBezTo>
                  <a:pt x="1869" y="436"/>
                  <a:pt x="1869" y="436"/>
                  <a:pt x="1869" y="436"/>
                </a:cubicBezTo>
                <a:cubicBezTo>
                  <a:pt x="1869" y="436"/>
                  <a:pt x="1872" y="439"/>
                  <a:pt x="1873" y="437"/>
                </a:cubicBezTo>
                <a:cubicBezTo>
                  <a:pt x="1874" y="436"/>
                  <a:pt x="1871" y="433"/>
                  <a:pt x="1871" y="433"/>
                </a:cubicBezTo>
                <a:cubicBezTo>
                  <a:pt x="1871" y="431"/>
                  <a:pt x="1871" y="431"/>
                  <a:pt x="1871" y="431"/>
                </a:cubicBezTo>
                <a:cubicBezTo>
                  <a:pt x="1871" y="426"/>
                  <a:pt x="1871" y="426"/>
                  <a:pt x="1871" y="426"/>
                </a:cubicBezTo>
                <a:cubicBezTo>
                  <a:pt x="1873" y="426"/>
                  <a:pt x="1873" y="426"/>
                  <a:pt x="1873" y="426"/>
                </a:cubicBezTo>
                <a:cubicBezTo>
                  <a:pt x="1875" y="424"/>
                  <a:pt x="1875" y="424"/>
                  <a:pt x="1875" y="424"/>
                </a:cubicBezTo>
                <a:cubicBezTo>
                  <a:pt x="1880" y="425"/>
                  <a:pt x="1880" y="425"/>
                  <a:pt x="1880" y="425"/>
                </a:cubicBezTo>
                <a:cubicBezTo>
                  <a:pt x="1880" y="425"/>
                  <a:pt x="1879" y="424"/>
                  <a:pt x="1879" y="422"/>
                </a:cubicBezTo>
                <a:cubicBezTo>
                  <a:pt x="1878" y="420"/>
                  <a:pt x="1874" y="422"/>
                  <a:pt x="1872" y="422"/>
                </a:cubicBezTo>
                <a:cubicBezTo>
                  <a:pt x="1870" y="422"/>
                  <a:pt x="1870" y="418"/>
                  <a:pt x="1870" y="418"/>
                </a:cubicBezTo>
                <a:cubicBezTo>
                  <a:pt x="1866" y="414"/>
                  <a:pt x="1866" y="414"/>
                  <a:pt x="1866" y="414"/>
                </a:cubicBezTo>
                <a:cubicBezTo>
                  <a:pt x="1866" y="413"/>
                  <a:pt x="1866" y="413"/>
                  <a:pt x="1866" y="413"/>
                </a:cubicBezTo>
                <a:cubicBezTo>
                  <a:pt x="1860" y="407"/>
                  <a:pt x="1860" y="407"/>
                  <a:pt x="1860" y="407"/>
                </a:cubicBezTo>
                <a:cubicBezTo>
                  <a:pt x="1858" y="406"/>
                  <a:pt x="1858" y="406"/>
                  <a:pt x="1858" y="406"/>
                </a:cubicBezTo>
                <a:cubicBezTo>
                  <a:pt x="1858" y="406"/>
                  <a:pt x="1857" y="403"/>
                  <a:pt x="1856" y="402"/>
                </a:cubicBezTo>
                <a:cubicBezTo>
                  <a:pt x="1855" y="400"/>
                  <a:pt x="1851" y="399"/>
                  <a:pt x="1851" y="399"/>
                </a:cubicBezTo>
                <a:cubicBezTo>
                  <a:pt x="1851" y="396"/>
                  <a:pt x="1851" y="396"/>
                  <a:pt x="1851" y="396"/>
                </a:cubicBezTo>
                <a:cubicBezTo>
                  <a:pt x="1851" y="396"/>
                  <a:pt x="1849" y="395"/>
                  <a:pt x="1848" y="393"/>
                </a:cubicBezTo>
                <a:cubicBezTo>
                  <a:pt x="1846" y="391"/>
                  <a:pt x="1848" y="388"/>
                  <a:pt x="1847" y="385"/>
                </a:cubicBezTo>
                <a:cubicBezTo>
                  <a:pt x="1846" y="382"/>
                  <a:pt x="1842" y="379"/>
                  <a:pt x="1842" y="379"/>
                </a:cubicBezTo>
                <a:cubicBezTo>
                  <a:pt x="1842" y="379"/>
                  <a:pt x="1840" y="379"/>
                  <a:pt x="1838" y="378"/>
                </a:cubicBezTo>
                <a:cubicBezTo>
                  <a:pt x="1836" y="377"/>
                  <a:pt x="1841" y="373"/>
                  <a:pt x="1841" y="373"/>
                </a:cubicBezTo>
                <a:cubicBezTo>
                  <a:pt x="1841" y="373"/>
                  <a:pt x="1844" y="370"/>
                  <a:pt x="1844" y="368"/>
                </a:cubicBezTo>
                <a:cubicBezTo>
                  <a:pt x="1845" y="367"/>
                  <a:pt x="1842" y="364"/>
                  <a:pt x="1842" y="364"/>
                </a:cubicBezTo>
                <a:cubicBezTo>
                  <a:pt x="1842" y="364"/>
                  <a:pt x="1845" y="365"/>
                  <a:pt x="1846" y="365"/>
                </a:cubicBezTo>
                <a:cubicBezTo>
                  <a:pt x="1846" y="365"/>
                  <a:pt x="1849" y="365"/>
                  <a:pt x="1849" y="364"/>
                </a:cubicBezTo>
                <a:cubicBezTo>
                  <a:pt x="1850" y="362"/>
                  <a:pt x="1851" y="364"/>
                  <a:pt x="1853" y="363"/>
                </a:cubicBezTo>
                <a:cubicBezTo>
                  <a:pt x="1856" y="363"/>
                  <a:pt x="1852" y="360"/>
                  <a:pt x="1852" y="360"/>
                </a:cubicBezTo>
                <a:cubicBezTo>
                  <a:pt x="1852" y="360"/>
                  <a:pt x="1856" y="360"/>
                  <a:pt x="1856" y="360"/>
                </a:cubicBezTo>
                <a:cubicBezTo>
                  <a:pt x="1857" y="360"/>
                  <a:pt x="1856" y="358"/>
                  <a:pt x="1856" y="357"/>
                </a:cubicBezTo>
                <a:cubicBezTo>
                  <a:pt x="1856" y="357"/>
                  <a:pt x="1857" y="358"/>
                  <a:pt x="1857" y="358"/>
                </a:cubicBezTo>
                <a:cubicBezTo>
                  <a:pt x="1858" y="356"/>
                  <a:pt x="1858" y="356"/>
                  <a:pt x="1858" y="356"/>
                </a:cubicBezTo>
                <a:cubicBezTo>
                  <a:pt x="1858" y="356"/>
                  <a:pt x="1860" y="356"/>
                  <a:pt x="1861" y="355"/>
                </a:cubicBezTo>
                <a:cubicBezTo>
                  <a:pt x="1863" y="353"/>
                  <a:pt x="1873" y="349"/>
                  <a:pt x="1874" y="349"/>
                </a:cubicBezTo>
                <a:cubicBezTo>
                  <a:pt x="1876" y="350"/>
                  <a:pt x="1880" y="353"/>
                  <a:pt x="1882" y="353"/>
                </a:cubicBezTo>
                <a:cubicBezTo>
                  <a:pt x="1884" y="353"/>
                  <a:pt x="1886" y="349"/>
                  <a:pt x="1890" y="355"/>
                </a:cubicBezTo>
                <a:cubicBezTo>
                  <a:pt x="1894" y="360"/>
                  <a:pt x="1891" y="361"/>
                  <a:pt x="1890" y="363"/>
                </a:cubicBezTo>
                <a:cubicBezTo>
                  <a:pt x="1890" y="365"/>
                  <a:pt x="1894" y="368"/>
                  <a:pt x="1896" y="369"/>
                </a:cubicBezTo>
                <a:cubicBezTo>
                  <a:pt x="1897" y="369"/>
                  <a:pt x="1899" y="366"/>
                  <a:pt x="1901" y="365"/>
                </a:cubicBezTo>
                <a:cubicBezTo>
                  <a:pt x="1903" y="365"/>
                  <a:pt x="1903" y="367"/>
                  <a:pt x="1903" y="369"/>
                </a:cubicBezTo>
                <a:cubicBezTo>
                  <a:pt x="1903" y="371"/>
                  <a:pt x="1906" y="373"/>
                  <a:pt x="1906" y="373"/>
                </a:cubicBezTo>
                <a:cubicBezTo>
                  <a:pt x="1900" y="373"/>
                  <a:pt x="1900" y="373"/>
                  <a:pt x="1900" y="373"/>
                </a:cubicBezTo>
                <a:cubicBezTo>
                  <a:pt x="1900" y="373"/>
                  <a:pt x="1900" y="377"/>
                  <a:pt x="1898" y="375"/>
                </a:cubicBezTo>
                <a:cubicBezTo>
                  <a:pt x="1895" y="373"/>
                  <a:pt x="1900" y="370"/>
                  <a:pt x="1900" y="370"/>
                </a:cubicBezTo>
                <a:cubicBezTo>
                  <a:pt x="1900" y="370"/>
                  <a:pt x="1890" y="370"/>
                  <a:pt x="1889" y="369"/>
                </a:cubicBezTo>
                <a:cubicBezTo>
                  <a:pt x="1887" y="369"/>
                  <a:pt x="1878" y="367"/>
                  <a:pt x="1878" y="367"/>
                </a:cubicBezTo>
                <a:cubicBezTo>
                  <a:pt x="1880" y="372"/>
                  <a:pt x="1880" y="372"/>
                  <a:pt x="1880" y="372"/>
                </a:cubicBezTo>
                <a:cubicBezTo>
                  <a:pt x="1880" y="372"/>
                  <a:pt x="1876" y="370"/>
                  <a:pt x="1875" y="373"/>
                </a:cubicBezTo>
                <a:cubicBezTo>
                  <a:pt x="1874" y="376"/>
                  <a:pt x="1882" y="376"/>
                  <a:pt x="1881" y="378"/>
                </a:cubicBezTo>
                <a:cubicBezTo>
                  <a:pt x="1881" y="380"/>
                  <a:pt x="1871" y="374"/>
                  <a:pt x="1870" y="377"/>
                </a:cubicBezTo>
                <a:cubicBezTo>
                  <a:pt x="1869" y="379"/>
                  <a:pt x="1876" y="381"/>
                  <a:pt x="1876" y="381"/>
                </a:cubicBezTo>
                <a:cubicBezTo>
                  <a:pt x="1876" y="381"/>
                  <a:pt x="1876" y="383"/>
                  <a:pt x="1877" y="384"/>
                </a:cubicBezTo>
                <a:cubicBezTo>
                  <a:pt x="1879" y="386"/>
                  <a:pt x="1881" y="389"/>
                  <a:pt x="1881" y="389"/>
                </a:cubicBezTo>
                <a:cubicBezTo>
                  <a:pt x="1881" y="392"/>
                  <a:pt x="1881" y="392"/>
                  <a:pt x="1881" y="392"/>
                </a:cubicBezTo>
                <a:cubicBezTo>
                  <a:pt x="1886" y="393"/>
                  <a:pt x="1886" y="393"/>
                  <a:pt x="1886" y="393"/>
                </a:cubicBezTo>
                <a:cubicBezTo>
                  <a:pt x="1887" y="396"/>
                  <a:pt x="1887" y="396"/>
                  <a:pt x="1887" y="396"/>
                </a:cubicBezTo>
                <a:cubicBezTo>
                  <a:pt x="1887" y="396"/>
                  <a:pt x="1894" y="396"/>
                  <a:pt x="1897" y="398"/>
                </a:cubicBezTo>
                <a:cubicBezTo>
                  <a:pt x="1899" y="401"/>
                  <a:pt x="1894" y="403"/>
                  <a:pt x="1894" y="405"/>
                </a:cubicBezTo>
                <a:cubicBezTo>
                  <a:pt x="1893" y="407"/>
                  <a:pt x="1896" y="407"/>
                  <a:pt x="1896" y="407"/>
                </a:cubicBezTo>
                <a:cubicBezTo>
                  <a:pt x="1895" y="409"/>
                  <a:pt x="1898" y="412"/>
                  <a:pt x="1898" y="412"/>
                </a:cubicBezTo>
                <a:cubicBezTo>
                  <a:pt x="1898" y="412"/>
                  <a:pt x="1902" y="417"/>
                  <a:pt x="1902" y="418"/>
                </a:cubicBezTo>
                <a:cubicBezTo>
                  <a:pt x="1902" y="418"/>
                  <a:pt x="1900" y="421"/>
                  <a:pt x="1900" y="422"/>
                </a:cubicBezTo>
                <a:cubicBezTo>
                  <a:pt x="1900" y="423"/>
                  <a:pt x="1904" y="428"/>
                  <a:pt x="1904" y="428"/>
                </a:cubicBezTo>
                <a:cubicBezTo>
                  <a:pt x="1908" y="428"/>
                  <a:pt x="1908" y="428"/>
                  <a:pt x="1908" y="428"/>
                </a:cubicBezTo>
                <a:cubicBezTo>
                  <a:pt x="1908" y="431"/>
                  <a:pt x="1908" y="431"/>
                  <a:pt x="1908" y="431"/>
                </a:cubicBezTo>
                <a:cubicBezTo>
                  <a:pt x="1911" y="433"/>
                  <a:pt x="1911" y="433"/>
                  <a:pt x="1911" y="433"/>
                </a:cubicBezTo>
                <a:cubicBezTo>
                  <a:pt x="1911" y="433"/>
                  <a:pt x="1905" y="432"/>
                  <a:pt x="1906" y="434"/>
                </a:cubicBezTo>
                <a:cubicBezTo>
                  <a:pt x="1907" y="436"/>
                  <a:pt x="1909" y="435"/>
                  <a:pt x="1910" y="436"/>
                </a:cubicBezTo>
                <a:cubicBezTo>
                  <a:pt x="1912" y="436"/>
                  <a:pt x="1914" y="439"/>
                  <a:pt x="1914" y="439"/>
                </a:cubicBezTo>
                <a:cubicBezTo>
                  <a:pt x="1915" y="446"/>
                  <a:pt x="1915" y="446"/>
                  <a:pt x="1915" y="446"/>
                </a:cubicBezTo>
                <a:cubicBezTo>
                  <a:pt x="1916" y="447"/>
                  <a:pt x="1916" y="447"/>
                  <a:pt x="1916" y="447"/>
                </a:cubicBezTo>
                <a:cubicBezTo>
                  <a:pt x="1916" y="447"/>
                  <a:pt x="1915" y="450"/>
                  <a:pt x="1915" y="451"/>
                </a:cubicBezTo>
                <a:cubicBezTo>
                  <a:pt x="1915" y="453"/>
                  <a:pt x="1917" y="457"/>
                  <a:pt x="1917" y="457"/>
                </a:cubicBezTo>
                <a:cubicBezTo>
                  <a:pt x="1917" y="457"/>
                  <a:pt x="1922" y="463"/>
                  <a:pt x="1919" y="463"/>
                </a:cubicBezTo>
                <a:close/>
                <a:moveTo>
                  <a:pt x="1964" y="358"/>
                </a:moveTo>
                <a:cubicBezTo>
                  <a:pt x="1963" y="359"/>
                  <a:pt x="1960" y="360"/>
                  <a:pt x="1960" y="360"/>
                </a:cubicBezTo>
                <a:cubicBezTo>
                  <a:pt x="1960" y="360"/>
                  <a:pt x="1959" y="361"/>
                  <a:pt x="1958" y="362"/>
                </a:cubicBezTo>
                <a:cubicBezTo>
                  <a:pt x="1957" y="363"/>
                  <a:pt x="1954" y="362"/>
                  <a:pt x="1953" y="362"/>
                </a:cubicBezTo>
                <a:cubicBezTo>
                  <a:pt x="1952" y="363"/>
                  <a:pt x="1952" y="365"/>
                  <a:pt x="1952" y="365"/>
                </a:cubicBezTo>
                <a:cubicBezTo>
                  <a:pt x="1952" y="365"/>
                  <a:pt x="1956" y="366"/>
                  <a:pt x="1956" y="367"/>
                </a:cubicBezTo>
                <a:cubicBezTo>
                  <a:pt x="1957" y="367"/>
                  <a:pt x="1958" y="369"/>
                  <a:pt x="1957" y="371"/>
                </a:cubicBezTo>
                <a:cubicBezTo>
                  <a:pt x="1956" y="371"/>
                  <a:pt x="1957" y="373"/>
                  <a:pt x="1957" y="374"/>
                </a:cubicBezTo>
                <a:cubicBezTo>
                  <a:pt x="1958" y="376"/>
                  <a:pt x="1959" y="378"/>
                  <a:pt x="1958" y="379"/>
                </a:cubicBezTo>
                <a:cubicBezTo>
                  <a:pt x="1957" y="381"/>
                  <a:pt x="1957" y="382"/>
                  <a:pt x="1957" y="382"/>
                </a:cubicBezTo>
                <a:cubicBezTo>
                  <a:pt x="1957" y="382"/>
                  <a:pt x="1954" y="382"/>
                  <a:pt x="1952" y="381"/>
                </a:cubicBezTo>
                <a:cubicBezTo>
                  <a:pt x="1951" y="380"/>
                  <a:pt x="1951" y="378"/>
                  <a:pt x="1951" y="378"/>
                </a:cubicBezTo>
                <a:cubicBezTo>
                  <a:pt x="1950" y="374"/>
                  <a:pt x="1950" y="374"/>
                  <a:pt x="1950" y="374"/>
                </a:cubicBezTo>
                <a:cubicBezTo>
                  <a:pt x="1951" y="371"/>
                  <a:pt x="1951" y="371"/>
                  <a:pt x="1951" y="371"/>
                </a:cubicBezTo>
                <a:cubicBezTo>
                  <a:pt x="1951" y="369"/>
                  <a:pt x="1951" y="369"/>
                  <a:pt x="1951" y="369"/>
                </a:cubicBezTo>
                <a:cubicBezTo>
                  <a:pt x="1951" y="369"/>
                  <a:pt x="1949" y="366"/>
                  <a:pt x="1948" y="365"/>
                </a:cubicBezTo>
                <a:cubicBezTo>
                  <a:pt x="1946" y="364"/>
                  <a:pt x="1946" y="363"/>
                  <a:pt x="1946" y="363"/>
                </a:cubicBezTo>
                <a:cubicBezTo>
                  <a:pt x="1944" y="366"/>
                  <a:pt x="1944" y="366"/>
                  <a:pt x="1944" y="366"/>
                </a:cubicBezTo>
                <a:cubicBezTo>
                  <a:pt x="1944" y="368"/>
                  <a:pt x="1944" y="368"/>
                  <a:pt x="1944" y="368"/>
                </a:cubicBezTo>
                <a:cubicBezTo>
                  <a:pt x="1942" y="370"/>
                  <a:pt x="1942" y="370"/>
                  <a:pt x="1942" y="370"/>
                </a:cubicBezTo>
                <a:cubicBezTo>
                  <a:pt x="1942" y="370"/>
                  <a:pt x="1945" y="372"/>
                  <a:pt x="1945" y="374"/>
                </a:cubicBezTo>
                <a:cubicBezTo>
                  <a:pt x="1945" y="376"/>
                  <a:pt x="1944" y="376"/>
                  <a:pt x="1944" y="376"/>
                </a:cubicBezTo>
                <a:cubicBezTo>
                  <a:pt x="1944" y="376"/>
                  <a:pt x="1945" y="378"/>
                  <a:pt x="1942" y="378"/>
                </a:cubicBezTo>
                <a:cubicBezTo>
                  <a:pt x="1940" y="379"/>
                  <a:pt x="1941" y="374"/>
                  <a:pt x="1939" y="374"/>
                </a:cubicBezTo>
                <a:cubicBezTo>
                  <a:pt x="1938" y="374"/>
                  <a:pt x="1941" y="371"/>
                  <a:pt x="1941" y="371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3" y="364"/>
                  <a:pt x="1943" y="362"/>
                </a:cubicBezTo>
                <a:cubicBezTo>
                  <a:pt x="1943" y="360"/>
                  <a:pt x="1947" y="361"/>
                  <a:pt x="1947" y="361"/>
                </a:cubicBezTo>
                <a:cubicBezTo>
                  <a:pt x="1948" y="364"/>
                  <a:pt x="1948" y="364"/>
                  <a:pt x="1948" y="364"/>
                </a:cubicBezTo>
                <a:cubicBezTo>
                  <a:pt x="1948" y="364"/>
                  <a:pt x="1951" y="363"/>
                  <a:pt x="1951" y="362"/>
                </a:cubicBezTo>
                <a:cubicBezTo>
                  <a:pt x="1952" y="362"/>
                  <a:pt x="1948" y="358"/>
                  <a:pt x="1948" y="358"/>
                </a:cubicBezTo>
                <a:cubicBezTo>
                  <a:pt x="1951" y="358"/>
                  <a:pt x="1951" y="358"/>
                  <a:pt x="1951" y="358"/>
                </a:cubicBezTo>
                <a:cubicBezTo>
                  <a:pt x="1952" y="360"/>
                  <a:pt x="1952" y="360"/>
                  <a:pt x="1952" y="360"/>
                </a:cubicBezTo>
                <a:cubicBezTo>
                  <a:pt x="1956" y="360"/>
                  <a:pt x="1956" y="360"/>
                  <a:pt x="1956" y="360"/>
                </a:cubicBezTo>
                <a:cubicBezTo>
                  <a:pt x="1956" y="360"/>
                  <a:pt x="1959" y="360"/>
                  <a:pt x="1959" y="360"/>
                </a:cubicBezTo>
                <a:cubicBezTo>
                  <a:pt x="1960" y="359"/>
                  <a:pt x="1959" y="358"/>
                  <a:pt x="1958" y="358"/>
                </a:cubicBezTo>
                <a:cubicBezTo>
                  <a:pt x="1957" y="358"/>
                  <a:pt x="1956" y="357"/>
                  <a:pt x="1956" y="357"/>
                </a:cubicBezTo>
                <a:cubicBezTo>
                  <a:pt x="1956" y="357"/>
                  <a:pt x="1952" y="358"/>
                  <a:pt x="1952" y="356"/>
                </a:cubicBezTo>
                <a:cubicBezTo>
                  <a:pt x="1951" y="353"/>
                  <a:pt x="1956" y="354"/>
                  <a:pt x="1956" y="354"/>
                </a:cubicBezTo>
                <a:cubicBezTo>
                  <a:pt x="1958" y="352"/>
                  <a:pt x="1958" y="352"/>
                  <a:pt x="1958" y="352"/>
                </a:cubicBezTo>
                <a:cubicBezTo>
                  <a:pt x="1958" y="352"/>
                  <a:pt x="1960" y="356"/>
                  <a:pt x="1961" y="356"/>
                </a:cubicBezTo>
                <a:cubicBezTo>
                  <a:pt x="1962" y="356"/>
                  <a:pt x="1963" y="355"/>
                  <a:pt x="1963" y="355"/>
                </a:cubicBezTo>
                <a:cubicBezTo>
                  <a:pt x="1963" y="355"/>
                  <a:pt x="1965" y="357"/>
                  <a:pt x="1964" y="358"/>
                </a:cubicBezTo>
                <a:close/>
                <a:moveTo>
                  <a:pt x="2119" y="357"/>
                </a:moveTo>
                <a:cubicBezTo>
                  <a:pt x="2118" y="358"/>
                  <a:pt x="2115" y="357"/>
                  <a:pt x="2115" y="357"/>
                </a:cubicBezTo>
                <a:cubicBezTo>
                  <a:pt x="2115" y="357"/>
                  <a:pt x="2114" y="358"/>
                  <a:pt x="2113" y="358"/>
                </a:cubicBezTo>
                <a:cubicBezTo>
                  <a:pt x="2112" y="359"/>
                  <a:pt x="2110" y="356"/>
                  <a:pt x="2110" y="356"/>
                </a:cubicBezTo>
                <a:cubicBezTo>
                  <a:pt x="2106" y="357"/>
                  <a:pt x="2106" y="357"/>
                  <a:pt x="2106" y="357"/>
                </a:cubicBezTo>
                <a:cubicBezTo>
                  <a:pt x="2101" y="356"/>
                  <a:pt x="2101" y="356"/>
                  <a:pt x="2101" y="356"/>
                </a:cubicBezTo>
                <a:cubicBezTo>
                  <a:pt x="2099" y="356"/>
                  <a:pt x="2099" y="356"/>
                  <a:pt x="2099" y="356"/>
                </a:cubicBezTo>
                <a:cubicBezTo>
                  <a:pt x="2095" y="355"/>
                  <a:pt x="2095" y="355"/>
                  <a:pt x="2095" y="355"/>
                </a:cubicBezTo>
                <a:cubicBezTo>
                  <a:pt x="2095" y="355"/>
                  <a:pt x="2093" y="356"/>
                  <a:pt x="2090" y="356"/>
                </a:cubicBezTo>
                <a:cubicBezTo>
                  <a:pt x="2088" y="356"/>
                  <a:pt x="2088" y="354"/>
                  <a:pt x="2088" y="354"/>
                </a:cubicBezTo>
                <a:cubicBezTo>
                  <a:pt x="2088" y="354"/>
                  <a:pt x="2086" y="356"/>
                  <a:pt x="2085" y="356"/>
                </a:cubicBezTo>
                <a:cubicBezTo>
                  <a:pt x="2084" y="357"/>
                  <a:pt x="2084" y="359"/>
                  <a:pt x="2083" y="361"/>
                </a:cubicBezTo>
                <a:cubicBezTo>
                  <a:pt x="2081" y="362"/>
                  <a:pt x="2080" y="362"/>
                  <a:pt x="2080" y="362"/>
                </a:cubicBezTo>
                <a:cubicBezTo>
                  <a:pt x="2080" y="365"/>
                  <a:pt x="2080" y="365"/>
                  <a:pt x="2080" y="365"/>
                </a:cubicBezTo>
                <a:cubicBezTo>
                  <a:pt x="2079" y="367"/>
                  <a:pt x="2079" y="367"/>
                  <a:pt x="2079" y="367"/>
                </a:cubicBezTo>
                <a:cubicBezTo>
                  <a:pt x="2081" y="369"/>
                  <a:pt x="2081" y="369"/>
                  <a:pt x="2081" y="369"/>
                </a:cubicBezTo>
                <a:cubicBezTo>
                  <a:pt x="2081" y="373"/>
                  <a:pt x="2081" y="373"/>
                  <a:pt x="2081" y="373"/>
                </a:cubicBezTo>
                <a:cubicBezTo>
                  <a:pt x="2080" y="373"/>
                  <a:pt x="2074" y="365"/>
                  <a:pt x="2074" y="365"/>
                </a:cubicBezTo>
                <a:cubicBezTo>
                  <a:pt x="2074" y="365"/>
                  <a:pt x="2073" y="362"/>
                  <a:pt x="2073" y="360"/>
                </a:cubicBezTo>
                <a:cubicBezTo>
                  <a:pt x="2073" y="358"/>
                  <a:pt x="2077" y="357"/>
                  <a:pt x="2077" y="357"/>
                </a:cubicBezTo>
                <a:cubicBezTo>
                  <a:pt x="2078" y="357"/>
                  <a:pt x="2078" y="354"/>
                  <a:pt x="2079" y="353"/>
                </a:cubicBezTo>
                <a:cubicBezTo>
                  <a:pt x="2080" y="352"/>
                  <a:pt x="2086" y="353"/>
                  <a:pt x="2086" y="353"/>
                </a:cubicBezTo>
                <a:cubicBezTo>
                  <a:pt x="2087" y="353"/>
                  <a:pt x="2089" y="352"/>
                  <a:pt x="2092" y="352"/>
                </a:cubicBezTo>
                <a:cubicBezTo>
                  <a:pt x="2094" y="352"/>
                  <a:pt x="2096" y="354"/>
                  <a:pt x="2098" y="354"/>
                </a:cubicBezTo>
                <a:cubicBezTo>
                  <a:pt x="2099" y="354"/>
                  <a:pt x="2100" y="355"/>
                  <a:pt x="2103" y="355"/>
                </a:cubicBezTo>
                <a:cubicBezTo>
                  <a:pt x="2106" y="356"/>
                  <a:pt x="2105" y="353"/>
                  <a:pt x="2107" y="353"/>
                </a:cubicBezTo>
                <a:cubicBezTo>
                  <a:pt x="2110" y="353"/>
                  <a:pt x="2114" y="354"/>
                  <a:pt x="2114" y="354"/>
                </a:cubicBezTo>
                <a:cubicBezTo>
                  <a:pt x="2114" y="354"/>
                  <a:pt x="2116" y="352"/>
                  <a:pt x="2119" y="352"/>
                </a:cubicBezTo>
                <a:cubicBezTo>
                  <a:pt x="2122" y="352"/>
                  <a:pt x="2120" y="356"/>
                  <a:pt x="2119" y="357"/>
                </a:cubicBezTo>
                <a:close/>
                <a:moveTo>
                  <a:pt x="2339" y="282"/>
                </a:moveTo>
                <a:cubicBezTo>
                  <a:pt x="2339" y="282"/>
                  <a:pt x="2339" y="285"/>
                  <a:pt x="2339" y="286"/>
                </a:cubicBezTo>
                <a:cubicBezTo>
                  <a:pt x="2338" y="286"/>
                  <a:pt x="2336" y="288"/>
                  <a:pt x="2336" y="288"/>
                </a:cubicBezTo>
                <a:cubicBezTo>
                  <a:pt x="2336" y="288"/>
                  <a:pt x="2333" y="289"/>
                  <a:pt x="2332" y="289"/>
                </a:cubicBezTo>
                <a:cubicBezTo>
                  <a:pt x="2331" y="289"/>
                  <a:pt x="2331" y="292"/>
                  <a:pt x="2331" y="292"/>
                </a:cubicBezTo>
                <a:cubicBezTo>
                  <a:pt x="2331" y="292"/>
                  <a:pt x="2331" y="290"/>
                  <a:pt x="2327" y="292"/>
                </a:cubicBezTo>
                <a:cubicBezTo>
                  <a:pt x="2322" y="293"/>
                  <a:pt x="2329" y="295"/>
                  <a:pt x="2329" y="295"/>
                </a:cubicBezTo>
                <a:cubicBezTo>
                  <a:pt x="2329" y="295"/>
                  <a:pt x="2326" y="297"/>
                  <a:pt x="2326" y="298"/>
                </a:cubicBezTo>
                <a:cubicBezTo>
                  <a:pt x="2326" y="301"/>
                  <a:pt x="2323" y="299"/>
                  <a:pt x="2323" y="299"/>
                </a:cubicBezTo>
                <a:cubicBezTo>
                  <a:pt x="2323" y="299"/>
                  <a:pt x="2322" y="302"/>
                  <a:pt x="2318" y="302"/>
                </a:cubicBezTo>
                <a:cubicBezTo>
                  <a:pt x="2313" y="302"/>
                  <a:pt x="2314" y="301"/>
                  <a:pt x="2314" y="301"/>
                </a:cubicBezTo>
                <a:cubicBezTo>
                  <a:pt x="2309" y="299"/>
                  <a:pt x="2309" y="299"/>
                  <a:pt x="2309" y="299"/>
                </a:cubicBezTo>
                <a:cubicBezTo>
                  <a:pt x="2311" y="298"/>
                  <a:pt x="2311" y="298"/>
                  <a:pt x="2311" y="298"/>
                </a:cubicBezTo>
                <a:cubicBezTo>
                  <a:pt x="2316" y="298"/>
                  <a:pt x="2316" y="298"/>
                  <a:pt x="2316" y="298"/>
                </a:cubicBezTo>
                <a:cubicBezTo>
                  <a:pt x="2316" y="297"/>
                  <a:pt x="2316" y="297"/>
                  <a:pt x="2316" y="297"/>
                </a:cubicBezTo>
                <a:cubicBezTo>
                  <a:pt x="2316" y="297"/>
                  <a:pt x="2319" y="297"/>
                  <a:pt x="2321" y="296"/>
                </a:cubicBezTo>
                <a:cubicBezTo>
                  <a:pt x="2322" y="294"/>
                  <a:pt x="2322" y="290"/>
                  <a:pt x="2322" y="290"/>
                </a:cubicBezTo>
                <a:cubicBezTo>
                  <a:pt x="2322" y="290"/>
                  <a:pt x="2323" y="290"/>
                  <a:pt x="2325" y="290"/>
                </a:cubicBezTo>
                <a:cubicBezTo>
                  <a:pt x="2327" y="289"/>
                  <a:pt x="2327" y="286"/>
                  <a:pt x="2327" y="286"/>
                </a:cubicBezTo>
                <a:cubicBezTo>
                  <a:pt x="2327" y="286"/>
                  <a:pt x="2325" y="285"/>
                  <a:pt x="2326" y="284"/>
                </a:cubicBezTo>
                <a:cubicBezTo>
                  <a:pt x="2326" y="283"/>
                  <a:pt x="2330" y="279"/>
                  <a:pt x="2330" y="279"/>
                </a:cubicBezTo>
                <a:cubicBezTo>
                  <a:pt x="2330" y="277"/>
                  <a:pt x="2330" y="277"/>
                  <a:pt x="2330" y="277"/>
                </a:cubicBezTo>
                <a:cubicBezTo>
                  <a:pt x="2333" y="274"/>
                  <a:pt x="2333" y="274"/>
                  <a:pt x="2333" y="274"/>
                </a:cubicBezTo>
                <a:cubicBezTo>
                  <a:pt x="2331" y="272"/>
                  <a:pt x="2331" y="272"/>
                  <a:pt x="2331" y="272"/>
                </a:cubicBezTo>
                <a:cubicBezTo>
                  <a:pt x="2331" y="261"/>
                  <a:pt x="2331" y="261"/>
                  <a:pt x="2331" y="261"/>
                </a:cubicBezTo>
                <a:cubicBezTo>
                  <a:pt x="2331" y="261"/>
                  <a:pt x="2328" y="256"/>
                  <a:pt x="2331" y="255"/>
                </a:cubicBezTo>
                <a:cubicBezTo>
                  <a:pt x="2335" y="254"/>
                  <a:pt x="2335" y="260"/>
                  <a:pt x="2335" y="260"/>
                </a:cubicBezTo>
                <a:cubicBezTo>
                  <a:pt x="2335" y="260"/>
                  <a:pt x="2337" y="261"/>
                  <a:pt x="2337" y="264"/>
                </a:cubicBezTo>
                <a:cubicBezTo>
                  <a:pt x="2338" y="267"/>
                  <a:pt x="2339" y="270"/>
                  <a:pt x="2339" y="270"/>
                </a:cubicBezTo>
                <a:cubicBezTo>
                  <a:pt x="2342" y="274"/>
                  <a:pt x="2342" y="274"/>
                  <a:pt x="2342" y="274"/>
                </a:cubicBezTo>
                <a:cubicBezTo>
                  <a:pt x="2340" y="276"/>
                  <a:pt x="2340" y="276"/>
                  <a:pt x="2340" y="276"/>
                </a:cubicBezTo>
                <a:cubicBezTo>
                  <a:pt x="2340" y="276"/>
                  <a:pt x="2338" y="277"/>
                  <a:pt x="2338" y="279"/>
                </a:cubicBezTo>
                <a:cubicBezTo>
                  <a:pt x="2338" y="280"/>
                  <a:pt x="2342" y="278"/>
                  <a:pt x="2342" y="278"/>
                </a:cubicBezTo>
                <a:cubicBezTo>
                  <a:pt x="2342" y="281"/>
                  <a:pt x="2342" y="281"/>
                  <a:pt x="2342" y="281"/>
                </a:cubicBezTo>
                <a:cubicBezTo>
                  <a:pt x="2339" y="282"/>
                  <a:pt x="2339" y="282"/>
                  <a:pt x="2339" y="282"/>
                </a:cubicBezTo>
                <a:cubicBezTo>
                  <a:pt x="2339" y="282"/>
                  <a:pt x="2339" y="282"/>
                  <a:pt x="2339" y="282"/>
                </a:cubicBezTo>
                <a:close/>
                <a:moveTo>
                  <a:pt x="2727" y="377"/>
                </a:moveTo>
                <a:cubicBezTo>
                  <a:pt x="2725" y="386"/>
                  <a:pt x="2725" y="386"/>
                  <a:pt x="2725" y="386"/>
                </a:cubicBezTo>
                <a:cubicBezTo>
                  <a:pt x="2727" y="385"/>
                  <a:pt x="2727" y="385"/>
                  <a:pt x="2727" y="385"/>
                </a:cubicBezTo>
                <a:cubicBezTo>
                  <a:pt x="2730" y="379"/>
                  <a:pt x="2730" y="379"/>
                  <a:pt x="2730" y="379"/>
                </a:cubicBezTo>
                <a:cubicBezTo>
                  <a:pt x="2727" y="377"/>
                  <a:pt x="2727" y="377"/>
                  <a:pt x="2727" y="377"/>
                </a:cubicBezTo>
                <a:cubicBezTo>
                  <a:pt x="2727" y="377"/>
                  <a:pt x="2727" y="377"/>
                  <a:pt x="2727" y="377"/>
                </a:cubicBezTo>
                <a:close/>
                <a:moveTo>
                  <a:pt x="2639" y="502"/>
                </a:moveTo>
                <a:cubicBezTo>
                  <a:pt x="2643" y="509"/>
                  <a:pt x="2643" y="509"/>
                  <a:pt x="2643" y="509"/>
                </a:cubicBezTo>
                <a:cubicBezTo>
                  <a:pt x="2645" y="508"/>
                  <a:pt x="2645" y="508"/>
                  <a:pt x="2645" y="508"/>
                </a:cubicBezTo>
                <a:cubicBezTo>
                  <a:pt x="2645" y="508"/>
                  <a:pt x="2644" y="504"/>
                  <a:pt x="2645" y="505"/>
                </a:cubicBezTo>
                <a:cubicBezTo>
                  <a:pt x="2647" y="506"/>
                  <a:pt x="2649" y="510"/>
                  <a:pt x="2649" y="510"/>
                </a:cubicBezTo>
                <a:cubicBezTo>
                  <a:pt x="2649" y="515"/>
                  <a:pt x="2649" y="515"/>
                  <a:pt x="2649" y="515"/>
                </a:cubicBezTo>
                <a:cubicBezTo>
                  <a:pt x="2647" y="517"/>
                  <a:pt x="2647" y="517"/>
                  <a:pt x="2647" y="517"/>
                </a:cubicBezTo>
                <a:cubicBezTo>
                  <a:pt x="2647" y="517"/>
                  <a:pt x="2649" y="526"/>
                  <a:pt x="2651" y="527"/>
                </a:cubicBezTo>
                <a:cubicBezTo>
                  <a:pt x="2653" y="527"/>
                  <a:pt x="2653" y="520"/>
                  <a:pt x="2653" y="520"/>
                </a:cubicBezTo>
                <a:cubicBezTo>
                  <a:pt x="2657" y="522"/>
                  <a:pt x="2657" y="522"/>
                  <a:pt x="2657" y="522"/>
                </a:cubicBezTo>
                <a:cubicBezTo>
                  <a:pt x="2657" y="522"/>
                  <a:pt x="2657" y="528"/>
                  <a:pt x="2657" y="528"/>
                </a:cubicBezTo>
                <a:cubicBezTo>
                  <a:pt x="2658" y="528"/>
                  <a:pt x="2661" y="523"/>
                  <a:pt x="2661" y="523"/>
                </a:cubicBezTo>
                <a:cubicBezTo>
                  <a:pt x="2661" y="523"/>
                  <a:pt x="2659" y="515"/>
                  <a:pt x="2659" y="513"/>
                </a:cubicBezTo>
                <a:cubicBezTo>
                  <a:pt x="2659" y="510"/>
                  <a:pt x="2662" y="509"/>
                  <a:pt x="2662" y="509"/>
                </a:cubicBezTo>
                <a:cubicBezTo>
                  <a:pt x="2662" y="506"/>
                  <a:pt x="2657" y="503"/>
                  <a:pt x="2657" y="503"/>
                </a:cubicBezTo>
                <a:cubicBezTo>
                  <a:pt x="2657" y="503"/>
                  <a:pt x="2657" y="501"/>
                  <a:pt x="2656" y="500"/>
                </a:cubicBezTo>
                <a:cubicBezTo>
                  <a:pt x="2654" y="500"/>
                  <a:pt x="2653" y="500"/>
                  <a:pt x="2653" y="500"/>
                </a:cubicBezTo>
                <a:cubicBezTo>
                  <a:pt x="2653" y="500"/>
                  <a:pt x="2649" y="497"/>
                  <a:pt x="2647" y="497"/>
                </a:cubicBezTo>
                <a:cubicBezTo>
                  <a:pt x="2646" y="497"/>
                  <a:pt x="2644" y="500"/>
                  <a:pt x="2644" y="500"/>
                </a:cubicBezTo>
                <a:cubicBezTo>
                  <a:pt x="2639" y="502"/>
                  <a:pt x="2639" y="502"/>
                  <a:pt x="2639" y="502"/>
                </a:cubicBezTo>
                <a:cubicBezTo>
                  <a:pt x="2639" y="502"/>
                  <a:pt x="2639" y="502"/>
                  <a:pt x="2639" y="502"/>
                </a:cubicBezTo>
                <a:close/>
                <a:moveTo>
                  <a:pt x="2697" y="453"/>
                </a:moveTo>
                <a:cubicBezTo>
                  <a:pt x="2699" y="453"/>
                  <a:pt x="2699" y="453"/>
                  <a:pt x="2699" y="453"/>
                </a:cubicBezTo>
                <a:cubicBezTo>
                  <a:pt x="2699" y="450"/>
                  <a:pt x="2699" y="450"/>
                  <a:pt x="2699" y="450"/>
                </a:cubicBezTo>
                <a:cubicBezTo>
                  <a:pt x="2698" y="449"/>
                  <a:pt x="2698" y="449"/>
                  <a:pt x="2698" y="449"/>
                </a:cubicBezTo>
                <a:cubicBezTo>
                  <a:pt x="2696" y="446"/>
                  <a:pt x="2696" y="446"/>
                  <a:pt x="2696" y="446"/>
                </a:cubicBezTo>
                <a:cubicBezTo>
                  <a:pt x="2695" y="448"/>
                  <a:pt x="2695" y="448"/>
                  <a:pt x="2695" y="448"/>
                </a:cubicBezTo>
                <a:cubicBezTo>
                  <a:pt x="2696" y="450"/>
                  <a:pt x="2696" y="450"/>
                  <a:pt x="2696" y="450"/>
                </a:cubicBezTo>
                <a:cubicBezTo>
                  <a:pt x="2697" y="453"/>
                  <a:pt x="2697" y="453"/>
                  <a:pt x="2697" y="453"/>
                </a:cubicBezTo>
                <a:cubicBezTo>
                  <a:pt x="2697" y="453"/>
                  <a:pt x="2697" y="453"/>
                  <a:pt x="2697" y="453"/>
                </a:cubicBezTo>
                <a:close/>
                <a:moveTo>
                  <a:pt x="2647" y="575"/>
                </a:moveTo>
                <a:cubicBezTo>
                  <a:pt x="2645" y="577"/>
                  <a:pt x="2643" y="584"/>
                  <a:pt x="2643" y="584"/>
                </a:cubicBezTo>
                <a:cubicBezTo>
                  <a:pt x="2646" y="585"/>
                  <a:pt x="2646" y="585"/>
                  <a:pt x="2646" y="585"/>
                </a:cubicBezTo>
                <a:cubicBezTo>
                  <a:pt x="2646" y="585"/>
                  <a:pt x="2648" y="580"/>
                  <a:pt x="2648" y="580"/>
                </a:cubicBezTo>
                <a:cubicBezTo>
                  <a:pt x="2647" y="580"/>
                  <a:pt x="2650" y="577"/>
                  <a:pt x="2650" y="577"/>
                </a:cubicBezTo>
                <a:cubicBezTo>
                  <a:pt x="2650" y="577"/>
                  <a:pt x="2649" y="573"/>
                  <a:pt x="2647" y="575"/>
                </a:cubicBezTo>
                <a:close/>
                <a:moveTo>
                  <a:pt x="2649" y="568"/>
                </a:moveTo>
                <a:cubicBezTo>
                  <a:pt x="2649" y="570"/>
                  <a:pt x="2649" y="570"/>
                  <a:pt x="2649" y="570"/>
                </a:cubicBezTo>
                <a:cubicBezTo>
                  <a:pt x="2652" y="570"/>
                  <a:pt x="2652" y="570"/>
                  <a:pt x="2652" y="570"/>
                </a:cubicBezTo>
                <a:cubicBezTo>
                  <a:pt x="2649" y="568"/>
                  <a:pt x="2649" y="568"/>
                  <a:pt x="2649" y="568"/>
                </a:cubicBezTo>
                <a:cubicBezTo>
                  <a:pt x="2649" y="568"/>
                  <a:pt x="2649" y="568"/>
                  <a:pt x="2649" y="568"/>
                </a:cubicBezTo>
                <a:close/>
                <a:moveTo>
                  <a:pt x="2721" y="381"/>
                </a:moveTo>
                <a:cubicBezTo>
                  <a:pt x="2719" y="379"/>
                  <a:pt x="2718" y="384"/>
                  <a:pt x="2718" y="384"/>
                </a:cubicBezTo>
                <a:cubicBezTo>
                  <a:pt x="2718" y="384"/>
                  <a:pt x="2704" y="381"/>
                  <a:pt x="2701" y="379"/>
                </a:cubicBezTo>
                <a:cubicBezTo>
                  <a:pt x="2697" y="377"/>
                  <a:pt x="2682" y="364"/>
                  <a:pt x="2680" y="367"/>
                </a:cubicBezTo>
                <a:cubicBezTo>
                  <a:pt x="2678" y="369"/>
                  <a:pt x="2687" y="376"/>
                  <a:pt x="2687" y="376"/>
                </a:cubicBezTo>
                <a:cubicBezTo>
                  <a:pt x="2687" y="379"/>
                  <a:pt x="2687" y="379"/>
                  <a:pt x="2687" y="379"/>
                </a:cubicBezTo>
                <a:cubicBezTo>
                  <a:pt x="2687" y="379"/>
                  <a:pt x="2690" y="382"/>
                  <a:pt x="2690" y="383"/>
                </a:cubicBezTo>
                <a:cubicBezTo>
                  <a:pt x="2690" y="385"/>
                  <a:pt x="2689" y="387"/>
                  <a:pt x="2689" y="387"/>
                </a:cubicBezTo>
                <a:cubicBezTo>
                  <a:pt x="2689" y="387"/>
                  <a:pt x="2693" y="392"/>
                  <a:pt x="2692" y="392"/>
                </a:cubicBezTo>
                <a:cubicBezTo>
                  <a:pt x="2690" y="392"/>
                  <a:pt x="2684" y="391"/>
                  <a:pt x="2683" y="390"/>
                </a:cubicBezTo>
                <a:cubicBezTo>
                  <a:pt x="2681" y="390"/>
                  <a:pt x="2686" y="394"/>
                  <a:pt x="2686" y="394"/>
                </a:cubicBezTo>
                <a:cubicBezTo>
                  <a:pt x="2682" y="398"/>
                  <a:pt x="2682" y="398"/>
                  <a:pt x="2682" y="398"/>
                </a:cubicBezTo>
                <a:cubicBezTo>
                  <a:pt x="2682" y="398"/>
                  <a:pt x="2684" y="401"/>
                  <a:pt x="2684" y="402"/>
                </a:cubicBezTo>
                <a:cubicBezTo>
                  <a:pt x="2685" y="403"/>
                  <a:pt x="2690" y="406"/>
                  <a:pt x="2690" y="406"/>
                </a:cubicBezTo>
                <a:cubicBezTo>
                  <a:pt x="2690" y="406"/>
                  <a:pt x="2688" y="413"/>
                  <a:pt x="2693" y="413"/>
                </a:cubicBezTo>
                <a:cubicBezTo>
                  <a:pt x="2695" y="412"/>
                  <a:pt x="2692" y="409"/>
                  <a:pt x="2694" y="409"/>
                </a:cubicBezTo>
                <a:cubicBezTo>
                  <a:pt x="2697" y="409"/>
                  <a:pt x="2699" y="409"/>
                  <a:pt x="2699" y="409"/>
                </a:cubicBezTo>
                <a:cubicBezTo>
                  <a:pt x="2700" y="407"/>
                  <a:pt x="2700" y="407"/>
                  <a:pt x="2700" y="407"/>
                </a:cubicBezTo>
                <a:cubicBezTo>
                  <a:pt x="2695" y="404"/>
                  <a:pt x="2695" y="404"/>
                  <a:pt x="2695" y="404"/>
                </a:cubicBezTo>
                <a:cubicBezTo>
                  <a:pt x="2692" y="404"/>
                  <a:pt x="2692" y="404"/>
                  <a:pt x="2692" y="404"/>
                </a:cubicBezTo>
                <a:cubicBezTo>
                  <a:pt x="2692" y="404"/>
                  <a:pt x="2685" y="401"/>
                  <a:pt x="2688" y="400"/>
                </a:cubicBezTo>
                <a:cubicBezTo>
                  <a:pt x="2692" y="398"/>
                  <a:pt x="2694" y="402"/>
                  <a:pt x="2694" y="402"/>
                </a:cubicBezTo>
                <a:cubicBezTo>
                  <a:pt x="2694" y="402"/>
                  <a:pt x="2697" y="400"/>
                  <a:pt x="2699" y="399"/>
                </a:cubicBezTo>
                <a:cubicBezTo>
                  <a:pt x="2701" y="399"/>
                  <a:pt x="2716" y="407"/>
                  <a:pt x="2717" y="406"/>
                </a:cubicBezTo>
                <a:cubicBezTo>
                  <a:pt x="2718" y="405"/>
                  <a:pt x="2714" y="397"/>
                  <a:pt x="2718" y="395"/>
                </a:cubicBezTo>
                <a:cubicBezTo>
                  <a:pt x="2722" y="394"/>
                  <a:pt x="2721" y="397"/>
                  <a:pt x="2725" y="395"/>
                </a:cubicBezTo>
                <a:cubicBezTo>
                  <a:pt x="2729" y="393"/>
                  <a:pt x="2730" y="392"/>
                  <a:pt x="2730" y="392"/>
                </a:cubicBezTo>
                <a:cubicBezTo>
                  <a:pt x="2722" y="387"/>
                  <a:pt x="2722" y="387"/>
                  <a:pt x="2722" y="387"/>
                </a:cubicBezTo>
                <a:cubicBezTo>
                  <a:pt x="2722" y="387"/>
                  <a:pt x="2722" y="382"/>
                  <a:pt x="2721" y="381"/>
                </a:cubicBezTo>
                <a:close/>
                <a:moveTo>
                  <a:pt x="1804" y="932"/>
                </a:moveTo>
                <a:cubicBezTo>
                  <a:pt x="1803" y="934"/>
                  <a:pt x="1803" y="939"/>
                  <a:pt x="1806" y="939"/>
                </a:cubicBezTo>
                <a:cubicBezTo>
                  <a:pt x="1809" y="938"/>
                  <a:pt x="1806" y="930"/>
                  <a:pt x="1804" y="932"/>
                </a:cubicBezTo>
                <a:close/>
                <a:moveTo>
                  <a:pt x="1801" y="942"/>
                </a:moveTo>
                <a:cubicBezTo>
                  <a:pt x="1797" y="942"/>
                  <a:pt x="1799" y="947"/>
                  <a:pt x="1799" y="947"/>
                </a:cubicBezTo>
                <a:cubicBezTo>
                  <a:pt x="1799" y="947"/>
                  <a:pt x="1803" y="951"/>
                  <a:pt x="1805" y="951"/>
                </a:cubicBezTo>
                <a:cubicBezTo>
                  <a:pt x="1807" y="950"/>
                  <a:pt x="1803" y="946"/>
                  <a:pt x="1803" y="946"/>
                </a:cubicBezTo>
                <a:cubicBezTo>
                  <a:pt x="1803" y="946"/>
                  <a:pt x="1804" y="942"/>
                  <a:pt x="1801" y="942"/>
                </a:cubicBezTo>
                <a:close/>
                <a:moveTo>
                  <a:pt x="1911" y="1038"/>
                </a:moveTo>
                <a:cubicBezTo>
                  <a:pt x="1911" y="1038"/>
                  <a:pt x="1906" y="1028"/>
                  <a:pt x="1906" y="1027"/>
                </a:cubicBezTo>
                <a:cubicBezTo>
                  <a:pt x="1906" y="1026"/>
                  <a:pt x="1906" y="1024"/>
                  <a:pt x="1906" y="1024"/>
                </a:cubicBezTo>
                <a:cubicBezTo>
                  <a:pt x="1898" y="1015"/>
                  <a:pt x="1898" y="1015"/>
                  <a:pt x="1898" y="1015"/>
                </a:cubicBezTo>
                <a:cubicBezTo>
                  <a:pt x="1894" y="1021"/>
                  <a:pt x="1894" y="1021"/>
                  <a:pt x="1894" y="1021"/>
                </a:cubicBezTo>
                <a:cubicBezTo>
                  <a:pt x="1894" y="1021"/>
                  <a:pt x="1894" y="1025"/>
                  <a:pt x="1893" y="1028"/>
                </a:cubicBezTo>
                <a:cubicBezTo>
                  <a:pt x="1892" y="1031"/>
                  <a:pt x="1888" y="1034"/>
                  <a:pt x="1888" y="1034"/>
                </a:cubicBezTo>
                <a:cubicBezTo>
                  <a:pt x="1888" y="1034"/>
                  <a:pt x="1886" y="1032"/>
                  <a:pt x="1885" y="1034"/>
                </a:cubicBezTo>
                <a:cubicBezTo>
                  <a:pt x="1883" y="1035"/>
                  <a:pt x="1886" y="1039"/>
                  <a:pt x="1884" y="1042"/>
                </a:cubicBezTo>
                <a:cubicBezTo>
                  <a:pt x="1882" y="1044"/>
                  <a:pt x="1881" y="1044"/>
                  <a:pt x="1881" y="1044"/>
                </a:cubicBezTo>
                <a:cubicBezTo>
                  <a:pt x="1881" y="1044"/>
                  <a:pt x="1880" y="1040"/>
                  <a:pt x="1879" y="1041"/>
                </a:cubicBezTo>
                <a:cubicBezTo>
                  <a:pt x="1877" y="1042"/>
                  <a:pt x="1878" y="1048"/>
                  <a:pt x="1878" y="1048"/>
                </a:cubicBezTo>
                <a:cubicBezTo>
                  <a:pt x="1876" y="1054"/>
                  <a:pt x="1876" y="1054"/>
                  <a:pt x="1876" y="1054"/>
                </a:cubicBezTo>
                <a:cubicBezTo>
                  <a:pt x="1875" y="1051"/>
                  <a:pt x="1875" y="1051"/>
                  <a:pt x="1875" y="1051"/>
                </a:cubicBezTo>
                <a:cubicBezTo>
                  <a:pt x="1875" y="1047"/>
                  <a:pt x="1875" y="1047"/>
                  <a:pt x="1875" y="1047"/>
                </a:cubicBezTo>
                <a:cubicBezTo>
                  <a:pt x="1873" y="1051"/>
                  <a:pt x="1873" y="1051"/>
                  <a:pt x="1873" y="1051"/>
                </a:cubicBezTo>
                <a:cubicBezTo>
                  <a:pt x="1873" y="1056"/>
                  <a:pt x="1873" y="1056"/>
                  <a:pt x="1873" y="1056"/>
                </a:cubicBezTo>
                <a:cubicBezTo>
                  <a:pt x="1867" y="1055"/>
                  <a:pt x="1867" y="1055"/>
                  <a:pt x="1867" y="1055"/>
                </a:cubicBezTo>
                <a:cubicBezTo>
                  <a:pt x="1864" y="1058"/>
                  <a:pt x="1864" y="1058"/>
                  <a:pt x="1864" y="1058"/>
                </a:cubicBezTo>
                <a:cubicBezTo>
                  <a:pt x="1856" y="1057"/>
                  <a:pt x="1856" y="1057"/>
                  <a:pt x="1856" y="1057"/>
                </a:cubicBezTo>
                <a:cubicBezTo>
                  <a:pt x="1856" y="1061"/>
                  <a:pt x="1856" y="1061"/>
                  <a:pt x="1856" y="1061"/>
                </a:cubicBezTo>
                <a:cubicBezTo>
                  <a:pt x="1850" y="1060"/>
                  <a:pt x="1850" y="1060"/>
                  <a:pt x="1850" y="1060"/>
                </a:cubicBezTo>
                <a:cubicBezTo>
                  <a:pt x="1846" y="1061"/>
                  <a:pt x="1846" y="1061"/>
                  <a:pt x="1846" y="1061"/>
                </a:cubicBezTo>
                <a:cubicBezTo>
                  <a:pt x="1848" y="1065"/>
                  <a:pt x="1848" y="1065"/>
                  <a:pt x="1848" y="1065"/>
                </a:cubicBezTo>
                <a:cubicBezTo>
                  <a:pt x="1848" y="1065"/>
                  <a:pt x="1845" y="1069"/>
                  <a:pt x="1842" y="1072"/>
                </a:cubicBezTo>
                <a:cubicBezTo>
                  <a:pt x="1839" y="1074"/>
                  <a:pt x="1842" y="1084"/>
                  <a:pt x="1843" y="1088"/>
                </a:cubicBezTo>
                <a:cubicBezTo>
                  <a:pt x="1843" y="1093"/>
                  <a:pt x="1844" y="1106"/>
                  <a:pt x="1844" y="1106"/>
                </a:cubicBezTo>
                <a:cubicBezTo>
                  <a:pt x="1844" y="1106"/>
                  <a:pt x="1839" y="1110"/>
                  <a:pt x="1836" y="1114"/>
                </a:cubicBezTo>
                <a:cubicBezTo>
                  <a:pt x="1833" y="1118"/>
                  <a:pt x="1828" y="1118"/>
                  <a:pt x="1829" y="1132"/>
                </a:cubicBezTo>
                <a:cubicBezTo>
                  <a:pt x="1830" y="1145"/>
                  <a:pt x="1836" y="1153"/>
                  <a:pt x="1836" y="1153"/>
                </a:cubicBezTo>
                <a:cubicBezTo>
                  <a:pt x="1834" y="1156"/>
                  <a:pt x="1834" y="1156"/>
                  <a:pt x="1834" y="1156"/>
                </a:cubicBezTo>
                <a:cubicBezTo>
                  <a:pt x="1834" y="1156"/>
                  <a:pt x="1834" y="1159"/>
                  <a:pt x="1840" y="1165"/>
                </a:cubicBezTo>
                <a:cubicBezTo>
                  <a:pt x="1847" y="1171"/>
                  <a:pt x="1856" y="1164"/>
                  <a:pt x="1856" y="1164"/>
                </a:cubicBezTo>
                <a:cubicBezTo>
                  <a:pt x="1856" y="1164"/>
                  <a:pt x="1857" y="1165"/>
                  <a:pt x="1859" y="1164"/>
                </a:cubicBezTo>
                <a:cubicBezTo>
                  <a:pt x="1861" y="1163"/>
                  <a:pt x="1862" y="1161"/>
                  <a:pt x="1867" y="1157"/>
                </a:cubicBezTo>
                <a:cubicBezTo>
                  <a:pt x="1873" y="1152"/>
                  <a:pt x="1872" y="1143"/>
                  <a:pt x="1872" y="1143"/>
                </a:cubicBezTo>
                <a:cubicBezTo>
                  <a:pt x="1872" y="1143"/>
                  <a:pt x="1876" y="1130"/>
                  <a:pt x="1884" y="1115"/>
                </a:cubicBezTo>
                <a:cubicBezTo>
                  <a:pt x="1892" y="1101"/>
                  <a:pt x="1897" y="1085"/>
                  <a:pt x="1899" y="1080"/>
                </a:cubicBezTo>
                <a:cubicBezTo>
                  <a:pt x="1900" y="1075"/>
                  <a:pt x="1897" y="1072"/>
                  <a:pt x="1898" y="1069"/>
                </a:cubicBezTo>
                <a:cubicBezTo>
                  <a:pt x="1898" y="1066"/>
                  <a:pt x="1903" y="1061"/>
                  <a:pt x="1903" y="1061"/>
                </a:cubicBezTo>
                <a:cubicBezTo>
                  <a:pt x="1902" y="1056"/>
                  <a:pt x="1902" y="1056"/>
                  <a:pt x="1902" y="1056"/>
                </a:cubicBezTo>
                <a:cubicBezTo>
                  <a:pt x="1906" y="1055"/>
                  <a:pt x="1906" y="1055"/>
                  <a:pt x="1906" y="1055"/>
                </a:cubicBezTo>
                <a:cubicBezTo>
                  <a:pt x="1906" y="1055"/>
                  <a:pt x="1911" y="1057"/>
                  <a:pt x="1912" y="1056"/>
                </a:cubicBezTo>
                <a:cubicBezTo>
                  <a:pt x="1913" y="1055"/>
                  <a:pt x="1908" y="1045"/>
                  <a:pt x="1908" y="1045"/>
                </a:cubicBezTo>
                <a:cubicBezTo>
                  <a:pt x="1911" y="1038"/>
                  <a:pt x="1911" y="1038"/>
                  <a:pt x="1911" y="1038"/>
                </a:cubicBezTo>
                <a:cubicBezTo>
                  <a:pt x="1911" y="1038"/>
                  <a:pt x="1911" y="1038"/>
                  <a:pt x="1911" y="1038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D15218BD-28B2-4DE3-A995-40C3CC49AD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404E7883-6F6D-4A3D-BE15-9778CCCAA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473371BB-2D05-4230-BC88-EA1AB1FC633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A38E1BDB-D20F-466C-B976-D851D5C201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402946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ita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020C1CA9-F4AC-4E0E-B866-3376EB46B703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1436F573-5E96-4072-9BF6-E46AF6A5470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45389275-C049-4719-AAEE-6F963AB85CA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BE0B22A6-5A3D-48FF-9FB1-0D33833BB4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9302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Zitat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0626A875-D321-48B1-94F8-0ABA576692A9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CD490BA-96A5-4D8A-98E5-8BB739FEE2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6E45FBDA-FADD-4D89-8EFE-03F4F73EB613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0B594D79-FE43-4578-A9F9-1224A526C9F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58011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itat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270A7CFB-CCD3-4981-8A06-B30F0947B1D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326A4F2-777D-4195-9351-3B9DF3F17E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734580BE-41A3-4543-9172-B6B416CEB866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CE0380D0-DCAF-4CFA-AF54-F2216EE7EEA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16875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Zitat">
    <p:bg bwMode="lt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096550C7-7E5F-4090-BF5E-6938848F37F7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80BCDB9-6C14-4364-865C-80158D4502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197A381-43A3-4BF8-A72E-3C7CADC57812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4E71AB58-9639-4726-821E-D75396F65D0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613057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Zitat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DDAABBF3-CB38-45C1-8C54-D964905E0B05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6201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Zitat">
    <p:bg bwMode="lt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EC44AF76-C728-4FF1-B177-43AA2978CF7C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73230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Zitat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accent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5598F78E-2DF5-4233-808B-D5DC7BE23329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rm">
            <a:extLst>
              <a:ext uri="{FF2B5EF4-FFF2-40B4-BE49-F238E27FC236}">
                <a16:creationId xmlns:a16="http://schemas.microsoft.com/office/drawing/2014/main" id="{C483D2F5-5E03-4303-A858-9CDC5472EB33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accent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230626E7-4ED4-44AE-A005-CB68E9AC2B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98EFD742-BC45-4054-A9CB-5869C730FAFF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1" name="Fußzeile">
            <a:extLst>
              <a:ext uri="{FF2B5EF4-FFF2-40B4-BE49-F238E27FC236}">
                <a16:creationId xmlns:a16="http://schemas.microsoft.com/office/drawing/2014/main" id="{DA141CEF-D4F6-4FA8-B208-D635025C4C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11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6674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nag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CF4742D1-25B2-4198-A88E-C126244F5D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0" name="Text 1">
            <a:extLst>
              <a:ext uri="{FF2B5EF4-FFF2-40B4-BE49-F238E27FC236}">
                <a16:creationId xmlns:a16="http://schemas.microsoft.com/office/drawing/2014/main" id="{23A33831-295E-4736-A6D2-4BDA3CB1F7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2326841" y="1512000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Text 2">
            <a:extLst>
              <a:ext uri="{FF2B5EF4-FFF2-40B4-BE49-F238E27FC236}">
                <a16:creationId xmlns:a16="http://schemas.microsoft.com/office/drawing/2014/main" id="{C6374270-2AC5-4667-8150-B7F53150DD5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2326841" y="3845964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Text 3">
            <a:extLst>
              <a:ext uri="{FF2B5EF4-FFF2-40B4-BE49-F238E27FC236}">
                <a16:creationId xmlns:a16="http://schemas.microsoft.com/office/drawing/2014/main" id="{921B555A-10E4-4D89-973D-D6617EF5FB3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190322" y="1512000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6" name="Text 4">
            <a:extLst>
              <a:ext uri="{FF2B5EF4-FFF2-40B4-BE49-F238E27FC236}">
                <a16:creationId xmlns:a16="http://schemas.microsoft.com/office/drawing/2014/main" id="{D884CC2A-7C4C-4057-9047-184F2EDB7B6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190322" y="3845964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Text 5">
            <a:extLst>
              <a:ext uri="{FF2B5EF4-FFF2-40B4-BE49-F238E27FC236}">
                <a16:creationId xmlns:a16="http://schemas.microsoft.com/office/drawing/2014/main" id="{6FA04A43-4EE7-4197-8CE9-E2466050011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0031117" y="1512000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8" name="Text 6">
            <a:extLst>
              <a:ext uri="{FF2B5EF4-FFF2-40B4-BE49-F238E27FC236}">
                <a16:creationId xmlns:a16="http://schemas.microsoft.com/office/drawing/2014/main" id="{93C7EC07-3BC8-44CB-8BA5-4BC7FA8B45C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031117" y="3845964"/>
            <a:ext cx="1606693" cy="1711874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 sz="180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1" name="Bild 1">
            <a:extLst>
              <a:ext uri="{FF2B5EF4-FFF2-40B4-BE49-F238E27FC236}">
                <a16:creationId xmlns:a16="http://schemas.microsoft.com/office/drawing/2014/main" id="{5C55ED35-42C4-4571-9BD3-920C4C8919C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595354" y="1591489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Bild 2">
            <a:extLst>
              <a:ext uri="{FF2B5EF4-FFF2-40B4-BE49-F238E27FC236}">
                <a16:creationId xmlns:a16="http://schemas.microsoft.com/office/drawing/2014/main" id="{400D0692-8C88-49C5-A509-13F7EB687AD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 bwMode="gray">
          <a:xfrm>
            <a:off x="595354" y="3925453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2" name="Bild 3">
            <a:extLst>
              <a:ext uri="{FF2B5EF4-FFF2-40B4-BE49-F238E27FC236}">
                <a16:creationId xmlns:a16="http://schemas.microsoft.com/office/drawing/2014/main" id="{D312C0D0-ACE6-438F-A154-9C24467E0DB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4447542" y="1591489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5" name="Bild 4">
            <a:extLst>
              <a:ext uri="{FF2B5EF4-FFF2-40B4-BE49-F238E27FC236}">
                <a16:creationId xmlns:a16="http://schemas.microsoft.com/office/drawing/2014/main" id="{403F0BDA-09F4-4909-BE3A-33494BD6C0E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 bwMode="gray">
          <a:xfrm>
            <a:off x="4447542" y="3925453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3" name="Bild 5">
            <a:extLst>
              <a:ext uri="{FF2B5EF4-FFF2-40B4-BE49-F238E27FC236}">
                <a16:creationId xmlns:a16="http://schemas.microsoft.com/office/drawing/2014/main" id="{D31219C2-73E5-452A-9594-5C1C824318A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 bwMode="gray">
          <a:xfrm>
            <a:off x="8277548" y="1591489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6" name="Bild 6">
            <a:extLst>
              <a:ext uri="{FF2B5EF4-FFF2-40B4-BE49-F238E27FC236}">
                <a16:creationId xmlns:a16="http://schemas.microsoft.com/office/drawing/2014/main" id="{E3438E73-D16E-4FF8-AB45-0648D2D0CBE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gray">
          <a:xfrm>
            <a:off x="8277548" y="3925453"/>
            <a:ext cx="1552898" cy="155289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AEE10FF6-0BF9-426D-8BDF-07A8DE622A4E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CB10E1F4-CD02-4F0E-BA6F-3C428F44E83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1807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18" name="Form">
            <a:extLst>
              <a:ext uri="{FF2B5EF4-FFF2-40B4-BE49-F238E27FC236}">
                <a16:creationId xmlns:a16="http://schemas.microsoft.com/office/drawing/2014/main" id="{641AC2EC-7972-4C03-9EB7-D99EE7A32615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412674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Zwischenfolie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7FAE27AA-FABE-4FCC-94B1-767587DF869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8772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Kontak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479C4382-3F4D-40DC-8306-0BAF2AEDA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2" name="Inhalt 4">
            <a:extLst>
              <a:ext uri="{FF2B5EF4-FFF2-40B4-BE49-F238E27FC236}">
                <a16:creationId xmlns:a16="http://schemas.microsoft.com/office/drawing/2014/main" id="{D6697A05-6148-41A5-B57F-F685CF11FB1B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9234000" y="4144926"/>
            <a:ext cx="2416527" cy="14129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3" name="Inhalt 3">
            <a:extLst>
              <a:ext uri="{FF2B5EF4-FFF2-40B4-BE49-F238E27FC236}">
                <a16:creationId xmlns:a16="http://schemas.microsoft.com/office/drawing/2014/main" id="{23EBCE45-9990-4DBF-AA8E-4F41D0CD241D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6591651" y="4144926"/>
            <a:ext cx="2416527" cy="14129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5" name="Inhalt 2">
            <a:extLst>
              <a:ext uri="{FF2B5EF4-FFF2-40B4-BE49-F238E27FC236}">
                <a16:creationId xmlns:a16="http://schemas.microsoft.com/office/drawing/2014/main" id="{541BAB8E-DD02-4B2F-B61C-4E4FEB405F3D}"/>
              </a:ext>
            </a:extLst>
          </p:cNvPr>
          <p:cNvSpPr>
            <a:spLocks noGrp="1"/>
          </p:cNvSpPr>
          <p:nvPr>
            <p:ph sz="half" idx="23" hasCustomPrompt="1"/>
          </p:nvPr>
        </p:nvSpPr>
        <p:spPr bwMode="gray">
          <a:xfrm>
            <a:off x="3949303" y="4144926"/>
            <a:ext cx="2416527" cy="1412912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1">
            <a:extLst>
              <a:ext uri="{FF2B5EF4-FFF2-40B4-BE49-F238E27FC236}">
                <a16:creationId xmlns:a16="http://schemas.microsoft.com/office/drawing/2014/main" id="{1BF71FFC-658B-4FB6-8F35-18BCB4BD8424}"/>
              </a:ext>
            </a:extLst>
          </p:cNvPr>
          <p:cNvSpPr>
            <a:spLocks noGrp="1"/>
          </p:cNvSpPr>
          <p:nvPr>
            <p:ph sz="half" idx="24" hasCustomPrompt="1"/>
          </p:nvPr>
        </p:nvSpPr>
        <p:spPr bwMode="gray">
          <a:xfrm>
            <a:off x="539999" y="4144926"/>
            <a:ext cx="3183483" cy="1412912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Rechteck">
            <a:extLst>
              <a:ext uri="{FF2B5EF4-FFF2-40B4-BE49-F238E27FC236}">
                <a16:creationId xmlns:a16="http://schemas.microsoft.com/office/drawing/2014/main" id="{38ECE1AA-ADC8-406C-A030-51C7237C1C57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512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0">
            <a:extLst>
              <a:ext uri="{FF2B5EF4-FFF2-40B4-BE49-F238E27FC236}">
                <a16:creationId xmlns:a16="http://schemas.microsoft.com/office/drawing/2014/main" id="{95F00F19-DD66-4969-806D-A359AFFE39BF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02433F4-0C5C-4F16-A44E-852E620268F0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452400"/>
            <a:ext cx="7560000" cy="666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</a:p>
        </p:txBody>
      </p:sp>
      <p:sp>
        <p:nvSpPr>
          <p:cNvPr id="43" name="Text 1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478200"/>
            <a:ext cx="3600000" cy="133205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418D7843-BEA3-4F34-A55F-8D47734BAE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500000" y="4478200"/>
            <a:ext cx="3600000" cy="1332050"/>
          </a:xfrm>
          <a:prstGeom prst="rect">
            <a:avLst/>
          </a:prstGeom>
        </p:spPr>
        <p:txBody>
          <a:bodyPr anchor="t" anchorCtr="0"/>
          <a:lstStyle>
            <a:lvl1pPr marL="0" indent="0" algn="l">
              <a:buFontTx/>
              <a:buNone/>
              <a:defRPr sz="20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4313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39999" y="432000"/>
            <a:ext cx="7263001" cy="1080000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9A931004-61E0-4948-BDED-E91E2531281B}"/>
              </a:ext>
            </a:extLst>
          </p:cNvPr>
          <p:cNvSpPr>
            <a:spLocks noGrp="1"/>
          </p:cNvSpPr>
          <p:nvPr>
            <p:ph sz="half" idx="21"/>
          </p:nvPr>
        </p:nvSpPr>
        <p:spPr bwMode="gray">
          <a:xfrm>
            <a:off x="540000" y="2838766"/>
            <a:ext cx="3416400" cy="297148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6" name="Inhalt 2">
            <a:extLst>
              <a:ext uri="{FF2B5EF4-FFF2-40B4-BE49-F238E27FC236}">
                <a16:creationId xmlns:a16="http://schemas.microsoft.com/office/drawing/2014/main" id="{669D3C85-D974-4EC5-8543-5223523C618E}"/>
              </a:ext>
            </a:extLst>
          </p:cNvPr>
          <p:cNvSpPr>
            <a:spLocks noGrp="1"/>
          </p:cNvSpPr>
          <p:nvPr>
            <p:ph sz="half" idx="22"/>
          </p:nvPr>
        </p:nvSpPr>
        <p:spPr bwMode="gray">
          <a:xfrm>
            <a:off x="4386600" y="2838766"/>
            <a:ext cx="3416400" cy="297148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23" name="Bild">
            <a:extLst>
              <a:ext uri="{FF2B5EF4-FFF2-40B4-BE49-F238E27FC236}">
                <a16:creationId xmlns:a16="http://schemas.microsoft.com/office/drawing/2014/main" id="{4DEA5C82-C713-47E9-B0FE-A1744239B4E5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 bwMode="gray">
          <a:xfrm>
            <a:off x="8232775" y="0"/>
            <a:ext cx="3957638" cy="6090144"/>
          </a:xfrm>
          <a:custGeom>
            <a:avLst/>
            <a:gdLst>
              <a:gd name="connsiteX0" fmla="*/ 0 w 3957638"/>
              <a:gd name="connsiteY0" fmla="*/ 0 h 6090144"/>
              <a:gd name="connsiteX1" fmla="*/ 3957638 w 3957638"/>
              <a:gd name="connsiteY1" fmla="*/ 0 h 6090144"/>
              <a:gd name="connsiteX2" fmla="*/ 3957638 w 3957638"/>
              <a:gd name="connsiteY2" fmla="*/ 6090144 h 6090144"/>
              <a:gd name="connsiteX3" fmla="*/ 2973116 w 3957638"/>
              <a:gd name="connsiteY3" fmla="*/ 6090144 h 6090144"/>
              <a:gd name="connsiteX4" fmla="*/ 2933168 w 3957638"/>
              <a:gd name="connsiteY4" fmla="*/ 6041727 h 6090144"/>
              <a:gd name="connsiteX5" fmla="*/ 2548201 w 3957638"/>
              <a:gd name="connsiteY5" fmla="*/ 5882268 h 6090144"/>
              <a:gd name="connsiteX6" fmla="*/ 2163234 w 3957638"/>
              <a:gd name="connsiteY6" fmla="*/ 6041727 h 6090144"/>
              <a:gd name="connsiteX7" fmla="*/ 2123286 w 3957638"/>
              <a:gd name="connsiteY7" fmla="*/ 6090144 h 6090144"/>
              <a:gd name="connsiteX8" fmla="*/ 0 w 3957638"/>
              <a:gd name="connsiteY8" fmla="*/ 6090144 h 6090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57638" h="6090144">
                <a:moveTo>
                  <a:pt x="0" y="0"/>
                </a:moveTo>
                <a:lnTo>
                  <a:pt x="3957638" y="0"/>
                </a:lnTo>
                <a:lnTo>
                  <a:pt x="3957638" y="6090144"/>
                </a:lnTo>
                <a:lnTo>
                  <a:pt x="2973116" y="6090144"/>
                </a:lnTo>
                <a:lnTo>
                  <a:pt x="2933168" y="6041727"/>
                </a:lnTo>
                <a:cubicBezTo>
                  <a:pt x="2834646" y="5943205"/>
                  <a:pt x="2698540" y="5882268"/>
                  <a:pt x="2548201" y="5882268"/>
                </a:cubicBezTo>
                <a:cubicBezTo>
                  <a:pt x="2397862" y="5882268"/>
                  <a:pt x="2261756" y="5943205"/>
                  <a:pt x="2163234" y="6041727"/>
                </a:cubicBezTo>
                <a:lnTo>
                  <a:pt x="2123286" y="6090144"/>
                </a:lnTo>
                <a:lnTo>
                  <a:pt x="0" y="6090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Form">
            <a:extLst>
              <a:ext uri="{FF2B5EF4-FFF2-40B4-BE49-F238E27FC236}">
                <a16:creationId xmlns:a16="http://schemas.microsoft.com/office/drawing/2014/main" id="{B34AABC5-0991-4F74-B9E1-EE44061C0A2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3" name="Foliennummer">
            <a:extLst>
              <a:ext uri="{FF2B5EF4-FFF2-40B4-BE49-F238E27FC236}">
                <a16:creationId xmlns:a16="http://schemas.microsoft.com/office/drawing/2014/main" id="{6787DE7E-70C3-46DC-BDB1-4244F4281D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77B3D5A9-695B-4A9F-875C-3DB563B12ACF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12" name="Fußzeile">
            <a:extLst>
              <a:ext uri="{FF2B5EF4-FFF2-40B4-BE49-F238E27FC236}">
                <a16:creationId xmlns:a16="http://schemas.microsoft.com/office/drawing/2014/main" id="{E1FE2A1E-2909-47CA-BAFD-C67CF1749DA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1276680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">
            <a:extLst>
              <a:ext uri="{FF2B5EF4-FFF2-40B4-BE49-F238E27FC236}">
                <a16:creationId xmlns:a16="http://schemas.microsoft.com/office/drawing/2014/main" id="{D06AA6F0-F3ED-4B57-9FDE-B1A15B16DD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0413" cy="3821202"/>
          </a:xfrm>
          <a:custGeom>
            <a:avLst/>
            <a:gdLst>
              <a:gd name="connsiteX0" fmla="*/ 0 w 12190413"/>
              <a:gd name="connsiteY0" fmla="*/ 0 h 3821202"/>
              <a:gd name="connsiteX1" fmla="*/ 12190413 w 12190413"/>
              <a:gd name="connsiteY1" fmla="*/ 0 h 3821202"/>
              <a:gd name="connsiteX2" fmla="*/ 12190413 w 12190413"/>
              <a:gd name="connsiteY2" fmla="*/ 3821202 h 3821202"/>
              <a:gd name="connsiteX3" fmla="*/ 10690162 w 12190413"/>
              <a:gd name="connsiteY3" fmla="*/ 3821202 h 3821202"/>
              <a:gd name="connsiteX4" fmla="*/ 10642943 w 12190413"/>
              <a:gd name="connsiteY4" fmla="*/ 3761233 h 3821202"/>
              <a:gd name="connsiteX5" fmla="*/ 9961809 w 12190413"/>
              <a:gd name="connsiteY5" fmla="*/ 3447111 h 3821202"/>
              <a:gd name="connsiteX6" fmla="*/ 9278328 w 12190413"/>
              <a:gd name="connsiteY6" fmla="*/ 3756478 h 3821202"/>
              <a:gd name="connsiteX7" fmla="*/ 9226686 w 12190413"/>
              <a:gd name="connsiteY7" fmla="*/ 3821202 h 3821202"/>
              <a:gd name="connsiteX8" fmla="*/ 0 w 12190413"/>
              <a:gd name="connsiteY8" fmla="*/ 3821202 h 382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3821202">
                <a:moveTo>
                  <a:pt x="0" y="0"/>
                </a:moveTo>
                <a:lnTo>
                  <a:pt x="12190413" y="0"/>
                </a:lnTo>
                <a:lnTo>
                  <a:pt x="12190413" y="3821202"/>
                </a:lnTo>
                <a:lnTo>
                  <a:pt x="10690162" y="3821202"/>
                </a:lnTo>
                <a:lnTo>
                  <a:pt x="10642943" y="3761233"/>
                </a:lnTo>
                <a:cubicBezTo>
                  <a:pt x="10467138" y="3562880"/>
                  <a:pt x="10221310" y="3448078"/>
                  <a:pt x="9961809" y="3447111"/>
                </a:cubicBezTo>
                <a:cubicBezTo>
                  <a:pt x="9702156" y="3446144"/>
                  <a:pt x="9455451" y="3559243"/>
                  <a:pt x="9278328" y="3756478"/>
                </a:cubicBezTo>
                <a:lnTo>
                  <a:pt x="9226686" y="3821202"/>
                </a:lnTo>
                <a:lnTo>
                  <a:pt x="0" y="38212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42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58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8C07F86-EDDE-4BE6-A55E-0A864D6618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9310845" y="3718061"/>
            <a:ext cx="2329984" cy="1259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9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">
            <a:extLst>
              <a:ext uri="{FF2B5EF4-FFF2-40B4-BE49-F238E27FC236}">
                <a16:creationId xmlns:a16="http://schemas.microsoft.com/office/drawing/2014/main" id="{86B94227-10D3-4E3D-BB8E-16CA0D837B2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06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22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Rechteck">
            <a:extLst>
              <a:ext uri="{FF2B5EF4-FFF2-40B4-BE49-F238E27FC236}">
                <a16:creationId xmlns:a16="http://schemas.microsoft.com/office/drawing/2014/main" id="{DEE1A475-1444-4081-A5D1-AF1DD9BD59B6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2226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wischenfoli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E77C0D5E-6442-43CF-9A58-2F1D7F6B3CC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18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Zwischenfolie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7FAE27AA-FABE-4FCC-94B1-767587DF869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8772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wischenfolie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B338E64A-FF2A-4099-814D-AA589E158985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954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Zwischenfolie">
    <p:bg bwMode="lt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1DCAFF42-0775-4212-8BB9-A84E3BBF04F0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0190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Zwischenfolie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997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wischenfolie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B338E64A-FF2A-4099-814D-AA589E158985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954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Zwischenfolie">
    <p:bg bwMode="lt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9561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">
            <a:extLst>
              <a:ext uri="{FF2B5EF4-FFF2-40B4-BE49-F238E27FC236}">
                <a16:creationId xmlns:a16="http://schemas.microsoft.com/office/drawing/2014/main" id="{2BFD5FE5-7AC4-4DFF-B92E-51E906EA65E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5" name="Text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5400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6" name="Text">
            <a:extLst>
              <a:ext uri="{FF2B5EF4-FFF2-40B4-BE49-F238E27FC236}">
                <a16:creationId xmlns:a16="http://schemas.microsoft.com/office/drawing/2014/main" id="{A6A55C99-A5B8-4FC7-858A-4806CC497751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28404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7" name="Text">
            <a:extLst>
              <a:ext uri="{FF2B5EF4-FFF2-40B4-BE49-F238E27FC236}">
                <a16:creationId xmlns:a16="http://schemas.microsoft.com/office/drawing/2014/main" id="{047E2E09-20FB-45EA-908F-8E846C5E3DB7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51408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382DFAF6-1140-4DB1-BA07-D4355A5782BD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 bwMode="gray">
          <a:xfrm>
            <a:off x="74412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6D0835F0-C127-4EA9-8620-6BDC9F4EDB42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 bwMode="gray">
          <a:xfrm>
            <a:off x="97416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41337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056585AD-BE4A-45E5-B743-D1AAD646B7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41403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CC65B678-D15E-4226-A0C4-8A0311FB67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141469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4">
            <a:extLst>
              <a:ext uri="{FF2B5EF4-FFF2-40B4-BE49-F238E27FC236}">
                <a16:creationId xmlns:a16="http://schemas.microsoft.com/office/drawing/2014/main" id="{6DC9A36B-B757-4910-AE6B-F24CC93D5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441535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5">
            <a:extLst>
              <a:ext uri="{FF2B5EF4-FFF2-40B4-BE49-F238E27FC236}">
                <a16:creationId xmlns:a16="http://schemas.microsoft.com/office/drawing/2014/main" id="{12A4ECE6-A95E-4BEE-93A3-2D319FB5E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9741600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E66337B0-C724-1B9E-1B11-78358312B44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5C9DC0C0-ACF9-FC56-B011-1C6CB32EFEA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4800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354112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grau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CAC2EE2B-B04E-A6C7-0EDB-CBE486A1FCD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868C6EA0-7B0C-9923-87F6-6EBB53FAA1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41308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018E0BA7-027D-C0D4-BD87-434E0DDC691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D459CD97-E19E-AF6F-FF5E-8BAB960D729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12890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F312635F-21A1-4AC8-9DC0-3D88457F7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40000" y="1512000"/>
            <a:ext cx="11109600" cy="4298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2DCF0BD0-3533-314F-C174-D9A5E5A4617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DB8704A3-8BC8-FC2E-E657-C7A20A74762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37229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C6555B80-FEC4-4F48-A8EB-528F7C8A0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 bwMode="gray">
          <a:xfrm>
            <a:off x="54000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46A130D1-C529-4C85-B44C-67CCFCE2162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246671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Inhalt 3"/>
          <p:cNvSpPr>
            <a:spLocks noGrp="1"/>
          </p:cNvSpPr>
          <p:nvPr>
            <p:ph sz="half" idx="14" hasCustomPrompt="1"/>
          </p:nvPr>
        </p:nvSpPr>
        <p:spPr bwMode="gray">
          <a:xfrm>
            <a:off x="439343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 algn="ctr">
              <a:buNone/>
              <a:defRPr sz="14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endParaRPr lang="de-DE" noProof="0"/>
          </a:p>
        </p:txBody>
      </p:sp>
      <p:sp>
        <p:nvSpPr>
          <p:cNvPr id="4" name="Inhalt 4"/>
          <p:cNvSpPr>
            <a:spLocks noGrp="1"/>
          </p:cNvSpPr>
          <p:nvPr>
            <p:ph sz="half" idx="2" hasCustomPrompt="1"/>
          </p:nvPr>
        </p:nvSpPr>
        <p:spPr bwMode="gray">
          <a:xfrm>
            <a:off x="632014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Inhalt 5">
            <a:extLst>
              <a:ext uri="{FF2B5EF4-FFF2-40B4-BE49-F238E27FC236}">
                <a16:creationId xmlns:a16="http://schemas.microsoft.com/office/drawing/2014/main" id="{8721FB0B-FC51-49F3-8FB9-30799BCD855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824686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Inhalt 6">
            <a:extLst>
              <a:ext uri="{FF2B5EF4-FFF2-40B4-BE49-F238E27FC236}">
                <a16:creationId xmlns:a16="http://schemas.microsoft.com/office/drawing/2014/main" id="{ED5E96AF-7AAC-4335-9EE7-89A25628881C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10173577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9984A72B-A91E-464D-8CB5-D8E43378CDE2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3B297F5-648C-4D0A-81CD-05527CF0F63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99E37E64-3646-7ED7-1C44-F8B19CC3161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033FE5C2-EA34-A6E8-3B1E-6ACB9FF7A96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60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Linie 1">
            <a:extLst>
              <a:ext uri="{FF2B5EF4-FFF2-40B4-BE49-F238E27FC236}">
                <a16:creationId xmlns:a16="http://schemas.microsoft.com/office/drawing/2014/main" id="{C9064D9F-B951-4C83-98B5-755EE70B54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BAD8EE41-403F-4A48-B1D9-59F5C8F2F1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2634C2BB-8434-4B74-B0E7-547A2713A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Kreis">
            <a:extLst>
              <a:ext uri="{FF2B5EF4-FFF2-40B4-BE49-F238E27FC236}">
                <a16:creationId xmlns:a16="http://schemas.microsoft.com/office/drawing/2014/main" id="{90E9D527-DFF9-4F85-B1A2-0169589ACE74}"/>
              </a:ext>
            </a:extLst>
          </p:cNvPr>
          <p:cNvSpPr>
            <a:spLocks noGrp="1" noChangeAspect="1"/>
          </p:cNvSpPr>
          <p:nvPr>
            <p:ph type="body" sz="quarter" idx="32"/>
          </p:nvPr>
        </p:nvSpPr>
        <p:spPr bwMode="gray">
          <a:xfrm>
            <a:off x="5015206" y="2635200"/>
            <a:ext cx="2160000" cy="2160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txBody>
          <a:bodyPr lIns="0" rIns="0" anchor="ctr"/>
          <a:lstStyle>
            <a:lvl1pPr marL="0" indent="0" algn="ctr">
              <a:buNone/>
              <a:defRPr lang="de-DE" sz="20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79FE2F73-4C50-4BEA-BA8C-06EF1BBA314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6DE21123-9AF5-F9F0-59E2-A0A51B8D95F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754F22DF-91F2-0896-1EAB-20C7ADA6AF2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26578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">
            <a:extLst>
              <a:ext uri="{FF2B5EF4-FFF2-40B4-BE49-F238E27FC236}">
                <a16:creationId xmlns:a16="http://schemas.microsoft.com/office/drawing/2014/main" id="{E956635E-5F2E-40B8-B86F-C5BD10005B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12190412" cy="4578144"/>
          </a:xfrm>
          <a:custGeom>
            <a:avLst/>
            <a:gdLst>
              <a:gd name="connsiteX0" fmla="*/ 0 w 12190412"/>
              <a:gd name="connsiteY0" fmla="*/ 0 h 4578144"/>
              <a:gd name="connsiteX1" fmla="*/ 12190412 w 12190412"/>
              <a:gd name="connsiteY1" fmla="*/ 0 h 4578144"/>
              <a:gd name="connsiteX2" fmla="*/ 12190412 w 12190412"/>
              <a:gd name="connsiteY2" fmla="*/ 4578144 h 4578144"/>
              <a:gd name="connsiteX3" fmla="*/ 11205890 w 12190412"/>
              <a:gd name="connsiteY3" fmla="*/ 4578144 h 4578144"/>
              <a:gd name="connsiteX4" fmla="*/ 11165942 w 12190412"/>
              <a:gd name="connsiteY4" fmla="*/ 4529727 h 4578144"/>
              <a:gd name="connsiteX5" fmla="*/ 10780975 w 12190412"/>
              <a:gd name="connsiteY5" fmla="*/ 4370268 h 4578144"/>
              <a:gd name="connsiteX6" fmla="*/ 10396008 w 12190412"/>
              <a:gd name="connsiteY6" fmla="*/ 4529727 h 4578144"/>
              <a:gd name="connsiteX7" fmla="*/ 10356060 w 12190412"/>
              <a:gd name="connsiteY7" fmla="*/ 4578144 h 4578144"/>
              <a:gd name="connsiteX8" fmla="*/ 0 w 12190412"/>
              <a:gd name="connsiteY8" fmla="*/ 4578144 h 4578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2" h="4578144">
                <a:moveTo>
                  <a:pt x="0" y="0"/>
                </a:moveTo>
                <a:lnTo>
                  <a:pt x="12190412" y="0"/>
                </a:lnTo>
                <a:lnTo>
                  <a:pt x="12190412" y="4578144"/>
                </a:lnTo>
                <a:lnTo>
                  <a:pt x="11205890" y="4578144"/>
                </a:lnTo>
                <a:lnTo>
                  <a:pt x="11165942" y="4529727"/>
                </a:lnTo>
                <a:cubicBezTo>
                  <a:pt x="11067420" y="4431205"/>
                  <a:pt x="10931314" y="4370268"/>
                  <a:pt x="10780975" y="4370268"/>
                </a:cubicBezTo>
                <a:cubicBezTo>
                  <a:pt x="10630636" y="4370268"/>
                  <a:pt x="10494530" y="4431205"/>
                  <a:pt x="10396008" y="4529727"/>
                </a:cubicBezTo>
                <a:lnTo>
                  <a:pt x="10356060" y="4578144"/>
                </a:lnTo>
                <a:lnTo>
                  <a:pt x="0" y="4578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3" name="Inhalt 4">
            <a:extLst>
              <a:ext uri="{FF2B5EF4-FFF2-40B4-BE49-F238E27FC236}">
                <a16:creationId xmlns:a16="http://schemas.microsoft.com/office/drawing/2014/main" id="{90E260A5-FC78-4681-900F-E826056781C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7594809" y="2167101"/>
            <a:ext cx="3096000" cy="3096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1600">
                <a:solidFill>
                  <a:schemeClr val="accent1"/>
                </a:solidFill>
              </a:defRPr>
            </a:lvl1pPr>
            <a:lvl2pPr marL="450000" indent="0" algn="ctr">
              <a:buFontTx/>
              <a:buNone/>
              <a:defRPr sz="1400">
                <a:solidFill>
                  <a:schemeClr val="bg1"/>
                </a:solidFill>
              </a:defRPr>
            </a:lvl2pPr>
            <a:lvl3pPr marL="810000" indent="0"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marL="1170000" indent="0" algn="ctr">
              <a:buFontTx/>
              <a:buNone/>
              <a:defRPr sz="1100">
                <a:solidFill>
                  <a:schemeClr val="bg1"/>
                </a:solidFill>
              </a:defRPr>
            </a:lvl4pPr>
            <a:lvl5pPr marL="1530000" indent="0" algn="ctr">
              <a:buFontTx/>
              <a:buNone/>
              <a:defRPr sz="11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E16B58-0925-41DB-A230-1382938C8B3F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3679B3-7B75-488F-908D-EFC7A5CEA67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/>
              <a:t>Vorstellung E-Rezept KV Sachsen</a:t>
            </a:r>
            <a:endParaRPr lang="de-DE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2E5462-67E8-4410-9603-B69E836A41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E4F04A3-91D6-4B74-A940-C963B9FE2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982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Hintergrund_Bild_Text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39ED2CFF-8044-4FC6-93C8-45C3C10A1E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835206" y="1512000"/>
            <a:ext cx="2520000" cy="25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Form">
            <a:extLst>
              <a:ext uri="{FF2B5EF4-FFF2-40B4-BE49-F238E27FC236}">
                <a16:creationId xmlns:a16="http://schemas.microsoft.com/office/drawing/2014/main" id="{1BBF12AD-3D4E-4B29-88B9-E5A3E5F3F5B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36813" y="1512000"/>
            <a:ext cx="718393" cy="540000"/>
          </a:xfrm>
          <a:custGeom>
            <a:avLst/>
            <a:gdLst>
              <a:gd name="connsiteX0" fmla="*/ 604287 w 718393"/>
              <a:gd name="connsiteY0" fmla="*/ 0 h 540000"/>
              <a:gd name="connsiteX1" fmla="*/ 657322 w 718393"/>
              <a:gd name="connsiteY1" fmla="*/ 3215 h 540000"/>
              <a:gd name="connsiteX2" fmla="*/ 692679 w 718393"/>
              <a:gd name="connsiteY2" fmla="*/ 16071 h 540000"/>
              <a:gd name="connsiteX3" fmla="*/ 713572 w 718393"/>
              <a:gd name="connsiteY3" fmla="*/ 45000 h 540000"/>
              <a:gd name="connsiteX4" fmla="*/ 718393 w 718393"/>
              <a:gd name="connsiteY4" fmla="*/ 98036 h 540000"/>
              <a:gd name="connsiteX5" fmla="*/ 715179 w 718393"/>
              <a:gd name="connsiteY5" fmla="*/ 163929 h 540000"/>
              <a:gd name="connsiteX6" fmla="*/ 705536 w 718393"/>
              <a:gd name="connsiteY6" fmla="*/ 221786 h 540000"/>
              <a:gd name="connsiteX7" fmla="*/ 684643 w 718393"/>
              <a:gd name="connsiteY7" fmla="*/ 274821 h 540000"/>
              <a:gd name="connsiteX8" fmla="*/ 654108 w 718393"/>
              <a:gd name="connsiteY8" fmla="*/ 326250 h 540000"/>
              <a:gd name="connsiteX9" fmla="*/ 533572 w 718393"/>
              <a:gd name="connsiteY9" fmla="*/ 506250 h 540000"/>
              <a:gd name="connsiteX10" fmla="*/ 520714 w 718393"/>
              <a:gd name="connsiteY10" fmla="*/ 522321 h 540000"/>
              <a:gd name="connsiteX11" fmla="*/ 501429 w 718393"/>
              <a:gd name="connsiteY11" fmla="*/ 531964 h 540000"/>
              <a:gd name="connsiteX12" fmla="*/ 475715 w 718393"/>
              <a:gd name="connsiteY12" fmla="*/ 538393 h 540000"/>
              <a:gd name="connsiteX13" fmla="*/ 438750 w 718393"/>
              <a:gd name="connsiteY13" fmla="*/ 540000 h 540000"/>
              <a:gd name="connsiteX14" fmla="*/ 398572 w 718393"/>
              <a:gd name="connsiteY14" fmla="*/ 538393 h 540000"/>
              <a:gd name="connsiteX15" fmla="*/ 377679 w 718393"/>
              <a:gd name="connsiteY15" fmla="*/ 531964 h 540000"/>
              <a:gd name="connsiteX16" fmla="*/ 369643 w 718393"/>
              <a:gd name="connsiteY16" fmla="*/ 519108 h 540000"/>
              <a:gd name="connsiteX17" fmla="*/ 372858 w 718393"/>
              <a:gd name="connsiteY17" fmla="*/ 501429 h 540000"/>
              <a:gd name="connsiteX18" fmla="*/ 483751 w 718393"/>
              <a:gd name="connsiteY18" fmla="*/ 244286 h 540000"/>
              <a:gd name="connsiteX19" fmla="*/ 483751 w 718393"/>
              <a:gd name="connsiteY19" fmla="*/ 98036 h 540000"/>
              <a:gd name="connsiteX20" fmla="*/ 490179 w 718393"/>
              <a:gd name="connsiteY20" fmla="*/ 46608 h 540000"/>
              <a:gd name="connsiteX21" fmla="*/ 511071 w 718393"/>
              <a:gd name="connsiteY21" fmla="*/ 17679 h 540000"/>
              <a:gd name="connsiteX22" fmla="*/ 548036 w 718393"/>
              <a:gd name="connsiteY22" fmla="*/ 4821 h 540000"/>
              <a:gd name="connsiteX23" fmla="*/ 604287 w 718393"/>
              <a:gd name="connsiteY23" fmla="*/ 0 h 540000"/>
              <a:gd name="connsiteX24" fmla="*/ 234643 w 718393"/>
              <a:gd name="connsiteY24" fmla="*/ 0 h 540000"/>
              <a:gd name="connsiteX25" fmla="*/ 287678 w 718393"/>
              <a:gd name="connsiteY25" fmla="*/ 3215 h 540000"/>
              <a:gd name="connsiteX26" fmla="*/ 323036 w 718393"/>
              <a:gd name="connsiteY26" fmla="*/ 16071 h 540000"/>
              <a:gd name="connsiteX27" fmla="*/ 343929 w 718393"/>
              <a:gd name="connsiteY27" fmla="*/ 45000 h 540000"/>
              <a:gd name="connsiteX28" fmla="*/ 350357 w 718393"/>
              <a:gd name="connsiteY28" fmla="*/ 98036 h 540000"/>
              <a:gd name="connsiteX29" fmla="*/ 347144 w 718393"/>
              <a:gd name="connsiteY29" fmla="*/ 163929 h 540000"/>
              <a:gd name="connsiteX30" fmla="*/ 335893 w 718393"/>
              <a:gd name="connsiteY30" fmla="*/ 221786 h 540000"/>
              <a:gd name="connsiteX31" fmla="*/ 315000 w 718393"/>
              <a:gd name="connsiteY31" fmla="*/ 274821 h 540000"/>
              <a:gd name="connsiteX32" fmla="*/ 284465 w 718393"/>
              <a:gd name="connsiteY32" fmla="*/ 326250 h 540000"/>
              <a:gd name="connsiteX33" fmla="*/ 163929 w 718393"/>
              <a:gd name="connsiteY33" fmla="*/ 506250 h 540000"/>
              <a:gd name="connsiteX34" fmla="*/ 151071 w 718393"/>
              <a:gd name="connsiteY34" fmla="*/ 522321 h 540000"/>
              <a:gd name="connsiteX35" fmla="*/ 131786 w 718393"/>
              <a:gd name="connsiteY35" fmla="*/ 531964 h 540000"/>
              <a:gd name="connsiteX36" fmla="*/ 106072 w 718393"/>
              <a:gd name="connsiteY36" fmla="*/ 538393 h 540000"/>
              <a:gd name="connsiteX37" fmla="*/ 70715 w 718393"/>
              <a:gd name="connsiteY37" fmla="*/ 540000 h 540000"/>
              <a:gd name="connsiteX38" fmla="*/ 30535 w 718393"/>
              <a:gd name="connsiteY38" fmla="*/ 538393 h 540000"/>
              <a:gd name="connsiteX39" fmla="*/ 8036 w 718393"/>
              <a:gd name="connsiteY39" fmla="*/ 531964 h 540000"/>
              <a:gd name="connsiteX40" fmla="*/ 0 w 718393"/>
              <a:gd name="connsiteY40" fmla="*/ 519108 h 540000"/>
              <a:gd name="connsiteX41" fmla="*/ 4821 w 718393"/>
              <a:gd name="connsiteY41" fmla="*/ 501429 h 540000"/>
              <a:gd name="connsiteX42" fmla="*/ 115715 w 718393"/>
              <a:gd name="connsiteY42" fmla="*/ 244286 h 540000"/>
              <a:gd name="connsiteX43" fmla="*/ 115715 w 718393"/>
              <a:gd name="connsiteY43" fmla="*/ 98036 h 540000"/>
              <a:gd name="connsiteX44" fmla="*/ 122143 w 718393"/>
              <a:gd name="connsiteY44" fmla="*/ 46608 h 540000"/>
              <a:gd name="connsiteX45" fmla="*/ 143036 w 718393"/>
              <a:gd name="connsiteY45" fmla="*/ 17679 h 540000"/>
              <a:gd name="connsiteX46" fmla="*/ 180000 w 718393"/>
              <a:gd name="connsiteY46" fmla="*/ 4821 h 540000"/>
              <a:gd name="connsiteX47" fmla="*/ 234643 w 718393"/>
              <a:gd name="connsiteY47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718393" h="540000">
                <a:moveTo>
                  <a:pt x="604287" y="0"/>
                </a:moveTo>
                <a:cubicBezTo>
                  <a:pt x="625179" y="0"/>
                  <a:pt x="642858" y="1607"/>
                  <a:pt x="657322" y="3215"/>
                </a:cubicBezTo>
                <a:cubicBezTo>
                  <a:pt x="671786" y="6428"/>
                  <a:pt x="683036" y="9643"/>
                  <a:pt x="692679" y="16071"/>
                </a:cubicBezTo>
                <a:cubicBezTo>
                  <a:pt x="702322" y="22500"/>
                  <a:pt x="708750" y="32143"/>
                  <a:pt x="713572" y="45000"/>
                </a:cubicBezTo>
                <a:cubicBezTo>
                  <a:pt x="718393" y="57857"/>
                  <a:pt x="718393" y="77143"/>
                  <a:pt x="718393" y="98036"/>
                </a:cubicBezTo>
                <a:cubicBezTo>
                  <a:pt x="718393" y="122143"/>
                  <a:pt x="716786" y="144643"/>
                  <a:pt x="715179" y="163929"/>
                </a:cubicBezTo>
                <a:cubicBezTo>
                  <a:pt x="713572" y="183215"/>
                  <a:pt x="710357" y="204107"/>
                  <a:pt x="705536" y="221786"/>
                </a:cubicBezTo>
                <a:cubicBezTo>
                  <a:pt x="700715" y="239464"/>
                  <a:pt x="692679" y="257143"/>
                  <a:pt x="684643" y="274821"/>
                </a:cubicBezTo>
                <a:cubicBezTo>
                  <a:pt x="676608" y="292500"/>
                  <a:pt x="666965" y="308571"/>
                  <a:pt x="654108" y="326250"/>
                </a:cubicBezTo>
                <a:lnTo>
                  <a:pt x="533572" y="506250"/>
                </a:lnTo>
                <a:cubicBezTo>
                  <a:pt x="528750" y="512678"/>
                  <a:pt x="523929" y="517500"/>
                  <a:pt x="520714" y="522321"/>
                </a:cubicBezTo>
                <a:cubicBezTo>
                  <a:pt x="517501" y="527143"/>
                  <a:pt x="509465" y="530357"/>
                  <a:pt x="501429" y="531964"/>
                </a:cubicBezTo>
                <a:cubicBezTo>
                  <a:pt x="493393" y="533572"/>
                  <a:pt x="485357" y="536786"/>
                  <a:pt x="475715" y="538393"/>
                </a:cubicBezTo>
                <a:cubicBezTo>
                  <a:pt x="466072" y="540000"/>
                  <a:pt x="453215" y="540000"/>
                  <a:pt x="438750" y="540000"/>
                </a:cubicBezTo>
                <a:cubicBezTo>
                  <a:pt x="422679" y="540000"/>
                  <a:pt x="409822" y="540000"/>
                  <a:pt x="398572" y="538393"/>
                </a:cubicBezTo>
                <a:cubicBezTo>
                  <a:pt x="387322" y="536786"/>
                  <a:pt x="382500" y="535179"/>
                  <a:pt x="377679" y="531964"/>
                </a:cubicBezTo>
                <a:cubicBezTo>
                  <a:pt x="372858" y="528751"/>
                  <a:pt x="369643" y="523929"/>
                  <a:pt x="369643" y="519108"/>
                </a:cubicBezTo>
                <a:cubicBezTo>
                  <a:pt x="369643" y="514286"/>
                  <a:pt x="369643" y="507857"/>
                  <a:pt x="372858" y="501429"/>
                </a:cubicBezTo>
                <a:lnTo>
                  <a:pt x="483751" y="244286"/>
                </a:lnTo>
                <a:lnTo>
                  <a:pt x="483751" y="98036"/>
                </a:lnTo>
                <a:cubicBezTo>
                  <a:pt x="483751" y="77143"/>
                  <a:pt x="485357" y="59464"/>
                  <a:pt x="490179" y="46608"/>
                </a:cubicBezTo>
                <a:cubicBezTo>
                  <a:pt x="495000" y="33750"/>
                  <a:pt x="501429" y="24107"/>
                  <a:pt x="511071" y="17679"/>
                </a:cubicBezTo>
                <a:cubicBezTo>
                  <a:pt x="520714" y="11250"/>
                  <a:pt x="533572" y="6428"/>
                  <a:pt x="548036" y="4821"/>
                </a:cubicBezTo>
                <a:cubicBezTo>
                  <a:pt x="562500" y="3215"/>
                  <a:pt x="583393" y="0"/>
                  <a:pt x="604287" y="0"/>
                </a:cubicBezTo>
                <a:close/>
                <a:moveTo>
                  <a:pt x="234643" y="0"/>
                </a:moveTo>
                <a:cubicBezTo>
                  <a:pt x="255536" y="0"/>
                  <a:pt x="273214" y="1607"/>
                  <a:pt x="287678" y="3215"/>
                </a:cubicBezTo>
                <a:cubicBezTo>
                  <a:pt x="302143" y="4821"/>
                  <a:pt x="313393" y="9643"/>
                  <a:pt x="323036" y="16071"/>
                </a:cubicBezTo>
                <a:cubicBezTo>
                  <a:pt x="332679" y="22500"/>
                  <a:pt x="339107" y="32143"/>
                  <a:pt x="343929" y="45000"/>
                </a:cubicBezTo>
                <a:cubicBezTo>
                  <a:pt x="348750" y="57857"/>
                  <a:pt x="350357" y="77143"/>
                  <a:pt x="350357" y="98036"/>
                </a:cubicBezTo>
                <a:cubicBezTo>
                  <a:pt x="350357" y="122143"/>
                  <a:pt x="348750" y="144643"/>
                  <a:pt x="347144" y="163929"/>
                </a:cubicBezTo>
                <a:cubicBezTo>
                  <a:pt x="345536" y="183215"/>
                  <a:pt x="340714" y="204107"/>
                  <a:pt x="335893" y="221786"/>
                </a:cubicBezTo>
                <a:cubicBezTo>
                  <a:pt x="331071" y="239464"/>
                  <a:pt x="324643" y="257143"/>
                  <a:pt x="315000" y="274821"/>
                </a:cubicBezTo>
                <a:cubicBezTo>
                  <a:pt x="305357" y="292500"/>
                  <a:pt x="297321" y="308571"/>
                  <a:pt x="284465" y="326250"/>
                </a:cubicBezTo>
                <a:lnTo>
                  <a:pt x="163929" y="506250"/>
                </a:lnTo>
                <a:cubicBezTo>
                  <a:pt x="160714" y="512678"/>
                  <a:pt x="155893" y="517500"/>
                  <a:pt x="151071" y="522321"/>
                </a:cubicBezTo>
                <a:cubicBezTo>
                  <a:pt x="146250" y="527143"/>
                  <a:pt x="139822" y="530357"/>
                  <a:pt x="131786" y="531964"/>
                </a:cubicBezTo>
                <a:cubicBezTo>
                  <a:pt x="123751" y="533572"/>
                  <a:pt x="115715" y="536786"/>
                  <a:pt x="106072" y="538393"/>
                </a:cubicBezTo>
                <a:cubicBezTo>
                  <a:pt x="96429" y="540000"/>
                  <a:pt x="85179" y="540000"/>
                  <a:pt x="70715" y="540000"/>
                </a:cubicBezTo>
                <a:cubicBezTo>
                  <a:pt x="54643" y="540000"/>
                  <a:pt x="41786" y="540000"/>
                  <a:pt x="30535" y="538393"/>
                </a:cubicBezTo>
                <a:cubicBezTo>
                  <a:pt x="19286" y="536786"/>
                  <a:pt x="12858" y="535179"/>
                  <a:pt x="8036" y="531964"/>
                </a:cubicBezTo>
                <a:cubicBezTo>
                  <a:pt x="3215" y="528751"/>
                  <a:pt x="0" y="523929"/>
                  <a:pt x="0" y="519108"/>
                </a:cubicBezTo>
                <a:cubicBezTo>
                  <a:pt x="0" y="514286"/>
                  <a:pt x="1607" y="507857"/>
                  <a:pt x="4821" y="501429"/>
                </a:cubicBezTo>
                <a:lnTo>
                  <a:pt x="115715" y="244286"/>
                </a:lnTo>
                <a:lnTo>
                  <a:pt x="115715" y="98036"/>
                </a:lnTo>
                <a:cubicBezTo>
                  <a:pt x="115715" y="77143"/>
                  <a:pt x="117321" y="59464"/>
                  <a:pt x="122143" y="46608"/>
                </a:cubicBezTo>
                <a:cubicBezTo>
                  <a:pt x="126964" y="33750"/>
                  <a:pt x="133393" y="24107"/>
                  <a:pt x="143036" y="17679"/>
                </a:cubicBezTo>
                <a:cubicBezTo>
                  <a:pt x="152679" y="11250"/>
                  <a:pt x="165536" y="6428"/>
                  <a:pt x="180000" y="4821"/>
                </a:cubicBezTo>
                <a:cubicBezTo>
                  <a:pt x="194464" y="3215"/>
                  <a:pt x="213750" y="0"/>
                  <a:pt x="234643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595206" y="4212000"/>
            <a:ext cx="9000000" cy="720000"/>
          </a:xfrm>
          <a:prstGeom prst="rect">
            <a:avLst/>
          </a:prstGeom>
        </p:spPr>
        <p:txBody>
          <a:bodyPr rIns="0" anchor="b" anchorCtr="0"/>
          <a:lstStyle>
            <a:lvl1pPr marL="0" indent="0" algn="ctr">
              <a:buFontTx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F96C59BA-BE22-4B29-AD36-09FA94D9680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595206" y="5112000"/>
            <a:ext cx="9000000" cy="445838"/>
          </a:xfrm>
          <a:prstGeom prst="rect">
            <a:avLst/>
          </a:prstGeom>
        </p:spPr>
        <p:txBody>
          <a:bodyPr rIns="0" anchor="t" anchorCtr="0"/>
          <a:lstStyle>
            <a:lvl1pPr marL="0" indent="0" algn="ctr">
              <a:buFontTx/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842A2E9A-2F1C-FC57-9EDB-E1F55EB440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670F89A9-3B9A-286F-0B71-B8D65F3D34C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2611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Linie 1">
            <a:extLst>
              <a:ext uri="{FF2B5EF4-FFF2-40B4-BE49-F238E27FC236}">
                <a16:creationId xmlns:a16="http://schemas.microsoft.com/office/drawing/2014/main" id="{460BAA3B-171B-4D22-B9AB-DC36BFCA051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F9661A75-ABF9-4098-B4E4-22976361AC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CA4056E2-86C5-4903-A2D5-BA5FD40B3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 bwMode="gray">
          <a:xfrm>
            <a:off x="4251741" y="1872562"/>
            <a:ext cx="3686932" cy="368527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4C1D2ACF-529C-4292-9D08-FD20D2D8593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0A113605-5587-C64E-88E1-9CBC49928BA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8136169A-4F79-2F7D-6DAB-B1F91E1011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301213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Zwischenfolie">
    <p:bg bwMode="lt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1DCAFF42-0775-4212-8BB9-A84E3BBF04F0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0190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39999" y="2736139"/>
            <a:ext cx="3600000" cy="1597561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673206" y="2112919"/>
            <a:ext cx="2844000" cy="28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0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049600" y="2736139"/>
            <a:ext cx="3600000" cy="159756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7E9A5A3E-69E8-7A3B-6A13-0AA10852CD7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D8ED3A72-CE24-BC7A-A6CF-5DED927214B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1685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nie">
            <a:extLst>
              <a:ext uri="{FF2B5EF4-FFF2-40B4-BE49-F238E27FC236}">
                <a16:creationId xmlns:a16="http://schemas.microsoft.com/office/drawing/2014/main" id="{CFD4C627-3EDC-40D2-829D-1FEDFB67E21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3672000"/>
            <a:ext cx="0" cy="3186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Ellipse">
            <a:extLst>
              <a:ext uri="{FF2B5EF4-FFF2-40B4-BE49-F238E27FC236}">
                <a16:creationId xmlns:a16="http://schemas.microsoft.com/office/drawing/2014/main" id="{B2324544-18CB-4ADE-A361-AE4771C6402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872C575-800C-481B-9E21-57874F011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9B363C7E-AB4B-415C-AA91-3D39EEE1FF5D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015206" y="1512000"/>
            <a:ext cx="2160000" cy="21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5ADECE05-E3F2-4E59-9CD3-A06F4A44B6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27A749E6-4642-4BD2-9222-2FCE7838556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1091B776-F8FF-4514-B227-23880F01DC5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0159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3378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Linie">
            <a:extLst>
              <a:ext uri="{FF2B5EF4-FFF2-40B4-BE49-F238E27FC236}">
                <a16:creationId xmlns:a16="http://schemas.microsoft.com/office/drawing/2014/main" id="{ED9BA028-009A-4CAB-B0E2-D389C9960A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Ellipse 1">
            <a:extLst>
              <a:ext uri="{FF2B5EF4-FFF2-40B4-BE49-F238E27FC236}">
                <a16:creationId xmlns:a16="http://schemas.microsoft.com/office/drawing/2014/main" id="{E5D5FBC6-32B9-4B0C-BB75-AA569CDF9F0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188999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4" name="Ellipse 2">
            <a:extLst>
              <a:ext uri="{FF2B5EF4-FFF2-40B4-BE49-F238E27FC236}">
                <a16:creationId xmlns:a16="http://schemas.microsoft.com/office/drawing/2014/main" id="{2D4D7C40-3F32-4F01-BA33-B1987A25DA2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346291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7" name="Ellipse 3">
            <a:extLst>
              <a:ext uri="{FF2B5EF4-FFF2-40B4-BE49-F238E27FC236}">
                <a16:creationId xmlns:a16="http://schemas.microsoft.com/office/drawing/2014/main" id="{7693EFA4-2E8F-479D-9C23-B60BBF5789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432FB5BB-C0A6-48A9-AFEA-323F7F165439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 bwMode="gray">
          <a:xfrm>
            <a:off x="1062925" y="151199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Inhalt 2">
            <a:extLst>
              <a:ext uri="{FF2B5EF4-FFF2-40B4-BE49-F238E27FC236}">
                <a16:creationId xmlns:a16="http://schemas.microsoft.com/office/drawing/2014/main" id="{0771D76F-6B60-4F65-9A7A-D5826C2B98F9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 bwMode="gray">
          <a:xfrm>
            <a:off x="1062925" y="308491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3">
            <a:extLst>
              <a:ext uri="{FF2B5EF4-FFF2-40B4-BE49-F238E27FC236}">
                <a16:creationId xmlns:a16="http://schemas.microsoft.com/office/drawing/2014/main" id="{6EC08D63-9BF3-469D-B60A-957DAA4BF25A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Inhalt 4">
            <a:extLst>
              <a:ext uri="{FF2B5EF4-FFF2-40B4-BE49-F238E27FC236}">
                <a16:creationId xmlns:a16="http://schemas.microsoft.com/office/drawing/2014/main" id="{E61BC949-8478-432F-BAC9-D59A65E7135D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 bwMode="gray">
          <a:xfrm>
            <a:off x="6409961" y="151199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0" name="Inhalt 5">
            <a:extLst>
              <a:ext uri="{FF2B5EF4-FFF2-40B4-BE49-F238E27FC236}">
                <a16:creationId xmlns:a16="http://schemas.microsoft.com/office/drawing/2014/main" id="{4C6B609E-388D-48E1-800F-C0A85655CD7F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 bwMode="gray">
          <a:xfrm>
            <a:off x="6409961" y="308491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Inhalt 6">
            <a:extLst>
              <a:ext uri="{FF2B5EF4-FFF2-40B4-BE49-F238E27FC236}">
                <a16:creationId xmlns:a16="http://schemas.microsoft.com/office/drawing/2014/main" id="{48CB1EA9-203C-4E42-A308-04A5A08DD20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D1F7B944-8A45-40CF-89E5-A218E37E269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0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7397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6" name="Form">
            <a:extLst>
              <a:ext uri="{FF2B5EF4-FFF2-40B4-BE49-F238E27FC236}">
                <a16:creationId xmlns:a16="http://schemas.microsoft.com/office/drawing/2014/main" id="{ABE7071D-F074-45F7-B1B6-E48BC4775EE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1A5E8948-395F-E33A-EFC8-2D828404DA9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A3B67453-CBDC-D43A-334F-21ACFF148B2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370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melin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16D7D751-2D8F-C0B5-C604-7365226F79F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7E42C0BF-EBE6-E80D-579D-BE3702CDB1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4792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Weltkart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eltkarte">
            <a:extLst>
              <a:ext uri="{FF2B5EF4-FFF2-40B4-BE49-F238E27FC236}">
                <a16:creationId xmlns:a16="http://schemas.microsoft.com/office/drawing/2014/main" id="{A4477C10-B2A8-4541-BCA5-CD24548967F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947018" y="1512000"/>
            <a:ext cx="8296377" cy="4046400"/>
          </a:xfrm>
          <a:custGeom>
            <a:avLst/>
            <a:gdLst>
              <a:gd name="T0" fmla="*/ 2629 w 3071"/>
              <a:gd name="T1" fmla="*/ 937 h 1498"/>
              <a:gd name="T2" fmla="*/ 2624 w 3071"/>
              <a:gd name="T3" fmla="*/ 809 h 1498"/>
              <a:gd name="T4" fmla="*/ 2682 w 3071"/>
              <a:gd name="T5" fmla="*/ 915 h 1498"/>
              <a:gd name="T6" fmla="*/ 2547 w 3071"/>
              <a:gd name="T7" fmla="*/ 953 h 1498"/>
              <a:gd name="T8" fmla="*/ 2461 w 3071"/>
              <a:gd name="T9" fmla="*/ 919 h 1498"/>
              <a:gd name="T10" fmla="*/ 2747 w 3071"/>
              <a:gd name="T11" fmla="*/ 1052 h 1498"/>
              <a:gd name="T12" fmla="*/ 2583 w 3071"/>
              <a:gd name="T13" fmla="*/ 1255 h 1498"/>
              <a:gd name="T14" fmla="*/ 2387 w 3071"/>
              <a:gd name="T15" fmla="*/ 878 h 1498"/>
              <a:gd name="T16" fmla="*/ 2948 w 3071"/>
              <a:gd name="T17" fmla="*/ 1383 h 1498"/>
              <a:gd name="T18" fmla="*/ 1378 w 3071"/>
              <a:gd name="T19" fmla="*/ 255 h 1498"/>
              <a:gd name="T20" fmla="*/ 1659 w 3071"/>
              <a:gd name="T21" fmla="*/ 449 h 1498"/>
              <a:gd name="T22" fmla="*/ 1415 w 3071"/>
              <a:gd name="T23" fmla="*/ 257 h 1498"/>
              <a:gd name="T24" fmla="*/ 1829 w 3071"/>
              <a:gd name="T25" fmla="*/ 60 h 1498"/>
              <a:gd name="T26" fmla="*/ 1433 w 3071"/>
              <a:gd name="T27" fmla="*/ 438 h 1498"/>
              <a:gd name="T28" fmla="*/ 183 w 3071"/>
              <a:gd name="T29" fmla="*/ 237 h 1498"/>
              <a:gd name="T30" fmla="*/ 623 w 3071"/>
              <a:gd name="T31" fmla="*/ 92 h 1498"/>
              <a:gd name="T32" fmla="*/ 765 w 3071"/>
              <a:gd name="T33" fmla="*/ 95 h 1498"/>
              <a:gd name="T34" fmla="*/ 650 w 3071"/>
              <a:gd name="T35" fmla="*/ 65 h 1498"/>
              <a:gd name="T36" fmla="*/ 890 w 3071"/>
              <a:gd name="T37" fmla="*/ 182 h 1498"/>
              <a:gd name="T38" fmla="*/ 1040 w 3071"/>
              <a:gd name="T39" fmla="*/ 15 h 1498"/>
              <a:gd name="T40" fmla="*/ 1280 w 3071"/>
              <a:gd name="T41" fmla="*/ 82 h 1498"/>
              <a:gd name="T42" fmla="*/ 986 w 3071"/>
              <a:gd name="T43" fmla="*/ 48 h 1498"/>
              <a:gd name="T44" fmla="*/ 1077 w 3071"/>
              <a:gd name="T45" fmla="*/ 200 h 1498"/>
              <a:gd name="T46" fmla="*/ 329 w 3071"/>
              <a:gd name="T47" fmla="*/ 266 h 1498"/>
              <a:gd name="T48" fmla="*/ 908 w 3071"/>
              <a:gd name="T49" fmla="*/ 878 h 1498"/>
              <a:gd name="T50" fmla="*/ 1059 w 3071"/>
              <a:gd name="T51" fmla="*/ 935 h 1498"/>
              <a:gd name="T52" fmla="*/ 650 w 3071"/>
              <a:gd name="T53" fmla="*/ 785 h 1498"/>
              <a:gd name="T54" fmla="*/ 571 w 3071"/>
              <a:gd name="T55" fmla="*/ 536 h 1498"/>
              <a:gd name="T56" fmla="*/ 846 w 3071"/>
              <a:gd name="T57" fmla="*/ 370 h 1498"/>
              <a:gd name="T58" fmla="*/ 882 w 3071"/>
              <a:gd name="T59" fmla="*/ 203 h 1498"/>
              <a:gd name="T60" fmla="*/ 761 w 3071"/>
              <a:gd name="T61" fmla="*/ 106 h 1498"/>
              <a:gd name="T62" fmla="*/ 190 w 3071"/>
              <a:gd name="T63" fmla="*/ 165 h 1498"/>
              <a:gd name="T64" fmla="*/ 294 w 3071"/>
              <a:gd name="T65" fmla="*/ 210 h 1498"/>
              <a:gd name="T66" fmla="*/ 312 w 3071"/>
              <a:gd name="T67" fmla="*/ 536 h 1498"/>
              <a:gd name="T68" fmla="*/ 645 w 3071"/>
              <a:gd name="T69" fmla="*/ 814 h 1498"/>
              <a:gd name="T70" fmla="*/ 761 w 3071"/>
              <a:gd name="T71" fmla="*/ 1395 h 1498"/>
              <a:gd name="T72" fmla="*/ 887 w 3071"/>
              <a:gd name="T73" fmla="*/ 1307 h 1498"/>
              <a:gd name="T74" fmla="*/ 634 w 3071"/>
              <a:gd name="T75" fmla="*/ 384 h 1498"/>
              <a:gd name="T76" fmla="*/ 604 w 3071"/>
              <a:gd name="T77" fmla="*/ 286 h 1498"/>
              <a:gd name="T78" fmla="*/ 759 w 3071"/>
              <a:gd name="T79" fmla="*/ 1370 h 1498"/>
              <a:gd name="T80" fmla="*/ 1654 w 3071"/>
              <a:gd name="T81" fmla="*/ 426 h 1498"/>
              <a:gd name="T82" fmla="*/ 2428 w 3071"/>
              <a:gd name="T83" fmla="*/ 63 h 1498"/>
              <a:gd name="T84" fmla="*/ 2628 w 3071"/>
              <a:gd name="T85" fmla="*/ 294 h 1498"/>
              <a:gd name="T86" fmla="*/ 2448 w 3071"/>
              <a:gd name="T87" fmla="*/ 780 h 1498"/>
              <a:gd name="T88" fmla="*/ 2558 w 3071"/>
              <a:gd name="T89" fmla="*/ 427 h 1498"/>
              <a:gd name="T90" fmla="*/ 2670 w 3071"/>
              <a:gd name="T91" fmla="*/ 219 h 1498"/>
              <a:gd name="T92" fmla="*/ 2813 w 3071"/>
              <a:gd name="T93" fmla="*/ 144 h 1498"/>
              <a:gd name="T94" fmla="*/ 2186 w 3071"/>
              <a:gd name="T95" fmla="*/ 83 h 1498"/>
              <a:gd name="T96" fmla="*/ 1934 w 3071"/>
              <a:gd name="T97" fmla="*/ 126 h 1498"/>
              <a:gd name="T98" fmla="*/ 1560 w 3071"/>
              <a:gd name="T99" fmla="*/ 124 h 1498"/>
              <a:gd name="T100" fmla="*/ 1562 w 3071"/>
              <a:gd name="T101" fmla="*/ 228 h 1498"/>
              <a:gd name="T102" fmla="*/ 1502 w 3071"/>
              <a:gd name="T103" fmla="*/ 269 h 1498"/>
              <a:gd name="T104" fmla="*/ 1515 w 3071"/>
              <a:gd name="T105" fmla="*/ 391 h 1498"/>
              <a:gd name="T106" fmla="*/ 1752 w 3071"/>
              <a:gd name="T107" fmla="*/ 472 h 1498"/>
              <a:gd name="T108" fmla="*/ 1252 w 3071"/>
              <a:gd name="T109" fmla="*/ 626 h 1498"/>
              <a:gd name="T110" fmla="*/ 1498 w 3071"/>
              <a:gd name="T111" fmla="*/ 885 h 1498"/>
              <a:gd name="T112" fmla="*/ 1805 w 3071"/>
              <a:gd name="T113" fmla="*/ 989 h 1498"/>
              <a:gd name="T114" fmla="*/ 1957 w 3071"/>
              <a:gd name="T115" fmla="*/ 674 h 1498"/>
              <a:gd name="T116" fmla="*/ 2200 w 3071"/>
              <a:gd name="T117" fmla="*/ 717 h 1498"/>
              <a:gd name="T118" fmla="*/ 1755 w 3071"/>
              <a:gd name="T119" fmla="*/ 882 h 1498"/>
              <a:gd name="T120" fmla="*/ 1835 w 3071"/>
              <a:gd name="T121" fmla="*/ 313 h 1498"/>
              <a:gd name="T122" fmla="*/ 1906 w 3071"/>
              <a:gd name="T123" fmla="*/ 434 h 1498"/>
              <a:gd name="T124" fmla="*/ 2656 w 3071"/>
              <a:gd name="T125" fmla="*/ 500 h 1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71" h="1498">
                <a:moveTo>
                  <a:pt x="2691" y="854"/>
                </a:moveTo>
                <a:cubicBezTo>
                  <a:pt x="2694" y="851"/>
                  <a:pt x="2693" y="850"/>
                  <a:pt x="2690" y="849"/>
                </a:cubicBezTo>
                <a:cubicBezTo>
                  <a:pt x="2688" y="848"/>
                  <a:pt x="2687" y="849"/>
                  <a:pt x="2687" y="849"/>
                </a:cubicBezTo>
                <a:cubicBezTo>
                  <a:pt x="2687" y="849"/>
                  <a:pt x="2690" y="855"/>
                  <a:pt x="2691" y="854"/>
                </a:cubicBezTo>
                <a:close/>
                <a:moveTo>
                  <a:pt x="2678" y="874"/>
                </a:moveTo>
                <a:cubicBezTo>
                  <a:pt x="2678" y="876"/>
                  <a:pt x="2676" y="878"/>
                  <a:pt x="2678" y="880"/>
                </a:cubicBezTo>
                <a:cubicBezTo>
                  <a:pt x="2679" y="881"/>
                  <a:pt x="2687" y="888"/>
                  <a:pt x="2689" y="888"/>
                </a:cubicBezTo>
                <a:cubicBezTo>
                  <a:pt x="2691" y="887"/>
                  <a:pt x="2689" y="884"/>
                  <a:pt x="2687" y="883"/>
                </a:cubicBezTo>
                <a:cubicBezTo>
                  <a:pt x="2685" y="882"/>
                  <a:pt x="2683" y="879"/>
                  <a:pt x="2685" y="877"/>
                </a:cubicBezTo>
                <a:cubicBezTo>
                  <a:pt x="2688" y="875"/>
                  <a:pt x="2692" y="877"/>
                  <a:pt x="2692" y="877"/>
                </a:cubicBezTo>
                <a:cubicBezTo>
                  <a:pt x="2694" y="876"/>
                  <a:pt x="2694" y="876"/>
                  <a:pt x="2694" y="876"/>
                </a:cubicBezTo>
                <a:cubicBezTo>
                  <a:pt x="2690" y="873"/>
                  <a:pt x="2690" y="873"/>
                  <a:pt x="2690" y="873"/>
                </a:cubicBezTo>
                <a:cubicBezTo>
                  <a:pt x="2690" y="873"/>
                  <a:pt x="2693" y="872"/>
                  <a:pt x="2694" y="869"/>
                </a:cubicBezTo>
                <a:cubicBezTo>
                  <a:pt x="2694" y="867"/>
                  <a:pt x="2691" y="865"/>
                  <a:pt x="2689" y="865"/>
                </a:cubicBezTo>
                <a:cubicBezTo>
                  <a:pt x="2687" y="865"/>
                  <a:pt x="2685" y="870"/>
                  <a:pt x="2682" y="871"/>
                </a:cubicBezTo>
                <a:cubicBezTo>
                  <a:pt x="2680" y="871"/>
                  <a:pt x="2680" y="865"/>
                  <a:pt x="2680" y="865"/>
                </a:cubicBezTo>
                <a:cubicBezTo>
                  <a:pt x="2680" y="865"/>
                  <a:pt x="2683" y="863"/>
                  <a:pt x="2683" y="861"/>
                </a:cubicBezTo>
                <a:cubicBezTo>
                  <a:pt x="2684" y="858"/>
                  <a:pt x="2683" y="857"/>
                  <a:pt x="2683" y="857"/>
                </a:cubicBezTo>
                <a:cubicBezTo>
                  <a:pt x="2684" y="852"/>
                  <a:pt x="2684" y="852"/>
                  <a:pt x="2684" y="852"/>
                </a:cubicBezTo>
                <a:cubicBezTo>
                  <a:pt x="2679" y="857"/>
                  <a:pt x="2679" y="857"/>
                  <a:pt x="2679" y="857"/>
                </a:cubicBezTo>
                <a:cubicBezTo>
                  <a:pt x="2679" y="861"/>
                  <a:pt x="2679" y="861"/>
                  <a:pt x="2679" y="861"/>
                </a:cubicBezTo>
                <a:cubicBezTo>
                  <a:pt x="2679" y="861"/>
                  <a:pt x="2674" y="863"/>
                  <a:pt x="2674" y="868"/>
                </a:cubicBezTo>
                <a:cubicBezTo>
                  <a:pt x="2675" y="872"/>
                  <a:pt x="2677" y="872"/>
                  <a:pt x="2678" y="874"/>
                </a:cubicBezTo>
                <a:close/>
                <a:moveTo>
                  <a:pt x="2683" y="895"/>
                </a:moveTo>
                <a:cubicBezTo>
                  <a:pt x="2681" y="893"/>
                  <a:pt x="2677" y="890"/>
                  <a:pt x="2677" y="890"/>
                </a:cubicBezTo>
                <a:cubicBezTo>
                  <a:pt x="2677" y="897"/>
                  <a:pt x="2677" y="897"/>
                  <a:pt x="2677" y="897"/>
                </a:cubicBezTo>
                <a:cubicBezTo>
                  <a:pt x="2679" y="898"/>
                  <a:pt x="2685" y="898"/>
                  <a:pt x="2683" y="895"/>
                </a:cubicBezTo>
                <a:close/>
                <a:moveTo>
                  <a:pt x="2700" y="905"/>
                </a:moveTo>
                <a:cubicBezTo>
                  <a:pt x="2705" y="903"/>
                  <a:pt x="2705" y="899"/>
                  <a:pt x="2705" y="899"/>
                </a:cubicBezTo>
                <a:cubicBezTo>
                  <a:pt x="2695" y="899"/>
                  <a:pt x="2695" y="899"/>
                  <a:pt x="2695" y="899"/>
                </a:cubicBezTo>
                <a:cubicBezTo>
                  <a:pt x="2695" y="899"/>
                  <a:pt x="2696" y="907"/>
                  <a:pt x="2700" y="905"/>
                </a:cubicBezTo>
                <a:close/>
                <a:moveTo>
                  <a:pt x="2635" y="995"/>
                </a:moveTo>
                <a:cubicBezTo>
                  <a:pt x="2638" y="997"/>
                  <a:pt x="2646" y="989"/>
                  <a:pt x="2649" y="986"/>
                </a:cubicBezTo>
                <a:cubicBezTo>
                  <a:pt x="2650" y="986"/>
                  <a:pt x="2650" y="985"/>
                  <a:pt x="2650" y="985"/>
                </a:cubicBezTo>
                <a:cubicBezTo>
                  <a:pt x="2652" y="985"/>
                  <a:pt x="2652" y="985"/>
                  <a:pt x="2652" y="985"/>
                </a:cubicBezTo>
                <a:cubicBezTo>
                  <a:pt x="2657" y="981"/>
                  <a:pt x="2657" y="981"/>
                  <a:pt x="2657" y="981"/>
                </a:cubicBezTo>
                <a:cubicBezTo>
                  <a:pt x="2657" y="981"/>
                  <a:pt x="2659" y="983"/>
                  <a:pt x="2662" y="983"/>
                </a:cubicBezTo>
                <a:cubicBezTo>
                  <a:pt x="2664" y="982"/>
                  <a:pt x="2674" y="972"/>
                  <a:pt x="2674" y="972"/>
                </a:cubicBezTo>
                <a:cubicBezTo>
                  <a:pt x="2670" y="970"/>
                  <a:pt x="2670" y="970"/>
                  <a:pt x="2670" y="970"/>
                </a:cubicBezTo>
                <a:cubicBezTo>
                  <a:pt x="2667" y="973"/>
                  <a:pt x="2667" y="973"/>
                  <a:pt x="2667" y="973"/>
                </a:cubicBezTo>
                <a:cubicBezTo>
                  <a:pt x="2667" y="973"/>
                  <a:pt x="2658" y="973"/>
                  <a:pt x="2656" y="973"/>
                </a:cubicBezTo>
                <a:cubicBezTo>
                  <a:pt x="2654" y="973"/>
                  <a:pt x="2652" y="977"/>
                  <a:pt x="2652" y="977"/>
                </a:cubicBezTo>
                <a:cubicBezTo>
                  <a:pt x="2652" y="977"/>
                  <a:pt x="2651" y="977"/>
                  <a:pt x="2649" y="977"/>
                </a:cubicBezTo>
                <a:cubicBezTo>
                  <a:pt x="2649" y="977"/>
                  <a:pt x="2649" y="977"/>
                  <a:pt x="2649" y="977"/>
                </a:cubicBezTo>
                <a:cubicBezTo>
                  <a:pt x="2648" y="977"/>
                  <a:pt x="2647" y="978"/>
                  <a:pt x="2646" y="978"/>
                </a:cubicBezTo>
                <a:cubicBezTo>
                  <a:pt x="2645" y="979"/>
                  <a:pt x="2644" y="980"/>
                  <a:pt x="2644" y="980"/>
                </a:cubicBezTo>
                <a:cubicBezTo>
                  <a:pt x="2644" y="980"/>
                  <a:pt x="2644" y="980"/>
                  <a:pt x="2644" y="980"/>
                </a:cubicBezTo>
                <a:cubicBezTo>
                  <a:pt x="2641" y="980"/>
                  <a:pt x="2641" y="980"/>
                  <a:pt x="2641" y="980"/>
                </a:cubicBezTo>
                <a:cubicBezTo>
                  <a:pt x="2638" y="982"/>
                  <a:pt x="2638" y="982"/>
                  <a:pt x="2638" y="982"/>
                </a:cubicBezTo>
                <a:cubicBezTo>
                  <a:pt x="2639" y="984"/>
                  <a:pt x="2639" y="984"/>
                  <a:pt x="2639" y="984"/>
                </a:cubicBezTo>
                <a:cubicBezTo>
                  <a:pt x="2639" y="984"/>
                  <a:pt x="2639" y="984"/>
                  <a:pt x="2639" y="985"/>
                </a:cubicBezTo>
                <a:cubicBezTo>
                  <a:pt x="2636" y="987"/>
                  <a:pt x="2631" y="992"/>
                  <a:pt x="2635" y="995"/>
                </a:cubicBezTo>
                <a:close/>
                <a:moveTo>
                  <a:pt x="2609" y="943"/>
                </a:moveTo>
                <a:cubicBezTo>
                  <a:pt x="2605" y="950"/>
                  <a:pt x="2605" y="950"/>
                  <a:pt x="2605" y="950"/>
                </a:cubicBezTo>
                <a:cubicBezTo>
                  <a:pt x="2608" y="950"/>
                  <a:pt x="2608" y="950"/>
                  <a:pt x="2608" y="950"/>
                </a:cubicBezTo>
                <a:cubicBezTo>
                  <a:pt x="2610" y="946"/>
                  <a:pt x="2610" y="946"/>
                  <a:pt x="2610" y="946"/>
                </a:cubicBezTo>
                <a:cubicBezTo>
                  <a:pt x="2609" y="943"/>
                  <a:pt x="2609" y="943"/>
                  <a:pt x="2609" y="943"/>
                </a:cubicBezTo>
                <a:cubicBezTo>
                  <a:pt x="2609" y="943"/>
                  <a:pt x="2609" y="943"/>
                  <a:pt x="2609" y="943"/>
                </a:cubicBezTo>
                <a:close/>
                <a:moveTo>
                  <a:pt x="2609" y="976"/>
                </a:moveTo>
                <a:cubicBezTo>
                  <a:pt x="2622" y="976"/>
                  <a:pt x="2622" y="976"/>
                  <a:pt x="2622" y="976"/>
                </a:cubicBezTo>
                <a:cubicBezTo>
                  <a:pt x="2628" y="975"/>
                  <a:pt x="2628" y="975"/>
                  <a:pt x="2628" y="975"/>
                </a:cubicBezTo>
                <a:cubicBezTo>
                  <a:pt x="2634" y="970"/>
                  <a:pt x="2634" y="970"/>
                  <a:pt x="2634" y="970"/>
                </a:cubicBezTo>
                <a:cubicBezTo>
                  <a:pt x="2634" y="968"/>
                  <a:pt x="2634" y="968"/>
                  <a:pt x="2634" y="968"/>
                </a:cubicBezTo>
                <a:cubicBezTo>
                  <a:pt x="2629" y="970"/>
                  <a:pt x="2629" y="970"/>
                  <a:pt x="2629" y="970"/>
                </a:cubicBezTo>
                <a:cubicBezTo>
                  <a:pt x="2625" y="974"/>
                  <a:pt x="2625" y="974"/>
                  <a:pt x="2625" y="974"/>
                </a:cubicBezTo>
                <a:cubicBezTo>
                  <a:pt x="2625" y="974"/>
                  <a:pt x="2623" y="971"/>
                  <a:pt x="2621" y="971"/>
                </a:cubicBezTo>
                <a:cubicBezTo>
                  <a:pt x="2619" y="972"/>
                  <a:pt x="2616" y="974"/>
                  <a:pt x="2616" y="974"/>
                </a:cubicBezTo>
                <a:cubicBezTo>
                  <a:pt x="2616" y="974"/>
                  <a:pt x="2614" y="969"/>
                  <a:pt x="2610" y="970"/>
                </a:cubicBezTo>
                <a:cubicBezTo>
                  <a:pt x="2607" y="970"/>
                  <a:pt x="2602" y="976"/>
                  <a:pt x="2602" y="976"/>
                </a:cubicBezTo>
                <a:cubicBezTo>
                  <a:pt x="2597" y="975"/>
                  <a:pt x="2597" y="975"/>
                  <a:pt x="2597" y="975"/>
                </a:cubicBezTo>
                <a:cubicBezTo>
                  <a:pt x="2596" y="978"/>
                  <a:pt x="2596" y="978"/>
                  <a:pt x="2596" y="978"/>
                </a:cubicBezTo>
                <a:cubicBezTo>
                  <a:pt x="2599" y="977"/>
                  <a:pt x="2599" y="977"/>
                  <a:pt x="2599" y="977"/>
                </a:cubicBezTo>
                <a:cubicBezTo>
                  <a:pt x="2599" y="977"/>
                  <a:pt x="2601" y="978"/>
                  <a:pt x="2604" y="979"/>
                </a:cubicBezTo>
                <a:cubicBezTo>
                  <a:pt x="2606" y="980"/>
                  <a:pt x="2609" y="976"/>
                  <a:pt x="2609" y="976"/>
                </a:cubicBezTo>
                <a:close/>
                <a:moveTo>
                  <a:pt x="2636" y="933"/>
                </a:moveTo>
                <a:cubicBezTo>
                  <a:pt x="2636" y="930"/>
                  <a:pt x="2635" y="927"/>
                  <a:pt x="2635" y="927"/>
                </a:cubicBezTo>
                <a:cubicBezTo>
                  <a:pt x="2635" y="927"/>
                  <a:pt x="2627" y="921"/>
                  <a:pt x="2627" y="918"/>
                </a:cubicBezTo>
                <a:cubicBezTo>
                  <a:pt x="2628" y="916"/>
                  <a:pt x="2632" y="913"/>
                  <a:pt x="2629" y="911"/>
                </a:cubicBezTo>
                <a:cubicBezTo>
                  <a:pt x="2627" y="909"/>
                  <a:pt x="2625" y="908"/>
                  <a:pt x="2625" y="906"/>
                </a:cubicBezTo>
                <a:cubicBezTo>
                  <a:pt x="2625" y="904"/>
                  <a:pt x="2628" y="900"/>
                  <a:pt x="2625" y="899"/>
                </a:cubicBezTo>
                <a:cubicBezTo>
                  <a:pt x="2622" y="898"/>
                  <a:pt x="2618" y="895"/>
                  <a:pt x="2618" y="895"/>
                </a:cubicBezTo>
                <a:cubicBezTo>
                  <a:pt x="2618" y="895"/>
                  <a:pt x="2622" y="896"/>
                  <a:pt x="2624" y="894"/>
                </a:cubicBezTo>
                <a:cubicBezTo>
                  <a:pt x="2626" y="892"/>
                  <a:pt x="2628" y="887"/>
                  <a:pt x="2628" y="887"/>
                </a:cubicBezTo>
                <a:cubicBezTo>
                  <a:pt x="2628" y="887"/>
                  <a:pt x="2637" y="888"/>
                  <a:pt x="2637" y="886"/>
                </a:cubicBezTo>
                <a:cubicBezTo>
                  <a:pt x="2637" y="884"/>
                  <a:pt x="2635" y="881"/>
                  <a:pt x="2633" y="881"/>
                </a:cubicBezTo>
                <a:cubicBezTo>
                  <a:pt x="2630" y="881"/>
                  <a:pt x="2629" y="884"/>
                  <a:pt x="2629" y="884"/>
                </a:cubicBezTo>
                <a:cubicBezTo>
                  <a:pt x="2629" y="884"/>
                  <a:pt x="2623" y="883"/>
                  <a:pt x="2620" y="884"/>
                </a:cubicBezTo>
                <a:cubicBezTo>
                  <a:pt x="2618" y="884"/>
                  <a:pt x="2617" y="890"/>
                  <a:pt x="2614" y="890"/>
                </a:cubicBezTo>
                <a:cubicBezTo>
                  <a:pt x="2612" y="890"/>
                  <a:pt x="2612" y="886"/>
                  <a:pt x="2608" y="884"/>
                </a:cubicBezTo>
                <a:cubicBezTo>
                  <a:pt x="2605" y="882"/>
                  <a:pt x="2603" y="883"/>
                  <a:pt x="2603" y="883"/>
                </a:cubicBezTo>
                <a:cubicBezTo>
                  <a:pt x="2603" y="883"/>
                  <a:pt x="2604" y="870"/>
                  <a:pt x="2608" y="870"/>
                </a:cubicBezTo>
                <a:cubicBezTo>
                  <a:pt x="2611" y="870"/>
                  <a:pt x="2617" y="872"/>
                  <a:pt x="2620" y="871"/>
                </a:cubicBezTo>
                <a:cubicBezTo>
                  <a:pt x="2623" y="871"/>
                  <a:pt x="2621" y="868"/>
                  <a:pt x="2623" y="869"/>
                </a:cubicBezTo>
                <a:cubicBezTo>
                  <a:pt x="2626" y="869"/>
                  <a:pt x="2637" y="874"/>
                  <a:pt x="2639" y="875"/>
                </a:cubicBezTo>
                <a:cubicBezTo>
                  <a:pt x="2641" y="875"/>
                  <a:pt x="2642" y="873"/>
                  <a:pt x="2643" y="872"/>
                </a:cubicBezTo>
                <a:cubicBezTo>
                  <a:pt x="2645" y="871"/>
                  <a:pt x="2647" y="872"/>
                  <a:pt x="2649" y="871"/>
                </a:cubicBezTo>
                <a:cubicBezTo>
                  <a:pt x="2651" y="870"/>
                  <a:pt x="2649" y="869"/>
                  <a:pt x="2651" y="867"/>
                </a:cubicBezTo>
                <a:cubicBezTo>
                  <a:pt x="2652" y="865"/>
                  <a:pt x="2657" y="863"/>
                  <a:pt x="2657" y="863"/>
                </a:cubicBezTo>
                <a:cubicBezTo>
                  <a:pt x="2655" y="859"/>
                  <a:pt x="2655" y="859"/>
                  <a:pt x="2655" y="859"/>
                </a:cubicBezTo>
                <a:cubicBezTo>
                  <a:pt x="2644" y="864"/>
                  <a:pt x="2644" y="864"/>
                  <a:pt x="2644" y="864"/>
                </a:cubicBezTo>
                <a:cubicBezTo>
                  <a:pt x="2644" y="864"/>
                  <a:pt x="2647" y="866"/>
                  <a:pt x="2644" y="867"/>
                </a:cubicBezTo>
                <a:cubicBezTo>
                  <a:pt x="2640" y="867"/>
                  <a:pt x="2638" y="865"/>
                  <a:pt x="2636" y="865"/>
                </a:cubicBezTo>
                <a:cubicBezTo>
                  <a:pt x="2634" y="865"/>
                  <a:pt x="2631" y="868"/>
                  <a:pt x="2629" y="867"/>
                </a:cubicBezTo>
                <a:cubicBezTo>
                  <a:pt x="2627" y="867"/>
                  <a:pt x="2621" y="864"/>
                  <a:pt x="2620" y="864"/>
                </a:cubicBezTo>
                <a:cubicBezTo>
                  <a:pt x="2619" y="864"/>
                  <a:pt x="2615" y="864"/>
                  <a:pt x="2615" y="864"/>
                </a:cubicBezTo>
                <a:cubicBezTo>
                  <a:pt x="2617" y="862"/>
                  <a:pt x="2617" y="862"/>
                  <a:pt x="2617" y="862"/>
                </a:cubicBezTo>
                <a:cubicBezTo>
                  <a:pt x="2617" y="862"/>
                  <a:pt x="2611" y="860"/>
                  <a:pt x="2611" y="861"/>
                </a:cubicBezTo>
                <a:cubicBezTo>
                  <a:pt x="2610" y="862"/>
                  <a:pt x="2611" y="865"/>
                  <a:pt x="2608" y="867"/>
                </a:cubicBezTo>
                <a:cubicBezTo>
                  <a:pt x="2606" y="868"/>
                  <a:pt x="2601" y="868"/>
                  <a:pt x="2601" y="869"/>
                </a:cubicBezTo>
                <a:cubicBezTo>
                  <a:pt x="2601" y="870"/>
                  <a:pt x="2601" y="873"/>
                  <a:pt x="2601" y="873"/>
                </a:cubicBezTo>
                <a:cubicBezTo>
                  <a:pt x="2598" y="874"/>
                  <a:pt x="2598" y="874"/>
                  <a:pt x="2598" y="874"/>
                </a:cubicBezTo>
                <a:cubicBezTo>
                  <a:pt x="2600" y="883"/>
                  <a:pt x="2600" y="883"/>
                  <a:pt x="2600" y="883"/>
                </a:cubicBezTo>
                <a:cubicBezTo>
                  <a:pt x="2598" y="883"/>
                  <a:pt x="2598" y="883"/>
                  <a:pt x="2598" y="883"/>
                </a:cubicBezTo>
                <a:cubicBezTo>
                  <a:pt x="2598" y="883"/>
                  <a:pt x="2595" y="888"/>
                  <a:pt x="2594" y="890"/>
                </a:cubicBezTo>
                <a:cubicBezTo>
                  <a:pt x="2594" y="893"/>
                  <a:pt x="2598" y="897"/>
                  <a:pt x="2596" y="899"/>
                </a:cubicBezTo>
                <a:cubicBezTo>
                  <a:pt x="2594" y="900"/>
                  <a:pt x="2589" y="902"/>
                  <a:pt x="2589" y="904"/>
                </a:cubicBezTo>
                <a:cubicBezTo>
                  <a:pt x="2589" y="907"/>
                  <a:pt x="2591" y="910"/>
                  <a:pt x="2591" y="910"/>
                </a:cubicBezTo>
                <a:cubicBezTo>
                  <a:pt x="2591" y="910"/>
                  <a:pt x="2588" y="913"/>
                  <a:pt x="2590" y="915"/>
                </a:cubicBezTo>
                <a:cubicBezTo>
                  <a:pt x="2592" y="916"/>
                  <a:pt x="2596" y="913"/>
                  <a:pt x="2597" y="915"/>
                </a:cubicBezTo>
                <a:cubicBezTo>
                  <a:pt x="2598" y="918"/>
                  <a:pt x="2596" y="920"/>
                  <a:pt x="2596" y="920"/>
                </a:cubicBezTo>
                <a:cubicBezTo>
                  <a:pt x="2598" y="923"/>
                  <a:pt x="2598" y="923"/>
                  <a:pt x="2598" y="923"/>
                </a:cubicBezTo>
                <a:cubicBezTo>
                  <a:pt x="2597" y="932"/>
                  <a:pt x="2597" y="932"/>
                  <a:pt x="2597" y="932"/>
                </a:cubicBezTo>
                <a:cubicBezTo>
                  <a:pt x="2597" y="932"/>
                  <a:pt x="2592" y="935"/>
                  <a:pt x="2594" y="940"/>
                </a:cubicBezTo>
                <a:cubicBezTo>
                  <a:pt x="2597" y="945"/>
                  <a:pt x="2600" y="945"/>
                  <a:pt x="2604" y="941"/>
                </a:cubicBezTo>
                <a:cubicBezTo>
                  <a:pt x="2607" y="938"/>
                  <a:pt x="2603" y="931"/>
                  <a:pt x="2603" y="931"/>
                </a:cubicBezTo>
                <a:cubicBezTo>
                  <a:pt x="2603" y="931"/>
                  <a:pt x="2608" y="928"/>
                  <a:pt x="2608" y="924"/>
                </a:cubicBezTo>
                <a:cubicBezTo>
                  <a:pt x="2607" y="919"/>
                  <a:pt x="2609" y="915"/>
                  <a:pt x="2608" y="913"/>
                </a:cubicBezTo>
                <a:cubicBezTo>
                  <a:pt x="2606" y="910"/>
                  <a:pt x="2605" y="905"/>
                  <a:pt x="2606" y="904"/>
                </a:cubicBezTo>
                <a:cubicBezTo>
                  <a:pt x="2606" y="903"/>
                  <a:pt x="2607" y="897"/>
                  <a:pt x="2609" y="901"/>
                </a:cubicBezTo>
                <a:cubicBezTo>
                  <a:pt x="2612" y="904"/>
                  <a:pt x="2612" y="911"/>
                  <a:pt x="2612" y="911"/>
                </a:cubicBezTo>
                <a:cubicBezTo>
                  <a:pt x="2616" y="916"/>
                  <a:pt x="2616" y="916"/>
                  <a:pt x="2616" y="916"/>
                </a:cubicBezTo>
                <a:cubicBezTo>
                  <a:pt x="2616" y="924"/>
                  <a:pt x="2616" y="924"/>
                  <a:pt x="2616" y="924"/>
                </a:cubicBezTo>
                <a:cubicBezTo>
                  <a:pt x="2619" y="928"/>
                  <a:pt x="2619" y="928"/>
                  <a:pt x="2619" y="928"/>
                </a:cubicBezTo>
                <a:cubicBezTo>
                  <a:pt x="2620" y="933"/>
                  <a:pt x="2620" y="933"/>
                  <a:pt x="2620" y="933"/>
                </a:cubicBezTo>
                <a:cubicBezTo>
                  <a:pt x="2621" y="944"/>
                  <a:pt x="2621" y="944"/>
                  <a:pt x="2621" y="944"/>
                </a:cubicBezTo>
                <a:cubicBezTo>
                  <a:pt x="2624" y="942"/>
                  <a:pt x="2624" y="942"/>
                  <a:pt x="2624" y="942"/>
                </a:cubicBezTo>
                <a:cubicBezTo>
                  <a:pt x="2629" y="943"/>
                  <a:pt x="2629" y="943"/>
                  <a:pt x="2629" y="943"/>
                </a:cubicBezTo>
                <a:cubicBezTo>
                  <a:pt x="2629" y="943"/>
                  <a:pt x="2630" y="940"/>
                  <a:pt x="2629" y="937"/>
                </a:cubicBezTo>
                <a:cubicBezTo>
                  <a:pt x="2629" y="934"/>
                  <a:pt x="2631" y="933"/>
                  <a:pt x="2631" y="933"/>
                </a:cubicBezTo>
                <a:cubicBezTo>
                  <a:pt x="2632" y="936"/>
                  <a:pt x="2632" y="936"/>
                  <a:pt x="2632" y="936"/>
                </a:cubicBezTo>
                <a:cubicBezTo>
                  <a:pt x="2632" y="936"/>
                  <a:pt x="2635" y="936"/>
                  <a:pt x="2636" y="933"/>
                </a:cubicBezTo>
                <a:close/>
                <a:moveTo>
                  <a:pt x="2633" y="894"/>
                </a:moveTo>
                <a:cubicBezTo>
                  <a:pt x="2633" y="897"/>
                  <a:pt x="2633" y="897"/>
                  <a:pt x="2633" y="897"/>
                </a:cubicBezTo>
                <a:cubicBezTo>
                  <a:pt x="2633" y="897"/>
                  <a:pt x="2636" y="899"/>
                  <a:pt x="2637" y="896"/>
                </a:cubicBezTo>
                <a:cubicBezTo>
                  <a:pt x="2639" y="892"/>
                  <a:pt x="2633" y="894"/>
                  <a:pt x="2633" y="894"/>
                </a:cubicBezTo>
                <a:close/>
                <a:moveTo>
                  <a:pt x="2738" y="1322"/>
                </a:moveTo>
                <a:cubicBezTo>
                  <a:pt x="2737" y="1328"/>
                  <a:pt x="2737" y="1328"/>
                  <a:pt x="2737" y="1328"/>
                </a:cubicBezTo>
                <a:cubicBezTo>
                  <a:pt x="2744" y="1321"/>
                  <a:pt x="2744" y="1321"/>
                  <a:pt x="2744" y="1321"/>
                </a:cubicBezTo>
                <a:cubicBezTo>
                  <a:pt x="2738" y="1322"/>
                  <a:pt x="2738" y="1322"/>
                  <a:pt x="2738" y="1322"/>
                </a:cubicBezTo>
                <a:cubicBezTo>
                  <a:pt x="2738" y="1322"/>
                  <a:pt x="2738" y="1322"/>
                  <a:pt x="2738" y="1322"/>
                </a:cubicBezTo>
                <a:close/>
                <a:moveTo>
                  <a:pt x="2453" y="876"/>
                </a:moveTo>
                <a:cubicBezTo>
                  <a:pt x="2450" y="873"/>
                  <a:pt x="2450" y="873"/>
                  <a:pt x="2450" y="873"/>
                </a:cubicBezTo>
                <a:cubicBezTo>
                  <a:pt x="2449" y="878"/>
                  <a:pt x="2449" y="878"/>
                  <a:pt x="2449" y="878"/>
                </a:cubicBezTo>
                <a:cubicBezTo>
                  <a:pt x="2453" y="880"/>
                  <a:pt x="2453" y="880"/>
                  <a:pt x="2453" y="880"/>
                </a:cubicBezTo>
                <a:cubicBezTo>
                  <a:pt x="2453" y="876"/>
                  <a:pt x="2453" y="876"/>
                  <a:pt x="2453" y="876"/>
                </a:cubicBezTo>
                <a:cubicBezTo>
                  <a:pt x="2453" y="876"/>
                  <a:pt x="2453" y="876"/>
                  <a:pt x="2453" y="876"/>
                </a:cubicBezTo>
                <a:close/>
                <a:moveTo>
                  <a:pt x="2451" y="865"/>
                </a:moveTo>
                <a:cubicBezTo>
                  <a:pt x="2450" y="863"/>
                  <a:pt x="2447" y="864"/>
                  <a:pt x="2449" y="867"/>
                </a:cubicBezTo>
                <a:cubicBezTo>
                  <a:pt x="2451" y="871"/>
                  <a:pt x="2452" y="868"/>
                  <a:pt x="2451" y="865"/>
                </a:cubicBezTo>
                <a:close/>
                <a:moveTo>
                  <a:pt x="2420" y="857"/>
                </a:moveTo>
                <a:cubicBezTo>
                  <a:pt x="2420" y="860"/>
                  <a:pt x="2426" y="857"/>
                  <a:pt x="2423" y="855"/>
                </a:cubicBezTo>
                <a:cubicBezTo>
                  <a:pt x="2421" y="853"/>
                  <a:pt x="2418" y="854"/>
                  <a:pt x="2420" y="857"/>
                </a:cubicBezTo>
                <a:close/>
                <a:moveTo>
                  <a:pt x="2362" y="845"/>
                </a:moveTo>
                <a:cubicBezTo>
                  <a:pt x="2361" y="846"/>
                  <a:pt x="2361" y="849"/>
                  <a:pt x="2363" y="849"/>
                </a:cubicBezTo>
                <a:cubicBezTo>
                  <a:pt x="2366" y="850"/>
                  <a:pt x="2366" y="853"/>
                  <a:pt x="2369" y="851"/>
                </a:cubicBezTo>
                <a:cubicBezTo>
                  <a:pt x="2370" y="850"/>
                  <a:pt x="2363" y="844"/>
                  <a:pt x="2362" y="845"/>
                </a:cubicBezTo>
                <a:close/>
                <a:moveTo>
                  <a:pt x="2712" y="879"/>
                </a:moveTo>
                <a:cubicBezTo>
                  <a:pt x="2708" y="878"/>
                  <a:pt x="2706" y="879"/>
                  <a:pt x="2706" y="879"/>
                </a:cubicBezTo>
                <a:cubicBezTo>
                  <a:pt x="2707" y="883"/>
                  <a:pt x="2707" y="883"/>
                  <a:pt x="2707" y="883"/>
                </a:cubicBezTo>
                <a:cubicBezTo>
                  <a:pt x="2709" y="883"/>
                  <a:pt x="2715" y="882"/>
                  <a:pt x="2715" y="882"/>
                </a:cubicBezTo>
                <a:cubicBezTo>
                  <a:pt x="2715" y="882"/>
                  <a:pt x="2716" y="879"/>
                  <a:pt x="2712" y="879"/>
                </a:cubicBezTo>
                <a:close/>
                <a:moveTo>
                  <a:pt x="2451" y="889"/>
                </a:moveTo>
                <a:cubicBezTo>
                  <a:pt x="2450" y="882"/>
                  <a:pt x="2450" y="882"/>
                  <a:pt x="2450" y="882"/>
                </a:cubicBezTo>
                <a:cubicBezTo>
                  <a:pt x="2447" y="885"/>
                  <a:pt x="2447" y="885"/>
                  <a:pt x="2447" y="885"/>
                </a:cubicBezTo>
                <a:cubicBezTo>
                  <a:pt x="2451" y="889"/>
                  <a:pt x="2451" y="889"/>
                  <a:pt x="2451" y="889"/>
                </a:cubicBezTo>
                <a:cubicBezTo>
                  <a:pt x="2451" y="889"/>
                  <a:pt x="2451" y="889"/>
                  <a:pt x="2451" y="889"/>
                </a:cubicBezTo>
                <a:close/>
                <a:moveTo>
                  <a:pt x="2597" y="989"/>
                </a:moveTo>
                <a:cubicBezTo>
                  <a:pt x="2600" y="989"/>
                  <a:pt x="2598" y="991"/>
                  <a:pt x="2600" y="993"/>
                </a:cubicBezTo>
                <a:cubicBezTo>
                  <a:pt x="2602" y="995"/>
                  <a:pt x="2607" y="994"/>
                  <a:pt x="2607" y="994"/>
                </a:cubicBezTo>
                <a:cubicBezTo>
                  <a:pt x="2607" y="994"/>
                  <a:pt x="2606" y="990"/>
                  <a:pt x="2603" y="986"/>
                </a:cubicBezTo>
                <a:cubicBezTo>
                  <a:pt x="2600" y="982"/>
                  <a:pt x="2595" y="985"/>
                  <a:pt x="2595" y="985"/>
                </a:cubicBezTo>
                <a:cubicBezTo>
                  <a:pt x="2590" y="984"/>
                  <a:pt x="2590" y="984"/>
                  <a:pt x="2590" y="984"/>
                </a:cubicBezTo>
                <a:cubicBezTo>
                  <a:pt x="2589" y="985"/>
                  <a:pt x="2589" y="985"/>
                  <a:pt x="2591" y="988"/>
                </a:cubicBezTo>
                <a:cubicBezTo>
                  <a:pt x="2593" y="992"/>
                  <a:pt x="2595" y="989"/>
                  <a:pt x="2597" y="989"/>
                </a:cubicBezTo>
                <a:close/>
                <a:moveTo>
                  <a:pt x="2481" y="906"/>
                </a:moveTo>
                <a:cubicBezTo>
                  <a:pt x="2477" y="907"/>
                  <a:pt x="2478" y="911"/>
                  <a:pt x="2479" y="914"/>
                </a:cubicBezTo>
                <a:cubicBezTo>
                  <a:pt x="2483" y="913"/>
                  <a:pt x="2483" y="913"/>
                  <a:pt x="2483" y="913"/>
                </a:cubicBezTo>
                <a:cubicBezTo>
                  <a:pt x="2485" y="916"/>
                  <a:pt x="2485" y="916"/>
                  <a:pt x="2485" y="916"/>
                </a:cubicBezTo>
                <a:cubicBezTo>
                  <a:pt x="2487" y="912"/>
                  <a:pt x="2487" y="912"/>
                  <a:pt x="2487" y="912"/>
                </a:cubicBezTo>
                <a:cubicBezTo>
                  <a:pt x="2487" y="912"/>
                  <a:pt x="2485" y="906"/>
                  <a:pt x="2481" y="906"/>
                </a:cubicBezTo>
                <a:close/>
                <a:moveTo>
                  <a:pt x="2455" y="901"/>
                </a:moveTo>
                <a:cubicBezTo>
                  <a:pt x="2461" y="900"/>
                  <a:pt x="2461" y="900"/>
                  <a:pt x="2461" y="900"/>
                </a:cubicBezTo>
                <a:cubicBezTo>
                  <a:pt x="2461" y="900"/>
                  <a:pt x="2462" y="907"/>
                  <a:pt x="2464" y="909"/>
                </a:cubicBezTo>
                <a:cubicBezTo>
                  <a:pt x="2466" y="912"/>
                  <a:pt x="2472" y="912"/>
                  <a:pt x="2472" y="912"/>
                </a:cubicBezTo>
                <a:cubicBezTo>
                  <a:pt x="2471" y="906"/>
                  <a:pt x="2471" y="906"/>
                  <a:pt x="2471" y="906"/>
                </a:cubicBezTo>
                <a:cubicBezTo>
                  <a:pt x="2469" y="904"/>
                  <a:pt x="2469" y="904"/>
                  <a:pt x="2469" y="904"/>
                </a:cubicBezTo>
                <a:cubicBezTo>
                  <a:pt x="2469" y="900"/>
                  <a:pt x="2469" y="900"/>
                  <a:pt x="2469" y="900"/>
                </a:cubicBezTo>
                <a:cubicBezTo>
                  <a:pt x="2469" y="900"/>
                  <a:pt x="2466" y="895"/>
                  <a:pt x="2461" y="893"/>
                </a:cubicBezTo>
                <a:cubicBezTo>
                  <a:pt x="2456" y="892"/>
                  <a:pt x="2457" y="897"/>
                  <a:pt x="2457" y="897"/>
                </a:cubicBezTo>
                <a:cubicBezTo>
                  <a:pt x="2457" y="897"/>
                  <a:pt x="2454" y="897"/>
                  <a:pt x="2455" y="901"/>
                </a:cubicBezTo>
                <a:close/>
                <a:moveTo>
                  <a:pt x="2662" y="776"/>
                </a:moveTo>
                <a:cubicBezTo>
                  <a:pt x="2660" y="775"/>
                  <a:pt x="2654" y="768"/>
                  <a:pt x="2652" y="770"/>
                </a:cubicBezTo>
                <a:cubicBezTo>
                  <a:pt x="2651" y="771"/>
                  <a:pt x="2657" y="776"/>
                  <a:pt x="2656" y="777"/>
                </a:cubicBezTo>
                <a:cubicBezTo>
                  <a:pt x="2655" y="777"/>
                  <a:pt x="2648" y="778"/>
                  <a:pt x="2648" y="778"/>
                </a:cubicBezTo>
                <a:cubicBezTo>
                  <a:pt x="2648" y="782"/>
                  <a:pt x="2648" y="782"/>
                  <a:pt x="2648" y="782"/>
                </a:cubicBezTo>
                <a:cubicBezTo>
                  <a:pt x="2645" y="782"/>
                  <a:pt x="2645" y="782"/>
                  <a:pt x="2645" y="782"/>
                </a:cubicBezTo>
                <a:cubicBezTo>
                  <a:pt x="2644" y="785"/>
                  <a:pt x="2644" y="785"/>
                  <a:pt x="2644" y="785"/>
                </a:cubicBezTo>
                <a:cubicBezTo>
                  <a:pt x="2641" y="787"/>
                  <a:pt x="2641" y="787"/>
                  <a:pt x="2641" y="787"/>
                </a:cubicBezTo>
                <a:cubicBezTo>
                  <a:pt x="2641" y="787"/>
                  <a:pt x="2636" y="784"/>
                  <a:pt x="2634" y="786"/>
                </a:cubicBezTo>
                <a:cubicBezTo>
                  <a:pt x="2632" y="787"/>
                  <a:pt x="2629" y="793"/>
                  <a:pt x="2629" y="793"/>
                </a:cubicBezTo>
                <a:cubicBezTo>
                  <a:pt x="2629" y="793"/>
                  <a:pt x="2627" y="789"/>
                  <a:pt x="2626" y="791"/>
                </a:cubicBezTo>
                <a:cubicBezTo>
                  <a:pt x="2625" y="793"/>
                  <a:pt x="2622" y="798"/>
                  <a:pt x="2622" y="798"/>
                </a:cubicBezTo>
                <a:cubicBezTo>
                  <a:pt x="2625" y="801"/>
                  <a:pt x="2625" y="801"/>
                  <a:pt x="2625" y="801"/>
                </a:cubicBezTo>
                <a:cubicBezTo>
                  <a:pt x="2628" y="798"/>
                  <a:pt x="2628" y="798"/>
                  <a:pt x="2628" y="798"/>
                </a:cubicBezTo>
                <a:cubicBezTo>
                  <a:pt x="2630" y="801"/>
                  <a:pt x="2630" y="801"/>
                  <a:pt x="2630" y="801"/>
                </a:cubicBezTo>
                <a:cubicBezTo>
                  <a:pt x="2630" y="801"/>
                  <a:pt x="2635" y="797"/>
                  <a:pt x="2637" y="797"/>
                </a:cubicBezTo>
                <a:cubicBezTo>
                  <a:pt x="2638" y="797"/>
                  <a:pt x="2643" y="801"/>
                  <a:pt x="2643" y="801"/>
                </a:cubicBezTo>
                <a:cubicBezTo>
                  <a:pt x="2643" y="801"/>
                  <a:pt x="2641" y="802"/>
                  <a:pt x="2641" y="804"/>
                </a:cubicBezTo>
                <a:cubicBezTo>
                  <a:pt x="2641" y="806"/>
                  <a:pt x="2644" y="813"/>
                  <a:pt x="2646" y="814"/>
                </a:cubicBezTo>
                <a:cubicBezTo>
                  <a:pt x="2648" y="815"/>
                  <a:pt x="2653" y="816"/>
                  <a:pt x="2653" y="816"/>
                </a:cubicBezTo>
                <a:cubicBezTo>
                  <a:pt x="2656" y="813"/>
                  <a:pt x="2656" y="813"/>
                  <a:pt x="2656" y="813"/>
                </a:cubicBezTo>
                <a:cubicBezTo>
                  <a:pt x="2656" y="817"/>
                  <a:pt x="2656" y="817"/>
                  <a:pt x="2656" y="817"/>
                </a:cubicBezTo>
                <a:cubicBezTo>
                  <a:pt x="2659" y="817"/>
                  <a:pt x="2659" y="817"/>
                  <a:pt x="2659" y="817"/>
                </a:cubicBezTo>
                <a:cubicBezTo>
                  <a:pt x="2660" y="812"/>
                  <a:pt x="2660" y="812"/>
                  <a:pt x="2660" y="812"/>
                </a:cubicBezTo>
                <a:cubicBezTo>
                  <a:pt x="2660" y="812"/>
                  <a:pt x="2655" y="807"/>
                  <a:pt x="2656" y="804"/>
                </a:cubicBezTo>
                <a:cubicBezTo>
                  <a:pt x="2657" y="802"/>
                  <a:pt x="2659" y="801"/>
                  <a:pt x="2659" y="801"/>
                </a:cubicBezTo>
                <a:cubicBezTo>
                  <a:pt x="2662" y="808"/>
                  <a:pt x="2662" y="808"/>
                  <a:pt x="2662" y="808"/>
                </a:cubicBezTo>
                <a:cubicBezTo>
                  <a:pt x="2662" y="808"/>
                  <a:pt x="2666" y="803"/>
                  <a:pt x="2666" y="799"/>
                </a:cubicBezTo>
                <a:cubicBezTo>
                  <a:pt x="2666" y="796"/>
                  <a:pt x="2664" y="792"/>
                  <a:pt x="2664" y="792"/>
                </a:cubicBezTo>
                <a:cubicBezTo>
                  <a:pt x="2664" y="784"/>
                  <a:pt x="2664" y="784"/>
                  <a:pt x="2664" y="784"/>
                </a:cubicBezTo>
                <a:cubicBezTo>
                  <a:pt x="2664" y="784"/>
                  <a:pt x="2664" y="777"/>
                  <a:pt x="2662" y="776"/>
                </a:cubicBezTo>
                <a:close/>
                <a:moveTo>
                  <a:pt x="2653" y="900"/>
                </a:moveTo>
                <a:cubicBezTo>
                  <a:pt x="2664" y="898"/>
                  <a:pt x="2664" y="898"/>
                  <a:pt x="2664" y="898"/>
                </a:cubicBezTo>
                <a:cubicBezTo>
                  <a:pt x="2653" y="897"/>
                  <a:pt x="2653" y="897"/>
                  <a:pt x="2653" y="897"/>
                </a:cubicBezTo>
                <a:cubicBezTo>
                  <a:pt x="2653" y="897"/>
                  <a:pt x="2649" y="895"/>
                  <a:pt x="2647" y="895"/>
                </a:cubicBezTo>
                <a:cubicBezTo>
                  <a:pt x="2646" y="896"/>
                  <a:pt x="2645" y="898"/>
                  <a:pt x="2645" y="898"/>
                </a:cubicBezTo>
                <a:cubicBezTo>
                  <a:pt x="2647" y="901"/>
                  <a:pt x="2653" y="900"/>
                  <a:pt x="2653" y="900"/>
                </a:cubicBezTo>
                <a:close/>
                <a:moveTo>
                  <a:pt x="2648" y="972"/>
                </a:moveTo>
                <a:cubicBezTo>
                  <a:pt x="2648" y="968"/>
                  <a:pt x="2648" y="968"/>
                  <a:pt x="2648" y="968"/>
                </a:cubicBezTo>
                <a:cubicBezTo>
                  <a:pt x="2643" y="971"/>
                  <a:pt x="2643" y="971"/>
                  <a:pt x="2643" y="971"/>
                </a:cubicBezTo>
                <a:cubicBezTo>
                  <a:pt x="2648" y="972"/>
                  <a:pt x="2648" y="972"/>
                  <a:pt x="2648" y="972"/>
                </a:cubicBezTo>
                <a:cubicBezTo>
                  <a:pt x="2648" y="972"/>
                  <a:pt x="2648" y="972"/>
                  <a:pt x="2648" y="972"/>
                </a:cubicBezTo>
                <a:close/>
                <a:moveTo>
                  <a:pt x="2658" y="963"/>
                </a:moveTo>
                <a:cubicBezTo>
                  <a:pt x="2655" y="968"/>
                  <a:pt x="2655" y="968"/>
                  <a:pt x="2655" y="968"/>
                </a:cubicBezTo>
                <a:cubicBezTo>
                  <a:pt x="2666" y="965"/>
                  <a:pt x="2666" y="965"/>
                  <a:pt x="2666" y="965"/>
                </a:cubicBezTo>
                <a:cubicBezTo>
                  <a:pt x="2658" y="963"/>
                  <a:pt x="2658" y="963"/>
                  <a:pt x="2658" y="963"/>
                </a:cubicBezTo>
                <a:cubicBezTo>
                  <a:pt x="2658" y="963"/>
                  <a:pt x="2658" y="963"/>
                  <a:pt x="2658" y="963"/>
                </a:cubicBezTo>
                <a:close/>
                <a:moveTo>
                  <a:pt x="2671" y="826"/>
                </a:moveTo>
                <a:cubicBezTo>
                  <a:pt x="2669" y="826"/>
                  <a:pt x="2669" y="826"/>
                  <a:pt x="2669" y="826"/>
                </a:cubicBezTo>
                <a:cubicBezTo>
                  <a:pt x="2668" y="830"/>
                  <a:pt x="2668" y="830"/>
                  <a:pt x="2668" y="830"/>
                </a:cubicBezTo>
                <a:cubicBezTo>
                  <a:pt x="2669" y="834"/>
                  <a:pt x="2669" y="834"/>
                  <a:pt x="2669" y="834"/>
                </a:cubicBezTo>
                <a:cubicBezTo>
                  <a:pt x="2671" y="832"/>
                  <a:pt x="2671" y="832"/>
                  <a:pt x="2671" y="832"/>
                </a:cubicBezTo>
                <a:cubicBezTo>
                  <a:pt x="2671" y="826"/>
                  <a:pt x="2671" y="826"/>
                  <a:pt x="2671" y="826"/>
                </a:cubicBezTo>
                <a:cubicBezTo>
                  <a:pt x="2671" y="826"/>
                  <a:pt x="2671" y="826"/>
                  <a:pt x="2671" y="826"/>
                </a:cubicBezTo>
                <a:close/>
                <a:moveTo>
                  <a:pt x="2618" y="758"/>
                </a:moveTo>
                <a:cubicBezTo>
                  <a:pt x="2619" y="760"/>
                  <a:pt x="2621" y="762"/>
                  <a:pt x="2621" y="762"/>
                </a:cubicBezTo>
                <a:cubicBezTo>
                  <a:pt x="2621" y="762"/>
                  <a:pt x="2624" y="758"/>
                  <a:pt x="2625" y="759"/>
                </a:cubicBezTo>
                <a:cubicBezTo>
                  <a:pt x="2626" y="760"/>
                  <a:pt x="2626" y="764"/>
                  <a:pt x="2626" y="764"/>
                </a:cubicBezTo>
                <a:cubicBezTo>
                  <a:pt x="2628" y="766"/>
                  <a:pt x="2628" y="766"/>
                  <a:pt x="2628" y="766"/>
                </a:cubicBezTo>
                <a:cubicBezTo>
                  <a:pt x="2628" y="766"/>
                  <a:pt x="2623" y="773"/>
                  <a:pt x="2623" y="774"/>
                </a:cubicBezTo>
                <a:cubicBezTo>
                  <a:pt x="2623" y="775"/>
                  <a:pt x="2623" y="780"/>
                  <a:pt x="2627" y="779"/>
                </a:cubicBezTo>
                <a:cubicBezTo>
                  <a:pt x="2630" y="778"/>
                  <a:pt x="2635" y="777"/>
                  <a:pt x="2633" y="774"/>
                </a:cubicBezTo>
                <a:cubicBezTo>
                  <a:pt x="2631" y="771"/>
                  <a:pt x="2631" y="768"/>
                  <a:pt x="2632" y="764"/>
                </a:cubicBezTo>
                <a:cubicBezTo>
                  <a:pt x="2634" y="759"/>
                  <a:pt x="2633" y="755"/>
                  <a:pt x="2631" y="757"/>
                </a:cubicBezTo>
                <a:cubicBezTo>
                  <a:pt x="2630" y="758"/>
                  <a:pt x="2627" y="760"/>
                  <a:pt x="2627" y="758"/>
                </a:cubicBezTo>
                <a:cubicBezTo>
                  <a:pt x="2627" y="757"/>
                  <a:pt x="2631" y="750"/>
                  <a:pt x="2629" y="749"/>
                </a:cubicBezTo>
                <a:cubicBezTo>
                  <a:pt x="2626" y="749"/>
                  <a:pt x="2622" y="746"/>
                  <a:pt x="2622" y="746"/>
                </a:cubicBezTo>
                <a:cubicBezTo>
                  <a:pt x="2622" y="746"/>
                  <a:pt x="2617" y="745"/>
                  <a:pt x="2617" y="746"/>
                </a:cubicBezTo>
                <a:cubicBezTo>
                  <a:pt x="2617" y="748"/>
                  <a:pt x="2620" y="750"/>
                  <a:pt x="2620" y="750"/>
                </a:cubicBezTo>
                <a:cubicBezTo>
                  <a:pt x="2620" y="750"/>
                  <a:pt x="2617" y="755"/>
                  <a:pt x="2618" y="758"/>
                </a:cubicBezTo>
                <a:close/>
                <a:moveTo>
                  <a:pt x="2624" y="809"/>
                </a:moveTo>
                <a:cubicBezTo>
                  <a:pt x="2621" y="807"/>
                  <a:pt x="2621" y="807"/>
                  <a:pt x="2621" y="807"/>
                </a:cubicBezTo>
                <a:cubicBezTo>
                  <a:pt x="2618" y="810"/>
                  <a:pt x="2618" y="810"/>
                  <a:pt x="2618" y="810"/>
                </a:cubicBezTo>
                <a:cubicBezTo>
                  <a:pt x="2623" y="814"/>
                  <a:pt x="2623" y="814"/>
                  <a:pt x="2623" y="814"/>
                </a:cubicBezTo>
                <a:cubicBezTo>
                  <a:pt x="2624" y="809"/>
                  <a:pt x="2624" y="809"/>
                  <a:pt x="2624" y="809"/>
                </a:cubicBezTo>
                <a:cubicBezTo>
                  <a:pt x="2624" y="809"/>
                  <a:pt x="2624" y="809"/>
                  <a:pt x="2624" y="809"/>
                </a:cubicBezTo>
                <a:close/>
                <a:moveTo>
                  <a:pt x="2651" y="759"/>
                </a:moveTo>
                <a:cubicBezTo>
                  <a:pt x="2647" y="758"/>
                  <a:pt x="2647" y="758"/>
                  <a:pt x="2647" y="758"/>
                </a:cubicBezTo>
                <a:cubicBezTo>
                  <a:pt x="2647" y="758"/>
                  <a:pt x="2646" y="755"/>
                  <a:pt x="2645" y="754"/>
                </a:cubicBezTo>
                <a:cubicBezTo>
                  <a:pt x="2644" y="752"/>
                  <a:pt x="2639" y="753"/>
                  <a:pt x="2639" y="753"/>
                </a:cubicBezTo>
                <a:cubicBezTo>
                  <a:pt x="2640" y="759"/>
                  <a:pt x="2640" y="759"/>
                  <a:pt x="2640" y="759"/>
                </a:cubicBezTo>
                <a:cubicBezTo>
                  <a:pt x="2643" y="758"/>
                  <a:pt x="2643" y="758"/>
                  <a:pt x="2643" y="758"/>
                </a:cubicBezTo>
                <a:cubicBezTo>
                  <a:pt x="2644" y="761"/>
                  <a:pt x="2644" y="761"/>
                  <a:pt x="2644" y="761"/>
                </a:cubicBezTo>
                <a:cubicBezTo>
                  <a:pt x="2651" y="767"/>
                  <a:pt x="2651" y="767"/>
                  <a:pt x="2651" y="767"/>
                </a:cubicBezTo>
                <a:cubicBezTo>
                  <a:pt x="2651" y="759"/>
                  <a:pt x="2651" y="759"/>
                  <a:pt x="2651" y="759"/>
                </a:cubicBezTo>
                <a:cubicBezTo>
                  <a:pt x="2651" y="759"/>
                  <a:pt x="2651" y="759"/>
                  <a:pt x="2651" y="759"/>
                </a:cubicBezTo>
                <a:close/>
                <a:moveTo>
                  <a:pt x="2665" y="912"/>
                </a:moveTo>
                <a:cubicBezTo>
                  <a:pt x="2665" y="912"/>
                  <a:pt x="2663" y="916"/>
                  <a:pt x="2666" y="918"/>
                </a:cubicBezTo>
                <a:cubicBezTo>
                  <a:pt x="2669" y="920"/>
                  <a:pt x="2673" y="920"/>
                  <a:pt x="2673" y="920"/>
                </a:cubicBezTo>
                <a:cubicBezTo>
                  <a:pt x="2675" y="917"/>
                  <a:pt x="2672" y="912"/>
                  <a:pt x="2672" y="912"/>
                </a:cubicBezTo>
                <a:cubicBezTo>
                  <a:pt x="2670" y="912"/>
                  <a:pt x="2670" y="912"/>
                  <a:pt x="2670" y="912"/>
                </a:cubicBezTo>
                <a:cubicBezTo>
                  <a:pt x="2668" y="910"/>
                  <a:pt x="2668" y="910"/>
                  <a:pt x="2668" y="910"/>
                </a:cubicBezTo>
                <a:cubicBezTo>
                  <a:pt x="2665" y="912"/>
                  <a:pt x="2665" y="912"/>
                  <a:pt x="2665" y="912"/>
                </a:cubicBezTo>
                <a:cubicBezTo>
                  <a:pt x="2665" y="912"/>
                  <a:pt x="2665" y="912"/>
                  <a:pt x="2665" y="912"/>
                </a:cubicBezTo>
                <a:close/>
                <a:moveTo>
                  <a:pt x="2653" y="831"/>
                </a:moveTo>
                <a:cubicBezTo>
                  <a:pt x="2655" y="826"/>
                  <a:pt x="2655" y="826"/>
                  <a:pt x="2655" y="826"/>
                </a:cubicBezTo>
                <a:cubicBezTo>
                  <a:pt x="2652" y="825"/>
                  <a:pt x="2652" y="825"/>
                  <a:pt x="2652" y="825"/>
                </a:cubicBezTo>
                <a:cubicBezTo>
                  <a:pt x="2653" y="831"/>
                  <a:pt x="2653" y="831"/>
                  <a:pt x="2653" y="831"/>
                </a:cubicBezTo>
                <a:cubicBezTo>
                  <a:pt x="2653" y="831"/>
                  <a:pt x="2653" y="831"/>
                  <a:pt x="2653" y="831"/>
                </a:cubicBezTo>
                <a:close/>
                <a:moveTo>
                  <a:pt x="2640" y="770"/>
                </a:moveTo>
                <a:cubicBezTo>
                  <a:pt x="2644" y="770"/>
                  <a:pt x="2644" y="770"/>
                  <a:pt x="2644" y="770"/>
                </a:cubicBezTo>
                <a:cubicBezTo>
                  <a:pt x="2645" y="766"/>
                  <a:pt x="2645" y="766"/>
                  <a:pt x="2645" y="766"/>
                </a:cubicBezTo>
                <a:cubicBezTo>
                  <a:pt x="2641" y="765"/>
                  <a:pt x="2641" y="765"/>
                  <a:pt x="2641" y="765"/>
                </a:cubicBezTo>
                <a:cubicBezTo>
                  <a:pt x="2640" y="770"/>
                  <a:pt x="2640" y="770"/>
                  <a:pt x="2640" y="770"/>
                </a:cubicBezTo>
                <a:cubicBezTo>
                  <a:pt x="2640" y="770"/>
                  <a:pt x="2640" y="770"/>
                  <a:pt x="2640" y="770"/>
                </a:cubicBezTo>
                <a:close/>
                <a:moveTo>
                  <a:pt x="2592" y="975"/>
                </a:moveTo>
                <a:cubicBezTo>
                  <a:pt x="2593" y="972"/>
                  <a:pt x="2592" y="969"/>
                  <a:pt x="2590" y="969"/>
                </a:cubicBezTo>
                <a:cubicBezTo>
                  <a:pt x="2589" y="968"/>
                  <a:pt x="2587" y="969"/>
                  <a:pt x="2587" y="969"/>
                </a:cubicBezTo>
                <a:cubicBezTo>
                  <a:pt x="2581" y="968"/>
                  <a:pt x="2581" y="968"/>
                  <a:pt x="2581" y="968"/>
                </a:cubicBezTo>
                <a:cubicBezTo>
                  <a:pt x="2585" y="973"/>
                  <a:pt x="2585" y="973"/>
                  <a:pt x="2585" y="973"/>
                </a:cubicBezTo>
                <a:cubicBezTo>
                  <a:pt x="2585" y="973"/>
                  <a:pt x="2590" y="979"/>
                  <a:pt x="2592" y="975"/>
                </a:cubicBezTo>
                <a:close/>
                <a:moveTo>
                  <a:pt x="2573" y="983"/>
                </a:moveTo>
                <a:cubicBezTo>
                  <a:pt x="2576" y="982"/>
                  <a:pt x="2576" y="982"/>
                  <a:pt x="2576" y="982"/>
                </a:cubicBezTo>
                <a:cubicBezTo>
                  <a:pt x="2577" y="979"/>
                  <a:pt x="2577" y="979"/>
                  <a:pt x="2577" y="979"/>
                </a:cubicBezTo>
                <a:cubicBezTo>
                  <a:pt x="2581" y="981"/>
                  <a:pt x="2581" y="981"/>
                  <a:pt x="2581" y="981"/>
                </a:cubicBezTo>
                <a:cubicBezTo>
                  <a:pt x="2585" y="977"/>
                  <a:pt x="2585" y="977"/>
                  <a:pt x="2585" y="977"/>
                </a:cubicBezTo>
                <a:cubicBezTo>
                  <a:pt x="2578" y="974"/>
                  <a:pt x="2578" y="974"/>
                  <a:pt x="2578" y="974"/>
                </a:cubicBezTo>
                <a:cubicBezTo>
                  <a:pt x="2576" y="975"/>
                  <a:pt x="2576" y="975"/>
                  <a:pt x="2576" y="975"/>
                </a:cubicBezTo>
                <a:cubicBezTo>
                  <a:pt x="2576" y="975"/>
                  <a:pt x="2573" y="972"/>
                  <a:pt x="2571" y="972"/>
                </a:cubicBezTo>
                <a:cubicBezTo>
                  <a:pt x="2569" y="972"/>
                  <a:pt x="2565" y="979"/>
                  <a:pt x="2565" y="979"/>
                </a:cubicBezTo>
                <a:cubicBezTo>
                  <a:pt x="2572" y="980"/>
                  <a:pt x="2572" y="980"/>
                  <a:pt x="2572" y="980"/>
                </a:cubicBezTo>
                <a:cubicBezTo>
                  <a:pt x="2573" y="983"/>
                  <a:pt x="2573" y="983"/>
                  <a:pt x="2573" y="983"/>
                </a:cubicBezTo>
                <a:cubicBezTo>
                  <a:pt x="2573" y="983"/>
                  <a:pt x="2573" y="983"/>
                  <a:pt x="2573" y="983"/>
                </a:cubicBezTo>
                <a:close/>
                <a:moveTo>
                  <a:pt x="2572" y="787"/>
                </a:moveTo>
                <a:cubicBezTo>
                  <a:pt x="2576" y="783"/>
                  <a:pt x="2576" y="783"/>
                  <a:pt x="2576" y="783"/>
                </a:cubicBezTo>
                <a:cubicBezTo>
                  <a:pt x="2576" y="783"/>
                  <a:pt x="2575" y="780"/>
                  <a:pt x="2577" y="780"/>
                </a:cubicBezTo>
                <a:cubicBezTo>
                  <a:pt x="2579" y="780"/>
                  <a:pt x="2581" y="780"/>
                  <a:pt x="2583" y="778"/>
                </a:cubicBezTo>
                <a:cubicBezTo>
                  <a:pt x="2584" y="777"/>
                  <a:pt x="2583" y="774"/>
                  <a:pt x="2584" y="772"/>
                </a:cubicBezTo>
                <a:cubicBezTo>
                  <a:pt x="2586" y="770"/>
                  <a:pt x="2596" y="767"/>
                  <a:pt x="2596" y="764"/>
                </a:cubicBezTo>
                <a:cubicBezTo>
                  <a:pt x="2596" y="762"/>
                  <a:pt x="2594" y="760"/>
                  <a:pt x="2594" y="758"/>
                </a:cubicBezTo>
                <a:cubicBezTo>
                  <a:pt x="2593" y="755"/>
                  <a:pt x="2594" y="751"/>
                  <a:pt x="2594" y="751"/>
                </a:cubicBezTo>
                <a:cubicBezTo>
                  <a:pt x="2592" y="748"/>
                  <a:pt x="2592" y="748"/>
                  <a:pt x="2592" y="748"/>
                </a:cubicBezTo>
                <a:cubicBezTo>
                  <a:pt x="2591" y="752"/>
                  <a:pt x="2591" y="752"/>
                  <a:pt x="2591" y="752"/>
                </a:cubicBezTo>
                <a:cubicBezTo>
                  <a:pt x="2591" y="752"/>
                  <a:pt x="2587" y="755"/>
                  <a:pt x="2589" y="758"/>
                </a:cubicBezTo>
                <a:cubicBezTo>
                  <a:pt x="2590" y="761"/>
                  <a:pt x="2594" y="761"/>
                  <a:pt x="2592" y="762"/>
                </a:cubicBezTo>
                <a:cubicBezTo>
                  <a:pt x="2589" y="764"/>
                  <a:pt x="2586" y="766"/>
                  <a:pt x="2586" y="766"/>
                </a:cubicBezTo>
                <a:cubicBezTo>
                  <a:pt x="2585" y="769"/>
                  <a:pt x="2585" y="769"/>
                  <a:pt x="2585" y="769"/>
                </a:cubicBezTo>
                <a:cubicBezTo>
                  <a:pt x="2581" y="771"/>
                  <a:pt x="2581" y="771"/>
                  <a:pt x="2581" y="771"/>
                </a:cubicBezTo>
                <a:cubicBezTo>
                  <a:pt x="2581" y="771"/>
                  <a:pt x="2583" y="773"/>
                  <a:pt x="2581" y="774"/>
                </a:cubicBezTo>
                <a:cubicBezTo>
                  <a:pt x="2580" y="776"/>
                  <a:pt x="2574" y="778"/>
                  <a:pt x="2574" y="778"/>
                </a:cubicBezTo>
                <a:cubicBezTo>
                  <a:pt x="2574" y="778"/>
                  <a:pt x="2570" y="786"/>
                  <a:pt x="2572" y="787"/>
                </a:cubicBezTo>
                <a:close/>
                <a:moveTo>
                  <a:pt x="2590" y="678"/>
                </a:moveTo>
                <a:cubicBezTo>
                  <a:pt x="2589" y="680"/>
                  <a:pt x="2589" y="679"/>
                  <a:pt x="2591" y="681"/>
                </a:cubicBezTo>
                <a:cubicBezTo>
                  <a:pt x="2591" y="682"/>
                  <a:pt x="2592" y="684"/>
                  <a:pt x="2593" y="685"/>
                </a:cubicBezTo>
                <a:cubicBezTo>
                  <a:pt x="2593" y="687"/>
                  <a:pt x="2593" y="688"/>
                  <a:pt x="2593" y="690"/>
                </a:cubicBezTo>
                <a:cubicBezTo>
                  <a:pt x="2593" y="691"/>
                  <a:pt x="2591" y="692"/>
                  <a:pt x="2591" y="693"/>
                </a:cubicBezTo>
                <a:cubicBezTo>
                  <a:pt x="2591" y="695"/>
                  <a:pt x="2593" y="695"/>
                  <a:pt x="2593" y="697"/>
                </a:cubicBezTo>
                <a:cubicBezTo>
                  <a:pt x="2592" y="698"/>
                  <a:pt x="2590" y="699"/>
                  <a:pt x="2589" y="699"/>
                </a:cubicBezTo>
                <a:cubicBezTo>
                  <a:pt x="2589" y="697"/>
                  <a:pt x="2588" y="696"/>
                  <a:pt x="2587" y="696"/>
                </a:cubicBezTo>
                <a:cubicBezTo>
                  <a:pt x="2587" y="700"/>
                  <a:pt x="2588" y="703"/>
                  <a:pt x="2591" y="707"/>
                </a:cubicBezTo>
                <a:cubicBezTo>
                  <a:pt x="2594" y="710"/>
                  <a:pt x="2596" y="712"/>
                  <a:pt x="2598" y="716"/>
                </a:cubicBezTo>
                <a:cubicBezTo>
                  <a:pt x="2599" y="718"/>
                  <a:pt x="2602" y="724"/>
                  <a:pt x="2605" y="724"/>
                </a:cubicBezTo>
                <a:cubicBezTo>
                  <a:pt x="2607" y="724"/>
                  <a:pt x="2608" y="721"/>
                  <a:pt x="2611" y="721"/>
                </a:cubicBezTo>
                <a:cubicBezTo>
                  <a:pt x="2613" y="721"/>
                  <a:pt x="2614" y="723"/>
                  <a:pt x="2615" y="724"/>
                </a:cubicBezTo>
                <a:cubicBezTo>
                  <a:pt x="2620" y="728"/>
                  <a:pt x="2620" y="724"/>
                  <a:pt x="2618" y="721"/>
                </a:cubicBezTo>
                <a:cubicBezTo>
                  <a:pt x="2621" y="720"/>
                  <a:pt x="2623" y="722"/>
                  <a:pt x="2624" y="725"/>
                </a:cubicBezTo>
                <a:cubicBezTo>
                  <a:pt x="2624" y="728"/>
                  <a:pt x="2626" y="730"/>
                  <a:pt x="2629" y="731"/>
                </a:cubicBezTo>
                <a:cubicBezTo>
                  <a:pt x="2635" y="734"/>
                  <a:pt x="2635" y="721"/>
                  <a:pt x="2629" y="722"/>
                </a:cubicBezTo>
                <a:cubicBezTo>
                  <a:pt x="2628" y="721"/>
                  <a:pt x="2629" y="720"/>
                  <a:pt x="2630" y="719"/>
                </a:cubicBezTo>
                <a:cubicBezTo>
                  <a:pt x="2627" y="719"/>
                  <a:pt x="2626" y="716"/>
                  <a:pt x="2624" y="717"/>
                </a:cubicBezTo>
                <a:cubicBezTo>
                  <a:pt x="2622" y="721"/>
                  <a:pt x="2619" y="716"/>
                  <a:pt x="2616" y="716"/>
                </a:cubicBezTo>
                <a:cubicBezTo>
                  <a:pt x="2613" y="716"/>
                  <a:pt x="2612" y="721"/>
                  <a:pt x="2609" y="717"/>
                </a:cubicBezTo>
                <a:cubicBezTo>
                  <a:pt x="2607" y="714"/>
                  <a:pt x="2608" y="711"/>
                  <a:pt x="2608" y="709"/>
                </a:cubicBezTo>
                <a:cubicBezTo>
                  <a:pt x="2608" y="706"/>
                  <a:pt x="2607" y="702"/>
                  <a:pt x="2608" y="700"/>
                </a:cubicBezTo>
                <a:cubicBezTo>
                  <a:pt x="2610" y="697"/>
                  <a:pt x="2612" y="698"/>
                  <a:pt x="2612" y="694"/>
                </a:cubicBezTo>
                <a:cubicBezTo>
                  <a:pt x="2612" y="691"/>
                  <a:pt x="2610" y="689"/>
                  <a:pt x="2610" y="686"/>
                </a:cubicBezTo>
                <a:cubicBezTo>
                  <a:pt x="2610" y="683"/>
                  <a:pt x="2612" y="680"/>
                  <a:pt x="2611" y="677"/>
                </a:cubicBezTo>
                <a:cubicBezTo>
                  <a:pt x="2610" y="676"/>
                  <a:pt x="2609" y="675"/>
                  <a:pt x="2608" y="674"/>
                </a:cubicBezTo>
                <a:cubicBezTo>
                  <a:pt x="2608" y="673"/>
                  <a:pt x="2608" y="671"/>
                  <a:pt x="2608" y="670"/>
                </a:cubicBezTo>
                <a:cubicBezTo>
                  <a:pt x="2608" y="669"/>
                  <a:pt x="2607" y="667"/>
                  <a:pt x="2606" y="667"/>
                </a:cubicBezTo>
                <a:cubicBezTo>
                  <a:pt x="2605" y="667"/>
                  <a:pt x="2604" y="669"/>
                  <a:pt x="2603" y="669"/>
                </a:cubicBezTo>
                <a:cubicBezTo>
                  <a:pt x="2600" y="672"/>
                  <a:pt x="2599" y="669"/>
                  <a:pt x="2596" y="669"/>
                </a:cubicBezTo>
                <a:cubicBezTo>
                  <a:pt x="2594" y="669"/>
                  <a:pt x="2594" y="669"/>
                  <a:pt x="2594" y="669"/>
                </a:cubicBezTo>
                <a:cubicBezTo>
                  <a:pt x="2593" y="671"/>
                  <a:pt x="2594" y="672"/>
                  <a:pt x="2594" y="674"/>
                </a:cubicBezTo>
                <a:cubicBezTo>
                  <a:pt x="2593" y="675"/>
                  <a:pt x="2591" y="677"/>
                  <a:pt x="2590" y="678"/>
                </a:cubicBezTo>
                <a:close/>
                <a:moveTo>
                  <a:pt x="2606" y="812"/>
                </a:moveTo>
                <a:cubicBezTo>
                  <a:pt x="2609" y="813"/>
                  <a:pt x="2609" y="813"/>
                  <a:pt x="2609" y="813"/>
                </a:cubicBezTo>
                <a:cubicBezTo>
                  <a:pt x="2611" y="809"/>
                  <a:pt x="2611" y="809"/>
                  <a:pt x="2611" y="809"/>
                </a:cubicBezTo>
                <a:cubicBezTo>
                  <a:pt x="2608" y="807"/>
                  <a:pt x="2608" y="807"/>
                  <a:pt x="2608" y="807"/>
                </a:cubicBezTo>
                <a:cubicBezTo>
                  <a:pt x="2606" y="812"/>
                  <a:pt x="2606" y="812"/>
                  <a:pt x="2606" y="812"/>
                </a:cubicBezTo>
                <a:cubicBezTo>
                  <a:pt x="2606" y="812"/>
                  <a:pt x="2606" y="812"/>
                  <a:pt x="2606" y="812"/>
                </a:cubicBezTo>
                <a:close/>
                <a:moveTo>
                  <a:pt x="2637" y="737"/>
                </a:moveTo>
                <a:cubicBezTo>
                  <a:pt x="2635" y="741"/>
                  <a:pt x="2642" y="745"/>
                  <a:pt x="2642" y="745"/>
                </a:cubicBezTo>
                <a:cubicBezTo>
                  <a:pt x="2647" y="747"/>
                  <a:pt x="2647" y="747"/>
                  <a:pt x="2647" y="747"/>
                </a:cubicBezTo>
                <a:cubicBezTo>
                  <a:pt x="2647" y="751"/>
                  <a:pt x="2642" y="749"/>
                  <a:pt x="2642" y="749"/>
                </a:cubicBezTo>
                <a:cubicBezTo>
                  <a:pt x="2651" y="756"/>
                  <a:pt x="2651" y="756"/>
                  <a:pt x="2651" y="756"/>
                </a:cubicBezTo>
                <a:cubicBezTo>
                  <a:pt x="2651" y="753"/>
                  <a:pt x="2651" y="753"/>
                  <a:pt x="2651" y="753"/>
                </a:cubicBezTo>
                <a:cubicBezTo>
                  <a:pt x="2655" y="754"/>
                  <a:pt x="2655" y="754"/>
                  <a:pt x="2655" y="754"/>
                </a:cubicBezTo>
                <a:cubicBezTo>
                  <a:pt x="2652" y="749"/>
                  <a:pt x="2652" y="749"/>
                  <a:pt x="2652" y="749"/>
                </a:cubicBezTo>
                <a:cubicBezTo>
                  <a:pt x="2652" y="749"/>
                  <a:pt x="2651" y="744"/>
                  <a:pt x="2649" y="741"/>
                </a:cubicBezTo>
                <a:cubicBezTo>
                  <a:pt x="2646" y="739"/>
                  <a:pt x="2638" y="734"/>
                  <a:pt x="2637" y="737"/>
                </a:cubicBezTo>
                <a:close/>
                <a:moveTo>
                  <a:pt x="2610" y="733"/>
                </a:moveTo>
                <a:cubicBezTo>
                  <a:pt x="2610" y="733"/>
                  <a:pt x="2609" y="728"/>
                  <a:pt x="2608" y="727"/>
                </a:cubicBezTo>
                <a:cubicBezTo>
                  <a:pt x="2606" y="726"/>
                  <a:pt x="2600" y="726"/>
                  <a:pt x="2600" y="726"/>
                </a:cubicBezTo>
                <a:cubicBezTo>
                  <a:pt x="2605" y="732"/>
                  <a:pt x="2605" y="732"/>
                  <a:pt x="2605" y="732"/>
                </a:cubicBezTo>
                <a:cubicBezTo>
                  <a:pt x="2607" y="741"/>
                  <a:pt x="2607" y="741"/>
                  <a:pt x="2607" y="741"/>
                </a:cubicBezTo>
                <a:cubicBezTo>
                  <a:pt x="2607" y="741"/>
                  <a:pt x="2610" y="739"/>
                  <a:pt x="2611" y="738"/>
                </a:cubicBezTo>
                <a:cubicBezTo>
                  <a:pt x="2612" y="736"/>
                  <a:pt x="2610" y="733"/>
                  <a:pt x="2610" y="733"/>
                </a:cubicBezTo>
                <a:close/>
                <a:moveTo>
                  <a:pt x="2636" y="760"/>
                </a:moveTo>
                <a:cubicBezTo>
                  <a:pt x="2638" y="771"/>
                  <a:pt x="2638" y="771"/>
                  <a:pt x="2638" y="771"/>
                </a:cubicBezTo>
                <a:cubicBezTo>
                  <a:pt x="2639" y="761"/>
                  <a:pt x="2639" y="761"/>
                  <a:pt x="2639" y="761"/>
                </a:cubicBezTo>
                <a:cubicBezTo>
                  <a:pt x="2636" y="753"/>
                  <a:pt x="2636" y="753"/>
                  <a:pt x="2636" y="753"/>
                </a:cubicBezTo>
                <a:cubicBezTo>
                  <a:pt x="2633" y="753"/>
                  <a:pt x="2633" y="753"/>
                  <a:pt x="2633" y="753"/>
                </a:cubicBezTo>
                <a:cubicBezTo>
                  <a:pt x="2636" y="760"/>
                  <a:pt x="2636" y="760"/>
                  <a:pt x="2636" y="760"/>
                </a:cubicBezTo>
                <a:cubicBezTo>
                  <a:pt x="2636" y="760"/>
                  <a:pt x="2636" y="760"/>
                  <a:pt x="2636" y="760"/>
                </a:cubicBezTo>
                <a:close/>
                <a:moveTo>
                  <a:pt x="2378" y="859"/>
                </a:moveTo>
                <a:cubicBezTo>
                  <a:pt x="2376" y="859"/>
                  <a:pt x="2374" y="862"/>
                  <a:pt x="2377" y="864"/>
                </a:cubicBezTo>
                <a:cubicBezTo>
                  <a:pt x="2379" y="865"/>
                  <a:pt x="2380" y="872"/>
                  <a:pt x="2383" y="872"/>
                </a:cubicBezTo>
                <a:cubicBezTo>
                  <a:pt x="2384" y="872"/>
                  <a:pt x="2384" y="865"/>
                  <a:pt x="2384" y="864"/>
                </a:cubicBezTo>
                <a:cubicBezTo>
                  <a:pt x="2383" y="863"/>
                  <a:pt x="2380" y="859"/>
                  <a:pt x="2378" y="859"/>
                </a:cubicBezTo>
                <a:close/>
                <a:moveTo>
                  <a:pt x="2697" y="907"/>
                </a:moveTo>
                <a:cubicBezTo>
                  <a:pt x="2693" y="906"/>
                  <a:pt x="2691" y="908"/>
                  <a:pt x="2689" y="909"/>
                </a:cubicBezTo>
                <a:cubicBezTo>
                  <a:pt x="2688" y="909"/>
                  <a:pt x="2686" y="909"/>
                  <a:pt x="2685" y="909"/>
                </a:cubicBezTo>
                <a:cubicBezTo>
                  <a:pt x="2682" y="911"/>
                  <a:pt x="2681" y="914"/>
                  <a:pt x="2682" y="915"/>
                </a:cubicBezTo>
                <a:cubicBezTo>
                  <a:pt x="2684" y="916"/>
                  <a:pt x="2685" y="913"/>
                  <a:pt x="2685" y="913"/>
                </a:cubicBezTo>
                <a:cubicBezTo>
                  <a:pt x="2685" y="913"/>
                  <a:pt x="2685" y="917"/>
                  <a:pt x="2688" y="917"/>
                </a:cubicBezTo>
                <a:cubicBezTo>
                  <a:pt x="2690" y="917"/>
                  <a:pt x="2690" y="913"/>
                  <a:pt x="2690" y="913"/>
                </a:cubicBezTo>
                <a:cubicBezTo>
                  <a:pt x="2690" y="913"/>
                  <a:pt x="2692" y="915"/>
                  <a:pt x="2693" y="915"/>
                </a:cubicBezTo>
                <a:cubicBezTo>
                  <a:pt x="2695" y="915"/>
                  <a:pt x="2699" y="912"/>
                  <a:pt x="2699" y="912"/>
                </a:cubicBezTo>
                <a:cubicBezTo>
                  <a:pt x="2701" y="920"/>
                  <a:pt x="2701" y="920"/>
                  <a:pt x="2701" y="920"/>
                </a:cubicBezTo>
                <a:cubicBezTo>
                  <a:pt x="2705" y="917"/>
                  <a:pt x="2705" y="917"/>
                  <a:pt x="2705" y="917"/>
                </a:cubicBezTo>
                <a:cubicBezTo>
                  <a:pt x="2709" y="922"/>
                  <a:pt x="2709" y="922"/>
                  <a:pt x="2709" y="922"/>
                </a:cubicBezTo>
                <a:cubicBezTo>
                  <a:pt x="2710" y="918"/>
                  <a:pt x="2710" y="918"/>
                  <a:pt x="2710" y="918"/>
                </a:cubicBezTo>
                <a:cubicBezTo>
                  <a:pt x="2707" y="916"/>
                  <a:pt x="2707" y="916"/>
                  <a:pt x="2707" y="916"/>
                </a:cubicBezTo>
                <a:cubicBezTo>
                  <a:pt x="2708" y="913"/>
                  <a:pt x="2708" y="913"/>
                  <a:pt x="2708" y="913"/>
                </a:cubicBezTo>
                <a:cubicBezTo>
                  <a:pt x="2708" y="913"/>
                  <a:pt x="2706" y="909"/>
                  <a:pt x="2697" y="907"/>
                </a:cubicBezTo>
                <a:close/>
                <a:moveTo>
                  <a:pt x="2968" y="966"/>
                </a:moveTo>
                <a:cubicBezTo>
                  <a:pt x="2964" y="967"/>
                  <a:pt x="2964" y="967"/>
                  <a:pt x="2964" y="967"/>
                </a:cubicBezTo>
                <a:cubicBezTo>
                  <a:pt x="2964" y="970"/>
                  <a:pt x="2964" y="970"/>
                  <a:pt x="2964" y="970"/>
                </a:cubicBezTo>
                <a:cubicBezTo>
                  <a:pt x="2966" y="971"/>
                  <a:pt x="2966" y="971"/>
                  <a:pt x="2966" y="971"/>
                </a:cubicBezTo>
                <a:cubicBezTo>
                  <a:pt x="2968" y="966"/>
                  <a:pt x="2968" y="966"/>
                  <a:pt x="2968" y="966"/>
                </a:cubicBezTo>
                <a:cubicBezTo>
                  <a:pt x="2968" y="966"/>
                  <a:pt x="2968" y="966"/>
                  <a:pt x="2968" y="966"/>
                </a:cubicBezTo>
                <a:close/>
                <a:moveTo>
                  <a:pt x="2756" y="887"/>
                </a:moveTo>
                <a:cubicBezTo>
                  <a:pt x="2760" y="889"/>
                  <a:pt x="2762" y="887"/>
                  <a:pt x="2758" y="885"/>
                </a:cubicBezTo>
                <a:cubicBezTo>
                  <a:pt x="2756" y="884"/>
                  <a:pt x="2754" y="886"/>
                  <a:pt x="2756" y="887"/>
                </a:cubicBezTo>
                <a:close/>
                <a:moveTo>
                  <a:pt x="2968" y="955"/>
                </a:moveTo>
                <a:cubicBezTo>
                  <a:pt x="2965" y="952"/>
                  <a:pt x="2965" y="952"/>
                  <a:pt x="2965" y="952"/>
                </a:cubicBezTo>
                <a:cubicBezTo>
                  <a:pt x="2964" y="956"/>
                  <a:pt x="2964" y="956"/>
                  <a:pt x="2964" y="956"/>
                </a:cubicBezTo>
                <a:cubicBezTo>
                  <a:pt x="2967" y="959"/>
                  <a:pt x="2967" y="959"/>
                  <a:pt x="2967" y="959"/>
                </a:cubicBezTo>
                <a:cubicBezTo>
                  <a:pt x="2968" y="955"/>
                  <a:pt x="2968" y="955"/>
                  <a:pt x="2968" y="955"/>
                </a:cubicBezTo>
                <a:cubicBezTo>
                  <a:pt x="2968" y="955"/>
                  <a:pt x="2968" y="955"/>
                  <a:pt x="2968" y="955"/>
                </a:cubicBezTo>
                <a:close/>
                <a:moveTo>
                  <a:pt x="2770" y="898"/>
                </a:moveTo>
                <a:cubicBezTo>
                  <a:pt x="2770" y="898"/>
                  <a:pt x="2765" y="896"/>
                  <a:pt x="2764" y="896"/>
                </a:cubicBezTo>
                <a:cubicBezTo>
                  <a:pt x="2763" y="895"/>
                  <a:pt x="2757" y="897"/>
                  <a:pt x="2757" y="897"/>
                </a:cubicBezTo>
                <a:cubicBezTo>
                  <a:pt x="2757" y="897"/>
                  <a:pt x="2761" y="899"/>
                  <a:pt x="2763" y="899"/>
                </a:cubicBezTo>
                <a:cubicBezTo>
                  <a:pt x="2765" y="899"/>
                  <a:pt x="2770" y="898"/>
                  <a:pt x="2770" y="898"/>
                </a:cubicBezTo>
                <a:close/>
                <a:moveTo>
                  <a:pt x="2944" y="944"/>
                </a:moveTo>
                <a:cubicBezTo>
                  <a:pt x="2948" y="950"/>
                  <a:pt x="2948" y="950"/>
                  <a:pt x="2948" y="950"/>
                </a:cubicBezTo>
                <a:cubicBezTo>
                  <a:pt x="2957" y="959"/>
                  <a:pt x="2957" y="959"/>
                  <a:pt x="2957" y="959"/>
                </a:cubicBezTo>
                <a:cubicBezTo>
                  <a:pt x="2956" y="949"/>
                  <a:pt x="2956" y="949"/>
                  <a:pt x="2956" y="949"/>
                </a:cubicBezTo>
                <a:cubicBezTo>
                  <a:pt x="2948" y="939"/>
                  <a:pt x="2948" y="939"/>
                  <a:pt x="2948" y="939"/>
                </a:cubicBezTo>
                <a:cubicBezTo>
                  <a:pt x="2948" y="939"/>
                  <a:pt x="2947" y="934"/>
                  <a:pt x="2943" y="935"/>
                </a:cubicBezTo>
                <a:cubicBezTo>
                  <a:pt x="2940" y="936"/>
                  <a:pt x="2942" y="940"/>
                  <a:pt x="2942" y="940"/>
                </a:cubicBezTo>
                <a:cubicBezTo>
                  <a:pt x="2944" y="944"/>
                  <a:pt x="2944" y="944"/>
                  <a:pt x="2944" y="944"/>
                </a:cubicBezTo>
                <a:cubicBezTo>
                  <a:pt x="2944" y="944"/>
                  <a:pt x="2944" y="944"/>
                  <a:pt x="2944" y="944"/>
                </a:cubicBezTo>
                <a:close/>
                <a:moveTo>
                  <a:pt x="3068" y="1300"/>
                </a:moveTo>
                <a:cubicBezTo>
                  <a:pt x="3066" y="1298"/>
                  <a:pt x="3064" y="1302"/>
                  <a:pt x="3064" y="1302"/>
                </a:cubicBezTo>
                <a:cubicBezTo>
                  <a:pt x="3064" y="1302"/>
                  <a:pt x="3063" y="1302"/>
                  <a:pt x="3061" y="1302"/>
                </a:cubicBezTo>
                <a:cubicBezTo>
                  <a:pt x="3060" y="1301"/>
                  <a:pt x="3056" y="1304"/>
                  <a:pt x="3053" y="1303"/>
                </a:cubicBezTo>
                <a:cubicBezTo>
                  <a:pt x="3051" y="1303"/>
                  <a:pt x="3052" y="1293"/>
                  <a:pt x="3052" y="1293"/>
                </a:cubicBezTo>
                <a:cubicBezTo>
                  <a:pt x="3055" y="1288"/>
                  <a:pt x="3055" y="1288"/>
                  <a:pt x="3055" y="1288"/>
                </a:cubicBezTo>
                <a:cubicBezTo>
                  <a:pt x="3055" y="1288"/>
                  <a:pt x="3055" y="1284"/>
                  <a:pt x="3053" y="1285"/>
                </a:cubicBezTo>
                <a:cubicBezTo>
                  <a:pt x="3051" y="1285"/>
                  <a:pt x="3051" y="1288"/>
                  <a:pt x="3051" y="1290"/>
                </a:cubicBezTo>
                <a:cubicBezTo>
                  <a:pt x="3051" y="1292"/>
                  <a:pt x="3048" y="1294"/>
                  <a:pt x="3048" y="1294"/>
                </a:cubicBezTo>
                <a:cubicBezTo>
                  <a:pt x="3047" y="1290"/>
                  <a:pt x="3047" y="1290"/>
                  <a:pt x="3047" y="1290"/>
                </a:cubicBezTo>
                <a:cubicBezTo>
                  <a:pt x="3044" y="1287"/>
                  <a:pt x="3044" y="1287"/>
                  <a:pt x="3044" y="1287"/>
                </a:cubicBezTo>
                <a:cubicBezTo>
                  <a:pt x="3044" y="1287"/>
                  <a:pt x="3049" y="1280"/>
                  <a:pt x="3049" y="1276"/>
                </a:cubicBezTo>
                <a:cubicBezTo>
                  <a:pt x="3050" y="1272"/>
                  <a:pt x="3043" y="1272"/>
                  <a:pt x="3043" y="1272"/>
                </a:cubicBezTo>
                <a:cubicBezTo>
                  <a:pt x="3043" y="1269"/>
                  <a:pt x="3043" y="1269"/>
                  <a:pt x="3043" y="1269"/>
                </a:cubicBezTo>
                <a:cubicBezTo>
                  <a:pt x="3041" y="1268"/>
                  <a:pt x="3041" y="1268"/>
                  <a:pt x="3041" y="1268"/>
                </a:cubicBezTo>
                <a:cubicBezTo>
                  <a:pt x="3037" y="1265"/>
                  <a:pt x="3037" y="1265"/>
                  <a:pt x="3037" y="1265"/>
                </a:cubicBezTo>
                <a:cubicBezTo>
                  <a:pt x="3039" y="1263"/>
                  <a:pt x="3039" y="1263"/>
                  <a:pt x="3039" y="1263"/>
                </a:cubicBezTo>
                <a:cubicBezTo>
                  <a:pt x="3035" y="1266"/>
                  <a:pt x="3035" y="1266"/>
                  <a:pt x="3035" y="1266"/>
                </a:cubicBezTo>
                <a:cubicBezTo>
                  <a:pt x="3037" y="1270"/>
                  <a:pt x="3037" y="1270"/>
                  <a:pt x="3037" y="1270"/>
                </a:cubicBezTo>
                <a:cubicBezTo>
                  <a:pt x="3036" y="1276"/>
                  <a:pt x="3036" y="1276"/>
                  <a:pt x="3036" y="1276"/>
                </a:cubicBezTo>
                <a:cubicBezTo>
                  <a:pt x="3039" y="1277"/>
                  <a:pt x="3039" y="1277"/>
                  <a:pt x="3039" y="1277"/>
                </a:cubicBezTo>
                <a:cubicBezTo>
                  <a:pt x="3037" y="1278"/>
                  <a:pt x="3037" y="1278"/>
                  <a:pt x="3037" y="1278"/>
                </a:cubicBezTo>
                <a:cubicBezTo>
                  <a:pt x="3038" y="1281"/>
                  <a:pt x="3038" y="1281"/>
                  <a:pt x="3038" y="1281"/>
                </a:cubicBezTo>
                <a:cubicBezTo>
                  <a:pt x="3042" y="1282"/>
                  <a:pt x="3042" y="1282"/>
                  <a:pt x="3042" y="1282"/>
                </a:cubicBezTo>
                <a:cubicBezTo>
                  <a:pt x="3038" y="1283"/>
                  <a:pt x="3038" y="1283"/>
                  <a:pt x="3038" y="1283"/>
                </a:cubicBezTo>
                <a:cubicBezTo>
                  <a:pt x="3040" y="1284"/>
                  <a:pt x="3040" y="1284"/>
                  <a:pt x="3040" y="1284"/>
                </a:cubicBezTo>
                <a:cubicBezTo>
                  <a:pt x="3040" y="1284"/>
                  <a:pt x="3039" y="1287"/>
                  <a:pt x="3039" y="1289"/>
                </a:cubicBezTo>
                <a:cubicBezTo>
                  <a:pt x="3039" y="1290"/>
                  <a:pt x="3042" y="1292"/>
                  <a:pt x="3042" y="1292"/>
                </a:cubicBezTo>
                <a:cubicBezTo>
                  <a:pt x="3039" y="1292"/>
                  <a:pt x="3039" y="1292"/>
                  <a:pt x="3039" y="1292"/>
                </a:cubicBezTo>
                <a:cubicBezTo>
                  <a:pt x="3038" y="1294"/>
                  <a:pt x="3038" y="1294"/>
                  <a:pt x="3038" y="1294"/>
                </a:cubicBezTo>
                <a:cubicBezTo>
                  <a:pt x="3040" y="1295"/>
                  <a:pt x="3040" y="1295"/>
                  <a:pt x="3040" y="1295"/>
                </a:cubicBezTo>
                <a:cubicBezTo>
                  <a:pt x="3040" y="1295"/>
                  <a:pt x="3036" y="1300"/>
                  <a:pt x="3035" y="1302"/>
                </a:cubicBezTo>
                <a:cubicBezTo>
                  <a:pt x="3035" y="1304"/>
                  <a:pt x="3037" y="1305"/>
                  <a:pt x="3037" y="1305"/>
                </a:cubicBezTo>
                <a:cubicBezTo>
                  <a:pt x="3037" y="1305"/>
                  <a:pt x="3033" y="1306"/>
                  <a:pt x="3030" y="1307"/>
                </a:cubicBezTo>
                <a:cubicBezTo>
                  <a:pt x="3027" y="1308"/>
                  <a:pt x="3028" y="1309"/>
                  <a:pt x="3024" y="1311"/>
                </a:cubicBezTo>
                <a:cubicBezTo>
                  <a:pt x="3021" y="1314"/>
                  <a:pt x="3018" y="1314"/>
                  <a:pt x="3014" y="1316"/>
                </a:cubicBezTo>
                <a:cubicBezTo>
                  <a:pt x="3009" y="1319"/>
                  <a:pt x="3013" y="1326"/>
                  <a:pt x="3013" y="1326"/>
                </a:cubicBezTo>
                <a:cubicBezTo>
                  <a:pt x="3013" y="1326"/>
                  <a:pt x="3018" y="1326"/>
                  <a:pt x="3020" y="1326"/>
                </a:cubicBezTo>
                <a:cubicBezTo>
                  <a:pt x="3022" y="1327"/>
                  <a:pt x="3020" y="1331"/>
                  <a:pt x="3020" y="1334"/>
                </a:cubicBezTo>
                <a:cubicBezTo>
                  <a:pt x="3020" y="1337"/>
                  <a:pt x="3017" y="1337"/>
                  <a:pt x="3013" y="1338"/>
                </a:cubicBezTo>
                <a:cubicBezTo>
                  <a:pt x="3010" y="1340"/>
                  <a:pt x="3011" y="1341"/>
                  <a:pt x="3011" y="1341"/>
                </a:cubicBezTo>
                <a:cubicBezTo>
                  <a:pt x="3009" y="1343"/>
                  <a:pt x="3009" y="1343"/>
                  <a:pt x="3009" y="1343"/>
                </a:cubicBezTo>
                <a:cubicBezTo>
                  <a:pt x="3009" y="1343"/>
                  <a:pt x="3013" y="1346"/>
                  <a:pt x="3016" y="1345"/>
                </a:cubicBezTo>
                <a:cubicBezTo>
                  <a:pt x="3019" y="1344"/>
                  <a:pt x="3025" y="1337"/>
                  <a:pt x="3027" y="1334"/>
                </a:cubicBezTo>
                <a:cubicBezTo>
                  <a:pt x="3030" y="1332"/>
                  <a:pt x="3035" y="1330"/>
                  <a:pt x="3036" y="1330"/>
                </a:cubicBezTo>
                <a:cubicBezTo>
                  <a:pt x="3037" y="1330"/>
                  <a:pt x="3038" y="1328"/>
                  <a:pt x="3038" y="1328"/>
                </a:cubicBezTo>
                <a:cubicBezTo>
                  <a:pt x="3038" y="1328"/>
                  <a:pt x="3040" y="1327"/>
                  <a:pt x="3042" y="1326"/>
                </a:cubicBezTo>
                <a:cubicBezTo>
                  <a:pt x="3044" y="1325"/>
                  <a:pt x="3042" y="1321"/>
                  <a:pt x="3042" y="1321"/>
                </a:cubicBezTo>
                <a:cubicBezTo>
                  <a:pt x="3042" y="1321"/>
                  <a:pt x="3044" y="1319"/>
                  <a:pt x="3047" y="1318"/>
                </a:cubicBezTo>
                <a:cubicBezTo>
                  <a:pt x="3050" y="1317"/>
                  <a:pt x="3052" y="1319"/>
                  <a:pt x="3055" y="1319"/>
                </a:cubicBezTo>
                <a:cubicBezTo>
                  <a:pt x="3057" y="1318"/>
                  <a:pt x="3056" y="1313"/>
                  <a:pt x="3056" y="1313"/>
                </a:cubicBezTo>
                <a:cubicBezTo>
                  <a:pt x="3056" y="1313"/>
                  <a:pt x="3058" y="1313"/>
                  <a:pt x="3061" y="1313"/>
                </a:cubicBezTo>
                <a:cubicBezTo>
                  <a:pt x="3063" y="1312"/>
                  <a:pt x="3062" y="1309"/>
                  <a:pt x="3063" y="1308"/>
                </a:cubicBezTo>
                <a:cubicBezTo>
                  <a:pt x="3065" y="1307"/>
                  <a:pt x="3066" y="1308"/>
                  <a:pt x="3069" y="1306"/>
                </a:cubicBezTo>
                <a:cubicBezTo>
                  <a:pt x="3071" y="1304"/>
                  <a:pt x="3070" y="1301"/>
                  <a:pt x="3068" y="1300"/>
                </a:cubicBezTo>
                <a:close/>
                <a:moveTo>
                  <a:pt x="2873" y="898"/>
                </a:moveTo>
                <a:cubicBezTo>
                  <a:pt x="2870" y="897"/>
                  <a:pt x="2866" y="900"/>
                  <a:pt x="2866" y="900"/>
                </a:cubicBezTo>
                <a:cubicBezTo>
                  <a:pt x="2870" y="903"/>
                  <a:pt x="2870" y="903"/>
                  <a:pt x="2870" y="903"/>
                </a:cubicBezTo>
                <a:cubicBezTo>
                  <a:pt x="2874" y="904"/>
                  <a:pt x="2876" y="899"/>
                  <a:pt x="2873" y="898"/>
                </a:cubicBezTo>
                <a:close/>
                <a:moveTo>
                  <a:pt x="2972" y="979"/>
                </a:moveTo>
                <a:cubicBezTo>
                  <a:pt x="2977" y="978"/>
                  <a:pt x="2977" y="978"/>
                  <a:pt x="2977" y="978"/>
                </a:cubicBezTo>
                <a:cubicBezTo>
                  <a:pt x="2970" y="974"/>
                  <a:pt x="2970" y="974"/>
                  <a:pt x="2970" y="974"/>
                </a:cubicBezTo>
                <a:cubicBezTo>
                  <a:pt x="2972" y="979"/>
                  <a:pt x="2972" y="979"/>
                  <a:pt x="2972" y="979"/>
                </a:cubicBezTo>
                <a:cubicBezTo>
                  <a:pt x="2972" y="979"/>
                  <a:pt x="2972" y="979"/>
                  <a:pt x="2972" y="979"/>
                </a:cubicBezTo>
                <a:close/>
                <a:moveTo>
                  <a:pt x="2918" y="918"/>
                </a:moveTo>
                <a:cubicBezTo>
                  <a:pt x="2919" y="919"/>
                  <a:pt x="2923" y="919"/>
                  <a:pt x="2924" y="922"/>
                </a:cubicBezTo>
                <a:cubicBezTo>
                  <a:pt x="2925" y="925"/>
                  <a:pt x="2921" y="934"/>
                  <a:pt x="2927" y="934"/>
                </a:cubicBezTo>
                <a:cubicBezTo>
                  <a:pt x="2930" y="935"/>
                  <a:pt x="2932" y="928"/>
                  <a:pt x="2929" y="924"/>
                </a:cubicBezTo>
                <a:cubicBezTo>
                  <a:pt x="2926" y="920"/>
                  <a:pt x="2922" y="916"/>
                  <a:pt x="2922" y="916"/>
                </a:cubicBezTo>
                <a:cubicBezTo>
                  <a:pt x="2920" y="916"/>
                  <a:pt x="2920" y="916"/>
                  <a:pt x="2920" y="916"/>
                </a:cubicBezTo>
                <a:cubicBezTo>
                  <a:pt x="2920" y="916"/>
                  <a:pt x="2914" y="909"/>
                  <a:pt x="2913" y="909"/>
                </a:cubicBezTo>
                <a:cubicBezTo>
                  <a:pt x="2912" y="908"/>
                  <a:pt x="2910" y="908"/>
                  <a:pt x="2910" y="908"/>
                </a:cubicBezTo>
                <a:cubicBezTo>
                  <a:pt x="2907" y="903"/>
                  <a:pt x="2907" y="903"/>
                  <a:pt x="2907" y="903"/>
                </a:cubicBezTo>
                <a:cubicBezTo>
                  <a:pt x="2906" y="910"/>
                  <a:pt x="2906" y="910"/>
                  <a:pt x="2906" y="910"/>
                </a:cubicBezTo>
                <a:cubicBezTo>
                  <a:pt x="2912" y="911"/>
                  <a:pt x="2912" y="911"/>
                  <a:pt x="2912" y="911"/>
                </a:cubicBezTo>
                <a:cubicBezTo>
                  <a:pt x="2912" y="911"/>
                  <a:pt x="2917" y="917"/>
                  <a:pt x="2918" y="918"/>
                </a:cubicBezTo>
                <a:close/>
                <a:moveTo>
                  <a:pt x="2901" y="951"/>
                </a:moveTo>
                <a:cubicBezTo>
                  <a:pt x="2903" y="949"/>
                  <a:pt x="2903" y="949"/>
                  <a:pt x="2903" y="949"/>
                </a:cubicBezTo>
                <a:cubicBezTo>
                  <a:pt x="2903" y="949"/>
                  <a:pt x="2906" y="949"/>
                  <a:pt x="2908" y="949"/>
                </a:cubicBezTo>
                <a:cubicBezTo>
                  <a:pt x="2911" y="948"/>
                  <a:pt x="2913" y="944"/>
                  <a:pt x="2913" y="944"/>
                </a:cubicBezTo>
                <a:cubicBezTo>
                  <a:pt x="2917" y="943"/>
                  <a:pt x="2917" y="943"/>
                  <a:pt x="2917" y="943"/>
                </a:cubicBezTo>
                <a:cubicBezTo>
                  <a:pt x="2916" y="940"/>
                  <a:pt x="2916" y="940"/>
                  <a:pt x="2916" y="940"/>
                </a:cubicBezTo>
                <a:cubicBezTo>
                  <a:pt x="2920" y="940"/>
                  <a:pt x="2920" y="940"/>
                  <a:pt x="2920" y="940"/>
                </a:cubicBezTo>
                <a:cubicBezTo>
                  <a:pt x="2920" y="940"/>
                  <a:pt x="2921" y="929"/>
                  <a:pt x="2920" y="926"/>
                </a:cubicBezTo>
                <a:cubicBezTo>
                  <a:pt x="2919" y="922"/>
                  <a:pt x="2912" y="926"/>
                  <a:pt x="2910" y="928"/>
                </a:cubicBezTo>
                <a:cubicBezTo>
                  <a:pt x="2908" y="930"/>
                  <a:pt x="2913" y="932"/>
                  <a:pt x="2913" y="932"/>
                </a:cubicBezTo>
                <a:cubicBezTo>
                  <a:pt x="2913" y="935"/>
                  <a:pt x="2913" y="935"/>
                  <a:pt x="2913" y="935"/>
                </a:cubicBezTo>
                <a:cubicBezTo>
                  <a:pt x="2903" y="940"/>
                  <a:pt x="2903" y="940"/>
                  <a:pt x="2903" y="940"/>
                </a:cubicBezTo>
                <a:cubicBezTo>
                  <a:pt x="2903" y="940"/>
                  <a:pt x="2898" y="940"/>
                  <a:pt x="2895" y="940"/>
                </a:cubicBezTo>
                <a:cubicBezTo>
                  <a:pt x="2892" y="941"/>
                  <a:pt x="2890" y="943"/>
                  <a:pt x="2888" y="944"/>
                </a:cubicBezTo>
                <a:cubicBezTo>
                  <a:pt x="2886" y="945"/>
                  <a:pt x="2885" y="943"/>
                  <a:pt x="2884" y="945"/>
                </a:cubicBezTo>
                <a:cubicBezTo>
                  <a:pt x="2887" y="950"/>
                  <a:pt x="2887" y="950"/>
                  <a:pt x="2887" y="950"/>
                </a:cubicBezTo>
                <a:cubicBezTo>
                  <a:pt x="2901" y="951"/>
                  <a:pt x="2901" y="951"/>
                  <a:pt x="2901" y="951"/>
                </a:cubicBezTo>
                <a:cubicBezTo>
                  <a:pt x="2901" y="951"/>
                  <a:pt x="2901" y="951"/>
                  <a:pt x="2901" y="951"/>
                </a:cubicBezTo>
                <a:close/>
                <a:moveTo>
                  <a:pt x="2535" y="955"/>
                </a:moveTo>
                <a:cubicBezTo>
                  <a:pt x="2534" y="960"/>
                  <a:pt x="2539" y="959"/>
                  <a:pt x="2539" y="959"/>
                </a:cubicBezTo>
                <a:cubicBezTo>
                  <a:pt x="2547" y="953"/>
                  <a:pt x="2547" y="953"/>
                  <a:pt x="2547" y="953"/>
                </a:cubicBezTo>
                <a:cubicBezTo>
                  <a:pt x="2546" y="952"/>
                  <a:pt x="2546" y="952"/>
                  <a:pt x="2546" y="952"/>
                </a:cubicBezTo>
                <a:cubicBezTo>
                  <a:pt x="2546" y="952"/>
                  <a:pt x="2535" y="953"/>
                  <a:pt x="2535" y="955"/>
                </a:cubicBezTo>
                <a:close/>
                <a:moveTo>
                  <a:pt x="2975" y="971"/>
                </a:moveTo>
                <a:cubicBezTo>
                  <a:pt x="2974" y="969"/>
                  <a:pt x="2974" y="969"/>
                  <a:pt x="2974" y="969"/>
                </a:cubicBezTo>
                <a:cubicBezTo>
                  <a:pt x="2969" y="969"/>
                  <a:pt x="2969" y="969"/>
                  <a:pt x="2969" y="969"/>
                </a:cubicBezTo>
                <a:cubicBezTo>
                  <a:pt x="2969" y="972"/>
                  <a:pt x="2969" y="972"/>
                  <a:pt x="2969" y="972"/>
                </a:cubicBezTo>
                <a:cubicBezTo>
                  <a:pt x="2975" y="971"/>
                  <a:pt x="2975" y="971"/>
                  <a:pt x="2975" y="971"/>
                </a:cubicBezTo>
                <a:cubicBezTo>
                  <a:pt x="2975" y="971"/>
                  <a:pt x="2975" y="971"/>
                  <a:pt x="2975" y="971"/>
                </a:cubicBezTo>
                <a:close/>
                <a:moveTo>
                  <a:pt x="2992" y="974"/>
                </a:moveTo>
                <a:cubicBezTo>
                  <a:pt x="2996" y="973"/>
                  <a:pt x="2982" y="958"/>
                  <a:pt x="2980" y="961"/>
                </a:cubicBezTo>
                <a:cubicBezTo>
                  <a:pt x="2979" y="963"/>
                  <a:pt x="2991" y="974"/>
                  <a:pt x="2992" y="974"/>
                </a:cubicBezTo>
                <a:close/>
                <a:moveTo>
                  <a:pt x="3015" y="997"/>
                </a:moveTo>
                <a:cubicBezTo>
                  <a:pt x="3006" y="993"/>
                  <a:pt x="3006" y="993"/>
                  <a:pt x="3006" y="993"/>
                </a:cubicBezTo>
                <a:cubicBezTo>
                  <a:pt x="3013" y="1001"/>
                  <a:pt x="3013" y="1001"/>
                  <a:pt x="3013" y="1001"/>
                </a:cubicBezTo>
                <a:cubicBezTo>
                  <a:pt x="3015" y="997"/>
                  <a:pt x="3015" y="997"/>
                  <a:pt x="3015" y="997"/>
                </a:cubicBezTo>
                <a:cubicBezTo>
                  <a:pt x="3015" y="997"/>
                  <a:pt x="3015" y="997"/>
                  <a:pt x="3015" y="997"/>
                </a:cubicBezTo>
                <a:close/>
                <a:moveTo>
                  <a:pt x="2990" y="982"/>
                </a:moveTo>
                <a:cubicBezTo>
                  <a:pt x="2990" y="982"/>
                  <a:pt x="2989" y="986"/>
                  <a:pt x="2993" y="988"/>
                </a:cubicBezTo>
                <a:cubicBezTo>
                  <a:pt x="2999" y="990"/>
                  <a:pt x="3002" y="988"/>
                  <a:pt x="3002" y="988"/>
                </a:cubicBezTo>
                <a:cubicBezTo>
                  <a:pt x="3002" y="988"/>
                  <a:pt x="3002" y="986"/>
                  <a:pt x="2998" y="983"/>
                </a:cubicBezTo>
                <a:cubicBezTo>
                  <a:pt x="2994" y="981"/>
                  <a:pt x="2990" y="982"/>
                  <a:pt x="2990" y="982"/>
                </a:cubicBezTo>
                <a:close/>
                <a:moveTo>
                  <a:pt x="2570" y="909"/>
                </a:moveTo>
                <a:cubicBezTo>
                  <a:pt x="2571" y="908"/>
                  <a:pt x="2575" y="897"/>
                  <a:pt x="2575" y="897"/>
                </a:cubicBezTo>
                <a:cubicBezTo>
                  <a:pt x="2575" y="897"/>
                  <a:pt x="2572" y="897"/>
                  <a:pt x="2571" y="894"/>
                </a:cubicBezTo>
                <a:cubicBezTo>
                  <a:pt x="2570" y="892"/>
                  <a:pt x="2572" y="889"/>
                  <a:pt x="2573" y="886"/>
                </a:cubicBezTo>
                <a:cubicBezTo>
                  <a:pt x="2574" y="883"/>
                  <a:pt x="2579" y="883"/>
                  <a:pt x="2581" y="883"/>
                </a:cubicBezTo>
                <a:cubicBezTo>
                  <a:pt x="2584" y="883"/>
                  <a:pt x="2585" y="878"/>
                  <a:pt x="2585" y="876"/>
                </a:cubicBezTo>
                <a:cubicBezTo>
                  <a:pt x="2585" y="874"/>
                  <a:pt x="2580" y="876"/>
                  <a:pt x="2580" y="876"/>
                </a:cubicBezTo>
                <a:cubicBezTo>
                  <a:pt x="2580" y="876"/>
                  <a:pt x="2580" y="873"/>
                  <a:pt x="2582" y="871"/>
                </a:cubicBezTo>
                <a:cubicBezTo>
                  <a:pt x="2585" y="868"/>
                  <a:pt x="2591" y="869"/>
                  <a:pt x="2593" y="870"/>
                </a:cubicBezTo>
                <a:cubicBezTo>
                  <a:pt x="2595" y="870"/>
                  <a:pt x="2595" y="867"/>
                  <a:pt x="2595" y="867"/>
                </a:cubicBezTo>
                <a:cubicBezTo>
                  <a:pt x="2590" y="862"/>
                  <a:pt x="2590" y="862"/>
                  <a:pt x="2590" y="862"/>
                </a:cubicBezTo>
                <a:cubicBezTo>
                  <a:pt x="2590" y="857"/>
                  <a:pt x="2590" y="857"/>
                  <a:pt x="2590" y="857"/>
                </a:cubicBezTo>
                <a:cubicBezTo>
                  <a:pt x="2590" y="857"/>
                  <a:pt x="2586" y="856"/>
                  <a:pt x="2586" y="855"/>
                </a:cubicBezTo>
                <a:cubicBezTo>
                  <a:pt x="2586" y="853"/>
                  <a:pt x="2588" y="850"/>
                  <a:pt x="2588" y="848"/>
                </a:cubicBezTo>
                <a:cubicBezTo>
                  <a:pt x="2588" y="846"/>
                  <a:pt x="2581" y="845"/>
                  <a:pt x="2581" y="845"/>
                </a:cubicBezTo>
                <a:cubicBezTo>
                  <a:pt x="2583" y="841"/>
                  <a:pt x="2583" y="841"/>
                  <a:pt x="2583" y="841"/>
                </a:cubicBezTo>
                <a:cubicBezTo>
                  <a:pt x="2581" y="840"/>
                  <a:pt x="2581" y="840"/>
                  <a:pt x="2581" y="840"/>
                </a:cubicBezTo>
                <a:cubicBezTo>
                  <a:pt x="2582" y="836"/>
                  <a:pt x="2582" y="836"/>
                  <a:pt x="2582" y="836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3" y="833"/>
                  <a:pt x="2583" y="833"/>
                  <a:pt x="2583" y="833"/>
                </a:cubicBezTo>
                <a:cubicBezTo>
                  <a:pt x="2581" y="824"/>
                  <a:pt x="2581" y="824"/>
                  <a:pt x="2581" y="824"/>
                </a:cubicBezTo>
                <a:cubicBezTo>
                  <a:pt x="2581" y="824"/>
                  <a:pt x="2584" y="827"/>
                  <a:pt x="2586" y="828"/>
                </a:cubicBezTo>
                <a:cubicBezTo>
                  <a:pt x="2588" y="828"/>
                  <a:pt x="2591" y="827"/>
                  <a:pt x="2591" y="827"/>
                </a:cubicBezTo>
                <a:cubicBezTo>
                  <a:pt x="2591" y="827"/>
                  <a:pt x="2586" y="822"/>
                  <a:pt x="2587" y="820"/>
                </a:cubicBezTo>
                <a:cubicBezTo>
                  <a:pt x="2588" y="818"/>
                  <a:pt x="2595" y="821"/>
                  <a:pt x="2595" y="821"/>
                </a:cubicBezTo>
                <a:cubicBezTo>
                  <a:pt x="2598" y="817"/>
                  <a:pt x="2598" y="817"/>
                  <a:pt x="2598" y="817"/>
                </a:cubicBezTo>
                <a:cubicBezTo>
                  <a:pt x="2595" y="816"/>
                  <a:pt x="2595" y="816"/>
                  <a:pt x="2595" y="816"/>
                </a:cubicBezTo>
                <a:cubicBezTo>
                  <a:pt x="2595" y="816"/>
                  <a:pt x="2594" y="813"/>
                  <a:pt x="2592" y="812"/>
                </a:cubicBezTo>
                <a:cubicBezTo>
                  <a:pt x="2591" y="811"/>
                  <a:pt x="2584" y="810"/>
                  <a:pt x="2584" y="810"/>
                </a:cubicBezTo>
                <a:cubicBezTo>
                  <a:pt x="2584" y="810"/>
                  <a:pt x="2584" y="806"/>
                  <a:pt x="2581" y="804"/>
                </a:cubicBezTo>
                <a:cubicBezTo>
                  <a:pt x="2579" y="801"/>
                  <a:pt x="2576" y="803"/>
                  <a:pt x="2576" y="803"/>
                </a:cubicBezTo>
                <a:cubicBezTo>
                  <a:pt x="2574" y="794"/>
                  <a:pt x="2574" y="794"/>
                  <a:pt x="2574" y="794"/>
                </a:cubicBezTo>
                <a:cubicBezTo>
                  <a:pt x="2573" y="797"/>
                  <a:pt x="2573" y="797"/>
                  <a:pt x="2573" y="797"/>
                </a:cubicBezTo>
                <a:cubicBezTo>
                  <a:pt x="2571" y="794"/>
                  <a:pt x="2571" y="794"/>
                  <a:pt x="2571" y="794"/>
                </a:cubicBezTo>
                <a:cubicBezTo>
                  <a:pt x="2569" y="803"/>
                  <a:pt x="2569" y="803"/>
                  <a:pt x="2569" y="803"/>
                </a:cubicBezTo>
                <a:cubicBezTo>
                  <a:pt x="2569" y="803"/>
                  <a:pt x="2566" y="803"/>
                  <a:pt x="2565" y="804"/>
                </a:cubicBezTo>
                <a:cubicBezTo>
                  <a:pt x="2563" y="805"/>
                  <a:pt x="2563" y="810"/>
                  <a:pt x="2563" y="810"/>
                </a:cubicBezTo>
                <a:cubicBezTo>
                  <a:pt x="2560" y="811"/>
                  <a:pt x="2560" y="811"/>
                  <a:pt x="2560" y="811"/>
                </a:cubicBezTo>
                <a:cubicBezTo>
                  <a:pt x="2561" y="816"/>
                  <a:pt x="2561" y="816"/>
                  <a:pt x="2561" y="816"/>
                </a:cubicBezTo>
                <a:cubicBezTo>
                  <a:pt x="2561" y="816"/>
                  <a:pt x="2556" y="816"/>
                  <a:pt x="2553" y="815"/>
                </a:cubicBezTo>
                <a:cubicBezTo>
                  <a:pt x="2549" y="814"/>
                  <a:pt x="2549" y="822"/>
                  <a:pt x="2549" y="822"/>
                </a:cubicBezTo>
                <a:cubicBezTo>
                  <a:pt x="2544" y="829"/>
                  <a:pt x="2544" y="829"/>
                  <a:pt x="2544" y="829"/>
                </a:cubicBezTo>
                <a:cubicBezTo>
                  <a:pt x="2544" y="829"/>
                  <a:pt x="2542" y="836"/>
                  <a:pt x="2539" y="839"/>
                </a:cubicBezTo>
                <a:cubicBezTo>
                  <a:pt x="2535" y="841"/>
                  <a:pt x="2527" y="843"/>
                  <a:pt x="2525" y="843"/>
                </a:cubicBezTo>
                <a:cubicBezTo>
                  <a:pt x="2523" y="844"/>
                  <a:pt x="2516" y="849"/>
                  <a:pt x="2516" y="849"/>
                </a:cubicBezTo>
                <a:cubicBezTo>
                  <a:pt x="2514" y="854"/>
                  <a:pt x="2514" y="854"/>
                  <a:pt x="2514" y="854"/>
                </a:cubicBezTo>
                <a:cubicBezTo>
                  <a:pt x="2514" y="854"/>
                  <a:pt x="2519" y="857"/>
                  <a:pt x="2515" y="860"/>
                </a:cubicBezTo>
                <a:cubicBezTo>
                  <a:pt x="2512" y="863"/>
                  <a:pt x="2509" y="858"/>
                  <a:pt x="2507" y="858"/>
                </a:cubicBezTo>
                <a:cubicBezTo>
                  <a:pt x="2504" y="857"/>
                  <a:pt x="2502" y="861"/>
                  <a:pt x="2502" y="861"/>
                </a:cubicBezTo>
                <a:cubicBezTo>
                  <a:pt x="2502" y="861"/>
                  <a:pt x="2498" y="858"/>
                  <a:pt x="2495" y="861"/>
                </a:cubicBezTo>
                <a:cubicBezTo>
                  <a:pt x="2492" y="864"/>
                  <a:pt x="2491" y="871"/>
                  <a:pt x="2491" y="871"/>
                </a:cubicBezTo>
                <a:cubicBezTo>
                  <a:pt x="2494" y="876"/>
                  <a:pt x="2494" y="876"/>
                  <a:pt x="2494" y="876"/>
                </a:cubicBezTo>
                <a:cubicBezTo>
                  <a:pt x="2496" y="883"/>
                  <a:pt x="2496" y="883"/>
                  <a:pt x="2496" y="883"/>
                </a:cubicBezTo>
                <a:cubicBezTo>
                  <a:pt x="2502" y="887"/>
                  <a:pt x="2502" y="887"/>
                  <a:pt x="2502" y="887"/>
                </a:cubicBezTo>
                <a:cubicBezTo>
                  <a:pt x="2501" y="892"/>
                  <a:pt x="2501" y="892"/>
                  <a:pt x="2501" y="892"/>
                </a:cubicBezTo>
                <a:cubicBezTo>
                  <a:pt x="2504" y="894"/>
                  <a:pt x="2504" y="894"/>
                  <a:pt x="2504" y="894"/>
                </a:cubicBezTo>
                <a:cubicBezTo>
                  <a:pt x="2502" y="898"/>
                  <a:pt x="2502" y="898"/>
                  <a:pt x="2502" y="898"/>
                </a:cubicBezTo>
                <a:cubicBezTo>
                  <a:pt x="2505" y="902"/>
                  <a:pt x="2505" y="902"/>
                  <a:pt x="2505" y="902"/>
                </a:cubicBezTo>
                <a:cubicBezTo>
                  <a:pt x="2503" y="903"/>
                  <a:pt x="2503" y="903"/>
                  <a:pt x="2503" y="903"/>
                </a:cubicBezTo>
                <a:cubicBezTo>
                  <a:pt x="2505" y="911"/>
                  <a:pt x="2505" y="911"/>
                  <a:pt x="2505" y="911"/>
                </a:cubicBezTo>
                <a:cubicBezTo>
                  <a:pt x="2511" y="911"/>
                  <a:pt x="2511" y="911"/>
                  <a:pt x="2511" y="911"/>
                </a:cubicBezTo>
                <a:cubicBezTo>
                  <a:pt x="2515" y="912"/>
                  <a:pt x="2515" y="912"/>
                  <a:pt x="2515" y="912"/>
                </a:cubicBezTo>
                <a:cubicBezTo>
                  <a:pt x="2515" y="912"/>
                  <a:pt x="2517" y="907"/>
                  <a:pt x="2520" y="907"/>
                </a:cubicBezTo>
                <a:cubicBezTo>
                  <a:pt x="2522" y="907"/>
                  <a:pt x="2520" y="914"/>
                  <a:pt x="2522" y="916"/>
                </a:cubicBezTo>
                <a:cubicBezTo>
                  <a:pt x="2525" y="918"/>
                  <a:pt x="2527" y="912"/>
                  <a:pt x="2527" y="912"/>
                </a:cubicBezTo>
                <a:cubicBezTo>
                  <a:pt x="2530" y="914"/>
                  <a:pt x="2530" y="914"/>
                  <a:pt x="2530" y="914"/>
                </a:cubicBezTo>
                <a:cubicBezTo>
                  <a:pt x="2530" y="914"/>
                  <a:pt x="2534" y="911"/>
                  <a:pt x="2536" y="911"/>
                </a:cubicBezTo>
                <a:cubicBezTo>
                  <a:pt x="2538" y="911"/>
                  <a:pt x="2536" y="917"/>
                  <a:pt x="2538" y="917"/>
                </a:cubicBezTo>
                <a:cubicBezTo>
                  <a:pt x="2540" y="918"/>
                  <a:pt x="2547" y="915"/>
                  <a:pt x="2550" y="915"/>
                </a:cubicBezTo>
                <a:cubicBezTo>
                  <a:pt x="2554" y="916"/>
                  <a:pt x="2551" y="926"/>
                  <a:pt x="2551" y="926"/>
                </a:cubicBezTo>
                <a:cubicBezTo>
                  <a:pt x="2551" y="926"/>
                  <a:pt x="2553" y="926"/>
                  <a:pt x="2557" y="924"/>
                </a:cubicBezTo>
                <a:cubicBezTo>
                  <a:pt x="2560" y="922"/>
                  <a:pt x="2565" y="914"/>
                  <a:pt x="2565" y="914"/>
                </a:cubicBezTo>
                <a:cubicBezTo>
                  <a:pt x="2565" y="914"/>
                  <a:pt x="2569" y="911"/>
                  <a:pt x="2570" y="909"/>
                </a:cubicBezTo>
                <a:close/>
                <a:moveTo>
                  <a:pt x="2711" y="969"/>
                </a:moveTo>
                <a:cubicBezTo>
                  <a:pt x="2715" y="966"/>
                  <a:pt x="2715" y="966"/>
                  <a:pt x="2715" y="966"/>
                </a:cubicBezTo>
                <a:cubicBezTo>
                  <a:pt x="2715" y="966"/>
                  <a:pt x="2719" y="967"/>
                  <a:pt x="2719" y="963"/>
                </a:cubicBezTo>
                <a:cubicBezTo>
                  <a:pt x="2719" y="958"/>
                  <a:pt x="2708" y="964"/>
                  <a:pt x="2708" y="968"/>
                </a:cubicBezTo>
                <a:cubicBezTo>
                  <a:pt x="2711" y="969"/>
                  <a:pt x="2711" y="969"/>
                  <a:pt x="2711" y="969"/>
                </a:cubicBezTo>
                <a:cubicBezTo>
                  <a:pt x="2711" y="969"/>
                  <a:pt x="2711" y="969"/>
                  <a:pt x="2711" y="969"/>
                </a:cubicBezTo>
                <a:close/>
                <a:moveTo>
                  <a:pt x="2550" y="969"/>
                </a:moveTo>
                <a:cubicBezTo>
                  <a:pt x="2549" y="973"/>
                  <a:pt x="2549" y="973"/>
                  <a:pt x="2549" y="973"/>
                </a:cubicBezTo>
                <a:cubicBezTo>
                  <a:pt x="2549" y="973"/>
                  <a:pt x="2551" y="979"/>
                  <a:pt x="2554" y="977"/>
                </a:cubicBezTo>
                <a:cubicBezTo>
                  <a:pt x="2557" y="975"/>
                  <a:pt x="2557" y="969"/>
                  <a:pt x="2555" y="969"/>
                </a:cubicBezTo>
                <a:cubicBezTo>
                  <a:pt x="2553" y="969"/>
                  <a:pt x="2550" y="969"/>
                  <a:pt x="2550" y="969"/>
                </a:cubicBezTo>
                <a:close/>
                <a:moveTo>
                  <a:pt x="2700" y="1011"/>
                </a:moveTo>
                <a:cubicBezTo>
                  <a:pt x="2702" y="1013"/>
                  <a:pt x="2705" y="1006"/>
                  <a:pt x="2705" y="1006"/>
                </a:cubicBezTo>
                <a:cubicBezTo>
                  <a:pt x="2703" y="1003"/>
                  <a:pt x="2698" y="1008"/>
                  <a:pt x="2700" y="1011"/>
                </a:cubicBezTo>
                <a:close/>
                <a:moveTo>
                  <a:pt x="2562" y="969"/>
                </a:moveTo>
                <a:cubicBezTo>
                  <a:pt x="2560" y="969"/>
                  <a:pt x="2558" y="971"/>
                  <a:pt x="2558" y="971"/>
                </a:cubicBezTo>
                <a:cubicBezTo>
                  <a:pt x="2558" y="971"/>
                  <a:pt x="2562" y="974"/>
                  <a:pt x="2564" y="973"/>
                </a:cubicBezTo>
                <a:cubicBezTo>
                  <a:pt x="2566" y="971"/>
                  <a:pt x="2564" y="969"/>
                  <a:pt x="2562" y="969"/>
                </a:cubicBezTo>
                <a:close/>
                <a:moveTo>
                  <a:pt x="2748" y="940"/>
                </a:moveTo>
                <a:cubicBezTo>
                  <a:pt x="2744" y="941"/>
                  <a:pt x="2744" y="941"/>
                  <a:pt x="2744" y="941"/>
                </a:cubicBezTo>
                <a:cubicBezTo>
                  <a:pt x="2743" y="945"/>
                  <a:pt x="2743" y="945"/>
                  <a:pt x="2743" y="945"/>
                </a:cubicBezTo>
                <a:cubicBezTo>
                  <a:pt x="2741" y="947"/>
                  <a:pt x="2741" y="947"/>
                  <a:pt x="2741" y="947"/>
                </a:cubicBezTo>
                <a:cubicBezTo>
                  <a:pt x="2742" y="954"/>
                  <a:pt x="2742" y="954"/>
                  <a:pt x="2742" y="954"/>
                </a:cubicBezTo>
                <a:cubicBezTo>
                  <a:pt x="2744" y="955"/>
                  <a:pt x="2744" y="955"/>
                  <a:pt x="2744" y="955"/>
                </a:cubicBezTo>
                <a:cubicBezTo>
                  <a:pt x="2744" y="952"/>
                  <a:pt x="2744" y="952"/>
                  <a:pt x="2744" y="952"/>
                </a:cubicBezTo>
                <a:cubicBezTo>
                  <a:pt x="2745" y="952"/>
                  <a:pt x="2745" y="952"/>
                  <a:pt x="2745" y="952"/>
                </a:cubicBezTo>
                <a:cubicBezTo>
                  <a:pt x="2745" y="949"/>
                  <a:pt x="2745" y="949"/>
                  <a:pt x="2745" y="949"/>
                </a:cubicBezTo>
                <a:cubicBezTo>
                  <a:pt x="2743" y="949"/>
                  <a:pt x="2743" y="949"/>
                  <a:pt x="2743" y="949"/>
                </a:cubicBezTo>
                <a:cubicBezTo>
                  <a:pt x="2746" y="944"/>
                  <a:pt x="2746" y="944"/>
                  <a:pt x="2746" y="944"/>
                </a:cubicBezTo>
                <a:cubicBezTo>
                  <a:pt x="2748" y="940"/>
                  <a:pt x="2748" y="940"/>
                  <a:pt x="2748" y="940"/>
                </a:cubicBezTo>
                <a:cubicBezTo>
                  <a:pt x="2748" y="940"/>
                  <a:pt x="2748" y="940"/>
                  <a:pt x="2748" y="940"/>
                </a:cubicBezTo>
                <a:close/>
                <a:moveTo>
                  <a:pt x="3003" y="970"/>
                </a:moveTo>
                <a:cubicBezTo>
                  <a:pt x="3003" y="970"/>
                  <a:pt x="3001" y="977"/>
                  <a:pt x="3002" y="979"/>
                </a:cubicBezTo>
                <a:cubicBezTo>
                  <a:pt x="3003" y="981"/>
                  <a:pt x="3009" y="986"/>
                  <a:pt x="3009" y="986"/>
                </a:cubicBezTo>
                <a:cubicBezTo>
                  <a:pt x="3003" y="970"/>
                  <a:pt x="3003" y="970"/>
                  <a:pt x="3003" y="970"/>
                </a:cubicBezTo>
                <a:cubicBezTo>
                  <a:pt x="3003" y="970"/>
                  <a:pt x="3003" y="970"/>
                  <a:pt x="3003" y="970"/>
                </a:cubicBezTo>
                <a:close/>
                <a:moveTo>
                  <a:pt x="2454" y="943"/>
                </a:moveTo>
                <a:cubicBezTo>
                  <a:pt x="2455" y="942"/>
                  <a:pt x="2455" y="939"/>
                  <a:pt x="2455" y="939"/>
                </a:cubicBezTo>
                <a:cubicBezTo>
                  <a:pt x="2459" y="943"/>
                  <a:pt x="2459" y="943"/>
                  <a:pt x="2459" y="943"/>
                </a:cubicBezTo>
                <a:cubicBezTo>
                  <a:pt x="2459" y="943"/>
                  <a:pt x="2461" y="938"/>
                  <a:pt x="2461" y="935"/>
                </a:cubicBezTo>
                <a:cubicBezTo>
                  <a:pt x="2461" y="931"/>
                  <a:pt x="2463" y="922"/>
                  <a:pt x="2463" y="922"/>
                </a:cubicBezTo>
                <a:cubicBezTo>
                  <a:pt x="2463" y="922"/>
                  <a:pt x="2461" y="921"/>
                  <a:pt x="2461" y="919"/>
                </a:cubicBezTo>
                <a:cubicBezTo>
                  <a:pt x="2461" y="917"/>
                  <a:pt x="2465" y="914"/>
                  <a:pt x="2463" y="913"/>
                </a:cubicBezTo>
                <a:cubicBezTo>
                  <a:pt x="2462" y="912"/>
                  <a:pt x="2461" y="911"/>
                  <a:pt x="2461" y="911"/>
                </a:cubicBezTo>
                <a:cubicBezTo>
                  <a:pt x="2460" y="904"/>
                  <a:pt x="2460" y="904"/>
                  <a:pt x="2460" y="904"/>
                </a:cubicBezTo>
                <a:cubicBezTo>
                  <a:pt x="2454" y="905"/>
                  <a:pt x="2454" y="905"/>
                  <a:pt x="2454" y="905"/>
                </a:cubicBezTo>
                <a:cubicBezTo>
                  <a:pt x="2454" y="905"/>
                  <a:pt x="2455" y="901"/>
                  <a:pt x="2453" y="900"/>
                </a:cubicBezTo>
                <a:cubicBezTo>
                  <a:pt x="2452" y="899"/>
                  <a:pt x="2449" y="899"/>
                  <a:pt x="2449" y="899"/>
                </a:cubicBezTo>
                <a:cubicBezTo>
                  <a:pt x="2448" y="890"/>
                  <a:pt x="2448" y="890"/>
                  <a:pt x="2448" y="890"/>
                </a:cubicBezTo>
                <a:cubicBezTo>
                  <a:pt x="2448" y="890"/>
                  <a:pt x="2439" y="890"/>
                  <a:pt x="2438" y="888"/>
                </a:cubicBezTo>
                <a:cubicBezTo>
                  <a:pt x="2438" y="885"/>
                  <a:pt x="2440" y="882"/>
                  <a:pt x="2440" y="882"/>
                </a:cubicBezTo>
                <a:cubicBezTo>
                  <a:pt x="2437" y="881"/>
                  <a:pt x="2437" y="881"/>
                  <a:pt x="2437" y="881"/>
                </a:cubicBezTo>
                <a:cubicBezTo>
                  <a:pt x="2437" y="881"/>
                  <a:pt x="2442" y="875"/>
                  <a:pt x="2440" y="874"/>
                </a:cubicBezTo>
                <a:cubicBezTo>
                  <a:pt x="2438" y="872"/>
                  <a:pt x="2430" y="876"/>
                  <a:pt x="2430" y="876"/>
                </a:cubicBezTo>
                <a:cubicBezTo>
                  <a:pt x="2430" y="876"/>
                  <a:pt x="2435" y="871"/>
                  <a:pt x="2433" y="870"/>
                </a:cubicBezTo>
                <a:cubicBezTo>
                  <a:pt x="2431" y="869"/>
                  <a:pt x="2426" y="868"/>
                  <a:pt x="2426" y="868"/>
                </a:cubicBezTo>
                <a:cubicBezTo>
                  <a:pt x="2426" y="868"/>
                  <a:pt x="2429" y="867"/>
                  <a:pt x="2426" y="863"/>
                </a:cubicBezTo>
                <a:cubicBezTo>
                  <a:pt x="2423" y="859"/>
                  <a:pt x="2418" y="859"/>
                  <a:pt x="2418" y="859"/>
                </a:cubicBezTo>
                <a:cubicBezTo>
                  <a:pt x="2418" y="859"/>
                  <a:pt x="2417" y="855"/>
                  <a:pt x="2416" y="853"/>
                </a:cubicBezTo>
                <a:cubicBezTo>
                  <a:pt x="2414" y="852"/>
                  <a:pt x="2412" y="853"/>
                  <a:pt x="2412" y="853"/>
                </a:cubicBezTo>
                <a:cubicBezTo>
                  <a:pt x="2413" y="856"/>
                  <a:pt x="2413" y="856"/>
                  <a:pt x="2413" y="856"/>
                </a:cubicBezTo>
                <a:cubicBezTo>
                  <a:pt x="2413" y="856"/>
                  <a:pt x="2408" y="852"/>
                  <a:pt x="2407" y="851"/>
                </a:cubicBezTo>
                <a:cubicBezTo>
                  <a:pt x="2406" y="849"/>
                  <a:pt x="2403" y="844"/>
                  <a:pt x="2403" y="844"/>
                </a:cubicBezTo>
                <a:cubicBezTo>
                  <a:pt x="2403" y="844"/>
                  <a:pt x="2397" y="839"/>
                  <a:pt x="2394" y="837"/>
                </a:cubicBezTo>
                <a:cubicBezTo>
                  <a:pt x="2391" y="834"/>
                  <a:pt x="2387" y="830"/>
                  <a:pt x="2387" y="830"/>
                </a:cubicBezTo>
                <a:cubicBezTo>
                  <a:pt x="2387" y="830"/>
                  <a:pt x="2387" y="829"/>
                  <a:pt x="2386" y="828"/>
                </a:cubicBezTo>
                <a:cubicBezTo>
                  <a:pt x="2385" y="827"/>
                  <a:pt x="2384" y="826"/>
                  <a:pt x="2384" y="826"/>
                </a:cubicBezTo>
                <a:cubicBezTo>
                  <a:pt x="2384" y="826"/>
                  <a:pt x="2381" y="822"/>
                  <a:pt x="2380" y="820"/>
                </a:cubicBezTo>
                <a:cubicBezTo>
                  <a:pt x="2378" y="819"/>
                  <a:pt x="2376" y="819"/>
                  <a:pt x="2376" y="819"/>
                </a:cubicBezTo>
                <a:cubicBezTo>
                  <a:pt x="2365" y="818"/>
                  <a:pt x="2365" y="818"/>
                  <a:pt x="2365" y="818"/>
                </a:cubicBezTo>
                <a:cubicBezTo>
                  <a:pt x="2365" y="818"/>
                  <a:pt x="2360" y="813"/>
                  <a:pt x="2358" y="813"/>
                </a:cubicBezTo>
                <a:cubicBezTo>
                  <a:pt x="2356" y="814"/>
                  <a:pt x="2355" y="819"/>
                  <a:pt x="2356" y="822"/>
                </a:cubicBezTo>
                <a:cubicBezTo>
                  <a:pt x="2358" y="824"/>
                  <a:pt x="2373" y="838"/>
                  <a:pt x="2373" y="838"/>
                </a:cubicBezTo>
                <a:cubicBezTo>
                  <a:pt x="2378" y="846"/>
                  <a:pt x="2378" y="846"/>
                  <a:pt x="2378" y="846"/>
                </a:cubicBezTo>
                <a:cubicBezTo>
                  <a:pt x="2380" y="845"/>
                  <a:pt x="2380" y="845"/>
                  <a:pt x="2380" y="845"/>
                </a:cubicBezTo>
                <a:cubicBezTo>
                  <a:pt x="2380" y="845"/>
                  <a:pt x="2380" y="850"/>
                  <a:pt x="2381" y="852"/>
                </a:cubicBezTo>
                <a:cubicBezTo>
                  <a:pt x="2383" y="853"/>
                  <a:pt x="2390" y="855"/>
                  <a:pt x="2392" y="859"/>
                </a:cubicBezTo>
                <a:cubicBezTo>
                  <a:pt x="2394" y="862"/>
                  <a:pt x="2395" y="869"/>
                  <a:pt x="2395" y="869"/>
                </a:cubicBezTo>
                <a:cubicBezTo>
                  <a:pt x="2395" y="869"/>
                  <a:pt x="2395" y="876"/>
                  <a:pt x="2396" y="876"/>
                </a:cubicBezTo>
                <a:cubicBezTo>
                  <a:pt x="2398" y="876"/>
                  <a:pt x="2401" y="874"/>
                  <a:pt x="2401" y="876"/>
                </a:cubicBezTo>
                <a:cubicBezTo>
                  <a:pt x="2402" y="878"/>
                  <a:pt x="2403" y="882"/>
                  <a:pt x="2403" y="882"/>
                </a:cubicBezTo>
                <a:cubicBezTo>
                  <a:pt x="2408" y="886"/>
                  <a:pt x="2408" y="886"/>
                  <a:pt x="2408" y="886"/>
                </a:cubicBezTo>
                <a:cubicBezTo>
                  <a:pt x="2408" y="889"/>
                  <a:pt x="2408" y="889"/>
                  <a:pt x="2408" y="889"/>
                </a:cubicBezTo>
                <a:cubicBezTo>
                  <a:pt x="2412" y="898"/>
                  <a:pt x="2412" y="898"/>
                  <a:pt x="2412" y="898"/>
                </a:cubicBezTo>
                <a:cubicBezTo>
                  <a:pt x="2412" y="898"/>
                  <a:pt x="2411" y="901"/>
                  <a:pt x="2413" y="904"/>
                </a:cubicBezTo>
                <a:cubicBezTo>
                  <a:pt x="2415" y="907"/>
                  <a:pt x="2417" y="908"/>
                  <a:pt x="2417" y="908"/>
                </a:cubicBezTo>
                <a:cubicBezTo>
                  <a:pt x="2417" y="908"/>
                  <a:pt x="2419" y="913"/>
                  <a:pt x="2420" y="915"/>
                </a:cubicBezTo>
                <a:cubicBezTo>
                  <a:pt x="2422" y="916"/>
                  <a:pt x="2426" y="918"/>
                  <a:pt x="2426" y="918"/>
                </a:cubicBezTo>
                <a:cubicBezTo>
                  <a:pt x="2426" y="923"/>
                  <a:pt x="2426" y="923"/>
                  <a:pt x="2426" y="923"/>
                </a:cubicBezTo>
                <a:cubicBezTo>
                  <a:pt x="2426" y="923"/>
                  <a:pt x="2437" y="932"/>
                  <a:pt x="2437" y="933"/>
                </a:cubicBezTo>
                <a:cubicBezTo>
                  <a:pt x="2438" y="934"/>
                  <a:pt x="2441" y="934"/>
                  <a:pt x="2441" y="934"/>
                </a:cubicBezTo>
                <a:cubicBezTo>
                  <a:pt x="2441" y="934"/>
                  <a:pt x="2443" y="939"/>
                  <a:pt x="2445" y="940"/>
                </a:cubicBezTo>
                <a:cubicBezTo>
                  <a:pt x="2446" y="941"/>
                  <a:pt x="2447" y="945"/>
                  <a:pt x="2448" y="945"/>
                </a:cubicBezTo>
                <a:cubicBezTo>
                  <a:pt x="2448" y="945"/>
                  <a:pt x="2447" y="940"/>
                  <a:pt x="2448" y="940"/>
                </a:cubicBezTo>
                <a:cubicBezTo>
                  <a:pt x="2449" y="939"/>
                  <a:pt x="2453" y="944"/>
                  <a:pt x="2454" y="943"/>
                </a:cubicBezTo>
                <a:close/>
                <a:moveTo>
                  <a:pt x="2770" y="1339"/>
                </a:moveTo>
                <a:cubicBezTo>
                  <a:pt x="2768" y="1337"/>
                  <a:pt x="2765" y="1342"/>
                  <a:pt x="2765" y="1342"/>
                </a:cubicBezTo>
                <a:cubicBezTo>
                  <a:pt x="2765" y="1342"/>
                  <a:pt x="2765" y="1340"/>
                  <a:pt x="2764" y="1340"/>
                </a:cubicBezTo>
                <a:cubicBezTo>
                  <a:pt x="2763" y="1340"/>
                  <a:pt x="2758" y="1341"/>
                  <a:pt x="2758" y="1341"/>
                </a:cubicBezTo>
                <a:cubicBezTo>
                  <a:pt x="2757" y="1343"/>
                  <a:pt x="2757" y="1343"/>
                  <a:pt x="2757" y="1343"/>
                </a:cubicBezTo>
                <a:cubicBezTo>
                  <a:pt x="2755" y="1340"/>
                  <a:pt x="2755" y="1340"/>
                  <a:pt x="2755" y="1340"/>
                </a:cubicBezTo>
                <a:cubicBezTo>
                  <a:pt x="2749" y="1340"/>
                  <a:pt x="2749" y="1340"/>
                  <a:pt x="2749" y="1340"/>
                </a:cubicBezTo>
                <a:cubicBezTo>
                  <a:pt x="2746" y="1336"/>
                  <a:pt x="2746" y="1336"/>
                  <a:pt x="2746" y="1336"/>
                </a:cubicBezTo>
                <a:cubicBezTo>
                  <a:pt x="2746" y="1336"/>
                  <a:pt x="2745" y="1337"/>
                  <a:pt x="2744" y="1337"/>
                </a:cubicBezTo>
                <a:cubicBezTo>
                  <a:pt x="2743" y="1337"/>
                  <a:pt x="2739" y="1333"/>
                  <a:pt x="2739" y="1333"/>
                </a:cubicBezTo>
                <a:cubicBezTo>
                  <a:pt x="2739" y="1335"/>
                  <a:pt x="2739" y="1335"/>
                  <a:pt x="2739" y="1335"/>
                </a:cubicBezTo>
                <a:cubicBezTo>
                  <a:pt x="2739" y="1338"/>
                  <a:pt x="2739" y="1338"/>
                  <a:pt x="2739" y="1338"/>
                </a:cubicBezTo>
                <a:cubicBezTo>
                  <a:pt x="2739" y="1338"/>
                  <a:pt x="2740" y="1341"/>
                  <a:pt x="2739" y="1342"/>
                </a:cubicBezTo>
                <a:cubicBezTo>
                  <a:pt x="2739" y="1343"/>
                  <a:pt x="2738" y="1345"/>
                  <a:pt x="2739" y="1347"/>
                </a:cubicBezTo>
                <a:cubicBezTo>
                  <a:pt x="2740" y="1350"/>
                  <a:pt x="2739" y="1351"/>
                  <a:pt x="2737" y="1352"/>
                </a:cubicBezTo>
                <a:cubicBezTo>
                  <a:pt x="2735" y="1352"/>
                  <a:pt x="2734" y="1350"/>
                  <a:pt x="2734" y="1350"/>
                </a:cubicBezTo>
                <a:cubicBezTo>
                  <a:pt x="2734" y="1350"/>
                  <a:pt x="2733" y="1353"/>
                  <a:pt x="2733" y="1356"/>
                </a:cubicBezTo>
                <a:cubicBezTo>
                  <a:pt x="2732" y="1359"/>
                  <a:pt x="2735" y="1363"/>
                  <a:pt x="2735" y="1363"/>
                </a:cubicBezTo>
                <a:cubicBezTo>
                  <a:pt x="2738" y="1363"/>
                  <a:pt x="2738" y="1363"/>
                  <a:pt x="2738" y="1363"/>
                </a:cubicBezTo>
                <a:cubicBezTo>
                  <a:pt x="2735" y="1365"/>
                  <a:pt x="2735" y="1365"/>
                  <a:pt x="2735" y="1365"/>
                </a:cubicBezTo>
                <a:cubicBezTo>
                  <a:pt x="2736" y="1368"/>
                  <a:pt x="2736" y="1368"/>
                  <a:pt x="2736" y="1368"/>
                </a:cubicBezTo>
                <a:cubicBezTo>
                  <a:pt x="2736" y="1368"/>
                  <a:pt x="2739" y="1367"/>
                  <a:pt x="2740" y="1367"/>
                </a:cubicBezTo>
                <a:cubicBezTo>
                  <a:pt x="2742" y="1366"/>
                  <a:pt x="2743" y="1368"/>
                  <a:pt x="2745" y="1367"/>
                </a:cubicBezTo>
                <a:cubicBezTo>
                  <a:pt x="2747" y="1366"/>
                  <a:pt x="2749" y="1363"/>
                  <a:pt x="2750" y="1364"/>
                </a:cubicBezTo>
                <a:cubicBezTo>
                  <a:pt x="2752" y="1365"/>
                  <a:pt x="2749" y="1367"/>
                  <a:pt x="2749" y="1367"/>
                </a:cubicBezTo>
                <a:cubicBezTo>
                  <a:pt x="2752" y="1368"/>
                  <a:pt x="2752" y="1368"/>
                  <a:pt x="2752" y="1368"/>
                </a:cubicBezTo>
                <a:cubicBezTo>
                  <a:pt x="2752" y="1368"/>
                  <a:pt x="2756" y="1362"/>
                  <a:pt x="2758" y="1361"/>
                </a:cubicBezTo>
                <a:cubicBezTo>
                  <a:pt x="2760" y="1360"/>
                  <a:pt x="2756" y="1358"/>
                  <a:pt x="2756" y="1358"/>
                </a:cubicBezTo>
                <a:cubicBezTo>
                  <a:pt x="2759" y="1354"/>
                  <a:pt x="2759" y="1354"/>
                  <a:pt x="2759" y="1354"/>
                </a:cubicBezTo>
                <a:cubicBezTo>
                  <a:pt x="2759" y="1354"/>
                  <a:pt x="2761" y="1355"/>
                  <a:pt x="2764" y="1354"/>
                </a:cubicBezTo>
                <a:cubicBezTo>
                  <a:pt x="2766" y="1353"/>
                  <a:pt x="2764" y="1348"/>
                  <a:pt x="2766" y="1346"/>
                </a:cubicBezTo>
                <a:cubicBezTo>
                  <a:pt x="2768" y="1344"/>
                  <a:pt x="2771" y="1340"/>
                  <a:pt x="2770" y="1339"/>
                </a:cubicBezTo>
                <a:close/>
                <a:moveTo>
                  <a:pt x="2402" y="906"/>
                </a:moveTo>
                <a:cubicBezTo>
                  <a:pt x="2401" y="908"/>
                  <a:pt x="2404" y="910"/>
                  <a:pt x="2404" y="910"/>
                </a:cubicBezTo>
                <a:cubicBezTo>
                  <a:pt x="2404" y="910"/>
                  <a:pt x="2407" y="915"/>
                  <a:pt x="2409" y="913"/>
                </a:cubicBezTo>
                <a:cubicBezTo>
                  <a:pt x="2410" y="911"/>
                  <a:pt x="2404" y="906"/>
                  <a:pt x="2402" y="906"/>
                </a:cubicBezTo>
                <a:close/>
                <a:moveTo>
                  <a:pt x="2882" y="1159"/>
                </a:moveTo>
                <a:cubicBezTo>
                  <a:pt x="2882" y="1159"/>
                  <a:pt x="2881" y="1151"/>
                  <a:pt x="2881" y="1149"/>
                </a:cubicBezTo>
                <a:cubicBezTo>
                  <a:pt x="2881" y="1148"/>
                  <a:pt x="2876" y="1148"/>
                  <a:pt x="2876" y="1148"/>
                </a:cubicBezTo>
                <a:cubicBezTo>
                  <a:pt x="2876" y="1145"/>
                  <a:pt x="2876" y="1145"/>
                  <a:pt x="2876" y="1145"/>
                </a:cubicBezTo>
                <a:cubicBezTo>
                  <a:pt x="2874" y="1143"/>
                  <a:pt x="2874" y="1143"/>
                  <a:pt x="2874" y="1143"/>
                </a:cubicBezTo>
                <a:cubicBezTo>
                  <a:pt x="2874" y="1143"/>
                  <a:pt x="2875" y="1140"/>
                  <a:pt x="2874" y="1138"/>
                </a:cubicBezTo>
                <a:cubicBezTo>
                  <a:pt x="2873" y="1137"/>
                  <a:pt x="2869" y="1135"/>
                  <a:pt x="2869" y="1135"/>
                </a:cubicBezTo>
                <a:cubicBezTo>
                  <a:pt x="2869" y="1135"/>
                  <a:pt x="2876" y="1134"/>
                  <a:pt x="2876" y="1131"/>
                </a:cubicBezTo>
                <a:cubicBezTo>
                  <a:pt x="2877" y="1128"/>
                  <a:pt x="2872" y="1128"/>
                  <a:pt x="2872" y="1128"/>
                </a:cubicBezTo>
                <a:cubicBezTo>
                  <a:pt x="2872" y="1128"/>
                  <a:pt x="2871" y="1123"/>
                  <a:pt x="2868" y="1123"/>
                </a:cubicBezTo>
                <a:cubicBezTo>
                  <a:pt x="2866" y="1124"/>
                  <a:pt x="2867" y="1127"/>
                  <a:pt x="2867" y="1127"/>
                </a:cubicBezTo>
                <a:cubicBezTo>
                  <a:pt x="2864" y="1127"/>
                  <a:pt x="2864" y="1127"/>
                  <a:pt x="2864" y="1127"/>
                </a:cubicBezTo>
                <a:cubicBezTo>
                  <a:pt x="2864" y="1127"/>
                  <a:pt x="2867" y="1118"/>
                  <a:pt x="2867" y="1116"/>
                </a:cubicBezTo>
                <a:cubicBezTo>
                  <a:pt x="2866" y="1114"/>
                  <a:pt x="2862" y="1114"/>
                  <a:pt x="2861" y="1112"/>
                </a:cubicBezTo>
                <a:cubicBezTo>
                  <a:pt x="2861" y="1110"/>
                  <a:pt x="2864" y="1106"/>
                  <a:pt x="2863" y="1103"/>
                </a:cubicBezTo>
                <a:cubicBezTo>
                  <a:pt x="2862" y="1101"/>
                  <a:pt x="2849" y="1094"/>
                  <a:pt x="2849" y="1094"/>
                </a:cubicBezTo>
                <a:cubicBezTo>
                  <a:pt x="2848" y="1096"/>
                  <a:pt x="2848" y="1096"/>
                  <a:pt x="2848" y="1096"/>
                </a:cubicBezTo>
                <a:cubicBezTo>
                  <a:pt x="2848" y="1096"/>
                  <a:pt x="2842" y="1089"/>
                  <a:pt x="2842" y="1084"/>
                </a:cubicBezTo>
                <a:cubicBezTo>
                  <a:pt x="2842" y="1080"/>
                  <a:pt x="2843" y="1077"/>
                  <a:pt x="2843" y="1073"/>
                </a:cubicBezTo>
                <a:cubicBezTo>
                  <a:pt x="2843" y="1069"/>
                  <a:pt x="2839" y="1060"/>
                  <a:pt x="2839" y="1056"/>
                </a:cubicBezTo>
                <a:cubicBezTo>
                  <a:pt x="2838" y="1053"/>
                  <a:pt x="2840" y="1051"/>
                  <a:pt x="2840" y="1049"/>
                </a:cubicBezTo>
                <a:cubicBezTo>
                  <a:pt x="2841" y="1047"/>
                  <a:pt x="2839" y="1039"/>
                  <a:pt x="2839" y="1039"/>
                </a:cubicBezTo>
                <a:cubicBezTo>
                  <a:pt x="2836" y="1037"/>
                  <a:pt x="2836" y="1037"/>
                  <a:pt x="2836" y="1037"/>
                </a:cubicBezTo>
                <a:cubicBezTo>
                  <a:pt x="2836" y="1037"/>
                  <a:pt x="2833" y="1034"/>
                  <a:pt x="2831" y="1034"/>
                </a:cubicBezTo>
                <a:cubicBezTo>
                  <a:pt x="2829" y="1034"/>
                  <a:pt x="2828" y="1037"/>
                  <a:pt x="2828" y="1037"/>
                </a:cubicBezTo>
                <a:cubicBezTo>
                  <a:pt x="2828" y="1037"/>
                  <a:pt x="2826" y="1034"/>
                  <a:pt x="2826" y="1032"/>
                </a:cubicBezTo>
                <a:cubicBezTo>
                  <a:pt x="2826" y="1030"/>
                  <a:pt x="2827" y="1025"/>
                  <a:pt x="2827" y="1025"/>
                </a:cubicBezTo>
                <a:cubicBezTo>
                  <a:pt x="2825" y="1022"/>
                  <a:pt x="2825" y="1022"/>
                  <a:pt x="2825" y="1022"/>
                </a:cubicBezTo>
                <a:cubicBezTo>
                  <a:pt x="2825" y="1011"/>
                  <a:pt x="2825" y="1011"/>
                  <a:pt x="2825" y="1011"/>
                </a:cubicBezTo>
                <a:cubicBezTo>
                  <a:pt x="2825" y="1011"/>
                  <a:pt x="2820" y="1008"/>
                  <a:pt x="2821" y="1006"/>
                </a:cubicBezTo>
                <a:cubicBezTo>
                  <a:pt x="2822" y="1004"/>
                  <a:pt x="2823" y="1001"/>
                  <a:pt x="2822" y="1000"/>
                </a:cubicBezTo>
                <a:cubicBezTo>
                  <a:pt x="2821" y="999"/>
                  <a:pt x="2818" y="999"/>
                  <a:pt x="2818" y="999"/>
                </a:cubicBezTo>
                <a:cubicBezTo>
                  <a:pt x="2818" y="997"/>
                  <a:pt x="2818" y="997"/>
                  <a:pt x="2818" y="997"/>
                </a:cubicBezTo>
                <a:cubicBezTo>
                  <a:pt x="2814" y="998"/>
                  <a:pt x="2814" y="998"/>
                  <a:pt x="2814" y="998"/>
                </a:cubicBezTo>
                <a:cubicBezTo>
                  <a:pt x="2813" y="1001"/>
                  <a:pt x="2813" y="1001"/>
                  <a:pt x="2813" y="1001"/>
                </a:cubicBezTo>
                <a:cubicBezTo>
                  <a:pt x="2813" y="1001"/>
                  <a:pt x="2811" y="1003"/>
                  <a:pt x="2810" y="1003"/>
                </a:cubicBezTo>
                <a:cubicBezTo>
                  <a:pt x="2808" y="1004"/>
                  <a:pt x="2811" y="1010"/>
                  <a:pt x="2811" y="1012"/>
                </a:cubicBezTo>
                <a:cubicBezTo>
                  <a:pt x="2811" y="1014"/>
                  <a:pt x="2804" y="1022"/>
                  <a:pt x="2804" y="1022"/>
                </a:cubicBezTo>
                <a:cubicBezTo>
                  <a:pt x="2806" y="1024"/>
                  <a:pt x="2806" y="1024"/>
                  <a:pt x="2806" y="1024"/>
                </a:cubicBezTo>
                <a:cubicBezTo>
                  <a:pt x="2806" y="1024"/>
                  <a:pt x="2803" y="1028"/>
                  <a:pt x="2803" y="1030"/>
                </a:cubicBezTo>
                <a:cubicBezTo>
                  <a:pt x="2802" y="1031"/>
                  <a:pt x="2803" y="1037"/>
                  <a:pt x="2803" y="1037"/>
                </a:cubicBezTo>
                <a:cubicBezTo>
                  <a:pt x="2803" y="1037"/>
                  <a:pt x="2799" y="1054"/>
                  <a:pt x="2799" y="1057"/>
                </a:cubicBezTo>
                <a:cubicBezTo>
                  <a:pt x="2799" y="1059"/>
                  <a:pt x="2793" y="1065"/>
                  <a:pt x="2793" y="1065"/>
                </a:cubicBezTo>
                <a:cubicBezTo>
                  <a:pt x="2793" y="1065"/>
                  <a:pt x="2793" y="1072"/>
                  <a:pt x="2790" y="1074"/>
                </a:cubicBezTo>
                <a:cubicBezTo>
                  <a:pt x="2786" y="1075"/>
                  <a:pt x="2779" y="1077"/>
                  <a:pt x="2779" y="1077"/>
                </a:cubicBezTo>
                <a:cubicBezTo>
                  <a:pt x="2779" y="1077"/>
                  <a:pt x="2774" y="1070"/>
                  <a:pt x="2773" y="1068"/>
                </a:cubicBezTo>
                <a:cubicBezTo>
                  <a:pt x="2772" y="1066"/>
                  <a:pt x="2764" y="1063"/>
                  <a:pt x="2759" y="1061"/>
                </a:cubicBezTo>
                <a:cubicBezTo>
                  <a:pt x="2755" y="1060"/>
                  <a:pt x="2752" y="1053"/>
                  <a:pt x="2752" y="1052"/>
                </a:cubicBezTo>
                <a:cubicBezTo>
                  <a:pt x="2751" y="1051"/>
                  <a:pt x="2747" y="1052"/>
                  <a:pt x="2747" y="1052"/>
                </a:cubicBezTo>
                <a:cubicBezTo>
                  <a:pt x="2743" y="1046"/>
                  <a:pt x="2743" y="1046"/>
                  <a:pt x="2743" y="1046"/>
                </a:cubicBezTo>
                <a:cubicBezTo>
                  <a:pt x="2746" y="1043"/>
                  <a:pt x="2746" y="1043"/>
                  <a:pt x="2746" y="1043"/>
                </a:cubicBezTo>
                <a:cubicBezTo>
                  <a:pt x="2746" y="1043"/>
                  <a:pt x="2745" y="1040"/>
                  <a:pt x="2746" y="1038"/>
                </a:cubicBezTo>
                <a:cubicBezTo>
                  <a:pt x="2748" y="1036"/>
                  <a:pt x="2750" y="1035"/>
                  <a:pt x="2750" y="1035"/>
                </a:cubicBezTo>
                <a:cubicBezTo>
                  <a:pt x="2749" y="1029"/>
                  <a:pt x="2749" y="1029"/>
                  <a:pt x="2749" y="1029"/>
                </a:cubicBezTo>
                <a:cubicBezTo>
                  <a:pt x="2752" y="1026"/>
                  <a:pt x="2752" y="1026"/>
                  <a:pt x="2752" y="1026"/>
                </a:cubicBezTo>
                <a:cubicBezTo>
                  <a:pt x="2752" y="1026"/>
                  <a:pt x="2755" y="1028"/>
                  <a:pt x="2756" y="1027"/>
                </a:cubicBezTo>
                <a:cubicBezTo>
                  <a:pt x="2757" y="1027"/>
                  <a:pt x="2757" y="1022"/>
                  <a:pt x="2757" y="1022"/>
                </a:cubicBezTo>
                <a:cubicBezTo>
                  <a:pt x="2763" y="1017"/>
                  <a:pt x="2763" y="1017"/>
                  <a:pt x="2763" y="1017"/>
                </a:cubicBezTo>
                <a:cubicBezTo>
                  <a:pt x="2763" y="1017"/>
                  <a:pt x="2760" y="1012"/>
                  <a:pt x="2756" y="1012"/>
                </a:cubicBezTo>
                <a:cubicBezTo>
                  <a:pt x="2753" y="1011"/>
                  <a:pt x="2748" y="1016"/>
                  <a:pt x="2748" y="1016"/>
                </a:cubicBezTo>
                <a:cubicBezTo>
                  <a:pt x="2748" y="1013"/>
                  <a:pt x="2748" y="1013"/>
                  <a:pt x="2748" y="1013"/>
                </a:cubicBezTo>
                <a:cubicBezTo>
                  <a:pt x="2744" y="1014"/>
                  <a:pt x="2744" y="1014"/>
                  <a:pt x="2744" y="1014"/>
                </a:cubicBezTo>
                <a:cubicBezTo>
                  <a:pt x="2742" y="1016"/>
                  <a:pt x="2742" y="1016"/>
                  <a:pt x="2742" y="1016"/>
                </a:cubicBezTo>
                <a:cubicBezTo>
                  <a:pt x="2741" y="1013"/>
                  <a:pt x="2741" y="1013"/>
                  <a:pt x="2741" y="1013"/>
                </a:cubicBezTo>
                <a:cubicBezTo>
                  <a:pt x="2736" y="1013"/>
                  <a:pt x="2736" y="1013"/>
                  <a:pt x="2736" y="1013"/>
                </a:cubicBezTo>
                <a:cubicBezTo>
                  <a:pt x="2736" y="1013"/>
                  <a:pt x="2730" y="1009"/>
                  <a:pt x="2729" y="1009"/>
                </a:cubicBezTo>
                <a:cubicBezTo>
                  <a:pt x="2728" y="1009"/>
                  <a:pt x="2721" y="1008"/>
                  <a:pt x="2721" y="1008"/>
                </a:cubicBezTo>
                <a:cubicBezTo>
                  <a:pt x="2721" y="1008"/>
                  <a:pt x="2720" y="1004"/>
                  <a:pt x="2718" y="1003"/>
                </a:cubicBezTo>
                <a:cubicBezTo>
                  <a:pt x="2717" y="1002"/>
                  <a:pt x="2716" y="1005"/>
                  <a:pt x="2716" y="1005"/>
                </a:cubicBezTo>
                <a:cubicBezTo>
                  <a:pt x="2716" y="1005"/>
                  <a:pt x="2711" y="1002"/>
                  <a:pt x="2710" y="1003"/>
                </a:cubicBezTo>
                <a:cubicBezTo>
                  <a:pt x="2709" y="1004"/>
                  <a:pt x="2711" y="1006"/>
                  <a:pt x="2711" y="1006"/>
                </a:cubicBezTo>
                <a:cubicBezTo>
                  <a:pt x="2711" y="1006"/>
                  <a:pt x="2708" y="1006"/>
                  <a:pt x="2707" y="1007"/>
                </a:cubicBezTo>
                <a:cubicBezTo>
                  <a:pt x="2707" y="1008"/>
                  <a:pt x="2710" y="1009"/>
                  <a:pt x="2713" y="1010"/>
                </a:cubicBezTo>
                <a:cubicBezTo>
                  <a:pt x="2715" y="1011"/>
                  <a:pt x="2716" y="1009"/>
                  <a:pt x="2716" y="1009"/>
                </a:cubicBezTo>
                <a:cubicBezTo>
                  <a:pt x="2721" y="1011"/>
                  <a:pt x="2721" y="1011"/>
                  <a:pt x="2721" y="1011"/>
                </a:cubicBezTo>
                <a:cubicBezTo>
                  <a:pt x="2721" y="1011"/>
                  <a:pt x="2716" y="1013"/>
                  <a:pt x="2714" y="1015"/>
                </a:cubicBezTo>
                <a:cubicBezTo>
                  <a:pt x="2711" y="1016"/>
                  <a:pt x="2704" y="1015"/>
                  <a:pt x="2703" y="1015"/>
                </a:cubicBezTo>
                <a:cubicBezTo>
                  <a:pt x="2701" y="1016"/>
                  <a:pt x="2691" y="1021"/>
                  <a:pt x="2691" y="1021"/>
                </a:cubicBezTo>
                <a:cubicBezTo>
                  <a:pt x="2691" y="1021"/>
                  <a:pt x="2689" y="1025"/>
                  <a:pt x="2689" y="1027"/>
                </a:cubicBezTo>
                <a:cubicBezTo>
                  <a:pt x="2689" y="1029"/>
                  <a:pt x="2693" y="1031"/>
                  <a:pt x="2693" y="1031"/>
                </a:cubicBezTo>
                <a:cubicBezTo>
                  <a:pt x="2687" y="1031"/>
                  <a:pt x="2687" y="1031"/>
                  <a:pt x="2687" y="1031"/>
                </a:cubicBezTo>
                <a:cubicBezTo>
                  <a:pt x="2682" y="1036"/>
                  <a:pt x="2682" y="1036"/>
                  <a:pt x="2682" y="1036"/>
                </a:cubicBezTo>
                <a:cubicBezTo>
                  <a:pt x="2682" y="1036"/>
                  <a:pt x="2683" y="1040"/>
                  <a:pt x="2681" y="1042"/>
                </a:cubicBezTo>
                <a:cubicBezTo>
                  <a:pt x="2680" y="1043"/>
                  <a:pt x="2685" y="1044"/>
                  <a:pt x="2687" y="1046"/>
                </a:cubicBezTo>
                <a:cubicBezTo>
                  <a:pt x="2689" y="1046"/>
                  <a:pt x="2688" y="1051"/>
                  <a:pt x="2688" y="1051"/>
                </a:cubicBezTo>
                <a:cubicBezTo>
                  <a:pt x="2685" y="1048"/>
                  <a:pt x="2685" y="1048"/>
                  <a:pt x="2685" y="1048"/>
                </a:cubicBezTo>
                <a:cubicBezTo>
                  <a:pt x="2681" y="1048"/>
                  <a:pt x="2681" y="1048"/>
                  <a:pt x="2681" y="1048"/>
                </a:cubicBezTo>
                <a:cubicBezTo>
                  <a:pt x="2679" y="1051"/>
                  <a:pt x="2679" y="1051"/>
                  <a:pt x="2679" y="1051"/>
                </a:cubicBezTo>
                <a:cubicBezTo>
                  <a:pt x="2673" y="1046"/>
                  <a:pt x="2673" y="1046"/>
                  <a:pt x="2673" y="1046"/>
                </a:cubicBezTo>
                <a:cubicBezTo>
                  <a:pt x="2673" y="1051"/>
                  <a:pt x="2673" y="1051"/>
                  <a:pt x="2673" y="1051"/>
                </a:cubicBezTo>
                <a:cubicBezTo>
                  <a:pt x="2669" y="1052"/>
                  <a:pt x="2669" y="1052"/>
                  <a:pt x="2669" y="1052"/>
                </a:cubicBezTo>
                <a:cubicBezTo>
                  <a:pt x="2670" y="1056"/>
                  <a:pt x="2670" y="1056"/>
                  <a:pt x="2670" y="1056"/>
                </a:cubicBezTo>
                <a:cubicBezTo>
                  <a:pt x="2666" y="1055"/>
                  <a:pt x="2666" y="1055"/>
                  <a:pt x="2666" y="1055"/>
                </a:cubicBezTo>
                <a:cubicBezTo>
                  <a:pt x="2670" y="1046"/>
                  <a:pt x="2670" y="1046"/>
                  <a:pt x="2670" y="1046"/>
                </a:cubicBezTo>
                <a:cubicBezTo>
                  <a:pt x="2670" y="1046"/>
                  <a:pt x="2669" y="1044"/>
                  <a:pt x="2668" y="1042"/>
                </a:cubicBezTo>
                <a:cubicBezTo>
                  <a:pt x="2668" y="1040"/>
                  <a:pt x="2664" y="1040"/>
                  <a:pt x="2664" y="1040"/>
                </a:cubicBezTo>
                <a:cubicBezTo>
                  <a:pt x="2662" y="1036"/>
                  <a:pt x="2662" y="1036"/>
                  <a:pt x="2662" y="1036"/>
                </a:cubicBezTo>
                <a:cubicBezTo>
                  <a:pt x="2662" y="1036"/>
                  <a:pt x="2663" y="1032"/>
                  <a:pt x="2661" y="1030"/>
                </a:cubicBezTo>
                <a:cubicBezTo>
                  <a:pt x="2659" y="1029"/>
                  <a:pt x="2656" y="1031"/>
                  <a:pt x="2656" y="1033"/>
                </a:cubicBezTo>
                <a:cubicBezTo>
                  <a:pt x="2655" y="1034"/>
                  <a:pt x="2657" y="1034"/>
                  <a:pt x="2657" y="1034"/>
                </a:cubicBezTo>
                <a:cubicBezTo>
                  <a:pt x="2656" y="1036"/>
                  <a:pt x="2656" y="1036"/>
                  <a:pt x="2656" y="1036"/>
                </a:cubicBezTo>
                <a:cubicBezTo>
                  <a:pt x="2652" y="1036"/>
                  <a:pt x="2652" y="1036"/>
                  <a:pt x="2652" y="1036"/>
                </a:cubicBezTo>
                <a:cubicBezTo>
                  <a:pt x="2652" y="1039"/>
                  <a:pt x="2652" y="1039"/>
                  <a:pt x="2652" y="1039"/>
                </a:cubicBezTo>
                <a:cubicBezTo>
                  <a:pt x="2649" y="1038"/>
                  <a:pt x="2649" y="1038"/>
                  <a:pt x="2649" y="1038"/>
                </a:cubicBezTo>
                <a:cubicBezTo>
                  <a:pt x="2647" y="1039"/>
                  <a:pt x="2647" y="1039"/>
                  <a:pt x="2647" y="1039"/>
                </a:cubicBezTo>
                <a:cubicBezTo>
                  <a:pt x="2647" y="1039"/>
                  <a:pt x="2648" y="1041"/>
                  <a:pt x="2648" y="1043"/>
                </a:cubicBezTo>
                <a:cubicBezTo>
                  <a:pt x="2647" y="1045"/>
                  <a:pt x="2644" y="1047"/>
                  <a:pt x="2644" y="1047"/>
                </a:cubicBezTo>
                <a:cubicBezTo>
                  <a:pt x="2645" y="1042"/>
                  <a:pt x="2645" y="1042"/>
                  <a:pt x="2645" y="1042"/>
                </a:cubicBezTo>
                <a:cubicBezTo>
                  <a:pt x="2642" y="1045"/>
                  <a:pt x="2642" y="1045"/>
                  <a:pt x="2642" y="1045"/>
                </a:cubicBezTo>
                <a:cubicBezTo>
                  <a:pt x="2642" y="1045"/>
                  <a:pt x="2640" y="1045"/>
                  <a:pt x="2639" y="1047"/>
                </a:cubicBezTo>
                <a:cubicBezTo>
                  <a:pt x="2637" y="1049"/>
                  <a:pt x="2639" y="1053"/>
                  <a:pt x="2639" y="1053"/>
                </a:cubicBezTo>
                <a:cubicBezTo>
                  <a:pt x="2633" y="1051"/>
                  <a:pt x="2633" y="1051"/>
                  <a:pt x="2633" y="1051"/>
                </a:cubicBezTo>
                <a:cubicBezTo>
                  <a:pt x="2632" y="1056"/>
                  <a:pt x="2632" y="1056"/>
                  <a:pt x="2632" y="1056"/>
                </a:cubicBezTo>
                <a:cubicBezTo>
                  <a:pt x="2630" y="1056"/>
                  <a:pt x="2630" y="1056"/>
                  <a:pt x="2630" y="1056"/>
                </a:cubicBezTo>
                <a:cubicBezTo>
                  <a:pt x="2632" y="1060"/>
                  <a:pt x="2632" y="1060"/>
                  <a:pt x="2632" y="1060"/>
                </a:cubicBezTo>
                <a:cubicBezTo>
                  <a:pt x="2635" y="1059"/>
                  <a:pt x="2635" y="1059"/>
                  <a:pt x="2635" y="1059"/>
                </a:cubicBezTo>
                <a:cubicBezTo>
                  <a:pt x="2634" y="1062"/>
                  <a:pt x="2634" y="1062"/>
                  <a:pt x="2634" y="1062"/>
                </a:cubicBezTo>
                <a:cubicBezTo>
                  <a:pt x="2624" y="1062"/>
                  <a:pt x="2624" y="1062"/>
                  <a:pt x="2624" y="1062"/>
                </a:cubicBezTo>
                <a:cubicBezTo>
                  <a:pt x="2624" y="1062"/>
                  <a:pt x="2621" y="1060"/>
                  <a:pt x="2619" y="1062"/>
                </a:cubicBezTo>
                <a:cubicBezTo>
                  <a:pt x="2617" y="1064"/>
                  <a:pt x="2621" y="1068"/>
                  <a:pt x="2621" y="1068"/>
                </a:cubicBezTo>
                <a:cubicBezTo>
                  <a:pt x="2621" y="1072"/>
                  <a:pt x="2621" y="1072"/>
                  <a:pt x="2621" y="1072"/>
                </a:cubicBezTo>
                <a:cubicBezTo>
                  <a:pt x="2620" y="1075"/>
                  <a:pt x="2620" y="1075"/>
                  <a:pt x="2620" y="1075"/>
                </a:cubicBezTo>
                <a:cubicBezTo>
                  <a:pt x="2621" y="1081"/>
                  <a:pt x="2621" y="1081"/>
                  <a:pt x="2621" y="1081"/>
                </a:cubicBezTo>
                <a:cubicBezTo>
                  <a:pt x="2618" y="1081"/>
                  <a:pt x="2618" y="1081"/>
                  <a:pt x="2618" y="1081"/>
                </a:cubicBezTo>
                <a:cubicBezTo>
                  <a:pt x="2618" y="1070"/>
                  <a:pt x="2618" y="1070"/>
                  <a:pt x="2618" y="1070"/>
                </a:cubicBezTo>
                <a:cubicBezTo>
                  <a:pt x="2615" y="1068"/>
                  <a:pt x="2615" y="1068"/>
                  <a:pt x="2615" y="1068"/>
                </a:cubicBezTo>
                <a:cubicBezTo>
                  <a:pt x="2615" y="1063"/>
                  <a:pt x="2615" y="1063"/>
                  <a:pt x="2615" y="1063"/>
                </a:cubicBezTo>
                <a:cubicBezTo>
                  <a:pt x="2612" y="1064"/>
                  <a:pt x="2612" y="1064"/>
                  <a:pt x="2612" y="1064"/>
                </a:cubicBezTo>
                <a:cubicBezTo>
                  <a:pt x="2610" y="1067"/>
                  <a:pt x="2610" y="1067"/>
                  <a:pt x="2610" y="1067"/>
                </a:cubicBezTo>
                <a:cubicBezTo>
                  <a:pt x="2610" y="1067"/>
                  <a:pt x="2607" y="1069"/>
                  <a:pt x="2603" y="1073"/>
                </a:cubicBezTo>
                <a:cubicBezTo>
                  <a:pt x="2599" y="1076"/>
                  <a:pt x="2602" y="1083"/>
                  <a:pt x="2602" y="1083"/>
                </a:cubicBezTo>
                <a:cubicBezTo>
                  <a:pt x="2602" y="1083"/>
                  <a:pt x="2606" y="1084"/>
                  <a:pt x="2605" y="1086"/>
                </a:cubicBezTo>
                <a:cubicBezTo>
                  <a:pt x="2605" y="1088"/>
                  <a:pt x="2598" y="1090"/>
                  <a:pt x="2596" y="1091"/>
                </a:cubicBezTo>
                <a:cubicBezTo>
                  <a:pt x="2595" y="1092"/>
                  <a:pt x="2596" y="1094"/>
                  <a:pt x="2596" y="1094"/>
                </a:cubicBezTo>
                <a:cubicBezTo>
                  <a:pt x="2596" y="1094"/>
                  <a:pt x="2591" y="1098"/>
                  <a:pt x="2588" y="1101"/>
                </a:cubicBezTo>
                <a:cubicBezTo>
                  <a:pt x="2584" y="1103"/>
                  <a:pt x="2573" y="1104"/>
                  <a:pt x="2573" y="1104"/>
                </a:cubicBezTo>
                <a:cubicBezTo>
                  <a:pt x="2566" y="1103"/>
                  <a:pt x="2566" y="1103"/>
                  <a:pt x="2566" y="1103"/>
                </a:cubicBezTo>
                <a:cubicBezTo>
                  <a:pt x="2560" y="1106"/>
                  <a:pt x="2560" y="1106"/>
                  <a:pt x="2560" y="1106"/>
                </a:cubicBezTo>
                <a:cubicBezTo>
                  <a:pt x="2553" y="1107"/>
                  <a:pt x="2553" y="1107"/>
                  <a:pt x="2553" y="1107"/>
                </a:cubicBezTo>
                <a:cubicBezTo>
                  <a:pt x="2552" y="1108"/>
                  <a:pt x="2552" y="1108"/>
                  <a:pt x="2552" y="1108"/>
                </a:cubicBezTo>
                <a:cubicBezTo>
                  <a:pt x="2552" y="1108"/>
                  <a:pt x="2549" y="1108"/>
                  <a:pt x="2548" y="1109"/>
                </a:cubicBezTo>
                <a:cubicBezTo>
                  <a:pt x="2546" y="1110"/>
                  <a:pt x="2543" y="1112"/>
                  <a:pt x="2543" y="1112"/>
                </a:cubicBezTo>
                <a:cubicBezTo>
                  <a:pt x="2543" y="1112"/>
                  <a:pt x="2539" y="1112"/>
                  <a:pt x="2537" y="1113"/>
                </a:cubicBezTo>
                <a:cubicBezTo>
                  <a:pt x="2534" y="1114"/>
                  <a:pt x="2530" y="1120"/>
                  <a:pt x="2530" y="1120"/>
                </a:cubicBezTo>
                <a:cubicBezTo>
                  <a:pt x="2530" y="1120"/>
                  <a:pt x="2523" y="1122"/>
                  <a:pt x="2521" y="1123"/>
                </a:cubicBezTo>
                <a:cubicBezTo>
                  <a:pt x="2520" y="1124"/>
                  <a:pt x="2512" y="1133"/>
                  <a:pt x="2512" y="1133"/>
                </a:cubicBezTo>
                <a:cubicBezTo>
                  <a:pt x="2514" y="1124"/>
                  <a:pt x="2514" y="1124"/>
                  <a:pt x="2514" y="1124"/>
                </a:cubicBezTo>
                <a:cubicBezTo>
                  <a:pt x="2511" y="1125"/>
                  <a:pt x="2511" y="1125"/>
                  <a:pt x="2511" y="1125"/>
                </a:cubicBezTo>
                <a:cubicBezTo>
                  <a:pt x="2508" y="1133"/>
                  <a:pt x="2508" y="1133"/>
                  <a:pt x="2508" y="1133"/>
                </a:cubicBezTo>
                <a:cubicBezTo>
                  <a:pt x="2508" y="1133"/>
                  <a:pt x="2505" y="1138"/>
                  <a:pt x="2504" y="1142"/>
                </a:cubicBezTo>
                <a:cubicBezTo>
                  <a:pt x="2503" y="1145"/>
                  <a:pt x="2507" y="1146"/>
                  <a:pt x="2507" y="1146"/>
                </a:cubicBezTo>
                <a:cubicBezTo>
                  <a:pt x="2507" y="1146"/>
                  <a:pt x="2503" y="1150"/>
                  <a:pt x="2501" y="1152"/>
                </a:cubicBezTo>
                <a:cubicBezTo>
                  <a:pt x="2499" y="1154"/>
                  <a:pt x="2503" y="1162"/>
                  <a:pt x="2503" y="1164"/>
                </a:cubicBezTo>
                <a:cubicBezTo>
                  <a:pt x="2503" y="1165"/>
                  <a:pt x="2508" y="1174"/>
                  <a:pt x="2507" y="1175"/>
                </a:cubicBezTo>
                <a:cubicBezTo>
                  <a:pt x="2506" y="1176"/>
                  <a:pt x="2501" y="1167"/>
                  <a:pt x="2501" y="1167"/>
                </a:cubicBezTo>
                <a:cubicBezTo>
                  <a:pt x="2498" y="1167"/>
                  <a:pt x="2498" y="1167"/>
                  <a:pt x="2498" y="1167"/>
                </a:cubicBezTo>
                <a:cubicBezTo>
                  <a:pt x="2501" y="1173"/>
                  <a:pt x="2501" y="1173"/>
                  <a:pt x="2501" y="1173"/>
                </a:cubicBezTo>
                <a:cubicBezTo>
                  <a:pt x="2496" y="1169"/>
                  <a:pt x="2496" y="1169"/>
                  <a:pt x="2496" y="1169"/>
                </a:cubicBezTo>
                <a:cubicBezTo>
                  <a:pt x="2496" y="1169"/>
                  <a:pt x="2495" y="1174"/>
                  <a:pt x="2496" y="1177"/>
                </a:cubicBezTo>
                <a:cubicBezTo>
                  <a:pt x="2496" y="1180"/>
                  <a:pt x="2501" y="1187"/>
                  <a:pt x="2501" y="1187"/>
                </a:cubicBezTo>
                <a:cubicBezTo>
                  <a:pt x="2501" y="1187"/>
                  <a:pt x="2499" y="1192"/>
                  <a:pt x="2498" y="1193"/>
                </a:cubicBezTo>
                <a:cubicBezTo>
                  <a:pt x="2498" y="1195"/>
                  <a:pt x="2504" y="1200"/>
                  <a:pt x="2504" y="1201"/>
                </a:cubicBezTo>
                <a:cubicBezTo>
                  <a:pt x="2504" y="1202"/>
                  <a:pt x="2505" y="1207"/>
                  <a:pt x="2503" y="1209"/>
                </a:cubicBezTo>
                <a:cubicBezTo>
                  <a:pt x="2502" y="1210"/>
                  <a:pt x="2505" y="1220"/>
                  <a:pt x="2505" y="1220"/>
                </a:cubicBezTo>
                <a:cubicBezTo>
                  <a:pt x="2505" y="1220"/>
                  <a:pt x="2504" y="1220"/>
                  <a:pt x="2503" y="1222"/>
                </a:cubicBezTo>
                <a:cubicBezTo>
                  <a:pt x="2501" y="1223"/>
                  <a:pt x="2504" y="1230"/>
                  <a:pt x="2504" y="1230"/>
                </a:cubicBezTo>
                <a:cubicBezTo>
                  <a:pt x="2504" y="1230"/>
                  <a:pt x="2509" y="1232"/>
                  <a:pt x="2509" y="1236"/>
                </a:cubicBezTo>
                <a:cubicBezTo>
                  <a:pt x="2510" y="1239"/>
                  <a:pt x="2503" y="1245"/>
                  <a:pt x="2503" y="1245"/>
                </a:cubicBezTo>
                <a:cubicBezTo>
                  <a:pt x="2503" y="1245"/>
                  <a:pt x="2505" y="1252"/>
                  <a:pt x="2502" y="1256"/>
                </a:cubicBezTo>
                <a:cubicBezTo>
                  <a:pt x="2498" y="1259"/>
                  <a:pt x="2492" y="1257"/>
                  <a:pt x="2492" y="1257"/>
                </a:cubicBezTo>
                <a:cubicBezTo>
                  <a:pt x="2491" y="1264"/>
                  <a:pt x="2491" y="1264"/>
                  <a:pt x="2491" y="1264"/>
                </a:cubicBezTo>
                <a:cubicBezTo>
                  <a:pt x="2491" y="1264"/>
                  <a:pt x="2498" y="1266"/>
                  <a:pt x="2499" y="1267"/>
                </a:cubicBezTo>
                <a:cubicBezTo>
                  <a:pt x="2501" y="1268"/>
                  <a:pt x="2503" y="1270"/>
                  <a:pt x="2503" y="1270"/>
                </a:cubicBezTo>
                <a:cubicBezTo>
                  <a:pt x="2506" y="1270"/>
                  <a:pt x="2506" y="1270"/>
                  <a:pt x="2506" y="1270"/>
                </a:cubicBezTo>
                <a:cubicBezTo>
                  <a:pt x="2506" y="1270"/>
                  <a:pt x="2508" y="1272"/>
                  <a:pt x="2511" y="1273"/>
                </a:cubicBezTo>
                <a:cubicBezTo>
                  <a:pt x="2514" y="1274"/>
                  <a:pt x="2520" y="1272"/>
                  <a:pt x="2523" y="1272"/>
                </a:cubicBezTo>
                <a:cubicBezTo>
                  <a:pt x="2525" y="1272"/>
                  <a:pt x="2523" y="1268"/>
                  <a:pt x="2523" y="1268"/>
                </a:cubicBezTo>
                <a:cubicBezTo>
                  <a:pt x="2529" y="1269"/>
                  <a:pt x="2529" y="1269"/>
                  <a:pt x="2529" y="1269"/>
                </a:cubicBezTo>
                <a:cubicBezTo>
                  <a:pt x="2530" y="1266"/>
                  <a:pt x="2530" y="1266"/>
                  <a:pt x="2530" y="1266"/>
                </a:cubicBezTo>
                <a:cubicBezTo>
                  <a:pt x="2535" y="1265"/>
                  <a:pt x="2535" y="1265"/>
                  <a:pt x="2535" y="1265"/>
                </a:cubicBezTo>
                <a:cubicBezTo>
                  <a:pt x="2535" y="1265"/>
                  <a:pt x="2540" y="1260"/>
                  <a:pt x="2543" y="1260"/>
                </a:cubicBezTo>
                <a:cubicBezTo>
                  <a:pt x="2546" y="1260"/>
                  <a:pt x="2548" y="1263"/>
                  <a:pt x="2550" y="1263"/>
                </a:cubicBezTo>
                <a:cubicBezTo>
                  <a:pt x="2551" y="1262"/>
                  <a:pt x="2559" y="1258"/>
                  <a:pt x="2559" y="1258"/>
                </a:cubicBezTo>
                <a:cubicBezTo>
                  <a:pt x="2559" y="1258"/>
                  <a:pt x="2564" y="1260"/>
                  <a:pt x="2566" y="1260"/>
                </a:cubicBezTo>
                <a:cubicBezTo>
                  <a:pt x="2568" y="1260"/>
                  <a:pt x="2570" y="1258"/>
                  <a:pt x="2571" y="1257"/>
                </a:cubicBezTo>
                <a:cubicBezTo>
                  <a:pt x="2573" y="1257"/>
                  <a:pt x="2577" y="1260"/>
                  <a:pt x="2580" y="1259"/>
                </a:cubicBezTo>
                <a:cubicBezTo>
                  <a:pt x="2583" y="1259"/>
                  <a:pt x="2583" y="1255"/>
                  <a:pt x="2583" y="1255"/>
                </a:cubicBezTo>
                <a:cubicBezTo>
                  <a:pt x="2583" y="1255"/>
                  <a:pt x="2585" y="1254"/>
                  <a:pt x="2586" y="1254"/>
                </a:cubicBezTo>
                <a:cubicBezTo>
                  <a:pt x="2587" y="1253"/>
                  <a:pt x="2588" y="1247"/>
                  <a:pt x="2591" y="1245"/>
                </a:cubicBezTo>
                <a:cubicBezTo>
                  <a:pt x="2594" y="1242"/>
                  <a:pt x="2601" y="1244"/>
                  <a:pt x="2603" y="1243"/>
                </a:cubicBezTo>
                <a:cubicBezTo>
                  <a:pt x="2605" y="1243"/>
                  <a:pt x="2612" y="1239"/>
                  <a:pt x="2615" y="1238"/>
                </a:cubicBezTo>
                <a:cubicBezTo>
                  <a:pt x="2619" y="1238"/>
                  <a:pt x="2619" y="1239"/>
                  <a:pt x="2623" y="1240"/>
                </a:cubicBezTo>
                <a:cubicBezTo>
                  <a:pt x="2627" y="1241"/>
                  <a:pt x="2637" y="1234"/>
                  <a:pt x="2641" y="1233"/>
                </a:cubicBezTo>
                <a:cubicBezTo>
                  <a:pt x="2645" y="1231"/>
                  <a:pt x="2662" y="1230"/>
                  <a:pt x="2662" y="1230"/>
                </a:cubicBezTo>
                <a:cubicBezTo>
                  <a:pt x="2664" y="1229"/>
                  <a:pt x="2664" y="1229"/>
                  <a:pt x="2664" y="1229"/>
                </a:cubicBezTo>
                <a:cubicBezTo>
                  <a:pt x="2664" y="1229"/>
                  <a:pt x="2670" y="1234"/>
                  <a:pt x="2673" y="1235"/>
                </a:cubicBezTo>
                <a:cubicBezTo>
                  <a:pt x="2677" y="1237"/>
                  <a:pt x="2678" y="1235"/>
                  <a:pt x="2678" y="1235"/>
                </a:cubicBezTo>
                <a:cubicBezTo>
                  <a:pt x="2678" y="1235"/>
                  <a:pt x="2679" y="1238"/>
                  <a:pt x="2681" y="1239"/>
                </a:cubicBezTo>
                <a:cubicBezTo>
                  <a:pt x="2682" y="1240"/>
                  <a:pt x="2683" y="1238"/>
                  <a:pt x="2683" y="1238"/>
                </a:cubicBezTo>
                <a:cubicBezTo>
                  <a:pt x="2684" y="1241"/>
                  <a:pt x="2684" y="1241"/>
                  <a:pt x="2684" y="1241"/>
                </a:cubicBezTo>
                <a:cubicBezTo>
                  <a:pt x="2684" y="1241"/>
                  <a:pt x="2687" y="1241"/>
                  <a:pt x="2687" y="1243"/>
                </a:cubicBezTo>
                <a:cubicBezTo>
                  <a:pt x="2687" y="1245"/>
                  <a:pt x="2683" y="1250"/>
                  <a:pt x="2683" y="1250"/>
                </a:cubicBezTo>
                <a:cubicBezTo>
                  <a:pt x="2686" y="1254"/>
                  <a:pt x="2686" y="1254"/>
                  <a:pt x="2686" y="1254"/>
                </a:cubicBezTo>
                <a:cubicBezTo>
                  <a:pt x="2688" y="1252"/>
                  <a:pt x="2688" y="1252"/>
                  <a:pt x="2688" y="1252"/>
                </a:cubicBezTo>
                <a:cubicBezTo>
                  <a:pt x="2690" y="1257"/>
                  <a:pt x="2690" y="1257"/>
                  <a:pt x="2690" y="1257"/>
                </a:cubicBezTo>
                <a:cubicBezTo>
                  <a:pt x="2690" y="1257"/>
                  <a:pt x="2692" y="1263"/>
                  <a:pt x="2693" y="1265"/>
                </a:cubicBezTo>
                <a:cubicBezTo>
                  <a:pt x="2693" y="1266"/>
                  <a:pt x="2687" y="1265"/>
                  <a:pt x="2687" y="1265"/>
                </a:cubicBezTo>
                <a:cubicBezTo>
                  <a:pt x="2688" y="1270"/>
                  <a:pt x="2688" y="1270"/>
                  <a:pt x="2688" y="1270"/>
                </a:cubicBezTo>
                <a:cubicBezTo>
                  <a:pt x="2688" y="1270"/>
                  <a:pt x="2690" y="1270"/>
                  <a:pt x="2692" y="1270"/>
                </a:cubicBezTo>
                <a:cubicBezTo>
                  <a:pt x="2694" y="1270"/>
                  <a:pt x="2694" y="1272"/>
                  <a:pt x="2694" y="1272"/>
                </a:cubicBezTo>
                <a:cubicBezTo>
                  <a:pt x="2697" y="1271"/>
                  <a:pt x="2697" y="1271"/>
                  <a:pt x="2697" y="1271"/>
                </a:cubicBezTo>
                <a:cubicBezTo>
                  <a:pt x="2697" y="1271"/>
                  <a:pt x="2696" y="1268"/>
                  <a:pt x="2696" y="1266"/>
                </a:cubicBezTo>
                <a:cubicBezTo>
                  <a:pt x="2696" y="1263"/>
                  <a:pt x="2700" y="1261"/>
                  <a:pt x="2702" y="1261"/>
                </a:cubicBezTo>
                <a:cubicBezTo>
                  <a:pt x="2705" y="1260"/>
                  <a:pt x="2710" y="1253"/>
                  <a:pt x="2710" y="1253"/>
                </a:cubicBezTo>
                <a:cubicBezTo>
                  <a:pt x="2713" y="1253"/>
                  <a:pt x="2713" y="1253"/>
                  <a:pt x="2713" y="1253"/>
                </a:cubicBezTo>
                <a:cubicBezTo>
                  <a:pt x="2716" y="1246"/>
                  <a:pt x="2716" y="1246"/>
                  <a:pt x="2716" y="1246"/>
                </a:cubicBezTo>
                <a:cubicBezTo>
                  <a:pt x="2716" y="1246"/>
                  <a:pt x="2720" y="1246"/>
                  <a:pt x="2721" y="1246"/>
                </a:cubicBezTo>
                <a:cubicBezTo>
                  <a:pt x="2723" y="1245"/>
                  <a:pt x="2724" y="1239"/>
                  <a:pt x="2724" y="1239"/>
                </a:cubicBezTo>
                <a:cubicBezTo>
                  <a:pt x="2724" y="1239"/>
                  <a:pt x="2725" y="1244"/>
                  <a:pt x="2725" y="1246"/>
                </a:cubicBezTo>
                <a:cubicBezTo>
                  <a:pt x="2726" y="1247"/>
                  <a:pt x="2720" y="1250"/>
                  <a:pt x="2720" y="1250"/>
                </a:cubicBezTo>
                <a:cubicBezTo>
                  <a:pt x="2717" y="1250"/>
                  <a:pt x="2717" y="1250"/>
                  <a:pt x="2717" y="1250"/>
                </a:cubicBezTo>
                <a:cubicBezTo>
                  <a:pt x="2716" y="1252"/>
                  <a:pt x="2716" y="1252"/>
                  <a:pt x="2716" y="1252"/>
                </a:cubicBezTo>
                <a:cubicBezTo>
                  <a:pt x="2719" y="1257"/>
                  <a:pt x="2719" y="1257"/>
                  <a:pt x="2719" y="1257"/>
                </a:cubicBezTo>
                <a:cubicBezTo>
                  <a:pt x="2719" y="1257"/>
                  <a:pt x="2717" y="1257"/>
                  <a:pt x="2715" y="1258"/>
                </a:cubicBezTo>
                <a:cubicBezTo>
                  <a:pt x="2714" y="1259"/>
                  <a:pt x="2710" y="1264"/>
                  <a:pt x="2710" y="1264"/>
                </a:cubicBezTo>
                <a:cubicBezTo>
                  <a:pt x="2710" y="1264"/>
                  <a:pt x="2709" y="1268"/>
                  <a:pt x="2707" y="1269"/>
                </a:cubicBezTo>
                <a:cubicBezTo>
                  <a:pt x="2706" y="1270"/>
                  <a:pt x="2701" y="1272"/>
                  <a:pt x="2702" y="1273"/>
                </a:cubicBezTo>
                <a:cubicBezTo>
                  <a:pt x="2704" y="1275"/>
                  <a:pt x="2710" y="1273"/>
                  <a:pt x="2711" y="1272"/>
                </a:cubicBezTo>
                <a:cubicBezTo>
                  <a:pt x="2713" y="1271"/>
                  <a:pt x="2713" y="1268"/>
                  <a:pt x="2715" y="1266"/>
                </a:cubicBezTo>
                <a:cubicBezTo>
                  <a:pt x="2716" y="1264"/>
                  <a:pt x="2719" y="1262"/>
                  <a:pt x="2719" y="1262"/>
                </a:cubicBezTo>
                <a:cubicBezTo>
                  <a:pt x="2719" y="1262"/>
                  <a:pt x="2720" y="1268"/>
                  <a:pt x="2720" y="1269"/>
                </a:cubicBezTo>
                <a:cubicBezTo>
                  <a:pt x="2720" y="1270"/>
                  <a:pt x="2718" y="1272"/>
                  <a:pt x="2716" y="1273"/>
                </a:cubicBezTo>
                <a:cubicBezTo>
                  <a:pt x="2714" y="1274"/>
                  <a:pt x="2714" y="1276"/>
                  <a:pt x="2715" y="1277"/>
                </a:cubicBezTo>
                <a:cubicBezTo>
                  <a:pt x="2717" y="1278"/>
                  <a:pt x="2723" y="1278"/>
                  <a:pt x="2723" y="1278"/>
                </a:cubicBezTo>
                <a:cubicBezTo>
                  <a:pt x="2724" y="1280"/>
                  <a:pt x="2724" y="1280"/>
                  <a:pt x="2724" y="1280"/>
                </a:cubicBezTo>
                <a:cubicBezTo>
                  <a:pt x="2721" y="1283"/>
                  <a:pt x="2721" y="1283"/>
                  <a:pt x="2721" y="1283"/>
                </a:cubicBezTo>
                <a:cubicBezTo>
                  <a:pt x="2721" y="1283"/>
                  <a:pt x="2724" y="1289"/>
                  <a:pt x="2725" y="1291"/>
                </a:cubicBezTo>
                <a:cubicBezTo>
                  <a:pt x="2725" y="1293"/>
                  <a:pt x="2720" y="1296"/>
                  <a:pt x="2719" y="1299"/>
                </a:cubicBezTo>
                <a:cubicBezTo>
                  <a:pt x="2716" y="1301"/>
                  <a:pt x="2723" y="1306"/>
                  <a:pt x="2725" y="1306"/>
                </a:cubicBezTo>
                <a:cubicBezTo>
                  <a:pt x="2726" y="1307"/>
                  <a:pt x="2729" y="1311"/>
                  <a:pt x="2732" y="1312"/>
                </a:cubicBezTo>
                <a:cubicBezTo>
                  <a:pt x="2735" y="1313"/>
                  <a:pt x="2738" y="1311"/>
                  <a:pt x="2741" y="1312"/>
                </a:cubicBezTo>
                <a:cubicBezTo>
                  <a:pt x="2743" y="1313"/>
                  <a:pt x="2744" y="1316"/>
                  <a:pt x="2748" y="1317"/>
                </a:cubicBezTo>
                <a:cubicBezTo>
                  <a:pt x="2752" y="1318"/>
                  <a:pt x="2762" y="1311"/>
                  <a:pt x="2762" y="1311"/>
                </a:cubicBezTo>
                <a:cubicBezTo>
                  <a:pt x="2762" y="1311"/>
                  <a:pt x="2761" y="1308"/>
                  <a:pt x="2764" y="1306"/>
                </a:cubicBezTo>
                <a:cubicBezTo>
                  <a:pt x="2767" y="1304"/>
                  <a:pt x="2767" y="1311"/>
                  <a:pt x="2767" y="1311"/>
                </a:cubicBezTo>
                <a:cubicBezTo>
                  <a:pt x="2769" y="1311"/>
                  <a:pt x="2769" y="1311"/>
                  <a:pt x="2769" y="1311"/>
                </a:cubicBezTo>
                <a:cubicBezTo>
                  <a:pt x="2767" y="1315"/>
                  <a:pt x="2767" y="1315"/>
                  <a:pt x="2767" y="1315"/>
                </a:cubicBezTo>
                <a:cubicBezTo>
                  <a:pt x="2770" y="1315"/>
                  <a:pt x="2770" y="1315"/>
                  <a:pt x="2770" y="1315"/>
                </a:cubicBezTo>
                <a:cubicBezTo>
                  <a:pt x="2770" y="1315"/>
                  <a:pt x="2770" y="1317"/>
                  <a:pt x="2771" y="1319"/>
                </a:cubicBezTo>
                <a:cubicBezTo>
                  <a:pt x="2773" y="1321"/>
                  <a:pt x="2774" y="1320"/>
                  <a:pt x="2774" y="1320"/>
                </a:cubicBezTo>
                <a:cubicBezTo>
                  <a:pt x="2775" y="1318"/>
                  <a:pt x="2775" y="1318"/>
                  <a:pt x="2775" y="1318"/>
                </a:cubicBezTo>
                <a:cubicBezTo>
                  <a:pt x="2775" y="1318"/>
                  <a:pt x="2779" y="1317"/>
                  <a:pt x="2781" y="1315"/>
                </a:cubicBezTo>
                <a:cubicBezTo>
                  <a:pt x="2784" y="1314"/>
                  <a:pt x="2793" y="1307"/>
                  <a:pt x="2793" y="1307"/>
                </a:cubicBezTo>
                <a:cubicBezTo>
                  <a:pt x="2792" y="1305"/>
                  <a:pt x="2792" y="1305"/>
                  <a:pt x="2792" y="1305"/>
                </a:cubicBezTo>
                <a:cubicBezTo>
                  <a:pt x="2797" y="1304"/>
                  <a:pt x="2797" y="1304"/>
                  <a:pt x="2797" y="1304"/>
                </a:cubicBezTo>
                <a:cubicBezTo>
                  <a:pt x="2799" y="1306"/>
                  <a:pt x="2799" y="1306"/>
                  <a:pt x="2799" y="1306"/>
                </a:cubicBezTo>
                <a:cubicBezTo>
                  <a:pt x="2799" y="1306"/>
                  <a:pt x="2807" y="1305"/>
                  <a:pt x="2812" y="1303"/>
                </a:cubicBezTo>
                <a:cubicBezTo>
                  <a:pt x="2816" y="1301"/>
                  <a:pt x="2817" y="1292"/>
                  <a:pt x="2817" y="1289"/>
                </a:cubicBezTo>
                <a:cubicBezTo>
                  <a:pt x="2818" y="1287"/>
                  <a:pt x="2824" y="1284"/>
                  <a:pt x="2824" y="1284"/>
                </a:cubicBezTo>
                <a:cubicBezTo>
                  <a:pt x="2824" y="1281"/>
                  <a:pt x="2824" y="1281"/>
                  <a:pt x="2824" y="1281"/>
                </a:cubicBezTo>
                <a:cubicBezTo>
                  <a:pt x="2824" y="1281"/>
                  <a:pt x="2827" y="1279"/>
                  <a:pt x="2828" y="1277"/>
                </a:cubicBezTo>
                <a:cubicBezTo>
                  <a:pt x="2830" y="1275"/>
                  <a:pt x="2832" y="1272"/>
                  <a:pt x="2832" y="1272"/>
                </a:cubicBezTo>
                <a:cubicBezTo>
                  <a:pt x="2832" y="1272"/>
                  <a:pt x="2833" y="1266"/>
                  <a:pt x="2834" y="1264"/>
                </a:cubicBezTo>
                <a:cubicBezTo>
                  <a:pt x="2836" y="1262"/>
                  <a:pt x="2843" y="1254"/>
                  <a:pt x="2846" y="1253"/>
                </a:cubicBezTo>
                <a:cubicBezTo>
                  <a:pt x="2848" y="1252"/>
                  <a:pt x="2848" y="1245"/>
                  <a:pt x="2848" y="1245"/>
                </a:cubicBezTo>
                <a:cubicBezTo>
                  <a:pt x="2848" y="1245"/>
                  <a:pt x="2853" y="1246"/>
                  <a:pt x="2855" y="1244"/>
                </a:cubicBezTo>
                <a:cubicBezTo>
                  <a:pt x="2857" y="1242"/>
                  <a:pt x="2867" y="1230"/>
                  <a:pt x="2867" y="1228"/>
                </a:cubicBezTo>
                <a:cubicBezTo>
                  <a:pt x="2868" y="1227"/>
                  <a:pt x="2868" y="1220"/>
                  <a:pt x="2870" y="1219"/>
                </a:cubicBezTo>
                <a:cubicBezTo>
                  <a:pt x="2872" y="1218"/>
                  <a:pt x="2881" y="1200"/>
                  <a:pt x="2883" y="1196"/>
                </a:cubicBezTo>
                <a:cubicBezTo>
                  <a:pt x="2885" y="1192"/>
                  <a:pt x="2883" y="1190"/>
                  <a:pt x="2882" y="1187"/>
                </a:cubicBezTo>
                <a:cubicBezTo>
                  <a:pt x="2882" y="1184"/>
                  <a:pt x="2884" y="1180"/>
                  <a:pt x="2886" y="1177"/>
                </a:cubicBezTo>
                <a:cubicBezTo>
                  <a:pt x="2888" y="1174"/>
                  <a:pt x="2886" y="1161"/>
                  <a:pt x="2886" y="1161"/>
                </a:cubicBezTo>
                <a:cubicBezTo>
                  <a:pt x="2882" y="1159"/>
                  <a:pt x="2882" y="1159"/>
                  <a:pt x="2882" y="1159"/>
                </a:cubicBezTo>
                <a:cubicBezTo>
                  <a:pt x="2882" y="1159"/>
                  <a:pt x="2882" y="1159"/>
                  <a:pt x="2882" y="1159"/>
                </a:cubicBezTo>
                <a:close/>
                <a:moveTo>
                  <a:pt x="2509" y="971"/>
                </a:moveTo>
                <a:cubicBezTo>
                  <a:pt x="2511" y="973"/>
                  <a:pt x="2518" y="974"/>
                  <a:pt x="2521" y="975"/>
                </a:cubicBezTo>
                <a:cubicBezTo>
                  <a:pt x="2524" y="975"/>
                  <a:pt x="2525" y="974"/>
                  <a:pt x="2530" y="975"/>
                </a:cubicBezTo>
                <a:cubicBezTo>
                  <a:pt x="2534" y="975"/>
                  <a:pt x="2538" y="981"/>
                  <a:pt x="2540" y="982"/>
                </a:cubicBezTo>
                <a:cubicBezTo>
                  <a:pt x="2542" y="983"/>
                  <a:pt x="2544" y="981"/>
                  <a:pt x="2544" y="981"/>
                </a:cubicBezTo>
                <a:cubicBezTo>
                  <a:pt x="2544" y="981"/>
                  <a:pt x="2547" y="983"/>
                  <a:pt x="2547" y="981"/>
                </a:cubicBezTo>
                <a:cubicBezTo>
                  <a:pt x="2547" y="979"/>
                  <a:pt x="2545" y="976"/>
                  <a:pt x="2545" y="976"/>
                </a:cubicBezTo>
                <a:cubicBezTo>
                  <a:pt x="2545" y="976"/>
                  <a:pt x="2547" y="975"/>
                  <a:pt x="2547" y="971"/>
                </a:cubicBezTo>
                <a:cubicBezTo>
                  <a:pt x="2547" y="967"/>
                  <a:pt x="2542" y="967"/>
                  <a:pt x="2539" y="966"/>
                </a:cubicBezTo>
                <a:cubicBezTo>
                  <a:pt x="2536" y="965"/>
                  <a:pt x="2536" y="972"/>
                  <a:pt x="2536" y="972"/>
                </a:cubicBezTo>
                <a:cubicBezTo>
                  <a:pt x="2531" y="968"/>
                  <a:pt x="2531" y="968"/>
                  <a:pt x="2531" y="968"/>
                </a:cubicBezTo>
                <a:cubicBezTo>
                  <a:pt x="2531" y="968"/>
                  <a:pt x="2532" y="965"/>
                  <a:pt x="2532" y="960"/>
                </a:cubicBezTo>
                <a:cubicBezTo>
                  <a:pt x="2532" y="955"/>
                  <a:pt x="2522" y="957"/>
                  <a:pt x="2522" y="957"/>
                </a:cubicBezTo>
                <a:cubicBezTo>
                  <a:pt x="2517" y="954"/>
                  <a:pt x="2517" y="954"/>
                  <a:pt x="2517" y="954"/>
                </a:cubicBezTo>
                <a:cubicBezTo>
                  <a:pt x="2517" y="951"/>
                  <a:pt x="2517" y="951"/>
                  <a:pt x="2517" y="951"/>
                </a:cubicBezTo>
                <a:cubicBezTo>
                  <a:pt x="2511" y="951"/>
                  <a:pt x="2511" y="951"/>
                  <a:pt x="2511" y="951"/>
                </a:cubicBezTo>
                <a:cubicBezTo>
                  <a:pt x="2511" y="951"/>
                  <a:pt x="2510" y="955"/>
                  <a:pt x="2510" y="956"/>
                </a:cubicBezTo>
                <a:cubicBezTo>
                  <a:pt x="2510" y="957"/>
                  <a:pt x="2503" y="955"/>
                  <a:pt x="2500" y="954"/>
                </a:cubicBezTo>
                <a:cubicBezTo>
                  <a:pt x="2496" y="953"/>
                  <a:pt x="2490" y="954"/>
                  <a:pt x="2490" y="954"/>
                </a:cubicBezTo>
                <a:cubicBezTo>
                  <a:pt x="2490" y="954"/>
                  <a:pt x="2487" y="949"/>
                  <a:pt x="2485" y="947"/>
                </a:cubicBezTo>
                <a:cubicBezTo>
                  <a:pt x="2483" y="945"/>
                  <a:pt x="2480" y="947"/>
                  <a:pt x="2480" y="947"/>
                </a:cubicBezTo>
                <a:cubicBezTo>
                  <a:pt x="2480" y="947"/>
                  <a:pt x="2475" y="944"/>
                  <a:pt x="2473" y="944"/>
                </a:cubicBezTo>
                <a:cubicBezTo>
                  <a:pt x="2472" y="944"/>
                  <a:pt x="2467" y="944"/>
                  <a:pt x="2467" y="944"/>
                </a:cubicBezTo>
                <a:cubicBezTo>
                  <a:pt x="2467" y="944"/>
                  <a:pt x="2464" y="942"/>
                  <a:pt x="2462" y="943"/>
                </a:cubicBezTo>
                <a:cubicBezTo>
                  <a:pt x="2459" y="944"/>
                  <a:pt x="2459" y="949"/>
                  <a:pt x="2457" y="950"/>
                </a:cubicBezTo>
                <a:cubicBezTo>
                  <a:pt x="2456" y="951"/>
                  <a:pt x="2453" y="952"/>
                  <a:pt x="2453" y="955"/>
                </a:cubicBezTo>
                <a:cubicBezTo>
                  <a:pt x="2458" y="954"/>
                  <a:pt x="2458" y="954"/>
                  <a:pt x="2458" y="954"/>
                </a:cubicBezTo>
                <a:cubicBezTo>
                  <a:pt x="2465" y="954"/>
                  <a:pt x="2465" y="954"/>
                  <a:pt x="2465" y="954"/>
                </a:cubicBezTo>
                <a:cubicBezTo>
                  <a:pt x="2465" y="954"/>
                  <a:pt x="2460" y="957"/>
                  <a:pt x="2462" y="959"/>
                </a:cubicBezTo>
                <a:cubicBezTo>
                  <a:pt x="2464" y="961"/>
                  <a:pt x="2471" y="958"/>
                  <a:pt x="2471" y="958"/>
                </a:cubicBezTo>
                <a:cubicBezTo>
                  <a:pt x="2471" y="958"/>
                  <a:pt x="2482" y="963"/>
                  <a:pt x="2485" y="964"/>
                </a:cubicBezTo>
                <a:cubicBezTo>
                  <a:pt x="2488" y="965"/>
                  <a:pt x="2498" y="965"/>
                  <a:pt x="2502" y="965"/>
                </a:cubicBezTo>
                <a:cubicBezTo>
                  <a:pt x="2506" y="965"/>
                  <a:pt x="2507" y="969"/>
                  <a:pt x="2509" y="971"/>
                </a:cubicBezTo>
                <a:close/>
                <a:moveTo>
                  <a:pt x="2697" y="1278"/>
                </a:moveTo>
                <a:cubicBezTo>
                  <a:pt x="2694" y="1278"/>
                  <a:pt x="2690" y="1279"/>
                  <a:pt x="2692" y="1281"/>
                </a:cubicBezTo>
                <a:cubicBezTo>
                  <a:pt x="2693" y="1282"/>
                  <a:pt x="2694" y="1283"/>
                  <a:pt x="2694" y="1283"/>
                </a:cubicBezTo>
                <a:cubicBezTo>
                  <a:pt x="2697" y="1283"/>
                  <a:pt x="2700" y="1282"/>
                  <a:pt x="2700" y="1282"/>
                </a:cubicBezTo>
                <a:cubicBezTo>
                  <a:pt x="2702" y="1282"/>
                  <a:pt x="2702" y="1282"/>
                  <a:pt x="2702" y="1282"/>
                </a:cubicBezTo>
                <a:cubicBezTo>
                  <a:pt x="2702" y="1281"/>
                  <a:pt x="2702" y="1281"/>
                  <a:pt x="2702" y="1281"/>
                </a:cubicBezTo>
                <a:cubicBezTo>
                  <a:pt x="2705" y="1281"/>
                  <a:pt x="2705" y="1281"/>
                  <a:pt x="2705" y="1281"/>
                </a:cubicBezTo>
                <a:cubicBezTo>
                  <a:pt x="2706" y="1280"/>
                  <a:pt x="2706" y="1280"/>
                  <a:pt x="2706" y="1280"/>
                </a:cubicBezTo>
                <a:cubicBezTo>
                  <a:pt x="2702" y="1279"/>
                  <a:pt x="2702" y="1279"/>
                  <a:pt x="2702" y="1279"/>
                </a:cubicBezTo>
                <a:cubicBezTo>
                  <a:pt x="2702" y="1279"/>
                  <a:pt x="2700" y="1278"/>
                  <a:pt x="2697" y="1278"/>
                </a:cubicBezTo>
                <a:close/>
                <a:moveTo>
                  <a:pt x="2403" y="904"/>
                </a:moveTo>
                <a:cubicBezTo>
                  <a:pt x="2405" y="904"/>
                  <a:pt x="2402" y="899"/>
                  <a:pt x="2400" y="900"/>
                </a:cubicBezTo>
                <a:cubicBezTo>
                  <a:pt x="2399" y="901"/>
                  <a:pt x="2401" y="904"/>
                  <a:pt x="2403" y="904"/>
                </a:cubicBezTo>
                <a:close/>
                <a:moveTo>
                  <a:pt x="2773" y="1337"/>
                </a:moveTo>
                <a:cubicBezTo>
                  <a:pt x="2773" y="1338"/>
                  <a:pt x="2778" y="1336"/>
                  <a:pt x="2776" y="1334"/>
                </a:cubicBezTo>
                <a:cubicBezTo>
                  <a:pt x="2774" y="1333"/>
                  <a:pt x="2773" y="1337"/>
                  <a:pt x="2773" y="1337"/>
                </a:cubicBezTo>
                <a:close/>
                <a:moveTo>
                  <a:pt x="2390" y="875"/>
                </a:moveTo>
                <a:cubicBezTo>
                  <a:pt x="2387" y="878"/>
                  <a:pt x="2387" y="878"/>
                  <a:pt x="2387" y="878"/>
                </a:cubicBezTo>
                <a:cubicBezTo>
                  <a:pt x="2389" y="882"/>
                  <a:pt x="2389" y="882"/>
                  <a:pt x="2389" y="882"/>
                </a:cubicBezTo>
                <a:cubicBezTo>
                  <a:pt x="2389" y="882"/>
                  <a:pt x="2387" y="886"/>
                  <a:pt x="2389" y="885"/>
                </a:cubicBezTo>
                <a:cubicBezTo>
                  <a:pt x="2390" y="884"/>
                  <a:pt x="2390" y="879"/>
                  <a:pt x="2390" y="879"/>
                </a:cubicBezTo>
                <a:cubicBezTo>
                  <a:pt x="2391" y="877"/>
                  <a:pt x="2391" y="877"/>
                  <a:pt x="2391" y="877"/>
                </a:cubicBezTo>
                <a:cubicBezTo>
                  <a:pt x="2390" y="875"/>
                  <a:pt x="2390" y="875"/>
                  <a:pt x="2390" y="875"/>
                </a:cubicBezTo>
                <a:cubicBezTo>
                  <a:pt x="2390" y="875"/>
                  <a:pt x="2390" y="875"/>
                  <a:pt x="2390" y="875"/>
                </a:cubicBezTo>
                <a:close/>
                <a:moveTo>
                  <a:pt x="2898" y="994"/>
                </a:moveTo>
                <a:cubicBezTo>
                  <a:pt x="2898" y="991"/>
                  <a:pt x="2898" y="991"/>
                  <a:pt x="2898" y="991"/>
                </a:cubicBezTo>
                <a:cubicBezTo>
                  <a:pt x="2893" y="988"/>
                  <a:pt x="2893" y="988"/>
                  <a:pt x="2893" y="988"/>
                </a:cubicBezTo>
                <a:cubicBezTo>
                  <a:pt x="2895" y="986"/>
                  <a:pt x="2895" y="986"/>
                  <a:pt x="2895" y="986"/>
                </a:cubicBezTo>
                <a:cubicBezTo>
                  <a:pt x="2895" y="986"/>
                  <a:pt x="2890" y="985"/>
                  <a:pt x="2889" y="984"/>
                </a:cubicBezTo>
                <a:cubicBezTo>
                  <a:pt x="2888" y="983"/>
                  <a:pt x="2889" y="980"/>
                  <a:pt x="2889" y="978"/>
                </a:cubicBezTo>
                <a:cubicBezTo>
                  <a:pt x="2889" y="976"/>
                  <a:pt x="2882" y="979"/>
                  <a:pt x="2882" y="979"/>
                </a:cubicBezTo>
                <a:cubicBezTo>
                  <a:pt x="2882" y="975"/>
                  <a:pt x="2882" y="975"/>
                  <a:pt x="2882" y="975"/>
                </a:cubicBezTo>
                <a:cubicBezTo>
                  <a:pt x="2879" y="973"/>
                  <a:pt x="2879" y="973"/>
                  <a:pt x="2879" y="973"/>
                </a:cubicBezTo>
                <a:cubicBezTo>
                  <a:pt x="2879" y="967"/>
                  <a:pt x="2879" y="967"/>
                  <a:pt x="2879" y="967"/>
                </a:cubicBezTo>
                <a:cubicBezTo>
                  <a:pt x="2871" y="962"/>
                  <a:pt x="2871" y="962"/>
                  <a:pt x="2871" y="962"/>
                </a:cubicBezTo>
                <a:cubicBezTo>
                  <a:pt x="2867" y="954"/>
                  <a:pt x="2867" y="954"/>
                  <a:pt x="2867" y="954"/>
                </a:cubicBezTo>
                <a:cubicBezTo>
                  <a:pt x="2867" y="954"/>
                  <a:pt x="2875" y="951"/>
                  <a:pt x="2875" y="948"/>
                </a:cubicBezTo>
                <a:cubicBezTo>
                  <a:pt x="2875" y="944"/>
                  <a:pt x="2868" y="943"/>
                  <a:pt x="2868" y="943"/>
                </a:cubicBezTo>
                <a:cubicBezTo>
                  <a:pt x="2868" y="942"/>
                  <a:pt x="2857" y="939"/>
                  <a:pt x="2857" y="939"/>
                </a:cubicBezTo>
                <a:cubicBezTo>
                  <a:pt x="2857" y="939"/>
                  <a:pt x="2857" y="936"/>
                  <a:pt x="2857" y="932"/>
                </a:cubicBezTo>
                <a:cubicBezTo>
                  <a:pt x="2858" y="928"/>
                  <a:pt x="2852" y="927"/>
                  <a:pt x="2852" y="927"/>
                </a:cubicBezTo>
                <a:cubicBezTo>
                  <a:pt x="2846" y="920"/>
                  <a:pt x="2846" y="920"/>
                  <a:pt x="2846" y="920"/>
                </a:cubicBezTo>
                <a:cubicBezTo>
                  <a:pt x="2840" y="920"/>
                  <a:pt x="2840" y="920"/>
                  <a:pt x="2840" y="920"/>
                </a:cubicBezTo>
                <a:cubicBezTo>
                  <a:pt x="2835" y="916"/>
                  <a:pt x="2835" y="916"/>
                  <a:pt x="2835" y="916"/>
                </a:cubicBezTo>
                <a:cubicBezTo>
                  <a:pt x="2831" y="915"/>
                  <a:pt x="2831" y="915"/>
                  <a:pt x="2831" y="915"/>
                </a:cubicBezTo>
                <a:cubicBezTo>
                  <a:pt x="2814" y="907"/>
                  <a:pt x="2814" y="907"/>
                  <a:pt x="2814" y="907"/>
                </a:cubicBezTo>
                <a:cubicBezTo>
                  <a:pt x="2811" y="908"/>
                  <a:pt x="2811" y="908"/>
                  <a:pt x="2811" y="908"/>
                </a:cubicBezTo>
                <a:cubicBezTo>
                  <a:pt x="2805" y="904"/>
                  <a:pt x="2805" y="904"/>
                  <a:pt x="2805" y="904"/>
                </a:cubicBezTo>
                <a:cubicBezTo>
                  <a:pt x="2805" y="904"/>
                  <a:pt x="2801" y="904"/>
                  <a:pt x="2799" y="904"/>
                </a:cubicBezTo>
                <a:cubicBezTo>
                  <a:pt x="2797" y="904"/>
                  <a:pt x="2783" y="895"/>
                  <a:pt x="2780" y="895"/>
                </a:cubicBezTo>
                <a:cubicBezTo>
                  <a:pt x="2777" y="894"/>
                  <a:pt x="2773" y="898"/>
                  <a:pt x="2773" y="898"/>
                </a:cubicBezTo>
                <a:cubicBezTo>
                  <a:pt x="2775" y="902"/>
                  <a:pt x="2775" y="902"/>
                  <a:pt x="2775" y="902"/>
                </a:cubicBezTo>
                <a:cubicBezTo>
                  <a:pt x="2764" y="903"/>
                  <a:pt x="2764" y="903"/>
                  <a:pt x="2764" y="903"/>
                </a:cubicBezTo>
                <a:cubicBezTo>
                  <a:pt x="2765" y="906"/>
                  <a:pt x="2765" y="906"/>
                  <a:pt x="2765" y="906"/>
                </a:cubicBezTo>
                <a:cubicBezTo>
                  <a:pt x="2765" y="906"/>
                  <a:pt x="2763" y="913"/>
                  <a:pt x="2755" y="914"/>
                </a:cubicBezTo>
                <a:cubicBezTo>
                  <a:pt x="2747" y="916"/>
                  <a:pt x="2749" y="906"/>
                  <a:pt x="2748" y="906"/>
                </a:cubicBezTo>
                <a:cubicBezTo>
                  <a:pt x="2747" y="906"/>
                  <a:pt x="2746" y="910"/>
                  <a:pt x="2746" y="910"/>
                </a:cubicBezTo>
                <a:cubicBezTo>
                  <a:pt x="2746" y="910"/>
                  <a:pt x="2744" y="907"/>
                  <a:pt x="2744" y="905"/>
                </a:cubicBezTo>
                <a:cubicBezTo>
                  <a:pt x="2744" y="903"/>
                  <a:pt x="2744" y="897"/>
                  <a:pt x="2744" y="894"/>
                </a:cubicBezTo>
                <a:cubicBezTo>
                  <a:pt x="2743" y="890"/>
                  <a:pt x="2741" y="886"/>
                  <a:pt x="2741" y="886"/>
                </a:cubicBezTo>
                <a:cubicBezTo>
                  <a:pt x="2735" y="886"/>
                  <a:pt x="2735" y="886"/>
                  <a:pt x="2735" y="886"/>
                </a:cubicBezTo>
                <a:cubicBezTo>
                  <a:pt x="2735" y="886"/>
                  <a:pt x="2731" y="881"/>
                  <a:pt x="2727" y="881"/>
                </a:cubicBezTo>
                <a:cubicBezTo>
                  <a:pt x="2724" y="881"/>
                  <a:pt x="2720" y="886"/>
                  <a:pt x="2720" y="886"/>
                </a:cubicBezTo>
                <a:cubicBezTo>
                  <a:pt x="2716" y="887"/>
                  <a:pt x="2716" y="887"/>
                  <a:pt x="2716" y="887"/>
                </a:cubicBezTo>
                <a:cubicBezTo>
                  <a:pt x="2715" y="890"/>
                  <a:pt x="2715" y="890"/>
                  <a:pt x="2715" y="890"/>
                </a:cubicBezTo>
                <a:cubicBezTo>
                  <a:pt x="2713" y="891"/>
                  <a:pt x="2713" y="891"/>
                  <a:pt x="2713" y="891"/>
                </a:cubicBezTo>
                <a:cubicBezTo>
                  <a:pt x="2713" y="889"/>
                  <a:pt x="2713" y="889"/>
                  <a:pt x="2713" y="889"/>
                </a:cubicBezTo>
                <a:cubicBezTo>
                  <a:pt x="2713" y="889"/>
                  <a:pt x="2711" y="887"/>
                  <a:pt x="2709" y="888"/>
                </a:cubicBezTo>
                <a:cubicBezTo>
                  <a:pt x="2709" y="888"/>
                  <a:pt x="2709" y="890"/>
                  <a:pt x="2711" y="893"/>
                </a:cubicBezTo>
                <a:cubicBezTo>
                  <a:pt x="2713" y="896"/>
                  <a:pt x="2717" y="894"/>
                  <a:pt x="2721" y="895"/>
                </a:cubicBezTo>
                <a:cubicBezTo>
                  <a:pt x="2724" y="896"/>
                  <a:pt x="2721" y="898"/>
                  <a:pt x="2723" y="901"/>
                </a:cubicBezTo>
                <a:cubicBezTo>
                  <a:pt x="2725" y="904"/>
                  <a:pt x="2731" y="902"/>
                  <a:pt x="2736" y="902"/>
                </a:cubicBezTo>
                <a:cubicBezTo>
                  <a:pt x="2740" y="902"/>
                  <a:pt x="2741" y="903"/>
                  <a:pt x="2741" y="905"/>
                </a:cubicBezTo>
                <a:cubicBezTo>
                  <a:pt x="2741" y="907"/>
                  <a:pt x="2735" y="905"/>
                  <a:pt x="2734" y="905"/>
                </a:cubicBezTo>
                <a:cubicBezTo>
                  <a:pt x="2732" y="906"/>
                  <a:pt x="2728" y="908"/>
                  <a:pt x="2728" y="908"/>
                </a:cubicBezTo>
                <a:cubicBezTo>
                  <a:pt x="2728" y="908"/>
                  <a:pt x="2722" y="908"/>
                  <a:pt x="2721" y="909"/>
                </a:cubicBezTo>
                <a:cubicBezTo>
                  <a:pt x="2720" y="911"/>
                  <a:pt x="2726" y="912"/>
                  <a:pt x="2727" y="913"/>
                </a:cubicBezTo>
                <a:cubicBezTo>
                  <a:pt x="2729" y="914"/>
                  <a:pt x="2731" y="917"/>
                  <a:pt x="2731" y="917"/>
                </a:cubicBezTo>
                <a:cubicBezTo>
                  <a:pt x="2731" y="917"/>
                  <a:pt x="2727" y="921"/>
                  <a:pt x="2729" y="924"/>
                </a:cubicBezTo>
                <a:cubicBezTo>
                  <a:pt x="2731" y="927"/>
                  <a:pt x="2735" y="919"/>
                  <a:pt x="2735" y="918"/>
                </a:cubicBezTo>
                <a:cubicBezTo>
                  <a:pt x="2735" y="918"/>
                  <a:pt x="2739" y="912"/>
                  <a:pt x="2739" y="912"/>
                </a:cubicBezTo>
                <a:cubicBezTo>
                  <a:pt x="2739" y="917"/>
                  <a:pt x="2739" y="917"/>
                  <a:pt x="2739" y="917"/>
                </a:cubicBezTo>
                <a:cubicBezTo>
                  <a:pt x="2739" y="917"/>
                  <a:pt x="2742" y="920"/>
                  <a:pt x="2744" y="921"/>
                </a:cubicBezTo>
                <a:cubicBezTo>
                  <a:pt x="2746" y="924"/>
                  <a:pt x="2750" y="922"/>
                  <a:pt x="2750" y="922"/>
                </a:cubicBezTo>
                <a:cubicBezTo>
                  <a:pt x="2748" y="924"/>
                  <a:pt x="2748" y="924"/>
                  <a:pt x="2748" y="924"/>
                </a:cubicBezTo>
                <a:cubicBezTo>
                  <a:pt x="2753" y="928"/>
                  <a:pt x="2753" y="928"/>
                  <a:pt x="2753" y="928"/>
                </a:cubicBezTo>
                <a:cubicBezTo>
                  <a:pt x="2761" y="928"/>
                  <a:pt x="2761" y="928"/>
                  <a:pt x="2761" y="928"/>
                </a:cubicBezTo>
                <a:cubicBezTo>
                  <a:pt x="2766" y="932"/>
                  <a:pt x="2766" y="932"/>
                  <a:pt x="2766" y="932"/>
                </a:cubicBezTo>
                <a:cubicBezTo>
                  <a:pt x="2766" y="932"/>
                  <a:pt x="2774" y="935"/>
                  <a:pt x="2779" y="938"/>
                </a:cubicBezTo>
                <a:cubicBezTo>
                  <a:pt x="2784" y="942"/>
                  <a:pt x="2783" y="943"/>
                  <a:pt x="2783" y="947"/>
                </a:cubicBezTo>
                <a:cubicBezTo>
                  <a:pt x="2784" y="951"/>
                  <a:pt x="2788" y="953"/>
                  <a:pt x="2788" y="953"/>
                </a:cubicBezTo>
                <a:cubicBezTo>
                  <a:pt x="2788" y="953"/>
                  <a:pt x="2785" y="954"/>
                  <a:pt x="2785" y="956"/>
                </a:cubicBezTo>
                <a:cubicBezTo>
                  <a:pt x="2785" y="957"/>
                  <a:pt x="2790" y="958"/>
                  <a:pt x="2790" y="958"/>
                </a:cubicBezTo>
                <a:cubicBezTo>
                  <a:pt x="2787" y="959"/>
                  <a:pt x="2787" y="959"/>
                  <a:pt x="2787" y="959"/>
                </a:cubicBezTo>
                <a:cubicBezTo>
                  <a:pt x="2787" y="961"/>
                  <a:pt x="2787" y="961"/>
                  <a:pt x="2787" y="961"/>
                </a:cubicBezTo>
                <a:cubicBezTo>
                  <a:pt x="2788" y="961"/>
                  <a:pt x="2788" y="961"/>
                  <a:pt x="2788" y="961"/>
                </a:cubicBezTo>
                <a:cubicBezTo>
                  <a:pt x="2789" y="966"/>
                  <a:pt x="2789" y="966"/>
                  <a:pt x="2789" y="966"/>
                </a:cubicBezTo>
                <a:cubicBezTo>
                  <a:pt x="2787" y="970"/>
                  <a:pt x="2787" y="970"/>
                  <a:pt x="2787" y="970"/>
                </a:cubicBezTo>
                <a:cubicBezTo>
                  <a:pt x="2788" y="970"/>
                  <a:pt x="2789" y="970"/>
                  <a:pt x="2790" y="970"/>
                </a:cubicBezTo>
                <a:cubicBezTo>
                  <a:pt x="2791" y="970"/>
                  <a:pt x="2798" y="967"/>
                  <a:pt x="2798" y="967"/>
                </a:cubicBezTo>
                <a:cubicBezTo>
                  <a:pt x="2798" y="971"/>
                  <a:pt x="2798" y="971"/>
                  <a:pt x="2798" y="971"/>
                </a:cubicBezTo>
                <a:cubicBezTo>
                  <a:pt x="2798" y="971"/>
                  <a:pt x="2804" y="978"/>
                  <a:pt x="2806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11" y="981"/>
                  <a:pt x="2820" y="979"/>
                  <a:pt x="2820" y="979"/>
                </a:cubicBezTo>
                <a:cubicBezTo>
                  <a:pt x="2822" y="982"/>
                  <a:pt x="2822" y="982"/>
                  <a:pt x="2822" y="982"/>
                </a:cubicBezTo>
                <a:cubicBezTo>
                  <a:pt x="2822" y="982"/>
                  <a:pt x="2828" y="980"/>
                  <a:pt x="2830" y="978"/>
                </a:cubicBezTo>
                <a:cubicBezTo>
                  <a:pt x="2833" y="975"/>
                  <a:pt x="2819" y="969"/>
                  <a:pt x="2819" y="969"/>
                </a:cubicBezTo>
                <a:cubicBezTo>
                  <a:pt x="2819" y="969"/>
                  <a:pt x="2830" y="971"/>
                  <a:pt x="2833" y="970"/>
                </a:cubicBezTo>
                <a:cubicBezTo>
                  <a:pt x="2835" y="970"/>
                  <a:pt x="2831" y="965"/>
                  <a:pt x="2831" y="965"/>
                </a:cubicBezTo>
                <a:cubicBezTo>
                  <a:pt x="2831" y="965"/>
                  <a:pt x="2834" y="968"/>
                  <a:pt x="2835" y="967"/>
                </a:cubicBezTo>
                <a:cubicBezTo>
                  <a:pt x="2837" y="967"/>
                  <a:pt x="2834" y="962"/>
                  <a:pt x="2834" y="962"/>
                </a:cubicBezTo>
                <a:cubicBezTo>
                  <a:pt x="2834" y="962"/>
                  <a:pt x="2837" y="964"/>
                  <a:pt x="2838" y="964"/>
                </a:cubicBezTo>
                <a:cubicBezTo>
                  <a:pt x="2839" y="965"/>
                  <a:pt x="2841" y="962"/>
                  <a:pt x="2843" y="962"/>
                </a:cubicBezTo>
                <a:cubicBezTo>
                  <a:pt x="2844" y="961"/>
                  <a:pt x="2846" y="965"/>
                  <a:pt x="2848" y="966"/>
                </a:cubicBezTo>
                <a:cubicBezTo>
                  <a:pt x="2849" y="967"/>
                  <a:pt x="2854" y="966"/>
                  <a:pt x="2858" y="968"/>
                </a:cubicBezTo>
                <a:cubicBezTo>
                  <a:pt x="2862" y="970"/>
                  <a:pt x="2860" y="975"/>
                  <a:pt x="2862" y="978"/>
                </a:cubicBezTo>
                <a:cubicBezTo>
                  <a:pt x="2863" y="980"/>
                  <a:pt x="2866" y="979"/>
                  <a:pt x="2867" y="980"/>
                </a:cubicBezTo>
                <a:cubicBezTo>
                  <a:pt x="2868" y="981"/>
                  <a:pt x="2870" y="990"/>
                  <a:pt x="2873" y="992"/>
                </a:cubicBezTo>
                <a:cubicBezTo>
                  <a:pt x="2876" y="994"/>
                  <a:pt x="2889" y="993"/>
                  <a:pt x="2891" y="994"/>
                </a:cubicBezTo>
                <a:cubicBezTo>
                  <a:pt x="2893" y="994"/>
                  <a:pt x="2897" y="999"/>
                  <a:pt x="2900" y="999"/>
                </a:cubicBezTo>
                <a:cubicBezTo>
                  <a:pt x="2902" y="999"/>
                  <a:pt x="2898" y="994"/>
                  <a:pt x="2898" y="994"/>
                </a:cubicBezTo>
                <a:close/>
                <a:moveTo>
                  <a:pt x="2997" y="1342"/>
                </a:moveTo>
                <a:cubicBezTo>
                  <a:pt x="2995" y="1342"/>
                  <a:pt x="2995" y="1342"/>
                  <a:pt x="2995" y="1342"/>
                </a:cubicBezTo>
                <a:cubicBezTo>
                  <a:pt x="2996" y="1336"/>
                  <a:pt x="2996" y="1336"/>
                  <a:pt x="2996" y="1336"/>
                </a:cubicBezTo>
                <a:cubicBezTo>
                  <a:pt x="2992" y="1339"/>
                  <a:pt x="2992" y="1339"/>
                  <a:pt x="2992" y="1339"/>
                </a:cubicBezTo>
                <a:cubicBezTo>
                  <a:pt x="2992" y="1339"/>
                  <a:pt x="2995" y="1333"/>
                  <a:pt x="2993" y="1333"/>
                </a:cubicBezTo>
                <a:cubicBezTo>
                  <a:pt x="2990" y="1333"/>
                  <a:pt x="2988" y="1337"/>
                  <a:pt x="2988" y="1337"/>
                </a:cubicBezTo>
                <a:cubicBezTo>
                  <a:pt x="2986" y="1338"/>
                  <a:pt x="2986" y="1338"/>
                  <a:pt x="2986" y="1338"/>
                </a:cubicBezTo>
                <a:cubicBezTo>
                  <a:pt x="2986" y="1338"/>
                  <a:pt x="2983" y="1340"/>
                  <a:pt x="2982" y="1343"/>
                </a:cubicBezTo>
                <a:cubicBezTo>
                  <a:pt x="2980" y="1345"/>
                  <a:pt x="2975" y="1345"/>
                  <a:pt x="2972" y="1347"/>
                </a:cubicBezTo>
                <a:cubicBezTo>
                  <a:pt x="2969" y="1350"/>
                  <a:pt x="2968" y="1354"/>
                  <a:pt x="2968" y="1354"/>
                </a:cubicBezTo>
                <a:cubicBezTo>
                  <a:pt x="2968" y="1354"/>
                  <a:pt x="2958" y="1356"/>
                  <a:pt x="2955" y="1358"/>
                </a:cubicBezTo>
                <a:cubicBezTo>
                  <a:pt x="2952" y="1360"/>
                  <a:pt x="2947" y="1364"/>
                  <a:pt x="2947" y="1364"/>
                </a:cubicBezTo>
                <a:cubicBezTo>
                  <a:pt x="2947" y="1364"/>
                  <a:pt x="2942" y="1365"/>
                  <a:pt x="2938" y="1367"/>
                </a:cubicBezTo>
                <a:cubicBezTo>
                  <a:pt x="2935" y="1368"/>
                  <a:pt x="2933" y="1369"/>
                  <a:pt x="2930" y="1370"/>
                </a:cubicBezTo>
                <a:cubicBezTo>
                  <a:pt x="2926" y="1372"/>
                  <a:pt x="2920" y="1375"/>
                  <a:pt x="2917" y="1376"/>
                </a:cubicBezTo>
                <a:cubicBezTo>
                  <a:pt x="2915" y="1377"/>
                  <a:pt x="2916" y="1381"/>
                  <a:pt x="2916" y="1381"/>
                </a:cubicBezTo>
                <a:cubicBezTo>
                  <a:pt x="2914" y="1379"/>
                  <a:pt x="2914" y="1379"/>
                  <a:pt x="2914" y="1379"/>
                </a:cubicBezTo>
                <a:cubicBezTo>
                  <a:pt x="2914" y="1379"/>
                  <a:pt x="2907" y="1384"/>
                  <a:pt x="2904" y="1385"/>
                </a:cubicBezTo>
                <a:cubicBezTo>
                  <a:pt x="2902" y="1387"/>
                  <a:pt x="2901" y="1386"/>
                  <a:pt x="2897" y="1387"/>
                </a:cubicBezTo>
                <a:cubicBezTo>
                  <a:pt x="2894" y="1388"/>
                  <a:pt x="2893" y="1390"/>
                  <a:pt x="2893" y="1390"/>
                </a:cubicBezTo>
                <a:cubicBezTo>
                  <a:pt x="2893" y="1390"/>
                  <a:pt x="2897" y="1390"/>
                  <a:pt x="2896" y="1391"/>
                </a:cubicBezTo>
                <a:cubicBezTo>
                  <a:pt x="2896" y="1392"/>
                  <a:pt x="2894" y="1393"/>
                  <a:pt x="2895" y="1395"/>
                </a:cubicBezTo>
                <a:cubicBezTo>
                  <a:pt x="2896" y="1397"/>
                  <a:pt x="2901" y="1394"/>
                  <a:pt x="2901" y="1394"/>
                </a:cubicBezTo>
                <a:cubicBezTo>
                  <a:pt x="2902" y="1395"/>
                  <a:pt x="2902" y="1395"/>
                  <a:pt x="2902" y="1395"/>
                </a:cubicBezTo>
                <a:cubicBezTo>
                  <a:pt x="2906" y="1395"/>
                  <a:pt x="2906" y="1395"/>
                  <a:pt x="2906" y="1395"/>
                </a:cubicBezTo>
                <a:cubicBezTo>
                  <a:pt x="2906" y="1396"/>
                  <a:pt x="2906" y="1396"/>
                  <a:pt x="2906" y="1396"/>
                </a:cubicBezTo>
                <a:cubicBezTo>
                  <a:pt x="2911" y="1396"/>
                  <a:pt x="2911" y="1396"/>
                  <a:pt x="2911" y="1396"/>
                </a:cubicBezTo>
                <a:cubicBezTo>
                  <a:pt x="2913" y="1399"/>
                  <a:pt x="2913" y="1399"/>
                  <a:pt x="2913" y="1399"/>
                </a:cubicBezTo>
                <a:cubicBezTo>
                  <a:pt x="2917" y="1398"/>
                  <a:pt x="2917" y="1398"/>
                  <a:pt x="2917" y="1398"/>
                </a:cubicBezTo>
                <a:cubicBezTo>
                  <a:pt x="2917" y="1398"/>
                  <a:pt x="2921" y="1400"/>
                  <a:pt x="2924" y="1400"/>
                </a:cubicBezTo>
                <a:cubicBezTo>
                  <a:pt x="2928" y="1399"/>
                  <a:pt x="2929" y="1396"/>
                  <a:pt x="2931" y="1394"/>
                </a:cubicBezTo>
                <a:cubicBezTo>
                  <a:pt x="2933" y="1393"/>
                  <a:pt x="2934" y="1395"/>
                  <a:pt x="2938" y="1393"/>
                </a:cubicBezTo>
                <a:cubicBezTo>
                  <a:pt x="2941" y="1391"/>
                  <a:pt x="2939" y="1388"/>
                  <a:pt x="2941" y="1386"/>
                </a:cubicBezTo>
                <a:cubicBezTo>
                  <a:pt x="2943" y="1383"/>
                  <a:pt x="2946" y="1385"/>
                  <a:pt x="2948" y="1383"/>
                </a:cubicBezTo>
                <a:cubicBezTo>
                  <a:pt x="2950" y="1382"/>
                  <a:pt x="2948" y="1380"/>
                  <a:pt x="2948" y="1380"/>
                </a:cubicBezTo>
                <a:cubicBezTo>
                  <a:pt x="2951" y="1380"/>
                  <a:pt x="2951" y="1380"/>
                  <a:pt x="2951" y="1380"/>
                </a:cubicBezTo>
                <a:cubicBezTo>
                  <a:pt x="2959" y="1373"/>
                  <a:pt x="2959" y="1373"/>
                  <a:pt x="2959" y="1373"/>
                </a:cubicBezTo>
                <a:cubicBezTo>
                  <a:pt x="2957" y="1371"/>
                  <a:pt x="2957" y="1371"/>
                  <a:pt x="2957" y="1371"/>
                </a:cubicBezTo>
                <a:cubicBezTo>
                  <a:pt x="2962" y="1373"/>
                  <a:pt x="2962" y="1373"/>
                  <a:pt x="2962" y="1373"/>
                </a:cubicBezTo>
                <a:cubicBezTo>
                  <a:pt x="2962" y="1373"/>
                  <a:pt x="2962" y="1370"/>
                  <a:pt x="2964" y="1370"/>
                </a:cubicBezTo>
                <a:cubicBezTo>
                  <a:pt x="2966" y="1370"/>
                  <a:pt x="2968" y="1371"/>
                  <a:pt x="2970" y="1372"/>
                </a:cubicBezTo>
                <a:cubicBezTo>
                  <a:pt x="2973" y="1372"/>
                  <a:pt x="2974" y="1368"/>
                  <a:pt x="2974" y="1368"/>
                </a:cubicBezTo>
                <a:cubicBezTo>
                  <a:pt x="2972" y="1367"/>
                  <a:pt x="2972" y="1367"/>
                  <a:pt x="2972" y="1367"/>
                </a:cubicBezTo>
                <a:cubicBezTo>
                  <a:pt x="2975" y="1364"/>
                  <a:pt x="2975" y="1364"/>
                  <a:pt x="2975" y="1364"/>
                </a:cubicBezTo>
                <a:cubicBezTo>
                  <a:pt x="2978" y="1361"/>
                  <a:pt x="2978" y="1361"/>
                  <a:pt x="2978" y="1361"/>
                </a:cubicBezTo>
                <a:cubicBezTo>
                  <a:pt x="2978" y="1361"/>
                  <a:pt x="2980" y="1359"/>
                  <a:pt x="2983" y="1359"/>
                </a:cubicBezTo>
                <a:cubicBezTo>
                  <a:pt x="2985" y="1358"/>
                  <a:pt x="2986" y="1354"/>
                  <a:pt x="2986" y="1354"/>
                </a:cubicBezTo>
                <a:cubicBezTo>
                  <a:pt x="2986" y="1354"/>
                  <a:pt x="2988" y="1354"/>
                  <a:pt x="2990" y="1353"/>
                </a:cubicBezTo>
                <a:cubicBezTo>
                  <a:pt x="2993" y="1352"/>
                  <a:pt x="2995" y="1349"/>
                  <a:pt x="2995" y="1349"/>
                </a:cubicBezTo>
                <a:cubicBezTo>
                  <a:pt x="2995" y="1349"/>
                  <a:pt x="2999" y="1347"/>
                  <a:pt x="3001" y="1345"/>
                </a:cubicBezTo>
                <a:cubicBezTo>
                  <a:pt x="3003" y="1342"/>
                  <a:pt x="3001" y="1337"/>
                  <a:pt x="3001" y="1337"/>
                </a:cubicBezTo>
                <a:cubicBezTo>
                  <a:pt x="2997" y="1342"/>
                  <a:pt x="2997" y="1342"/>
                  <a:pt x="2997" y="1342"/>
                </a:cubicBezTo>
                <a:cubicBezTo>
                  <a:pt x="2997" y="1342"/>
                  <a:pt x="2997" y="1342"/>
                  <a:pt x="2997" y="1342"/>
                </a:cubicBezTo>
                <a:close/>
                <a:moveTo>
                  <a:pt x="2787" y="970"/>
                </a:moveTo>
                <a:cubicBezTo>
                  <a:pt x="2788" y="965"/>
                  <a:pt x="2788" y="965"/>
                  <a:pt x="2788" y="965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5" y="960"/>
                  <a:pt x="2781" y="962"/>
                </a:cubicBezTo>
                <a:cubicBezTo>
                  <a:pt x="2776" y="964"/>
                  <a:pt x="2775" y="972"/>
                  <a:pt x="2775" y="972"/>
                </a:cubicBezTo>
                <a:cubicBezTo>
                  <a:pt x="2784" y="971"/>
                  <a:pt x="2784" y="971"/>
                  <a:pt x="2784" y="971"/>
                </a:cubicBezTo>
                <a:cubicBezTo>
                  <a:pt x="2784" y="971"/>
                  <a:pt x="2785" y="970"/>
                  <a:pt x="2787" y="970"/>
                </a:cubicBezTo>
                <a:close/>
                <a:moveTo>
                  <a:pt x="2392" y="888"/>
                </a:moveTo>
                <a:cubicBezTo>
                  <a:pt x="2390" y="891"/>
                  <a:pt x="2392" y="900"/>
                  <a:pt x="2396" y="899"/>
                </a:cubicBezTo>
                <a:cubicBezTo>
                  <a:pt x="2398" y="898"/>
                  <a:pt x="2395" y="886"/>
                  <a:pt x="2392" y="888"/>
                </a:cubicBezTo>
                <a:close/>
                <a:moveTo>
                  <a:pt x="2756" y="1031"/>
                </a:moveTo>
                <a:cubicBezTo>
                  <a:pt x="2755" y="1031"/>
                  <a:pt x="2754" y="1038"/>
                  <a:pt x="2754" y="1038"/>
                </a:cubicBezTo>
                <a:cubicBezTo>
                  <a:pt x="2756" y="1040"/>
                  <a:pt x="2761" y="1038"/>
                  <a:pt x="2761" y="1038"/>
                </a:cubicBezTo>
                <a:cubicBezTo>
                  <a:pt x="2760" y="1036"/>
                  <a:pt x="2760" y="1036"/>
                  <a:pt x="2760" y="1036"/>
                </a:cubicBezTo>
                <a:cubicBezTo>
                  <a:pt x="2761" y="1032"/>
                  <a:pt x="2761" y="1032"/>
                  <a:pt x="2761" y="1032"/>
                </a:cubicBezTo>
                <a:cubicBezTo>
                  <a:pt x="2761" y="1032"/>
                  <a:pt x="2757" y="1031"/>
                  <a:pt x="2756" y="1031"/>
                </a:cubicBezTo>
                <a:close/>
                <a:moveTo>
                  <a:pt x="2775" y="1331"/>
                </a:moveTo>
                <a:cubicBezTo>
                  <a:pt x="2772" y="1326"/>
                  <a:pt x="2772" y="1326"/>
                  <a:pt x="2772" y="1326"/>
                </a:cubicBezTo>
                <a:cubicBezTo>
                  <a:pt x="2772" y="1326"/>
                  <a:pt x="2770" y="1328"/>
                  <a:pt x="2770" y="1329"/>
                </a:cubicBezTo>
                <a:cubicBezTo>
                  <a:pt x="2770" y="1331"/>
                  <a:pt x="2770" y="1331"/>
                  <a:pt x="2772" y="1332"/>
                </a:cubicBezTo>
                <a:cubicBezTo>
                  <a:pt x="2774" y="1333"/>
                  <a:pt x="2775" y="1331"/>
                  <a:pt x="2775" y="1331"/>
                </a:cubicBezTo>
                <a:close/>
                <a:moveTo>
                  <a:pt x="1371" y="240"/>
                </a:moveTo>
                <a:cubicBezTo>
                  <a:pt x="1370" y="238"/>
                  <a:pt x="1370" y="238"/>
                  <a:pt x="1370" y="238"/>
                </a:cubicBezTo>
                <a:cubicBezTo>
                  <a:pt x="1368" y="243"/>
                  <a:pt x="1368" y="243"/>
                  <a:pt x="1368" y="243"/>
                </a:cubicBezTo>
                <a:cubicBezTo>
                  <a:pt x="1371" y="240"/>
                  <a:pt x="1371" y="240"/>
                  <a:pt x="1371" y="240"/>
                </a:cubicBezTo>
                <a:cubicBezTo>
                  <a:pt x="1371" y="240"/>
                  <a:pt x="1371" y="240"/>
                  <a:pt x="1371" y="240"/>
                </a:cubicBezTo>
                <a:close/>
                <a:moveTo>
                  <a:pt x="1382" y="256"/>
                </a:moveTo>
                <a:cubicBezTo>
                  <a:pt x="1381" y="256"/>
                  <a:pt x="1381" y="257"/>
                  <a:pt x="1380" y="261"/>
                </a:cubicBezTo>
                <a:cubicBezTo>
                  <a:pt x="1380" y="263"/>
                  <a:pt x="1384" y="256"/>
                  <a:pt x="1382" y="256"/>
                </a:cubicBezTo>
                <a:close/>
                <a:moveTo>
                  <a:pt x="1378" y="236"/>
                </a:moveTo>
                <a:cubicBezTo>
                  <a:pt x="1376" y="236"/>
                  <a:pt x="1377" y="238"/>
                  <a:pt x="1377" y="238"/>
                </a:cubicBezTo>
                <a:cubicBezTo>
                  <a:pt x="1377" y="238"/>
                  <a:pt x="1376" y="237"/>
                  <a:pt x="1375" y="238"/>
                </a:cubicBezTo>
                <a:cubicBezTo>
                  <a:pt x="1374" y="239"/>
                  <a:pt x="1377" y="240"/>
                  <a:pt x="1377" y="241"/>
                </a:cubicBezTo>
                <a:cubicBezTo>
                  <a:pt x="1378" y="242"/>
                  <a:pt x="1381" y="241"/>
                  <a:pt x="1381" y="241"/>
                </a:cubicBezTo>
                <a:cubicBezTo>
                  <a:pt x="1379" y="239"/>
                  <a:pt x="1379" y="239"/>
                  <a:pt x="1379" y="239"/>
                </a:cubicBezTo>
                <a:cubicBezTo>
                  <a:pt x="1379" y="239"/>
                  <a:pt x="1380" y="236"/>
                  <a:pt x="1378" y="236"/>
                </a:cubicBezTo>
                <a:close/>
                <a:moveTo>
                  <a:pt x="1386" y="259"/>
                </a:moveTo>
                <a:cubicBezTo>
                  <a:pt x="1388" y="258"/>
                  <a:pt x="1386" y="255"/>
                  <a:pt x="1385" y="257"/>
                </a:cubicBezTo>
                <a:cubicBezTo>
                  <a:pt x="1383" y="258"/>
                  <a:pt x="1385" y="260"/>
                  <a:pt x="1386" y="259"/>
                </a:cubicBezTo>
                <a:close/>
                <a:moveTo>
                  <a:pt x="1391" y="271"/>
                </a:moveTo>
                <a:cubicBezTo>
                  <a:pt x="1390" y="267"/>
                  <a:pt x="1389" y="272"/>
                  <a:pt x="1387" y="273"/>
                </a:cubicBezTo>
                <a:cubicBezTo>
                  <a:pt x="1387" y="273"/>
                  <a:pt x="1392" y="274"/>
                  <a:pt x="1391" y="271"/>
                </a:cubicBezTo>
                <a:close/>
                <a:moveTo>
                  <a:pt x="1376" y="230"/>
                </a:moveTo>
                <a:cubicBezTo>
                  <a:pt x="1376" y="230"/>
                  <a:pt x="1374" y="229"/>
                  <a:pt x="1373" y="229"/>
                </a:cubicBezTo>
                <a:cubicBezTo>
                  <a:pt x="1372" y="230"/>
                  <a:pt x="1373" y="235"/>
                  <a:pt x="1373" y="235"/>
                </a:cubicBezTo>
                <a:cubicBezTo>
                  <a:pt x="1375" y="233"/>
                  <a:pt x="1375" y="233"/>
                  <a:pt x="1375" y="233"/>
                </a:cubicBezTo>
                <a:cubicBezTo>
                  <a:pt x="1375" y="233"/>
                  <a:pt x="1376" y="233"/>
                  <a:pt x="1377" y="233"/>
                </a:cubicBezTo>
                <a:cubicBezTo>
                  <a:pt x="1379" y="233"/>
                  <a:pt x="1380" y="227"/>
                  <a:pt x="1380" y="227"/>
                </a:cubicBezTo>
                <a:cubicBezTo>
                  <a:pt x="1380" y="227"/>
                  <a:pt x="1379" y="227"/>
                  <a:pt x="1377" y="228"/>
                </a:cubicBezTo>
                <a:cubicBezTo>
                  <a:pt x="1376" y="229"/>
                  <a:pt x="1376" y="230"/>
                  <a:pt x="1376" y="230"/>
                </a:cubicBezTo>
                <a:close/>
                <a:moveTo>
                  <a:pt x="1333" y="156"/>
                </a:moveTo>
                <a:cubicBezTo>
                  <a:pt x="1330" y="154"/>
                  <a:pt x="1327" y="156"/>
                  <a:pt x="1327" y="156"/>
                </a:cubicBezTo>
                <a:cubicBezTo>
                  <a:pt x="1328" y="154"/>
                  <a:pt x="1328" y="154"/>
                  <a:pt x="1328" y="154"/>
                </a:cubicBezTo>
                <a:cubicBezTo>
                  <a:pt x="1324" y="154"/>
                  <a:pt x="1324" y="154"/>
                  <a:pt x="1324" y="154"/>
                </a:cubicBezTo>
                <a:cubicBezTo>
                  <a:pt x="1326" y="151"/>
                  <a:pt x="1326" y="151"/>
                  <a:pt x="1326" y="151"/>
                </a:cubicBezTo>
                <a:cubicBezTo>
                  <a:pt x="1324" y="150"/>
                  <a:pt x="1324" y="150"/>
                  <a:pt x="1324" y="150"/>
                </a:cubicBezTo>
                <a:cubicBezTo>
                  <a:pt x="1325" y="148"/>
                  <a:pt x="1325" y="148"/>
                  <a:pt x="1325" y="148"/>
                </a:cubicBezTo>
                <a:cubicBezTo>
                  <a:pt x="1321" y="149"/>
                  <a:pt x="1321" y="149"/>
                  <a:pt x="1321" y="149"/>
                </a:cubicBezTo>
                <a:cubicBezTo>
                  <a:pt x="1321" y="149"/>
                  <a:pt x="1316" y="145"/>
                  <a:pt x="1315" y="145"/>
                </a:cubicBezTo>
                <a:cubicBezTo>
                  <a:pt x="1313" y="145"/>
                  <a:pt x="1314" y="149"/>
                  <a:pt x="1314" y="149"/>
                </a:cubicBezTo>
                <a:cubicBezTo>
                  <a:pt x="1311" y="150"/>
                  <a:pt x="1311" y="150"/>
                  <a:pt x="1311" y="150"/>
                </a:cubicBezTo>
                <a:cubicBezTo>
                  <a:pt x="1311" y="150"/>
                  <a:pt x="1309" y="149"/>
                  <a:pt x="1308" y="149"/>
                </a:cubicBezTo>
                <a:cubicBezTo>
                  <a:pt x="1306" y="149"/>
                  <a:pt x="1305" y="151"/>
                  <a:pt x="1305" y="151"/>
                </a:cubicBezTo>
                <a:cubicBezTo>
                  <a:pt x="1305" y="151"/>
                  <a:pt x="1302" y="149"/>
                  <a:pt x="1300" y="149"/>
                </a:cubicBezTo>
                <a:cubicBezTo>
                  <a:pt x="1299" y="150"/>
                  <a:pt x="1300" y="154"/>
                  <a:pt x="1300" y="154"/>
                </a:cubicBezTo>
                <a:cubicBezTo>
                  <a:pt x="1300" y="154"/>
                  <a:pt x="1296" y="149"/>
                  <a:pt x="1295" y="149"/>
                </a:cubicBezTo>
                <a:cubicBezTo>
                  <a:pt x="1293" y="149"/>
                  <a:pt x="1294" y="150"/>
                  <a:pt x="1294" y="150"/>
                </a:cubicBezTo>
                <a:cubicBezTo>
                  <a:pt x="1294" y="150"/>
                  <a:pt x="1291" y="150"/>
                  <a:pt x="1291" y="151"/>
                </a:cubicBezTo>
                <a:cubicBezTo>
                  <a:pt x="1291" y="151"/>
                  <a:pt x="1291" y="153"/>
                  <a:pt x="1291" y="153"/>
                </a:cubicBezTo>
                <a:cubicBezTo>
                  <a:pt x="1289" y="153"/>
                  <a:pt x="1289" y="153"/>
                  <a:pt x="1289" y="153"/>
                </a:cubicBezTo>
                <a:cubicBezTo>
                  <a:pt x="1289" y="153"/>
                  <a:pt x="1285" y="149"/>
                  <a:pt x="1284" y="150"/>
                </a:cubicBezTo>
                <a:cubicBezTo>
                  <a:pt x="1283" y="151"/>
                  <a:pt x="1284" y="156"/>
                  <a:pt x="1283" y="156"/>
                </a:cubicBezTo>
                <a:cubicBezTo>
                  <a:pt x="1282" y="156"/>
                  <a:pt x="1281" y="154"/>
                  <a:pt x="1280" y="154"/>
                </a:cubicBezTo>
                <a:cubicBezTo>
                  <a:pt x="1279" y="154"/>
                  <a:pt x="1276" y="158"/>
                  <a:pt x="1276" y="158"/>
                </a:cubicBezTo>
                <a:cubicBezTo>
                  <a:pt x="1276" y="157"/>
                  <a:pt x="1276" y="157"/>
                  <a:pt x="1276" y="157"/>
                </a:cubicBezTo>
                <a:cubicBezTo>
                  <a:pt x="1274" y="154"/>
                  <a:pt x="1274" y="154"/>
                  <a:pt x="1274" y="154"/>
                </a:cubicBezTo>
                <a:cubicBezTo>
                  <a:pt x="1274" y="154"/>
                  <a:pt x="1277" y="153"/>
                  <a:pt x="1276" y="151"/>
                </a:cubicBezTo>
                <a:cubicBezTo>
                  <a:pt x="1275" y="149"/>
                  <a:pt x="1268" y="146"/>
                  <a:pt x="1267" y="147"/>
                </a:cubicBezTo>
                <a:cubicBezTo>
                  <a:pt x="1266" y="148"/>
                  <a:pt x="1267" y="151"/>
                  <a:pt x="1267" y="151"/>
                </a:cubicBezTo>
                <a:cubicBezTo>
                  <a:pt x="1267" y="151"/>
                  <a:pt x="1263" y="149"/>
                  <a:pt x="1262" y="149"/>
                </a:cubicBezTo>
                <a:cubicBezTo>
                  <a:pt x="1261" y="149"/>
                  <a:pt x="1258" y="152"/>
                  <a:pt x="1258" y="152"/>
                </a:cubicBezTo>
                <a:cubicBezTo>
                  <a:pt x="1260" y="153"/>
                  <a:pt x="1260" y="153"/>
                  <a:pt x="1260" y="153"/>
                </a:cubicBezTo>
                <a:cubicBezTo>
                  <a:pt x="1260" y="153"/>
                  <a:pt x="1258" y="153"/>
                  <a:pt x="1256" y="154"/>
                </a:cubicBezTo>
                <a:cubicBezTo>
                  <a:pt x="1255" y="155"/>
                  <a:pt x="1254" y="155"/>
                  <a:pt x="1254" y="155"/>
                </a:cubicBezTo>
                <a:cubicBezTo>
                  <a:pt x="1254" y="155"/>
                  <a:pt x="1255" y="157"/>
                  <a:pt x="1257" y="157"/>
                </a:cubicBezTo>
                <a:cubicBezTo>
                  <a:pt x="1259" y="157"/>
                  <a:pt x="1264" y="154"/>
                  <a:pt x="1264" y="154"/>
                </a:cubicBezTo>
                <a:cubicBezTo>
                  <a:pt x="1272" y="156"/>
                  <a:pt x="1272" y="156"/>
                  <a:pt x="1272" y="156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6" y="158"/>
                  <a:pt x="1270" y="159"/>
                  <a:pt x="1270" y="160"/>
                </a:cubicBezTo>
                <a:cubicBezTo>
                  <a:pt x="1270" y="160"/>
                  <a:pt x="1261" y="160"/>
                  <a:pt x="1260" y="161"/>
                </a:cubicBezTo>
                <a:cubicBezTo>
                  <a:pt x="1259" y="161"/>
                  <a:pt x="1253" y="160"/>
                  <a:pt x="1254" y="162"/>
                </a:cubicBezTo>
                <a:cubicBezTo>
                  <a:pt x="1255" y="163"/>
                  <a:pt x="1258" y="162"/>
                  <a:pt x="1261" y="162"/>
                </a:cubicBezTo>
                <a:cubicBezTo>
                  <a:pt x="1263" y="163"/>
                  <a:pt x="1266" y="165"/>
                  <a:pt x="1266" y="165"/>
                </a:cubicBezTo>
                <a:cubicBezTo>
                  <a:pt x="1271" y="164"/>
                  <a:pt x="1271" y="164"/>
                  <a:pt x="1271" y="164"/>
                </a:cubicBezTo>
                <a:cubicBezTo>
                  <a:pt x="1268" y="166"/>
                  <a:pt x="1268" y="166"/>
                  <a:pt x="1268" y="166"/>
                </a:cubicBezTo>
                <a:cubicBezTo>
                  <a:pt x="1271" y="167"/>
                  <a:pt x="1271" y="167"/>
                  <a:pt x="1271" y="167"/>
                </a:cubicBezTo>
                <a:cubicBezTo>
                  <a:pt x="1271" y="167"/>
                  <a:pt x="1270" y="169"/>
                  <a:pt x="1268" y="170"/>
                </a:cubicBezTo>
                <a:cubicBezTo>
                  <a:pt x="1267" y="171"/>
                  <a:pt x="1260" y="170"/>
                  <a:pt x="1261" y="171"/>
                </a:cubicBezTo>
                <a:cubicBezTo>
                  <a:pt x="1263" y="173"/>
                  <a:pt x="1268" y="172"/>
                  <a:pt x="1270" y="172"/>
                </a:cubicBezTo>
                <a:cubicBezTo>
                  <a:pt x="1271" y="172"/>
                  <a:pt x="1273" y="171"/>
                  <a:pt x="1273" y="171"/>
                </a:cubicBezTo>
                <a:cubicBezTo>
                  <a:pt x="1277" y="173"/>
                  <a:pt x="1277" y="173"/>
                  <a:pt x="1277" y="173"/>
                </a:cubicBezTo>
                <a:cubicBezTo>
                  <a:pt x="1279" y="172"/>
                  <a:pt x="1279" y="172"/>
                  <a:pt x="1279" y="172"/>
                </a:cubicBezTo>
                <a:cubicBezTo>
                  <a:pt x="1279" y="172"/>
                  <a:pt x="1278" y="173"/>
                  <a:pt x="1280" y="174"/>
                </a:cubicBezTo>
                <a:cubicBezTo>
                  <a:pt x="1282" y="175"/>
                  <a:pt x="1287" y="177"/>
                  <a:pt x="1289" y="177"/>
                </a:cubicBezTo>
                <a:cubicBezTo>
                  <a:pt x="1295" y="175"/>
                  <a:pt x="1295" y="176"/>
                  <a:pt x="1296" y="175"/>
                </a:cubicBezTo>
                <a:cubicBezTo>
                  <a:pt x="1298" y="174"/>
                  <a:pt x="1297" y="173"/>
                  <a:pt x="1297" y="173"/>
                </a:cubicBezTo>
                <a:cubicBezTo>
                  <a:pt x="1297" y="173"/>
                  <a:pt x="1301" y="174"/>
                  <a:pt x="1303" y="174"/>
                </a:cubicBezTo>
                <a:cubicBezTo>
                  <a:pt x="1304" y="173"/>
                  <a:pt x="1304" y="172"/>
                  <a:pt x="1304" y="172"/>
                </a:cubicBezTo>
                <a:cubicBezTo>
                  <a:pt x="1304" y="172"/>
                  <a:pt x="1307" y="172"/>
                  <a:pt x="1308" y="172"/>
                </a:cubicBezTo>
                <a:cubicBezTo>
                  <a:pt x="1309" y="172"/>
                  <a:pt x="1317" y="168"/>
                  <a:pt x="1318" y="167"/>
                </a:cubicBezTo>
                <a:cubicBezTo>
                  <a:pt x="1320" y="167"/>
                  <a:pt x="1322" y="169"/>
                  <a:pt x="1324" y="167"/>
                </a:cubicBezTo>
                <a:cubicBezTo>
                  <a:pt x="1325" y="166"/>
                  <a:pt x="1325" y="163"/>
                  <a:pt x="1325" y="163"/>
                </a:cubicBezTo>
                <a:cubicBezTo>
                  <a:pt x="1325" y="163"/>
                  <a:pt x="1327" y="163"/>
                  <a:pt x="1329" y="163"/>
                </a:cubicBezTo>
                <a:cubicBezTo>
                  <a:pt x="1331" y="162"/>
                  <a:pt x="1333" y="160"/>
                  <a:pt x="1333" y="160"/>
                </a:cubicBezTo>
                <a:cubicBezTo>
                  <a:pt x="1331" y="160"/>
                  <a:pt x="1331" y="160"/>
                  <a:pt x="1331" y="160"/>
                </a:cubicBezTo>
                <a:cubicBezTo>
                  <a:pt x="1331" y="160"/>
                  <a:pt x="1336" y="157"/>
                  <a:pt x="1333" y="156"/>
                </a:cubicBezTo>
                <a:close/>
                <a:moveTo>
                  <a:pt x="1376" y="257"/>
                </a:moveTo>
                <a:cubicBezTo>
                  <a:pt x="1379" y="257"/>
                  <a:pt x="1381" y="255"/>
                  <a:pt x="1378" y="255"/>
                </a:cubicBezTo>
                <a:cubicBezTo>
                  <a:pt x="1376" y="254"/>
                  <a:pt x="1374" y="257"/>
                  <a:pt x="1376" y="257"/>
                </a:cubicBezTo>
                <a:close/>
                <a:moveTo>
                  <a:pt x="1371" y="235"/>
                </a:moveTo>
                <a:cubicBezTo>
                  <a:pt x="1370" y="235"/>
                  <a:pt x="1369" y="235"/>
                  <a:pt x="1369" y="237"/>
                </a:cubicBezTo>
                <a:cubicBezTo>
                  <a:pt x="1372" y="237"/>
                  <a:pt x="1372" y="237"/>
                  <a:pt x="1372" y="237"/>
                </a:cubicBezTo>
                <a:cubicBezTo>
                  <a:pt x="1372" y="237"/>
                  <a:pt x="1372" y="235"/>
                  <a:pt x="1371" y="235"/>
                </a:cubicBezTo>
                <a:close/>
                <a:moveTo>
                  <a:pt x="1376" y="282"/>
                </a:moveTo>
                <a:cubicBezTo>
                  <a:pt x="1376" y="280"/>
                  <a:pt x="1374" y="278"/>
                  <a:pt x="1374" y="278"/>
                </a:cubicBezTo>
                <a:cubicBezTo>
                  <a:pt x="1374" y="278"/>
                  <a:pt x="1374" y="276"/>
                  <a:pt x="1373" y="275"/>
                </a:cubicBezTo>
                <a:cubicBezTo>
                  <a:pt x="1373" y="274"/>
                  <a:pt x="1375" y="274"/>
                  <a:pt x="1376" y="274"/>
                </a:cubicBezTo>
                <a:cubicBezTo>
                  <a:pt x="1377" y="274"/>
                  <a:pt x="1377" y="274"/>
                  <a:pt x="1377" y="273"/>
                </a:cubicBezTo>
                <a:cubicBezTo>
                  <a:pt x="1378" y="273"/>
                  <a:pt x="1379" y="271"/>
                  <a:pt x="1379" y="271"/>
                </a:cubicBezTo>
                <a:cubicBezTo>
                  <a:pt x="1379" y="271"/>
                  <a:pt x="1380" y="273"/>
                  <a:pt x="1380" y="272"/>
                </a:cubicBezTo>
                <a:cubicBezTo>
                  <a:pt x="1381" y="270"/>
                  <a:pt x="1382" y="268"/>
                  <a:pt x="1381" y="267"/>
                </a:cubicBezTo>
                <a:cubicBezTo>
                  <a:pt x="1379" y="266"/>
                  <a:pt x="1379" y="264"/>
                  <a:pt x="1379" y="264"/>
                </a:cubicBezTo>
                <a:cubicBezTo>
                  <a:pt x="1378" y="264"/>
                  <a:pt x="1378" y="264"/>
                  <a:pt x="1378" y="264"/>
                </a:cubicBezTo>
                <a:cubicBezTo>
                  <a:pt x="1378" y="264"/>
                  <a:pt x="1377" y="262"/>
                  <a:pt x="1376" y="261"/>
                </a:cubicBezTo>
                <a:cubicBezTo>
                  <a:pt x="1374" y="261"/>
                  <a:pt x="1371" y="262"/>
                  <a:pt x="1371" y="262"/>
                </a:cubicBezTo>
                <a:cubicBezTo>
                  <a:pt x="1371" y="262"/>
                  <a:pt x="1371" y="262"/>
                  <a:pt x="1371" y="261"/>
                </a:cubicBezTo>
                <a:cubicBezTo>
                  <a:pt x="1370" y="261"/>
                  <a:pt x="1370" y="261"/>
                  <a:pt x="1369" y="260"/>
                </a:cubicBezTo>
                <a:cubicBezTo>
                  <a:pt x="1367" y="260"/>
                  <a:pt x="1366" y="263"/>
                  <a:pt x="1366" y="263"/>
                </a:cubicBezTo>
                <a:cubicBezTo>
                  <a:pt x="1365" y="261"/>
                  <a:pt x="1365" y="261"/>
                  <a:pt x="1365" y="261"/>
                </a:cubicBezTo>
                <a:cubicBezTo>
                  <a:pt x="1365" y="261"/>
                  <a:pt x="1360" y="261"/>
                  <a:pt x="1359" y="262"/>
                </a:cubicBezTo>
                <a:cubicBezTo>
                  <a:pt x="1358" y="263"/>
                  <a:pt x="1358" y="266"/>
                  <a:pt x="1358" y="266"/>
                </a:cubicBezTo>
                <a:cubicBezTo>
                  <a:pt x="1358" y="266"/>
                  <a:pt x="1354" y="266"/>
                  <a:pt x="1354" y="267"/>
                </a:cubicBezTo>
                <a:cubicBezTo>
                  <a:pt x="1354" y="269"/>
                  <a:pt x="1359" y="268"/>
                  <a:pt x="1358" y="269"/>
                </a:cubicBezTo>
                <a:cubicBezTo>
                  <a:pt x="1357" y="271"/>
                  <a:pt x="1357" y="270"/>
                  <a:pt x="1356" y="270"/>
                </a:cubicBezTo>
                <a:cubicBezTo>
                  <a:pt x="1356" y="271"/>
                  <a:pt x="1355" y="272"/>
                  <a:pt x="1355" y="272"/>
                </a:cubicBezTo>
                <a:cubicBezTo>
                  <a:pt x="1351" y="272"/>
                  <a:pt x="1351" y="272"/>
                  <a:pt x="1351" y="272"/>
                </a:cubicBezTo>
                <a:cubicBezTo>
                  <a:pt x="1351" y="273"/>
                  <a:pt x="1351" y="273"/>
                  <a:pt x="1351" y="273"/>
                </a:cubicBezTo>
                <a:cubicBezTo>
                  <a:pt x="1351" y="273"/>
                  <a:pt x="1349" y="270"/>
                  <a:pt x="1347" y="271"/>
                </a:cubicBezTo>
                <a:cubicBezTo>
                  <a:pt x="1345" y="271"/>
                  <a:pt x="1343" y="271"/>
                  <a:pt x="1343" y="271"/>
                </a:cubicBezTo>
                <a:cubicBezTo>
                  <a:pt x="1343" y="271"/>
                  <a:pt x="1343" y="275"/>
                  <a:pt x="1344" y="275"/>
                </a:cubicBezTo>
                <a:cubicBezTo>
                  <a:pt x="1345" y="275"/>
                  <a:pt x="1346" y="276"/>
                  <a:pt x="1346" y="276"/>
                </a:cubicBezTo>
                <a:cubicBezTo>
                  <a:pt x="1343" y="278"/>
                  <a:pt x="1343" y="278"/>
                  <a:pt x="1343" y="278"/>
                </a:cubicBezTo>
                <a:cubicBezTo>
                  <a:pt x="1343" y="278"/>
                  <a:pt x="1341" y="279"/>
                  <a:pt x="1342" y="280"/>
                </a:cubicBezTo>
                <a:cubicBezTo>
                  <a:pt x="1343" y="282"/>
                  <a:pt x="1347" y="282"/>
                  <a:pt x="1347" y="282"/>
                </a:cubicBezTo>
                <a:cubicBezTo>
                  <a:pt x="1347" y="282"/>
                  <a:pt x="1351" y="281"/>
                  <a:pt x="1351" y="282"/>
                </a:cubicBezTo>
                <a:cubicBezTo>
                  <a:pt x="1350" y="284"/>
                  <a:pt x="1347" y="284"/>
                  <a:pt x="1347" y="284"/>
                </a:cubicBezTo>
                <a:cubicBezTo>
                  <a:pt x="1347" y="287"/>
                  <a:pt x="1347" y="287"/>
                  <a:pt x="1347" y="287"/>
                </a:cubicBezTo>
                <a:cubicBezTo>
                  <a:pt x="1347" y="287"/>
                  <a:pt x="1345" y="286"/>
                  <a:pt x="1344" y="288"/>
                </a:cubicBezTo>
                <a:cubicBezTo>
                  <a:pt x="1344" y="290"/>
                  <a:pt x="1343" y="293"/>
                  <a:pt x="1343" y="293"/>
                </a:cubicBezTo>
                <a:cubicBezTo>
                  <a:pt x="1343" y="293"/>
                  <a:pt x="1338" y="293"/>
                  <a:pt x="1338" y="294"/>
                </a:cubicBezTo>
                <a:cubicBezTo>
                  <a:pt x="1338" y="295"/>
                  <a:pt x="1340" y="295"/>
                  <a:pt x="1340" y="295"/>
                </a:cubicBezTo>
                <a:cubicBezTo>
                  <a:pt x="1340" y="295"/>
                  <a:pt x="1337" y="295"/>
                  <a:pt x="1337" y="297"/>
                </a:cubicBezTo>
                <a:cubicBezTo>
                  <a:pt x="1337" y="298"/>
                  <a:pt x="1338" y="298"/>
                  <a:pt x="1338" y="298"/>
                </a:cubicBezTo>
                <a:cubicBezTo>
                  <a:pt x="1343" y="298"/>
                  <a:pt x="1343" y="298"/>
                  <a:pt x="1343" y="298"/>
                </a:cubicBezTo>
                <a:cubicBezTo>
                  <a:pt x="1341" y="300"/>
                  <a:pt x="1341" y="300"/>
                  <a:pt x="1341" y="300"/>
                </a:cubicBezTo>
                <a:cubicBezTo>
                  <a:pt x="1341" y="300"/>
                  <a:pt x="1344" y="299"/>
                  <a:pt x="1344" y="300"/>
                </a:cubicBezTo>
                <a:cubicBezTo>
                  <a:pt x="1344" y="300"/>
                  <a:pt x="1340" y="302"/>
                  <a:pt x="1343" y="302"/>
                </a:cubicBezTo>
                <a:cubicBezTo>
                  <a:pt x="1346" y="302"/>
                  <a:pt x="1350" y="301"/>
                  <a:pt x="1352" y="300"/>
                </a:cubicBezTo>
                <a:cubicBezTo>
                  <a:pt x="1354" y="299"/>
                  <a:pt x="1354" y="297"/>
                  <a:pt x="1354" y="297"/>
                </a:cubicBezTo>
                <a:cubicBezTo>
                  <a:pt x="1354" y="297"/>
                  <a:pt x="1356" y="298"/>
                  <a:pt x="1358" y="297"/>
                </a:cubicBezTo>
                <a:cubicBezTo>
                  <a:pt x="1360" y="296"/>
                  <a:pt x="1360" y="295"/>
                  <a:pt x="1363" y="295"/>
                </a:cubicBezTo>
                <a:cubicBezTo>
                  <a:pt x="1365" y="294"/>
                  <a:pt x="1366" y="294"/>
                  <a:pt x="1366" y="294"/>
                </a:cubicBezTo>
                <a:cubicBezTo>
                  <a:pt x="1367" y="293"/>
                  <a:pt x="1367" y="293"/>
                  <a:pt x="1367" y="293"/>
                </a:cubicBezTo>
                <a:cubicBezTo>
                  <a:pt x="1372" y="293"/>
                  <a:pt x="1372" y="293"/>
                  <a:pt x="1372" y="293"/>
                </a:cubicBezTo>
                <a:cubicBezTo>
                  <a:pt x="1372" y="291"/>
                  <a:pt x="1372" y="291"/>
                  <a:pt x="1372" y="291"/>
                </a:cubicBezTo>
                <a:cubicBezTo>
                  <a:pt x="1372" y="291"/>
                  <a:pt x="1374" y="291"/>
                  <a:pt x="1374" y="291"/>
                </a:cubicBezTo>
                <a:cubicBezTo>
                  <a:pt x="1374" y="290"/>
                  <a:pt x="1373" y="289"/>
                  <a:pt x="1374" y="288"/>
                </a:cubicBezTo>
                <a:cubicBezTo>
                  <a:pt x="1375" y="287"/>
                  <a:pt x="1376" y="284"/>
                  <a:pt x="1376" y="282"/>
                </a:cubicBezTo>
                <a:close/>
                <a:moveTo>
                  <a:pt x="1379" y="247"/>
                </a:moveTo>
                <a:cubicBezTo>
                  <a:pt x="1378" y="247"/>
                  <a:pt x="1377" y="249"/>
                  <a:pt x="1377" y="250"/>
                </a:cubicBezTo>
                <a:cubicBezTo>
                  <a:pt x="1378" y="250"/>
                  <a:pt x="1381" y="249"/>
                  <a:pt x="1381" y="249"/>
                </a:cubicBezTo>
                <a:cubicBezTo>
                  <a:pt x="1381" y="249"/>
                  <a:pt x="1380" y="247"/>
                  <a:pt x="1379" y="247"/>
                </a:cubicBezTo>
                <a:close/>
                <a:moveTo>
                  <a:pt x="1667" y="452"/>
                </a:moveTo>
                <a:cubicBezTo>
                  <a:pt x="1665" y="451"/>
                  <a:pt x="1665" y="454"/>
                  <a:pt x="1665" y="454"/>
                </a:cubicBezTo>
                <a:cubicBezTo>
                  <a:pt x="1668" y="456"/>
                  <a:pt x="1669" y="454"/>
                  <a:pt x="1667" y="452"/>
                </a:cubicBezTo>
                <a:close/>
                <a:moveTo>
                  <a:pt x="1661" y="435"/>
                </a:moveTo>
                <a:cubicBezTo>
                  <a:pt x="1657" y="436"/>
                  <a:pt x="1657" y="436"/>
                  <a:pt x="1657" y="436"/>
                </a:cubicBezTo>
                <a:cubicBezTo>
                  <a:pt x="1657" y="439"/>
                  <a:pt x="1659" y="438"/>
                  <a:pt x="1659" y="438"/>
                </a:cubicBezTo>
                <a:cubicBezTo>
                  <a:pt x="1659" y="438"/>
                  <a:pt x="1661" y="440"/>
                  <a:pt x="1662" y="439"/>
                </a:cubicBezTo>
                <a:cubicBezTo>
                  <a:pt x="1664" y="438"/>
                  <a:pt x="1661" y="435"/>
                  <a:pt x="1661" y="435"/>
                </a:cubicBezTo>
                <a:close/>
                <a:moveTo>
                  <a:pt x="1567" y="30"/>
                </a:moveTo>
                <a:cubicBezTo>
                  <a:pt x="1573" y="30"/>
                  <a:pt x="1573" y="30"/>
                  <a:pt x="1573" y="30"/>
                </a:cubicBezTo>
                <a:cubicBezTo>
                  <a:pt x="1573" y="30"/>
                  <a:pt x="1580" y="32"/>
                  <a:pt x="1580" y="31"/>
                </a:cubicBezTo>
                <a:cubicBezTo>
                  <a:pt x="1581" y="31"/>
                  <a:pt x="1586" y="30"/>
                  <a:pt x="1587" y="30"/>
                </a:cubicBezTo>
                <a:cubicBezTo>
                  <a:pt x="1588" y="30"/>
                  <a:pt x="1598" y="34"/>
                  <a:pt x="1598" y="34"/>
                </a:cubicBezTo>
                <a:cubicBezTo>
                  <a:pt x="1601" y="31"/>
                  <a:pt x="1601" y="31"/>
                  <a:pt x="1601" y="31"/>
                </a:cubicBezTo>
                <a:cubicBezTo>
                  <a:pt x="1609" y="31"/>
                  <a:pt x="1609" y="31"/>
                  <a:pt x="1609" y="31"/>
                </a:cubicBezTo>
                <a:cubicBezTo>
                  <a:pt x="1610" y="29"/>
                  <a:pt x="1610" y="29"/>
                  <a:pt x="1610" y="29"/>
                </a:cubicBezTo>
                <a:cubicBezTo>
                  <a:pt x="1610" y="29"/>
                  <a:pt x="1614" y="30"/>
                  <a:pt x="1616" y="26"/>
                </a:cubicBezTo>
                <a:cubicBezTo>
                  <a:pt x="1619" y="21"/>
                  <a:pt x="1609" y="25"/>
                  <a:pt x="1609" y="25"/>
                </a:cubicBezTo>
                <a:cubicBezTo>
                  <a:pt x="1609" y="25"/>
                  <a:pt x="1608" y="23"/>
                  <a:pt x="1603" y="23"/>
                </a:cubicBezTo>
                <a:cubicBezTo>
                  <a:pt x="1598" y="23"/>
                  <a:pt x="1595" y="25"/>
                  <a:pt x="1593" y="25"/>
                </a:cubicBezTo>
                <a:cubicBezTo>
                  <a:pt x="1592" y="25"/>
                  <a:pt x="1593" y="22"/>
                  <a:pt x="1589" y="22"/>
                </a:cubicBezTo>
                <a:cubicBezTo>
                  <a:pt x="1585" y="22"/>
                  <a:pt x="1584" y="25"/>
                  <a:pt x="1584" y="25"/>
                </a:cubicBezTo>
                <a:cubicBezTo>
                  <a:pt x="1575" y="22"/>
                  <a:pt x="1575" y="22"/>
                  <a:pt x="1575" y="22"/>
                </a:cubicBezTo>
                <a:cubicBezTo>
                  <a:pt x="1575" y="22"/>
                  <a:pt x="1571" y="24"/>
                  <a:pt x="1566" y="25"/>
                </a:cubicBezTo>
                <a:cubicBezTo>
                  <a:pt x="1561" y="25"/>
                  <a:pt x="1565" y="22"/>
                  <a:pt x="1565" y="22"/>
                </a:cubicBezTo>
                <a:cubicBezTo>
                  <a:pt x="1560" y="24"/>
                  <a:pt x="1560" y="24"/>
                  <a:pt x="1560" y="24"/>
                </a:cubicBezTo>
                <a:cubicBezTo>
                  <a:pt x="1562" y="27"/>
                  <a:pt x="1562" y="27"/>
                  <a:pt x="1562" y="27"/>
                </a:cubicBezTo>
                <a:cubicBezTo>
                  <a:pt x="1567" y="30"/>
                  <a:pt x="1567" y="30"/>
                  <a:pt x="1567" y="30"/>
                </a:cubicBezTo>
                <a:cubicBezTo>
                  <a:pt x="1567" y="30"/>
                  <a:pt x="1567" y="30"/>
                  <a:pt x="1567" y="30"/>
                </a:cubicBezTo>
                <a:close/>
                <a:moveTo>
                  <a:pt x="1662" y="467"/>
                </a:moveTo>
                <a:cubicBezTo>
                  <a:pt x="1664" y="468"/>
                  <a:pt x="1666" y="466"/>
                  <a:pt x="1664" y="465"/>
                </a:cubicBezTo>
                <a:cubicBezTo>
                  <a:pt x="1662" y="464"/>
                  <a:pt x="1661" y="466"/>
                  <a:pt x="1662" y="467"/>
                </a:cubicBezTo>
                <a:close/>
                <a:moveTo>
                  <a:pt x="1662" y="454"/>
                </a:moveTo>
                <a:cubicBezTo>
                  <a:pt x="1661" y="454"/>
                  <a:pt x="1658" y="454"/>
                  <a:pt x="1658" y="456"/>
                </a:cubicBezTo>
                <a:cubicBezTo>
                  <a:pt x="1658" y="457"/>
                  <a:pt x="1663" y="455"/>
                  <a:pt x="1662" y="454"/>
                </a:cubicBezTo>
                <a:close/>
                <a:moveTo>
                  <a:pt x="1652" y="460"/>
                </a:moveTo>
                <a:cubicBezTo>
                  <a:pt x="1653" y="463"/>
                  <a:pt x="1655" y="463"/>
                  <a:pt x="1656" y="461"/>
                </a:cubicBezTo>
                <a:cubicBezTo>
                  <a:pt x="1657" y="459"/>
                  <a:pt x="1652" y="457"/>
                  <a:pt x="1652" y="460"/>
                </a:cubicBezTo>
                <a:close/>
                <a:moveTo>
                  <a:pt x="1650" y="455"/>
                </a:moveTo>
                <a:cubicBezTo>
                  <a:pt x="1651" y="453"/>
                  <a:pt x="1651" y="453"/>
                  <a:pt x="1651" y="453"/>
                </a:cubicBezTo>
                <a:cubicBezTo>
                  <a:pt x="1646" y="449"/>
                  <a:pt x="1646" y="449"/>
                  <a:pt x="1646" y="449"/>
                </a:cubicBezTo>
                <a:cubicBezTo>
                  <a:pt x="1650" y="455"/>
                  <a:pt x="1650" y="455"/>
                  <a:pt x="1650" y="455"/>
                </a:cubicBezTo>
                <a:cubicBezTo>
                  <a:pt x="1650" y="455"/>
                  <a:pt x="1650" y="455"/>
                  <a:pt x="1650" y="455"/>
                </a:cubicBezTo>
                <a:close/>
                <a:moveTo>
                  <a:pt x="1789" y="125"/>
                </a:moveTo>
                <a:cubicBezTo>
                  <a:pt x="1794" y="126"/>
                  <a:pt x="1795" y="124"/>
                  <a:pt x="1797" y="124"/>
                </a:cubicBezTo>
                <a:cubicBezTo>
                  <a:pt x="1798" y="123"/>
                  <a:pt x="1799" y="121"/>
                  <a:pt x="1799" y="121"/>
                </a:cubicBezTo>
                <a:cubicBezTo>
                  <a:pt x="1801" y="121"/>
                  <a:pt x="1801" y="121"/>
                  <a:pt x="1801" y="121"/>
                </a:cubicBezTo>
                <a:cubicBezTo>
                  <a:pt x="1801" y="121"/>
                  <a:pt x="1800" y="119"/>
                  <a:pt x="1794" y="117"/>
                </a:cubicBezTo>
                <a:cubicBezTo>
                  <a:pt x="1789" y="116"/>
                  <a:pt x="1786" y="121"/>
                  <a:pt x="1786" y="121"/>
                </a:cubicBezTo>
                <a:cubicBezTo>
                  <a:pt x="1786" y="121"/>
                  <a:pt x="1784" y="124"/>
                  <a:pt x="1789" y="125"/>
                </a:cubicBezTo>
                <a:close/>
                <a:moveTo>
                  <a:pt x="1638" y="480"/>
                </a:moveTo>
                <a:cubicBezTo>
                  <a:pt x="1640" y="482"/>
                  <a:pt x="1641" y="481"/>
                  <a:pt x="1641" y="481"/>
                </a:cubicBezTo>
                <a:cubicBezTo>
                  <a:pt x="1642" y="482"/>
                  <a:pt x="1642" y="482"/>
                  <a:pt x="1642" y="482"/>
                </a:cubicBezTo>
                <a:cubicBezTo>
                  <a:pt x="1647" y="482"/>
                  <a:pt x="1647" y="482"/>
                  <a:pt x="1647" y="482"/>
                </a:cubicBezTo>
                <a:cubicBezTo>
                  <a:pt x="1649" y="485"/>
                  <a:pt x="1649" y="485"/>
                  <a:pt x="1649" y="485"/>
                </a:cubicBezTo>
                <a:cubicBezTo>
                  <a:pt x="1654" y="485"/>
                  <a:pt x="1654" y="485"/>
                  <a:pt x="1654" y="485"/>
                </a:cubicBezTo>
                <a:cubicBezTo>
                  <a:pt x="1655" y="484"/>
                  <a:pt x="1655" y="484"/>
                  <a:pt x="1655" y="484"/>
                </a:cubicBezTo>
                <a:cubicBezTo>
                  <a:pt x="1655" y="484"/>
                  <a:pt x="1663" y="485"/>
                  <a:pt x="1663" y="482"/>
                </a:cubicBezTo>
                <a:cubicBezTo>
                  <a:pt x="1663" y="479"/>
                  <a:pt x="1659" y="482"/>
                  <a:pt x="1658" y="482"/>
                </a:cubicBezTo>
                <a:cubicBezTo>
                  <a:pt x="1658" y="482"/>
                  <a:pt x="1657" y="480"/>
                  <a:pt x="1657" y="480"/>
                </a:cubicBezTo>
                <a:cubicBezTo>
                  <a:pt x="1652" y="480"/>
                  <a:pt x="1652" y="480"/>
                  <a:pt x="1652" y="480"/>
                </a:cubicBezTo>
                <a:cubicBezTo>
                  <a:pt x="1648" y="479"/>
                  <a:pt x="1648" y="479"/>
                  <a:pt x="1648" y="479"/>
                </a:cubicBezTo>
                <a:cubicBezTo>
                  <a:pt x="1644" y="479"/>
                  <a:pt x="1644" y="479"/>
                  <a:pt x="1644" y="479"/>
                </a:cubicBezTo>
                <a:cubicBezTo>
                  <a:pt x="1639" y="476"/>
                  <a:pt x="1639" y="476"/>
                  <a:pt x="1639" y="476"/>
                </a:cubicBezTo>
                <a:cubicBezTo>
                  <a:pt x="1639" y="476"/>
                  <a:pt x="1636" y="478"/>
                  <a:pt x="1638" y="480"/>
                </a:cubicBezTo>
                <a:close/>
                <a:moveTo>
                  <a:pt x="1643" y="426"/>
                </a:moveTo>
                <a:cubicBezTo>
                  <a:pt x="1644" y="425"/>
                  <a:pt x="1644" y="425"/>
                  <a:pt x="1644" y="425"/>
                </a:cubicBezTo>
                <a:cubicBezTo>
                  <a:pt x="1639" y="424"/>
                  <a:pt x="1639" y="424"/>
                  <a:pt x="1639" y="424"/>
                </a:cubicBezTo>
                <a:cubicBezTo>
                  <a:pt x="1643" y="426"/>
                  <a:pt x="1643" y="426"/>
                  <a:pt x="1643" y="426"/>
                </a:cubicBezTo>
                <a:cubicBezTo>
                  <a:pt x="1643" y="426"/>
                  <a:pt x="1643" y="426"/>
                  <a:pt x="1643" y="426"/>
                </a:cubicBezTo>
                <a:close/>
                <a:moveTo>
                  <a:pt x="1660" y="443"/>
                </a:moveTo>
                <a:cubicBezTo>
                  <a:pt x="1657" y="443"/>
                  <a:pt x="1657" y="443"/>
                  <a:pt x="1657" y="443"/>
                </a:cubicBezTo>
                <a:cubicBezTo>
                  <a:pt x="1657" y="446"/>
                  <a:pt x="1657" y="446"/>
                  <a:pt x="1657" y="446"/>
                </a:cubicBezTo>
                <a:cubicBezTo>
                  <a:pt x="1659" y="449"/>
                  <a:pt x="1659" y="449"/>
                  <a:pt x="1659" y="449"/>
                </a:cubicBezTo>
                <a:cubicBezTo>
                  <a:pt x="1660" y="443"/>
                  <a:pt x="1660" y="443"/>
                  <a:pt x="1660" y="443"/>
                </a:cubicBezTo>
                <a:cubicBezTo>
                  <a:pt x="1660" y="443"/>
                  <a:pt x="1660" y="443"/>
                  <a:pt x="1660" y="443"/>
                </a:cubicBezTo>
                <a:close/>
                <a:moveTo>
                  <a:pt x="1667" y="460"/>
                </a:moveTo>
                <a:cubicBezTo>
                  <a:pt x="1668" y="458"/>
                  <a:pt x="1668" y="458"/>
                  <a:pt x="1668" y="458"/>
                </a:cubicBezTo>
                <a:cubicBezTo>
                  <a:pt x="1666" y="458"/>
                  <a:pt x="1666" y="458"/>
                  <a:pt x="1666" y="458"/>
                </a:cubicBezTo>
                <a:cubicBezTo>
                  <a:pt x="1667" y="460"/>
                  <a:pt x="1667" y="460"/>
                  <a:pt x="1667" y="460"/>
                </a:cubicBezTo>
                <a:cubicBezTo>
                  <a:pt x="1667" y="460"/>
                  <a:pt x="1667" y="460"/>
                  <a:pt x="1667" y="460"/>
                </a:cubicBezTo>
                <a:close/>
                <a:moveTo>
                  <a:pt x="1649" y="466"/>
                </a:moveTo>
                <a:cubicBezTo>
                  <a:pt x="1648" y="467"/>
                  <a:pt x="1650" y="467"/>
                  <a:pt x="1650" y="466"/>
                </a:cubicBezTo>
                <a:cubicBezTo>
                  <a:pt x="1650" y="464"/>
                  <a:pt x="1649" y="465"/>
                  <a:pt x="1649" y="466"/>
                </a:cubicBezTo>
                <a:close/>
                <a:moveTo>
                  <a:pt x="1517" y="31"/>
                </a:moveTo>
                <a:cubicBezTo>
                  <a:pt x="1519" y="32"/>
                  <a:pt x="1522" y="32"/>
                  <a:pt x="1522" y="33"/>
                </a:cubicBezTo>
                <a:cubicBezTo>
                  <a:pt x="1523" y="34"/>
                  <a:pt x="1519" y="36"/>
                  <a:pt x="1519" y="36"/>
                </a:cubicBezTo>
                <a:cubicBezTo>
                  <a:pt x="1525" y="38"/>
                  <a:pt x="1525" y="38"/>
                  <a:pt x="1525" y="38"/>
                </a:cubicBezTo>
                <a:cubicBezTo>
                  <a:pt x="1525" y="38"/>
                  <a:pt x="1528" y="40"/>
                  <a:pt x="1531" y="41"/>
                </a:cubicBezTo>
                <a:cubicBezTo>
                  <a:pt x="1534" y="41"/>
                  <a:pt x="1536" y="37"/>
                  <a:pt x="1536" y="37"/>
                </a:cubicBezTo>
                <a:cubicBezTo>
                  <a:pt x="1542" y="36"/>
                  <a:pt x="1542" y="36"/>
                  <a:pt x="1542" y="36"/>
                </a:cubicBezTo>
                <a:cubicBezTo>
                  <a:pt x="1547" y="39"/>
                  <a:pt x="1547" y="39"/>
                  <a:pt x="1547" y="39"/>
                </a:cubicBezTo>
                <a:cubicBezTo>
                  <a:pt x="1547" y="39"/>
                  <a:pt x="1543" y="40"/>
                  <a:pt x="1539" y="41"/>
                </a:cubicBezTo>
                <a:cubicBezTo>
                  <a:pt x="1535" y="42"/>
                  <a:pt x="1536" y="43"/>
                  <a:pt x="1536" y="43"/>
                </a:cubicBezTo>
                <a:cubicBezTo>
                  <a:pt x="1536" y="43"/>
                  <a:pt x="1546" y="44"/>
                  <a:pt x="1545" y="44"/>
                </a:cubicBezTo>
                <a:cubicBezTo>
                  <a:pt x="1543" y="45"/>
                  <a:pt x="1537" y="47"/>
                  <a:pt x="1537" y="47"/>
                </a:cubicBezTo>
                <a:cubicBezTo>
                  <a:pt x="1544" y="50"/>
                  <a:pt x="1544" y="50"/>
                  <a:pt x="1544" y="50"/>
                </a:cubicBezTo>
                <a:cubicBezTo>
                  <a:pt x="1544" y="50"/>
                  <a:pt x="1550" y="53"/>
                  <a:pt x="1555" y="52"/>
                </a:cubicBezTo>
                <a:cubicBezTo>
                  <a:pt x="1561" y="51"/>
                  <a:pt x="1557" y="48"/>
                  <a:pt x="1557" y="47"/>
                </a:cubicBezTo>
                <a:cubicBezTo>
                  <a:pt x="1557" y="45"/>
                  <a:pt x="1563" y="45"/>
                  <a:pt x="1563" y="45"/>
                </a:cubicBezTo>
                <a:cubicBezTo>
                  <a:pt x="1563" y="42"/>
                  <a:pt x="1563" y="42"/>
                  <a:pt x="1563" y="42"/>
                </a:cubicBezTo>
                <a:cubicBezTo>
                  <a:pt x="1567" y="41"/>
                  <a:pt x="1567" y="41"/>
                  <a:pt x="1567" y="41"/>
                </a:cubicBezTo>
                <a:cubicBezTo>
                  <a:pt x="1569" y="37"/>
                  <a:pt x="1569" y="37"/>
                  <a:pt x="1569" y="37"/>
                </a:cubicBezTo>
                <a:cubicBezTo>
                  <a:pt x="1571" y="38"/>
                  <a:pt x="1571" y="38"/>
                  <a:pt x="1571" y="38"/>
                </a:cubicBezTo>
                <a:cubicBezTo>
                  <a:pt x="1575" y="36"/>
                  <a:pt x="1575" y="36"/>
                  <a:pt x="1575" y="36"/>
                </a:cubicBezTo>
                <a:cubicBezTo>
                  <a:pt x="1575" y="36"/>
                  <a:pt x="1577" y="39"/>
                  <a:pt x="1581" y="40"/>
                </a:cubicBezTo>
                <a:cubicBezTo>
                  <a:pt x="1585" y="41"/>
                  <a:pt x="1580" y="47"/>
                  <a:pt x="1580" y="47"/>
                </a:cubicBezTo>
                <a:cubicBezTo>
                  <a:pt x="1588" y="47"/>
                  <a:pt x="1588" y="47"/>
                  <a:pt x="1588" y="47"/>
                </a:cubicBezTo>
                <a:cubicBezTo>
                  <a:pt x="1588" y="47"/>
                  <a:pt x="1592" y="50"/>
                  <a:pt x="1592" y="49"/>
                </a:cubicBezTo>
                <a:cubicBezTo>
                  <a:pt x="1592" y="48"/>
                  <a:pt x="1603" y="45"/>
                  <a:pt x="1604" y="43"/>
                </a:cubicBezTo>
                <a:cubicBezTo>
                  <a:pt x="1605" y="41"/>
                  <a:pt x="1596" y="42"/>
                  <a:pt x="1596" y="42"/>
                </a:cubicBezTo>
                <a:cubicBezTo>
                  <a:pt x="1595" y="39"/>
                  <a:pt x="1595" y="39"/>
                  <a:pt x="1595" y="39"/>
                </a:cubicBezTo>
                <a:cubicBezTo>
                  <a:pt x="1588" y="38"/>
                  <a:pt x="1588" y="38"/>
                  <a:pt x="1588" y="38"/>
                </a:cubicBezTo>
                <a:cubicBezTo>
                  <a:pt x="1588" y="36"/>
                  <a:pt x="1588" y="36"/>
                  <a:pt x="1588" y="36"/>
                </a:cubicBezTo>
                <a:cubicBezTo>
                  <a:pt x="1583" y="36"/>
                  <a:pt x="1583" y="36"/>
                  <a:pt x="1583" y="36"/>
                </a:cubicBezTo>
                <a:cubicBezTo>
                  <a:pt x="1584" y="34"/>
                  <a:pt x="1584" y="34"/>
                  <a:pt x="1584" y="34"/>
                </a:cubicBezTo>
                <a:cubicBezTo>
                  <a:pt x="1573" y="34"/>
                  <a:pt x="1573" y="34"/>
                  <a:pt x="1573" y="34"/>
                </a:cubicBezTo>
                <a:cubicBezTo>
                  <a:pt x="1572" y="32"/>
                  <a:pt x="1572" y="32"/>
                  <a:pt x="1572" y="32"/>
                </a:cubicBezTo>
                <a:cubicBezTo>
                  <a:pt x="1567" y="32"/>
                  <a:pt x="1567" y="32"/>
                  <a:pt x="1567" y="32"/>
                </a:cubicBezTo>
                <a:cubicBezTo>
                  <a:pt x="1567" y="32"/>
                  <a:pt x="1567" y="30"/>
                  <a:pt x="1563" y="29"/>
                </a:cubicBezTo>
                <a:cubicBezTo>
                  <a:pt x="1560" y="28"/>
                  <a:pt x="1559" y="29"/>
                  <a:pt x="1559" y="29"/>
                </a:cubicBezTo>
                <a:cubicBezTo>
                  <a:pt x="1559" y="27"/>
                  <a:pt x="1559" y="27"/>
                  <a:pt x="1559" y="27"/>
                </a:cubicBezTo>
                <a:cubicBezTo>
                  <a:pt x="1559" y="27"/>
                  <a:pt x="1555" y="25"/>
                  <a:pt x="1549" y="26"/>
                </a:cubicBezTo>
                <a:cubicBezTo>
                  <a:pt x="1543" y="26"/>
                  <a:pt x="1551" y="33"/>
                  <a:pt x="1551" y="33"/>
                </a:cubicBezTo>
                <a:cubicBezTo>
                  <a:pt x="1551" y="33"/>
                  <a:pt x="1544" y="27"/>
                  <a:pt x="1541" y="27"/>
                </a:cubicBezTo>
                <a:cubicBezTo>
                  <a:pt x="1538" y="26"/>
                  <a:pt x="1537" y="30"/>
                  <a:pt x="1537" y="30"/>
                </a:cubicBezTo>
                <a:cubicBezTo>
                  <a:pt x="1537" y="30"/>
                  <a:pt x="1532" y="30"/>
                  <a:pt x="1531" y="29"/>
                </a:cubicBezTo>
                <a:cubicBezTo>
                  <a:pt x="1530" y="28"/>
                  <a:pt x="1533" y="26"/>
                  <a:pt x="1533" y="26"/>
                </a:cubicBezTo>
                <a:cubicBezTo>
                  <a:pt x="1526" y="27"/>
                  <a:pt x="1526" y="27"/>
                  <a:pt x="1526" y="27"/>
                </a:cubicBezTo>
                <a:cubicBezTo>
                  <a:pt x="1524" y="29"/>
                  <a:pt x="1524" y="29"/>
                  <a:pt x="1524" y="29"/>
                </a:cubicBezTo>
                <a:cubicBezTo>
                  <a:pt x="1523" y="26"/>
                  <a:pt x="1523" y="26"/>
                  <a:pt x="1523" y="26"/>
                </a:cubicBezTo>
                <a:cubicBezTo>
                  <a:pt x="1523" y="26"/>
                  <a:pt x="1518" y="28"/>
                  <a:pt x="1516" y="29"/>
                </a:cubicBezTo>
                <a:cubicBezTo>
                  <a:pt x="1516" y="29"/>
                  <a:pt x="1516" y="31"/>
                  <a:pt x="1517" y="31"/>
                </a:cubicBezTo>
                <a:close/>
                <a:moveTo>
                  <a:pt x="1658" y="463"/>
                </a:moveTo>
                <a:cubicBezTo>
                  <a:pt x="1658" y="465"/>
                  <a:pt x="1658" y="465"/>
                  <a:pt x="1658" y="465"/>
                </a:cubicBezTo>
                <a:cubicBezTo>
                  <a:pt x="1659" y="463"/>
                  <a:pt x="1659" y="463"/>
                  <a:pt x="1659" y="463"/>
                </a:cubicBezTo>
                <a:cubicBezTo>
                  <a:pt x="1658" y="463"/>
                  <a:pt x="1658" y="463"/>
                  <a:pt x="1658" y="463"/>
                </a:cubicBezTo>
                <a:cubicBezTo>
                  <a:pt x="1658" y="463"/>
                  <a:pt x="1658" y="463"/>
                  <a:pt x="1658" y="463"/>
                </a:cubicBezTo>
                <a:close/>
                <a:moveTo>
                  <a:pt x="1385" y="240"/>
                </a:moveTo>
                <a:cubicBezTo>
                  <a:pt x="1385" y="240"/>
                  <a:pt x="1384" y="241"/>
                  <a:pt x="1383" y="242"/>
                </a:cubicBezTo>
                <a:cubicBezTo>
                  <a:pt x="1382" y="243"/>
                  <a:pt x="1382" y="244"/>
                  <a:pt x="1382" y="244"/>
                </a:cubicBezTo>
                <a:cubicBezTo>
                  <a:pt x="1380" y="245"/>
                  <a:pt x="1380" y="245"/>
                  <a:pt x="1380" y="245"/>
                </a:cubicBezTo>
                <a:cubicBezTo>
                  <a:pt x="1380" y="245"/>
                  <a:pt x="1381" y="247"/>
                  <a:pt x="1383" y="247"/>
                </a:cubicBezTo>
                <a:cubicBezTo>
                  <a:pt x="1384" y="247"/>
                  <a:pt x="1386" y="245"/>
                  <a:pt x="1386" y="245"/>
                </a:cubicBezTo>
                <a:cubicBezTo>
                  <a:pt x="1386" y="247"/>
                  <a:pt x="1386" y="247"/>
                  <a:pt x="1386" y="247"/>
                </a:cubicBezTo>
                <a:cubicBezTo>
                  <a:pt x="1386" y="247"/>
                  <a:pt x="1383" y="249"/>
                  <a:pt x="1382" y="250"/>
                </a:cubicBezTo>
                <a:cubicBezTo>
                  <a:pt x="1381" y="252"/>
                  <a:pt x="1382" y="255"/>
                  <a:pt x="1382" y="255"/>
                </a:cubicBezTo>
                <a:cubicBezTo>
                  <a:pt x="1382" y="255"/>
                  <a:pt x="1384" y="253"/>
                  <a:pt x="1386" y="254"/>
                </a:cubicBezTo>
                <a:cubicBezTo>
                  <a:pt x="1387" y="255"/>
                  <a:pt x="1390" y="253"/>
                  <a:pt x="1390" y="253"/>
                </a:cubicBezTo>
                <a:cubicBezTo>
                  <a:pt x="1388" y="255"/>
                  <a:pt x="1388" y="255"/>
                  <a:pt x="1388" y="255"/>
                </a:cubicBezTo>
                <a:cubicBezTo>
                  <a:pt x="1389" y="259"/>
                  <a:pt x="1389" y="259"/>
                  <a:pt x="1389" y="259"/>
                </a:cubicBezTo>
                <a:cubicBezTo>
                  <a:pt x="1389" y="259"/>
                  <a:pt x="1387" y="262"/>
                  <a:pt x="1385" y="265"/>
                </a:cubicBezTo>
                <a:cubicBezTo>
                  <a:pt x="1384" y="267"/>
                  <a:pt x="1388" y="267"/>
                  <a:pt x="1388" y="267"/>
                </a:cubicBezTo>
                <a:cubicBezTo>
                  <a:pt x="1388" y="267"/>
                  <a:pt x="1391" y="265"/>
                  <a:pt x="1393" y="266"/>
                </a:cubicBezTo>
                <a:cubicBezTo>
                  <a:pt x="1394" y="267"/>
                  <a:pt x="1397" y="264"/>
                  <a:pt x="1397" y="264"/>
                </a:cubicBezTo>
                <a:cubicBezTo>
                  <a:pt x="1402" y="264"/>
                  <a:pt x="1402" y="264"/>
                  <a:pt x="1402" y="264"/>
                </a:cubicBezTo>
                <a:cubicBezTo>
                  <a:pt x="1402" y="264"/>
                  <a:pt x="1397" y="267"/>
                  <a:pt x="1397" y="269"/>
                </a:cubicBezTo>
                <a:cubicBezTo>
                  <a:pt x="1397" y="271"/>
                  <a:pt x="1403" y="273"/>
                  <a:pt x="1403" y="273"/>
                </a:cubicBezTo>
                <a:cubicBezTo>
                  <a:pt x="1403" y="276"/>
                  <a:pt x="1403" y="276"/>
                  <a:pt x="1403" y="276"/>
                </a:cubicBezTo>
                <a:cubicBezTo>
                  <a:pt x="1401" y="278"/>
                  <a:pt x="1401" y="278"/>
                  <a:pt x="1401" y="278"/>
                </a:cubicBezTo>
                <a:cubicBezTo>
                  <a:pt x="1401" y="278"/>
                  <a:pt x="1402" y="281"/>
                  <a:pt x="1401" y="282"/>
                </a:cubicBezTo>
                <a:cubicBezTo>
                  <a:pt x="1400" y="283"/>
                  <a:pt x="1392" y="282"/>
                  <a:pt x="1392" y="282"/>
                </a:cubicBezTo>
                <a:cubicBezTo>
                  <a:pt x="1392" y="282"/>
                  <a:pt x="1390" y="281"/>
                  <a:pt x="1388" y="281"/>
                </a:cubicBezTo>
                <a:cubicBezTo>
                  <a:pt x="1386" y="282"/>
                  <a:pt x="1389" y="284"/>
                  <a:pt x="1389" y="284"/>
                </a:cubicBezTo>
                <a:cubicBezTo>
                  <a:pt x="1386" y="287"/>
                  <a:pt x="1386" y="287"/>
                  <a:pt x="1386" y="287"/>
                </a:cubicBezTo>
                <a:cubicBezTo>
                  <a:pt x="1392" y="286"/>
                  <a:pt x="1392" y="286"/>
                  <a:pt x="1392" y="286"/>
                </a:cubicBezTo>
                <a:cubicBezTo>
                  <a:pt x="1392" y="286"/>
                  <a:pt x="1392" y="291"/>
                  <a:pt x="1390" y="293"/>
                </a:cubicBezTo>
                <a:cubicBezTo>
                  <a:pt x="1389" y="294"/>
                  <a:pt x="1383" y="296"/>
                  <a:pt x="1382" y="296"/>
                </a:cubicBezTo>
                <a:cubicBezTo>
                  <a:pt x="1381" y="297"/>
                  <a:pt x="1382" y="300"/>
                  <a:pt x="1383" y="301"/>
                </a:cubicBezTo>
                <a:cubicBezTo>
                  <a:pt x="1384" y="301"/>
                  <a:pt x="1388" y="298"/>
                  <a:pt x="1388" y="298"/>
                </a:cubicBezTo>
                <a:cubicBezTo>
                  <a:pt x="1388" y="298"/>
                  <a:pt x="1389" y="299"/>
                  <a:pt x="1389" y="300"/>
                </a:cubicBezTo>
                <a:cubicBezTo>
                  <a:pt x="1390" y="301"/>
                  <a:pt x="1392" y="300"/>
                  <a:pt x="1392" y="300"/>
                </a:cubicBezTo>
                <a:cubicBezTo>
                  <a:pt x="1392" y="300"/>
                  <a:pt x="1394" y="302"/>
                  <a:pt x="1396" y="302"/>
                </a:cubicBezTo>
                <a:cubicBezTo>
                  <a:pt x="1398" y="302"/>
                  <a:pt x="1399" y="301"/>
                  <a:pt x="1400" y="300"/>
                </a:cubicBezTo>
                <a:cubicBezTo>
                  <a:pt x="1401" y="299"/>
                  <a:pt x="1404" y="300"/>
                  <a:pt x="1404" y="300"/>
                </a:cubicBezTo>
                <a:cubicBezTo>
                  <a:pt x="1404" y="300"/>
                  <a:pt x="1400" y="303"/>
                  <a:pt x="1398" y="304"/>
                </a:cubicBezTo>
                <a:cubicBezTo>
                  <a:pt x="1396" y="306"/>
                  <a:pt x="1392" y="304"/>
                  <a:pt x="1390" y="304"/>
                </a:cubicBezTo>
                <a:cubicBezTo>
                  <a:pt x="1389" y="304"/>
                  <a:pt x="1389" y="306"/>
                  <a:pt x="1389" y="306"/>
                </a:cubicBezTo>
                <a:cubicBezTo>
                  <a:pt x="1389" y="306"/>
                  <a:pt x="1388" y="306"/>
                  <a:pt x="1386" y="307"/>
                </a:cubicBezTo>
                <a:cubicBezTo>
                  <a:pt x="1384" y="307"/>
                  <a:pt x="1386" y="309"/>
                  <a:pt x="1385" y="311"/>
                </a:cubicBezTo>
                <a:cubicBezTo>
                  <a:pt x="1384" y="312"/>
                  <a:pt x="1382" y="311"/>
                  <a:pt x="1381" y="311"/>
                </a:cubicBezTo>
                <a:cubicBezTo>
                  <a:pt x="1379" y="311"/>
                  <a:pt x="1380" y="314"/>
                  <a:pt x="1379" y="315"/>
                </a:cubicBezTo>
                <a:cubicBezTo>
                  <a:pt x="1377" y="316"/>
                  <a:pt x="1375" y="316"/>
                  <a:pt x="1375" y="317"/>
                </a:cubicBezTo>
                <a:cubicBezTo>
                  <a:pt x="1375" y="318"/>
                  <a:pt x="1379" y="318"/>
                  <a:pt x="1380" y="318"/>
                </a:cubicBezTo>
                <a:cubicBezTo>
                  <a:pt x="1380" y="318"/>
                  <a:pt x="1382" y="315"/>
                  <a:pt x="1383" y="314"/>
                </a:cubicBezTo>
                <a:cubicBezTo>
                  <a:pt x="1385" y="313"/>
                  <a:pt x="1387" y="314"/>
                  <a:pt x="1389" y="314"/>
                </a:cubicBezTo>
                <a:cubicBezTo>
                  <a:pt x="1390" y="314"/>
                  <a:pt x="1391" y="316"/>
                  <a:pt x="1392" y="316"/>
                </a:cubicBezTo>
                <a:cubicBezTo>
                  <a:pt x="1394" y="316"/>
                  <a:pt x="1396" y="310"/>
                  <a:pt x="1398" y="310"/>
                </a:cubicBezTo>
                <a:cubicBezTo>
                  <a:pt x="1399" y="309"/>
                  <a:pt x="1402" y="311"/>
                  <a:pt x="1402" y="311"/>
                </a:cubicBezTo>
                <a:cubicBezTo>
                  <a:pt x="1406" y="311"/>
                  <a:pt x="1406" y="311"/>
                  <a:pt x="1406" y="311"/>
                </a:cubicBezTo>
                <a:cubicBezTo>
                  <a:pt x="1410" y="310"/>
                  <a:pt x="1410" y="310"/>
                  <a:pt x="1410" y="310"/>
                </a:cubicBezTo>
                <a:cubicBezTo>
                  <a:pt x="1410" y="310"/>
                  <a:pt x="1414" y="312"/>
                  <a:pt x="1415" y="311"/>
                </a:cubicBezTo>
                <a:cubicBezTo>
                  <a:pt x="1416" y="311"/>
                  <a:pt x="1413" y="309"/>
                  <a:pt x="1414" y="308"/>
                </a:cubicBezTo>
                <a:cubicBezTo>
                  <a:pt x="1416" y="307"/>
                  <a:pt x="1418" y="310"/>
                  <a:pt x="1418" y="310"/>
                </a:cubicBezTo>
                <a:cubicBezTo>
                  <a:pt x="1419" y="309"/>
                  <a:pt x="1419" y="309"/>
                  <a:pt x="1419" y="309"/>
                </a:cubicBezTo>
                <a:cubicBezTo>
                  <a:pt x="1419" y="309"/>
                  <a:pt x="1430" y="309"/>
                  <a:pt x="1433" y="307"/>
                </a:cubicBezTo>
                <a:cubicBezTo>
                  <a:pt x="1435" y="306"/>
                  <a:pt x="1437" y="303"/>
                  <a:pt x="1437" y="303"/>
                </a:cubicBezTo>
                <a:cubicBezTo>
                  <a:pt x="1429" y="302"/>
                  <a:pt x="1429" y="302"/>
                  <a:pt x="1429" y="302"/>
                </a:cubicBezTo>
                <a:cubicBezTo>
                  <a:pt x="1433" y="301"/>
                  <a:pt x="1433" y="301"/>
                  <a:pt x="1433" y="301"/>
                </a:cubicBezTo>
                <a:cubicBezTo>
                  <a:pt x="1432" y="299"/>
                  <a:pt x="1432" y="299"/>
                  <a:pt x="1432" y="299"/>
                </a:cubicBezTo>
                <a:cubicBezTo>
                  <a:pt x="1432" y="299"/>
                  <a:pt x="1435" y="296"/>
                  <a:pt x="1436" y="296"/>
                </a:cubicBezTo>
                <a:cubicBezTo>
                  <a:pt x="1438" y="296"/>
                  <a:pt x="1440" y="294"/>
                  <a:pt x="1440" y="289"/>
                </a:cubicBezTo>
                <a:cubicBezTo>
                  <a:pt x="1440" y="285"/>
                  <a:pt x="1430" y="285"/>
                  <a:pt x="1430" y="285"/>
                </a:cubicBezTo>
                <a:cubicBezTo>
                  <a:pt x="1430" y="285"/>
                  <a:pt x="1429" y="288"/>
                  <a:pt x="1427" y="287"/>
                </a:cubicBezTo>
                <a:cubicBezTo>
                  <a:pt x="1425" y="285"/>
                  <a:pt x="1429" y="284"/>
                  <a:pt x="1429" y="282"/>
                </a:cubicBezTo>
                <a:cubicBezTo>
                  <a:pt x="1429" y="280"/>
                  <a:pt x="1422" y="279"/>
                  <a:pt x="1422" y="278"/>
                </a:cubicBezTo>
                <a:cubicBezTo>
                  <a:pt x="1422" y="277"/>
                  <a:pt x="1427" y="277"/>
                  <a:pt x="1427" y="277"/>
                </a:cubicBezTo>
                <a:cubicBezTo>
                  <a:pt x="1425" y="276"/>
                  <a:pt x="1425" y="276"/>
                  <a:pt x="1425" y="276"/>
                </a:cubicBezTo>
                <a:cubicBezTo>
                  <a:pt x="1425" y="276"/>
                  <a:pt x="1423" y="271"/>
                  <a:pt x="1422" y="270"/>
                </a:cubicBezTo>
                <a:cubicBezTo>
                  <a:pt x="1421" y="268"/>
                  <a:pt x="1419" y="268"/>
                  <a:pt x="1419" y="268"/>
                </a:cubicBezTo>
                <a:cubicBezTo>
                  <a:pt x="1419" y="268"/>
                  <a:pt x="1417" y="266"/>
                  <a:pt x="1415" y="265"/>
                </a:cubicBezTo>
                <a:cubicBezTo>
                  <a:pt x="1414" y="264"/>
                  <a:pt x="1415" y="257"/>
                  <a:pt x="1415" y="257"/>
                </a:cubicBezTo>
                <a:cubicBezTo>
                  <a:pt x="1413" y="257"/>
                  <a:pt x="1413" y="257"/>
                  <a:pt x="1413" y="257"/>
                </a:cubicBezTo>
                <a:cubicBezTo>
                  <a:pt x="1413" y="257"/>
                  <a:pt x="1413" y="256"/>
                  <a:pt x="1410" y="254"/>
                </a:cubicBezTo>
                <a:cubicBezTo>
                  <a:pt x="1407" y="252"/>
                  <a:pt x="1403" y="254"/>
                  <a:pt x="1401" y="254"/>
                </a:cubicBezTo>
                <a:cubicBezTo>
                  <a:pt x="1400" y="254"/>
                  <a:pt x="1398" y="252"/>
                  <a:pt x="1398" y="252"/>
                </a:cubicBezTo>
                <a:cubicBezTo>
                  <a:pt x="1398" y="252"/>
                  <a:pt x="1401" y="253"/>
                  <a:pt x="1402" y="253"/>
                </a:cubicBezTo>
                <a:cubicBezTo>
                  <a:pt x="1402" y="252"/>
                  <a:pt x="1406" y="252"/>
                  <a:pt x="1406" y="250"/>
                </a:cubicBezTo>
                <a:cubicBezTo>
                  <a:pt x="1407" y="249"/>
                  <a:pt x="1403" y="249"/>
                  <a:pt x="1403" y="249"/>
                </a:cubicBezTo>
                <a:cubicBezTo>
                  <a:pt x="1406" y="248"/>
                  <a:pt x="1406" y="248"/>
                  <a:pt x="1406" y="248"/>
                </a:cubicBezTo>
                <a:cubicBezTo>
                  <a:pt x="1406" y="248"/>
                  <a:pt x="1408" y="247"/>
                  <a:pt x="1409" y="246"/>
                </a:cubicBezTo>
                <a:cubicBezTo>
                  <a:pt x="1410" y="245"/>
                  <a:pt x="1412" y="240"/>
                  <a:pt x="1412" y="240"/>
                </a:cubicBezTo>
                <a:cubicBezTo>
                  <a:pt x="1412" y="240"/>
                  <a:pt x="1416" y="238"/>
                  <a:pt x="1416" y="236"/>
                </a:cubicBezTo>
                <a:cubicBezTo>
                  <a:pt x="1416" y="235"/>
                  <a:pt x="1404" y="236"/>
                  <a:pt x="1404" y="236"/>
                </a:cubicBezTo>
                <a:cubicBezTo>
                  <a:pt x="1404" y="236"/>
                  <a:pt x="1404" y="235"/>
                  <a:pt x="1402" y="235"/>
                </a:cubicBezTo>
                <a:cubicBezTo>
                  <a:pt x="1399" y="235"/>
                  <a:pt x="1395" y="237"/>
                  <a:pt x="1395" y="237"/>
                </a:cubicBezTo>
                <a:cubicBezTo>
                  <a:pt x="1397" y="235"/>
                  <a:pt x="1397" y="235"/>
                  <a:pt x="1397" y="235"/>
                </a:cubicBezTo>
                <a:cubicBezTo>
                  <a:pt x="1395" y="233"/>
                  <a:pt x="1395" y="233"/>
                  <a:pt x="1395" y="233"/>
                </a:cubicBezTo>
                <a:cubicBezTo>
                  <a:pt x="1398" y="233"/>
                  <a:pt x="1398" y="233"/>
                  <a:pt x="1398" y="233"/>
                </a:cubicBezTo>
                <a:cubicBezTo>
                  <a:pt x="1402" y="230"/>
                  <a:pt x="1402" y="230"/>
                  <a:pt x="1402" y="230"/>
                </a:cubicBezTo>
                <a:cubicBezTo>
                  <a:pt x="1402" y="230"/>
                  <a:pt x="1404" y="228"/>
                  <a:pt x="1405" y="226"/>
                </a:cubicBezTo>
                <a:cubicBezTo>
                  <a:pt x="1405" y="225"/>
                  <a:pt x="1402" y="225"/>
                  <a:pt x="1400" y="225"/>
                </a:cubicBezTo>
                <a:cubicBezTo>
                  <a:pt x="1399" y="225"/>
                  <a:pt x="1396" y="227"/>
                  <a:pt x="1394" y="227"/>
                </a:cubicBezTo>
                <a:cubicBezTo>
                  <a:pt x="1393" y="227"/>
                  <a:pt x="1391" y="225"/>
                  <a:pt x="1390" y="226"/>
                </a:cubicBezTo>
                <a:cubicBezTo>
                  <a:pt x="1388" y="226"/>
                  <a:pt x="1390" y="229"/>
                  <a:pt x="1390" y="229"/>
                </a:cubicBezTo>
                <a:cubicBezTo>
                  <a:pt x="1390" y="229"/>
                  <a:pt x="1388" y="229"/>
                  <a:pt x="1387" y="230"/>
                </a:cubicBezTo>
                <a:cubicBezTo>
                  <a:pt x="1386" y="230"/>
                  <a:pt x="1388" y="234"/>
                  <a:pt x="1388" y="234"/>
                </a:cubicBezTo>
                <a:cubicBezTo>
                  <a:pt x="1382" y="234"/>
                  <a:pt x="1382" y="234"/>
                  <a:pt x="1382" y="234"/>
                </a:cubicBezTo>
                <a:cubicBezTo>
                  <a:pt x="1382" y="235"/>
                  <a:pt x="1382" y="235"/>
                  <a:pt x="1382" y="235"/>
                </a:cubicBezTo>
                <a:cubicBezTo>
                  <a:pt x="1383" y="237"/>
                  <a:pt x="1383" y="237"/>
                  <a:pt x="1383" y="237"/>
                </a:cubicBezTo>
                <a:cubicBezTo>
                  <a:pt x="1385" y="240"/>
                  <a:pt x="1385" y="240"/>
                  <a:pt x="1385" y="240"/>
                </a:cubicBezTo>
                <a:cubicBezTo>
                  <a:pt x="1385" y="240"/>
                  <a:pt x="1385" y="240"/>
                  <a:pt x="1385" y="240"/>
                </a:cubicBezTo>
                <a:close/>
                <a:moveTo>
                  <a:pt x="1569" y="241"/>
                </a:moveTo>
                <a:cubicBezTo>
                  <a:pt x="1568" y="238"/>
                  <a:pt x="1568" y="238"/>
                  <a:pt x="1568" y="238"/>
                </a:cubicBezTo>
                <a:cubicBezTo>
                  <a:pt x="1568" y="238"/>
                  <a:pt x="1563" y="245"/>
                  <a:pt x="1563" y="247"/>
                </a:cubicBezTo>
                <a:cubicBezTo>
                  <a:pt x="1563" y="248"/>
                  <a:pt x="1563" y="250"/>
                  <a:pt x="1563" y="250"/>
                </a:cubicBezTo>
                <a:cubicBezTo>
                  <a:pt x="1565" y="250"/>
                  <a:pt x="1566" y="244"/>
                  <a:pt x="1566" y="244"/>
                </a:cubicBezTo>
                <a:cubicBezTo>
                  <a:pt x="1569" y="241"/>
                  <a:pt x="1569" y="241"/>
                  <a:pt x="1569" y="241"/>
                </a:cubicBezTo>
                <a:cubicBezTo>
                  <a:pt x="1569" y="241"/>
                  <a:pt x="1569" y="241"/>
                  <a:pt x="1569" y="241"/>
                </a:cubicBezTo>
                <a:close/>
                <a:moveTo>
                  <a:pt x="1648" y="462"/>
                </a:moveTo>
                <a:cubicBezTo>
                  <a:pt x="1647" y="461"/>
                  <a:pt x="1647" y="461"/>
                  <a:pt x="1647" y="461"/>
                </a:cubicBezTo>
                <a:cubicBezTo>
                  <a:pt x="1646" y="463"/>
                  <a:pt x="1646" y="463"/>
                  <a:pt x="1646" y="463"/>
                </a:cubicBezTo>
                <a:cubicBezTo>
                  <a:pt x="1648" y="462"/>
                  <a:pt x="1648" y="462"/>
                  <a:pt x="1648" y="462"/>
                </a:cubicBezTo>
                <a:cubicBezTo>
                  <a:pt x="1648" y="462"/>
                  <a:pt x="1648" y="462"/>
                  <a:pt x="1648" y="462"/>
                </a:cubicBezTo>
                <a:close/>
                <a:moveTo>
                  <a:pt x="1576" y="237"/>
                </a:moveTo>
                <a:cubicBezTo>
                  <a:pt x="1575" y="239"/>
                  <a:pt x="1578" y="244"/>
                  <a:pt x="1578" y="244"/>
                </a:cubicBezTo>
                <a:cubicBezTo>
                  <a:pt x="1580" y="240"/>
                  <a:pt x="1580" y="240"/>
                  <a:pt x="1580" y="240"/>
                </a:cubicBezTo>
                <a:cubicBezTo>
                  <a:pt x="1580" y="240"/>
                  <a:pt x="1581" y="241"/>
                  <a:pt x="1582" y="239"/>
                </a:cubicBezTo>
                <a:cubicBezTo>
                  <a:pt x="1583" y="237"/>
                  <a:pt x="1582" y="235"/>
                  <a:pt x="1582" y="235"/>
                </a:cubicBezTo>
                <a:cubicBezTo>
                  <a:pt x="1584" y="233"/>
                  <a:pt x="1584" y="233"/>
                  <a:pt x="1584" y="233"/>
                </a:cubicBezTo>
                <a:cubicBezTo>
                  <a:pt x="1584" y="233"/>
                  <a:pt x="1577" y="234"/>
                  <a:pt x="1576" y="237"/>
                </a:cubicBezTo>
                <a:close/>
                <a:moveTo>
                  <a:pt x="1607" y="226"/>
                </a:moveTo>
                <a:cubicBezTo>
                  <a:pt x="1605" y="227"/>
                  <a:pt x="1607" y="230"/>
                  <a:pt x="1607" y="230"/>
                </a:cubicBezTo>
                <a:cubicBezTo>
                  <a:pt x="1608" y="233"/>
                  <a:pt x="1608" y="233"/>
                  <a:pt x="1608" y="233"/>
                </a:cubicBezTo>
                <a:cubicBezTo>
                  <a:pt x="1608" y="233"/>
                  <a:pt x="1611" y="230"/>
                  <a:pt x="1612" y="230"/>
                </a:cubicBezTo>
                <a:cubicBezTo>
                  <a:pt x="1613" y="230"/>
                  <a:pt x="1617" y="227"/>
                  <a:pt x="1617" y="227"/>
                </a:cubicBezTo>
                <a:cubicBezTo>
                  <a:pt x="1616" y="225"/>
                  <a:pt x="1616" y="225"/>
                  <a:pt x="1616" y="225"/>
                </a:cubicBezTo>
                <a:cubicBezTo>
                  <a:pt x="1611" y="226"/>
                  <a:pt x="1611" y="226"/>
                  <a:pt x="1611" y="226"/>
                </a:cubicBezTo>
                <a:cubicBezTo>
                  <a:pt x="1611" y="226"/>
                  <a:pt x="1608" y="226"/>
                  <a:pt x="1607" y="226"/>
                </a:cubicBezTo>
                <a:close/>
                <a:moveTo>
                  <a:pt x="1612" y="220"/>
                </a:moveTo>
                <a:cubicBezTo>
                  <a:pt x="1610" y="221"/>
                  <a:pt x="1608" y="224"/>
                  <a:pt x="1611" y="224"/>
                </a:cubicBezTo>
                <a:cubicBezTo>
                  <a:pt x="1614" y="224"/>
                  <a:pt x="1615" y="220"/>
                  <a:pt x="1612" y="220"/>
                </a:cubicBezTo>
                <a:close/>
                <a:moveTo>
                  <a:pt x="1531" y="253"/>
                </a:moveTo>
                <a:cubicBezTo>
                  <a:pt x="1531" y="253"/>
                  <a:pt x="1529" y="251"/>
                  <a:pt x="1529" y="251"/>
                </a:cubicBezTo>
                <a:cubicBezTo>
                  <a:pt x="1529" y="251"/>
                  <a:pt x="1526" y="252"/>
                  <a:pt x="1526" y="253"/>
                </a:cubicBezTo>
                <a:cubicBezTo>
                  <a:pt x="1526" y="254"/>
                  <a:pt x="1526" y="255"/>
                  <a:pt x="1526" y="255"/>
                </a:cubicBezTo>
                <a:cubicBezTo>
                  <a:pt x="1526" y="255"/>
                  <a:pt x="1524" y="253"/>
                  <a:pt x="1524" y="253"/>
                </a:cubicBezTo>
                <a:cubicBezTo>
                  <a:pt x="1523" y="253"/>
                  <a:pt x="1523" y="254"/>
                  <a:pt x="1523" y="254"/>
                </a:cubicBezTo>
                <a:cubicBezTo>
                  <a:pt x="1519" y="256"/>
                  <a:pt x="1519" y="256"/>
                  <a:pt x="1519" y="256"/>
                </a:cubicBezTo>
                <a:cubicBezTo>
                  <a:pt x="1519" y="256"/>
                  <a:pt x="1521" y="257"/>
                  <a:pt x="1521" y="260"/>
                </a:cubicBezTo>
                <a:cubicBezTo>
                  <a:pt x="1521" y="262"/>
                  <a:pt x="1519" y="262"/>
                  <a:pt x="1521" y="262"/>
                </a:cubicBezTo>
                <a:cubicBezTo>
                  <a:pt x="1524" y="263"/>
                  <a:pt x="1525" y="262"/>
                  <a:pt x="1525" y="262"/>
                </a:cubicBezTo>
                <a:cubicBezTo>
                  <a:pt x="1525" y="262"/>
                  <a:pt x="1527" y="266"/>
                  <a:pt x="1527" y="265"/>
                </a:cubicBezTo>
                <a:cubicBezTo>
                  <a:pt x="1527" y="264"/>
                  <a:pt x="1529" y="261"/>
                  <a:pt x="1530" y="260"/>
                </a:cubicBezTo>
                <a:cubicBezTo>
                  <a:pt x="1530" y="260"/>
                  <a:pt x="1532" y="260"/>
                  <a:pt x="1530" y="259"/>
                </a:cubicBezTo>
                <a:cubicBezTo>
                  <a:pt x="1529" y="258"/>
                  <a:pt x="1527" y="257"/>
                  <a:pt x="1528" y="257"/>
                </a:cubicBezTo>
                <a:cubicBezTo>
                  <a:pt x="1529" y="257"/>
                  <a:pt x="1530" y="257"/>
                  <a:pt x="1529" y="256"/>
                </a:cubicBezTo>
                <a:cubicBezTo>
                  <a:pt x="1528" y="255"/>
                  <a:pt x="1531" y="253"/>
                  <a:pt x="1531" y="253"/>
                </a:cubicBezTo>
                <a:close/>
                <a:moveTo>
                  <a:pt x="1520" y="266"/>
                </a:moveTo>
                <a:cubicBezTo>
                  <a:pt x="1522" y="266"/>
                  <a:pt x="1524" y="268"/>
                  <a:pt x="1524" y="268"/>
                </a:cubicBezTo>
                <a:cubicBezTo>
                  <a:pt x="1524" y="268"/>
                  <a:pt x="1528" y="268"/>
                  <a:pt x="1531" y="267"/>
                </a:cubicBezTo>
                <a:cubicBezTo>
                  <a:pt x="1535" y="266"/>
                  <a:pt x="1532" y="264"/>
                  <a:pt x="1532" y="264"/>
                </a:cubicBezTo>
                <a:cubicBezTo>
                  <a:pt x="1528" y="265"/>
                  <a:pt x="1528" y="265"/>
                  <a:pt x="1528" y="265"/>
                </a:cubicBezTo>
                <a:cubicBezTo>
                  <a:pt x="1528" y="265"/>
                  <a:pt x="1526" y="266"/>
                  <a:pt x="1525" y="266"/>
                </a:cubicBezTo>
                <a:cubicBezTo>
                  <a:pt x="1525" y="266"/>
                  <a:pt x="1521" y="264"/>
                  <a:pt x="1520" y="264"/>
                </a:cubicBezTo>
                <a:cubicBezTo>
                  <a:pt x="1518" y="264"/>
                  <a:pt x="1518" y="266"/>
                  <a:pt x="1520" y="266"/>
                </a:cubicBezTo>
                <a:close/>
                <a:moveTo>
                  <a:pt x="1672" y="479"/>
                </a:moveTo>
                <a:cubicBezTo>
                  <a:pt x="1671" y="474"/>
                  <a:pt x="1671" y="474"/>
                  <a:pt x="1671" y="474"/>
                </a:cubicBezTo>
                <a:cubicBezTo>
                  <a:pt x="1669" y="480"/>
                  <a:pt x="1669" y="480"/>
                  <a:pt x="1669" y="480"/>
                </a:cubicBezTo>
                <a:cubicBezTo>
                  <a:pt x="1672" y="479"/>
                  <a:pt x="1672" y="479"/>
                  <a:pt x="1672" y="479"/>
                </a:cubicBezTo>
                <a:cubicBezTo>
                  <a:pt x="1672" y="479"/>
                  <a:pt x="1672" y="479"/>
                  <a:pt x="1672" y="479"/>
                </a:cubicBezTo>
                <a:close/>
                <a:moveTo>
                  <a:pt x="1672" y="460"/>
                </a:moveTo>
                <a:cubicBezTo>
                  <a:pt x="1669" y="462"/>
                  <a:pt x="1669" y="462"/>
                  <a:pt x="1669" y="462"/>
                </a:cubicBezTo>
                <a:cubicBezTo>
                  <a:pt x="1669" y="465"/>
                  <a:pt x="1669" y="465"/>
                  <a:pt x="1669" y="465"/>
                </a:cubicBezTo>
                <a:cubicBezTo>
                  <a:pt x="1674" y="461"/>
                  <a:pt x="1674" y="461"/>
                  <a:pt x="1674" y="461"/>
                </a:cubicBezTo>
                <a:cubicBezTo>
                  <a:pt x="1672" y="460"/>
                  <a:pt x="1672" y="460"/>
                  <a:pt x="1672" y="460"/>
                </a:cubicBezTo>
                <a:cubicBezTo>
                  <a:pt x="1672" y="460"/>
                  <a:pt x="1672" y="460"/>
                  <a:pt x="1672" y="460"/>
                </a:cubicBezTo>
                <a:close/>
                <a:moveTo>
                  <a:pt x="1680" y="467"/>
                </a:moveTo>
                <a:cubicBezTo>
                  <a:pt x="1679" y="466"/>
                  <a:pt x="1675" y="472"/>
                  <a:pt x="1676" y="474"/>
                </a:cubicBezTo>
                <a:cubicBezTo>
                  <a:pt x="1677" y="475"/>
                  <a:pt x="1681" y="469"/>
                  <a:pt x="1680" y="467"/>
                </a:cubicBezTo>
                <a:close/>
                <a:moveTo>
                  <a:pt x="1856" y="110"/>
                </a:moveTo>
                <a:cubicBezTo>
                  <a:pt x="1855" y="111"/>
                  <a:pt x="1869" y="119"/>
                  <a:pt x="1870" y="115"/>
                </a:cubicBezTo>
                <a:cubicBezTo>
                  <a:pt x="1871" y="112"/>
                  <a:pt x="1857" y="108"/>
                  <a:pt x="1856" y="110"/>
                </a:cubicBezTo>
                <a:close/>
                <a:moveTo>
                  <a:pt x="1511" y="262"/>
                </a:moveTo>
                <a:cubicBezTo>
                  <a:pt x="1512" y="262"/>
                  <a:pt x="1514" y="264"/>
                  <a:pt x="1514" y="264"/>
                </a:cubicBezTo>
                <a:cubicBezTo>
                  <a:pt x="1515" y="260"/>
                  <a:pt x="1515" y="260"/>
                  <a:pt x="1515" y="260"/>
                </a:cubicBezTo>
                <a:cubicBezTo>
                  <a:pt x="1513" y="257"/>
                  <a:pt x="1513" y="257"/>
                  <a:pt x="1513" y="257"/>
                </a:cubicBezTo>
                <a:cubicBezTo>
                  <a:pt x="1510" y="257"/>
                  <a:pt x="1510" y="257"/>
                  <a:pt x="1510" y="257"/>
                </a:cubicBezTo>
                <a:cubicBezTo>
                  <a:pt x="1511" y="262"/>
                  <a:pt x="1511" y="262"/>
                  <a:pt x="1511" y="262"/>
                </a:cubicBezTo>
                <a:cubicBezTo>
                  <a:pt x="1511" y="262"/>
                  <a:pt x="1511" y="262"/>
                  <a:pt x="1511" y="262"/>
                </a:cubicBezTo>
                <a:close/>
                <a:moveTo>
                  <a:pt x="1808" y="97"/>
                </a:moveTo>
                <a:cubicBezTo>
                  <a:pt x="1811" y="97"/>
                  <a:pt x="1815" y="98"/>
                  <a:pt x="1817" y="99"/>
                </a:cubicBezTo>
                <a:cubicBezTo>
                  <a:pt x="1819" y="100"/>
                  <a:pt x="1819" y="104"/>
                  <a:pt x="1819" y="104"/>
                </a:cubicBezTo>
                <a:cubicBezTo>
                  <a:pt x="1820" y="104"/>
                  <a:pt x="1830" y="106"/>
                  <a:pt x="1830" y="106"/>
                </a:cubicBezTo>
                <a:cubicBezTo>
                  <a:pt x="1846" y="105"/>
                  <a:pt x="1846" y="105"/>
                  <a:pt x="1846" y="105"/>
                </a:cubicBezTo>
                <a:cubicBezTo>
                  <a:pt x="1846" y="105"/>
                  <a:pt x="1833" y="104"/>
                  <a:pt x="1830" y="98"/>
                </a:cubicBezTo>
                <a:cubicBezTo>
                  <a:pt x="1826" y="93"/>
                  <a:pt x="1823" y="93"/>
                  <a:pt x="1826" y="88"/>
                </a:cubicBezTo>
                <a:cubicBezTo>
                  <a:pt x="1830" y="83"/>
                  <a:pt x="1826" y="83"/>
                  <a:pt x="1826" y="83"/>
                </a:cubicBezTo>
                <a:cubicBezTo>
                  <a:pt x="1831" y="82"/>
                  <a:pt x="1831" y="82"/>
                  <a:pt x="1831" y="82"/>
                </a:cubicBezTo>
                <a:cubicBezTo>
                  <a:pt x="1829" y="79"/>
                  <a:pt x="1829" y="79"/>
                  <a:pt x="1829" y="79"/>
                </a:cubicBezTo>
                <a:cubicBezTo>
                  <a:pt x="1834" y="80"/>
                  <a:pt x="1834" y="80"/>
                  <a:pt x="1834" y="80"/>
                </a:cubicBezTo>
                <a:cubicBezTo>
                  <a:pt x="1831" y="78"/>
                  <a:pt x="1831" y="78"/>
                  <a:pt x="1831" y="78"/>
                </a:cubicBezTo>
                <a:cubicBezTo>
                  <a:pt x="1835" y="79"/>
                  <a:pt x="1835" y="79"/>
                  <a:pt x="1835" y="79"/>
                </a:cubicBezTo>
                <a:cubicBezTo>
                  <a:pt x="1835" y="76"/>
                  <a:pt x="1835" y="76"/>
                  <a:pt x="1835" y="76"/>
                </a:cubicBezTo>
                <a:cubicBezTo>
                  <a:pt x="1833" y="75"/>
                  <a:pt x="1833" y="75"/>
                  <a:pt x="1833" y="75"/>
                </a:cubicBezTo>
                <a:cubicBezTo>
                  <a:pt x="1833" y="75"/>
                  <a:pt x="1838" y="76"/>
                  <a:pt x="1839" y="75"/>
                </a:cubicBezTo>
                <a:cubicBezTo>
                  <a:pt x="1840" y="74"/>
                  <a:pt x="1837" y="72"/>
                  <a:pt x="1837" y="72"/>
                </a:cubicBezTo>
                <a:cubicBezTo>
                  <a:pt x="1841" y="72"/>
                  <a:pt x="1841" y="72"/>
                  <a:pt x="1841" y="72"/>
                </a:cubicBezTo>
                <a:cubicBezTo>
                  <a:pt x="1841" y="68"/>
                  <a:pt x="1841" y="68"/>
                  <a:pt x="1841" y="68"/>
                </a:cubicBezTo>
                <a:cubicBezTo>
                  <a:pt x="1841" y="68"/>
                  <a:pt x="1844" y="71"/>
                  <a:pt x="1848" y="69"/>
                </a:cubicBezTo>
                <a:cubicBezTo>
                  <a:pt x="1852" y="68"/>
                  <a:pt x="1854" y="65"/>
                  <a:pt x="1854" y="65"/>
                </a:cubicBezTo>
                <a:cubicBezTo>
                  <a:pt x="1854" y="65"/>
                  <a:pt x="1884" y="60"/>
                  <a:pt x="1889" y="58"/>
                </a:cubicBezTo>
                <a:cubicBezTo>
                  <a:pt x="1893" y="56"/>
                  <a:pt x="1898" y="53"/>
                  <a:pt x="1891" y="51"/>
                </a:cubicBezTo>
                <a:cubicBezTo>
                  <a:pt x="1884" y="48"/>
                  <a:pt x="1877" y="52"/>
                  <a:pt x="1874" y="53"/>
                </a:cubicBezTo>
                <a:cubicBezTo>
                  <a:pt x="1871" y="54"/>
                  <a:pt x="1862" y="57"/>
                  <a:pt x="1857" y="57"/>
                </a:cubicBezTo>
                <a:cubicBezTo>
                  <a:pt x="1853" y="56"/>
                  <a:pt x="1847" y="56"/>
                  <a:pt x="1847" y="56"/>
                </a:cubicBezTo>
                <a:cubicBezTo>
                  <a:pt x="1844" y="59"/>
                  <a:pt x="1844" y="59"/>
                  <a:pt x="1844" y="59"/>
                </a:cubicBezTo>
                <a:cubicBezTo>
                  <a:pt x="1841" y="57"/>
                  <a:pt x="1841" y="57"/>
                  <a:pt x="1841" y="57"/>
                </a:cubicBezTo>
                <a:cubicBezTo>
                  <a:pt x="1833" y="60"/>
                  <a:pt x="1833" y="60"/>
                  <a:pt x="1833" y="60"/>
                </a:cubicBezTo>
                <a:cubicBezTo>
                  <a:pt x="1829" y="60"/>
                  <a:pt x="1829" y="60"/>
                  <a:pt x="1829" y="60"/>
                </a:cubicBezTo>
                <a:cubicBezTo>
                  <a:pt x="1825" y="63"/>
                  <a:pt x="1825" y="63"/>
                  <a:pt x="1825" y="63"/>
                </a:cubicBezTo>
                <a:cubicBezTo>
                  <a:pt x="1828" y="64"/>
                  <a:pt x="1828" y="64"/>
                  <a:pt x="1828" y="64"/>
                </a:cubicBezTo>
                <a:cubicBezTo>
                  <a:pt x="1821" y="64"/>
                  <a:pt x="1821" y="64"/>
                  <a:pt x="1821" y="64"/>
                </a:cubicBezTo>
                <a:cubicBezTo>
                  <a:pt x="1817" y="66"/>
                  <a:pt x="1817" y="66"/>
                  <a:pt x="1817" y="66"/>
                </a:cubicBezTo>
                <a:cubicBezTo>
                  <a:pt x="1818" y="67"/>
                  <a:pt x="1818" y="67"/>
                  <a:pt x="1818" y="67"/>
                </a:cubicBezTo>
                <a:cubicBezTo>
                  <a:pt x="1821" y="66"/>
                  <a:pt x="1821" y="66"/>
                  <a:pt x="1821" y="66"/>
                </a:cubicBezTo>
                <a:cubicBezTo>
                  <a:pt x="1821" y="67"/>
                  <a:pt x="1821" y="67"/>
                  <a:pt x="1821" y="67"/>
                </a:cubicBezTo>
                <a:cubicBezTo>
                  <a:pt x="1825" y="68"/>
                  <a:pt x="1825" y="68"/>
                  <a:pt x="1825" y="68"/>
                </a:cubicBezTo>
                <a:cubicBezTo>
                  <a:pt x="1824" y="70"/>
                  <a:pt x="1824" y="70"/>
                  <a:pt x="1824" y="70"/>
                </a:cubicBezTo>
                <a:cubicBezTo>
                  <a:pt x="1819" y="70"/>
                  <a:pt x="1819" y="70"/>
                  <a:pt x="1819" y="70"/>
                </a:cubicBezTo>
                <a:cubicBezTo>
                  <a:pt x="1818" y="71"/>
                  <a:pt x="1818" y="71"/>
                  <a:pt x="1818" y="71"/>
                </a:cubicBezTo>
                <a:cubicBezTo>
                  <a:pt x="1822" y="72"/>
                  <a:pt x="1822" y="72"/>
                  <a:pt x="1822" y="72"/>
                </a:cubicBezTo>
                <a:cubicBezTo>
                  <a:pt x="1815" y="72"/>
                  <a:pt x="1815" y="72"/>
                  <a:pt x="1815" y="72"/>
                </a:cubicBezTo>
                <a:cubicBezTo>
                  <a:pt x="1820" y="74"/>
                  <a:pt x="1820" y="74"/>
                  <a:pt x="1820" y="74"/>
                </a:cubicBezTo>
                <a:cubicBezTo>
                  <a:pt x="1814" y="74"/>
                  <a:pt x="1814" y="74"/>
                  <a:pt x="1814" y="74"/>
                </a:cubicBezTo>
                <a:cubicBezTo>
                  <a:pt x="1813" y="77"/>
                  <a:pt x="1813" y="77"/>
                  <a:pt x="1813" y="77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811" y="81"/>
                  <a:pt x="1811" y="81"/>
                  <a:pt x="1811" y="81"/>
                </a:cubicBezTo>
                <a:cubicBezTo>
                  <a:pt x="1816" y="78"/>
                  <a:pt x="1816" y="78"/>
                  <a:pt x="1816" y="78"/>
                </a:cubicBezTo>
                <a:cubicBezTo>
                  <a:pt x="1814" y="82"/>
                  <a:pt x="1814" y="82"/>
                  <a:pt x="1814" y="82"/>
                </a:cubicBezTo>
                <a:cubicBezTo>
                  <a:pt x="1814" y="82"/>
                  <a:pt x="1809" y="81"/>
                  <a:pt x="1808" y="82"/>
                </a:cubicBezTo>
                <a:cubicBezTo>
                  <a:pt x="1806" y="84"/>
                  <a:pt x="1808" y="85"/>
                  <a:pt x="1808" y="85"/>
                </a:cubicBezTo>
                <a:cubicBezTo>
                  <a:pt x="1801" y="86"/>
                  <a:pt x="1801" y="86"/>
                  <a:pt x="1801" y="86"/>
                </a:cubicBezTo>
                <a:cubicBezTo>
                  <a:pt x="1803" y="89"/>
                  <a:pt x="1803" y="89"/>
                  <a:pt x="1803" y="89"/>
                </a:cubicBezTo>
                <a:cubicBezTo>
                  <a:pt x="1807" y="87"/>
                  <a:pt x="1807" y="87"/>
                  <a:pt x="1807" y="87"/>
                </a:cubicBezTo>
                <a:cubicBezTo>
                  <a:pt x="1805" y="90"/>
                  <a:pt x="1805" y="90"/>
                  <a:pt x="1805" y="90"/>
                </a:cubicBezTo>
                <a:cubicBezTo>
                  <a:pt x="1805" y="90"/>
                  <a:pt x="1799" y="92"/>
                  <a:pt x="1800" y="94"/>
                </a:cubicBezTo>
                <a:cubicBezTo>
                  <a:pt x="1800" y="96"/>
                  <a:pt x="1806" y="97"/>
                  <a:pt x="1808" y="97"/>
                </a:cubicBezTo>
                <a:close/>
                <a:moveTo>
                  <a:pt x="1557" y="125"/>
                </a:moveTo>
                <a:cubicBezTo>
                  <a:pt x="1559" y="124"/>
                  <a:pt x="1562" y="124"/>
                  <a:pt x="1558" y="123"/>
                </a:cubicBezTo>
                <a:cubicBezTo>
                  <a:pt x="1554" y="122"/>
                  <a:pt x="1552" y="125"/>
                  <a:pt x="1552" y="125"/>
                </a:cubicBezTo>
                <a:cubicBezTo>
                  <a:pt x="1553" y="126"/>
                  <a:pt x="1553" y="126"/>
                  <a:pt x="1553" y="126"/>
                </a:cubicBezTo>
                <a:cubicBezTo>
                  <a:pt x="1557" y="125"/>
                  <a:pt x="1557" y="125"/>
                  <a:pt x="1557" y="125"/>
                </a:cubicBezTo>
                <a:cubicBezTo>
                  <a:pt x="1557" y="125"/>
                  <a:pt x="1557" y="125"/>
                  <a:pt x="1557" y="125"/>
                </a:cubicBezTo>
                <a:close/>
                <a:moveTo>
                  <a:pt x="1554" y="120"/>
                </a:moveTo>
                <a:cubicBezTo>
                  <a:pt x="1550" y="119"/>
                  <a:pt x="1548" y="122"/>
                  <a:pt x="1548" y="122"/>
                </a:cubicBezTo>
                <a:cubicBezTo>
                  <a:pt x="1552" y="123"/>
                  <a:pt x="1552" y="123"/>
                  <a:pt x="1552" y="123"/>
                </a:cubicBezTo>
                <a:cubicBezTo>
                  <a:pt x="1553" y="122"/>
                  <a:pt x="1558" y="120"/>
                  <a:pt x="1554" y="120"/>
                </a:cubicBezTo>
                <a:close/>
                <a:moveTo>
                  <a:pt x="1550" y="124"/>
                </a:moveTo>
                <a:cubicBezTo>
                  <a:pt x="1547" y="125"/>
                  <a:pt x="1547" y="125"/>
                  <a:pt x="1547" y="125"/>
                </a:cubicBezTo>
                <a:cubicBezTo>
                  <a:pt x="1548" y="128"/>
                  <a:pt x="1548" y="128"/>
                  <a:pt x="1548" y="128"/>
                </a:cubicBezTo>
                <a:cubicBezTo>
                  <a:pt x="1552" y="128"/>
                  <a:pt x="1552" y="128"/>
                  <a:pt x="1552" y="128"/>
                </a:cubicBezTo>
                <a:cubicBezTo>
                  <a:pt x="1551" y="126"/>
                  <a:pt x="1551" y="126"/>
                  <a:pt x="1551" y="126"/>
                </a:cubicBezTo>
                <a:cubicBezTo>
                  <a:pt x="1550" y="124"/>
                  <a:pt x="1550" y="124"/>
                  <a:pt x="1550" y="124"/>
                </a:cubicBezTo>
                <a:cubicBezTo>
                  <a:pt x="1550" y="124"/>
                  <a:pt x="1550" y="124"/>
                  <a:pt x="1550" y="124"/>
                </a:cubicBezTo>
                <a:close/>
                <a:moveTo>
                  <a:pt x="1545" y="122"/>
                </a:moveTo>
                <a:cubicBezTo>
                  <a:pt x="1543" y="123"/>
                  <a:pt x="1543" y="127"/>
                  <a:pt x="1543" y="127"/>
                </a:cubicBezTo>
                <a:cubicBezTo>
                  <a:pt x="1546" y="129"/>
                  <a:pt x="1546" y="129"/>
                  <a:pt x="1546" y="129"/>
                </a:cubicBezTo>
                <a:cubicBezTo>
                  <a:pt x="1546" y="129"/>
                  <a:pt x="1547" y="121"/>
                  <a:pt x="1545" y="122"/>
                </a:cubicBezTo>
                <a:close/>
                <a:moveTo>
                  <a:pt x="1561" y="121"/>
                </a:moveTo>
                <a:cubicBezTo>
                  <a:pt x="1565" y="120"/>
                  <a:pt x="1565" y="118"/>
                  <a:pt x="1566" y="118"/>
                </a:cubicBezTo>
                <a:cubicBezTo>
                  <a:pt x="1567" y="118"/>
                  <a:pt x="1566" y="116"/>
                  <a:pt x="1566" y="116"/>
                </a:cubicBezTo>
                <a:cubicBezTo>
                  <a:pt x="1560" y="119"/>
                  <a:pt x="1560" y="119"/>
                  <a:pt x="1560" y="119"/>
                </a:cubicBezTo>
                <a:cubicBezTo>
                  <a:pt x="1561" y="121"/>
                  <a:pt x="1561" y="121"/>
                  <a:pt x="1561" y="121"/>
                </a:cubicBezTo>
                <a:cubicBezTo>
                  <a:pt x="1561" y="121"/>
                  <a:pt x="1561" y="121"/>
                  <a:pt x="1561" y="121"/>
                </a:cubicBezTo>
                <a:close/>
                <a:moveTo>
                  <a:pt x="1580" y="113"/>
                </a:moveTo>
                <a:cubicBezTo>
                  <a:pt x="1582" y="112"/>
                  <a:pt x="1584" y="110"/>
                  <a:pt x="1581" y="110"/>
                </a:cubicBezTo>
                <a:cubicBezTo>
                  <a:pt x="1577" y="110"/>
                  <a:pt x="1580" y="113"/>
                  <a:pt x="1580" y="113"/>
                </a:cubicBezTo>
                <a:close/>
                <a:moveTo>
                  <a:pt x="1753" y="349"/>
                </a:move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lose/>
                <a:moveTo>
                  <a:pt x="1517" y="39"/>
                </a:moveTo>
                <a:cubicBezTo>
                  <a:pt x="1520" y="41"/>
                  <a:pt x="1525" y="41"/>
                  <a:pt x="1525" y="41"/>
                </a:cubicBezTo>
                <a:cubicBezTo>
                  <a:pt x="1520" y="38"/>
                  <a:pt x="1520" y="38"/>
                  <a:pt x="1520" y="38"/>
                </a:cubicBezTo>
                <a:cubicBezTo>
                  <a:pt x="1513" y="35"/>
                  <a:pt x="1513" y="35"/>
                  <a:pt x="1513" y="35"/>
                </a:cubicBezTo>
                <a:cubicBezTo>
                  <a:pt x="1512" y="38"/>
                  <a:pt x="1515" y="38"/>
                  <a:pt x="1517" y="39"/>
                </a:cubicBezTo>
                <a:close/>
                <a:moveTo>
                  <a:pt x="1408" y="222"/>
                </a:moveTo>
                <a:cubicBezTo>
                  <a:pt x="1407" y="224"/>
                  <a:pt x="1407" y="224"/>
                  <a:pt x="1407" y="224"/>
                </a:cubicBezTo>
                <a:cubicBezTo>
                  <a:pt x="1409" y="223"/>
                  <a:pt x="1409" y="223"/>
                  <a:pt x="1409" y="223"/>
                </a:cubicBezTo>
                <a:cubicBezTo>
                  <a:pt x="1408" y="222"/>
                  <a:pt x="1408" y="222"/>
                  <a:pt x="1408" y="222"/>
                </a:cubicBezTo>
                <a:cubicBezTo>
                  <a:pt x="1408" y="222"/>
                  <a:pt x="1408" y="222"/>
                  <a:pt x="1408" y="222"/>
                </a:cubicBezTo>
                <a:close/>
                <a:moveTo>
                  <a:pt x="1420" y="210"/>
                </a:moveTo>
                <a:cubicBezTo>
                  <a:pt x="1421" y="212"/>
                  <a:pt x="1421" y="212"/>
                  <a:pt x="1421" y="212"/>
                </a:cubicBezTo>
                <a:cubicBezTo>
                  <a:pt x="1422" y="213"/>
                  <a:pt x="1423" y="208"/>
                  <a:pt x="1423" y="208"/>
                </a:cubicBezTo>
                <a:cubicBezTo>
                  <a:pt x="1423" y="207"/>
                  <a:pt x="1421" y="205"/>
                  <a:pt x="1421" y="205"/>
                </a:cubicBezTo>
                <a:cubicBezTo>
                  <a:pt x="1421" y="207"/>
                  <a:pt x="1421" y="207"/>
                  <a:pt x="1421" y="207"/>
                </a:cubicBezTo>
                <a:cubicBezTo>
                  <a:pt x="1421" y="207"/>
                  <a:pt x="1418" y="208"/>
                  <a:pt x="1418" y="209"/>
                </a:cubicBezTo>
                <a:cubicBezTo>
                  <a:pt x="1418" y="210"/>
                  <a:pt x="1420" y="210"/>
                  <a:pt x="1420" y="210"/>
                </a:cubicBezTo>
                <a:close/>
                <a:moveTo>
                  <a:pt x="1406" y="220"/>
                </a:moveTo>
                <a:cubicBezTo>
                  <a:pt x="1404" y="219"/>
                  <a:pt x="1404" y="222"/>
                  <a:pt x="1404" y="222"/>
                </a:cubicBezTo>
                <a:cubicBezTo>
                  <a:pt x="1406" y="223"/>
                  <a:pt x="1408" y="222"/>
                  <a:pt x="1406" y="220"/>
                </a:cubicBezTo>
                <a:close/>
                <a:moveTo>
                  <a:pt x="1426" y="203"/>
                </a:moveTo>
                <a:cubicBezTo>
                  <a:pt x="1424" y="203"/>
                  <a:pt x="1424" y="205"/>
                  <a:pt x="1424" y="205"/>
                </a:cubicBezTo>
                <a:cubicBezTo>
                  <a:pt x="1426" y="206"/>
                  <a:pt x="1427" y="203"/>
                  <a:pt x="1426" y="203"/>
                </a:cubicBezTo>
                <a:close/>
                <a:moveTo>
                  <a:pt x="1600" y="108"/>
                </a:moveTo>
                <a:cubicBezTo>
                  <a:pt x="1603" y="108"/>
                  <a:pt x="1603" y="108"/>
                  <a:pt x="1603" y="108"/>
                </a:cubicBezTo>
                <a:cubicBezTo>
                  <a:pt x="1604" y="107"/>
                  <a:pt x="1604" y="105"/>
                  <a:pt x="1604" y="105"/>
                </a:cubicBezTo>
                <a:cubicBezTo>
                  <a:pt x="1600" y="106"/>
                  <a:pt x="1600" y="106"/>
                  <a:pt x="1600" y="106"/>
                </a:cubicBezTo>
                <a:cubicBezTo>
                  <a:pt x="1600" y="108"/>
                  <a:pt x="1600" y="108"/>
                  <a:pt x="1600" y="108"/>
                </a:cubicBezTo>
                <a:cubicBezTo>
                  <a:pt x="1600" y="108"/>
                  <a:pt x="1600" y="108"/>
                  <a:pt x="1600" y="108"/>
                </a:cubicBezTo>
                <a:close/>
                <a:moveTo>
                  <a:pt x="1643" y="455"/>
                </a:moveTo>
                <a:cubicBezTo>
                  <a:pt x="1642" y="456"/>
                  <a:pt x="1643" y="457"/>
                  <a:pt x="1644" y="457"/>
                </a:cubicBezTo>
                <a:cubicBezTo>
                  <a:pt x="1646" y="456"/>
                  <a:pt x="1644" y="454"/>
                  <a:pt x="1643" y="455"/>
                </a:cubicBezTo>
                <a:close/>
                <a:moveTo>
                  <a:pt x="1539" y="128"/>
                </a:moveTo>
                <a:cubicBezTo>
                  <a:pt x="1536" y="128"/>
                  <a:pt x="1531" y="132"/>
                  <a:pt x="1532" y="133"/>
                </a:cubicBezTo>
                <a:cubicBezTo>
                  <a:pt x="1533" y="133"/>
                  <a:pt x="1538" y="130"/>
                  <a:pt x="1538" y="130"/>
                </a:cubicBezTo>
                <a:cubicBezTo>
                  <a:pt x="1543" y="129"/>
                  <a:pt x="1543" y="129"/>
                  <a:pt x="1543" y="129"/>
                </a:cubicBezTo>
                <a:cubicBezTo>
                  <a:pt x="1543" y="129"/>
                  <a:pt x="1543" y="128"/>
                  <a:pt x="1539" y="128"/>
                </a:cubicBezTo>
                <a:close/>
                <a:moveTo>
                  <a:pt x="1608" y="452"/>
                </a:moveTo>
                <a:cubicBezTo>
                  <a:pt x="1606" y="453"/>
                  <a:pt x="1611" y="454"/>
                  <a:pt x="1611" y="454"/>
                </a:cubicBezTo>
                <a:cubicBezTo>
                  <a:pt x="1612" y="454"/>
                  <a:pt x="1610" y="450"/>
                  <a:pt x="1608" y="452"/>
                </a:cubicBezTo>
                <a:close/>
                <a:moveTo>
                  <a:pt x="1605" y="448"/>
                </a:moveTo>
                <a:cubicBezTo>
                  <a:pt x="1611" y="449"/>
                  <a:pt x="1611" y="449"/>
                  <a:pt x="1611" y="449"/>
                </a:cubicBezTo>
                <a:cubicBezTo>
                  <a:pt x="1608" y="445"/>
                  <a:pt x="1608" y="445"/>
                  <a:pt x="1608" y="445"/>
                </a:cubicBezTo>
                <a:cubicBezTo>
                  <a:pt x="1605" y="448"/>
                  <a:pt x="1605" y="448"/>
                  <a:pt x="1605" y="448"/>
                </a:cubicBezTo>
                <a:cubicBezTo>
                  <a:pt x="1605" y="448"/>
                  <a:pt x="1605" y="448"/>
                  <a:pt x="1605" y="448"/>
                </a:cubicBezTo>
                <a:close/>
                <a:moveTo>
                  <a:pt x="1634" y="457"/>
                </a:moveTo>
                <a:cubicBezTo>
                  <a:pt x="1636" y="456"/>
                  <a:pt x="1636" y="456"/>
                  <a:pt x="1636" y="456"/>
                </a:cubicBezTo>
                <a:cubicBezTo>
                  <a:pt x="1636" y="456"/>
                  <a:pt x="1634" y="455"/>
                  <a:pt x="1632" y="453"/>
                </a:cubicBezTo>
                <a:cubicBezTo>
                  <a:pt x="1630" y="451"/>
                  <a:pt x="1621" y="447"/>
                  <a:pt x="1621" y="447"/>
                </a:cubicBezTo>
                <a:cubicBezTo>
                  <a:pt x="1618" y="449"/>
                  <a:pt x="1618" y="449"/>
                  <a:pt x="1618" y="449"/>
                </a:cubicBezTo>
                <a:cubicBezTo>
                  <a:pt x="1616" y="449"/>
                  <a:pt x="1616" y="449"/>
                  <a:pt x="1616" y="449"/>
                </a:cubicBezTo>
                <a:cubicBezTo>
                  <a:pt x="1614" y="452"/>
                  <a:pt x="1614" y="452"/>
                  <a:pt x="1614" y="452"/>
                </a:cubicBezTo>
                <a:cubicBezTo>
                  <a:pt x="1618" y="455"/>
                  <a:pt x="1618" y="455"/>
                  <a:pt x="1618" y="455"/>
                </a:cubicBezTo>
                <a:cubicBezTo>
                  <a:pt x="1618" y="455"/>
                  <a:pt x="1617" y="459"/>
                  <a:pt x="1617" y="461"/>
                </a:cubicBezTo>
                <a:cubicBezTo>
                  <a:pt x="1617" y="463"/>
                  <a:pt x="1621" y="464"/>
                  <a:pt x="1621" y="463"/>
                </a:cubicBezTo>
                <a:cubicBezTo>
                  <a:pt x="1622" y="461"/>
                  <a:pt x="1624" y="461"/>
                  <a:pt x="1624" y="461"/>
                </a:cubicBezTo>
                <a:cubicBezTo>
                  <a:pt x="1627" y="467"/>
                  <a:pt x="1627" y="467"/>
                  <a:pt x="1627" y="467"/>
                </a:cubicBezTo>
                <a:cubicBezTo>
                  <a:pt x="1628" y="463"/>
                  <a:pt x="1628" y="463"/>
                  <a:pt x="1628" y="463"/>
                </a:cubicBezTo>
                <a:cubicBezTo>
                  <a:pt x="1630" y="466"/>
                  <a:pt x="1630" y="466"/>
                  <a:pt x="1630" y="466"/>
                </a:cubicBezTo>
                <a:cubicBezTo>
                  <a:pt x="1633" y="467"/>
                  <a:pt x="1633" y="467"/>
                  <a:pt x="1633" y="467"/>
                </a:cubicBezTo>
                <a:cubicBezTo>
                  <a:pt x="1631" y="465"/>
                  <a:pt x="1631" y="465"/>
                  <a:pt x="1631" y="465"/>
                </a:cubicBezTo>
                <a:cubicBezTo>
                  <a:pt x="1632" y="464"/>
                  <a:pt x="1632" y="464"/>
                  <a:pt x="1632" y="464"/>
                </a:cubicBezTo>
                <a:cubicBezTo>
                  <a:pt x="1632" y="461"/>
                  <a:pt x="1632" y="461"/>
                  <a:pt x="1632" y="461"/>
                </a:cubicBezTo>
                <a:cubicBezTo>
                  <a:pt x="1632" y="461"/>
                  <a:pt x="1628" y="456"/>
                  <a:pt x="1629" y="455"/>
                </a:cubicBezTo>
                <a:cubicBezTo>
                  <a:pt x="1629" y="453"/>
                  <a:pt x="1634" y="457"/>
                  <a:pt x="1634" y="457"/>
                </a:cubicBezTo>
                <a:close/>
                <a:moveTo>
                  <a:pt x="1643" y="439"/>
                </a:moveTo>
                <a:cubicBezTo>
                  <a:pt x="1643" y="439"/>
                  <a:pt x="1642" y="441"/>
                  <a:pt x="1645" y="441"/>
                </a:cubicBezTo>
                <a:cubicBezTo>
                  <a:pt x="1643" y="439"/>
                  <a:pt x="1643" y="439"/>
                  <a:pt x="1643" y="439"/>
                </a:cubicBezTo>
                <a:cubicBezTo>
                  <a:pt x="1643" y="439"/>
                  <a:pt x="1643" y="439"/>
                  <a:pt x="1643" y="439"/>
                </a:cubicBezTo>
                <a:close/>
                <a:moveTo>
                  <a:pt x="1631" y="469"/>
                </a:moveTo>
                <a:cubicBezTo>
                  <a:pt x="1630" y="469"/>
                  <a:pt x="1631" y="473"/>
                  <a:pt x="1632" y="471"/>
                </a:cubicBezTo>
                <a:cubicBezTo>
                  <a:pt x="1634" y="470"/>
                  <a:pt x="1632" y="468"/>
                  <a:pt x="1631" y="469"/>
                </a:cubicBezTo>
                <a:close/>
                <a:moveTo>
                  <a:pt x="1549" y="471"/>
                </a:moveTo>
                <a:cubicBezTo>
                  <a:pt x="1548" y="474"/>
                  <a:pt x="1552" y="475"/>
                  <a:pt x="1552" y="475"/>
                </a:cubicBezTo>
                <a:cubicBezTo>
                  <a:pt x="1555" y="472"/>
                  <a:pt x="1551" y="468"/>
                  <a:pt x="1549" y="471"/>
                </a:cubicBezTo>
                <a:close/>
                <a:moveTo>
                  <a:pt x="1433" y="438"/>
                </a:moveTo>
                <a:cubicBezTo>
                  <a:pt x="1432" y="436"/>
                  <a:pt x="1430" y="441"/>
                  <a:pt x="1430" y="441"/>
                </a:cubicBezTo>
                <a:cubicBezTo>
                  <a:pt x="1432" y="442"/>
                  <a:pt x="1434" y="440"/>
                  <a:pt x="1433" y="438"/>
                </a:cubicBezTo>
                <a:close/>
                <a:moveTo>
                  <a:pt x="1458" y="431"/>
                </a:moveTo>
                <a:cubicBezTo>
                  <a:pt x="1460" y="429"/>
                  <a:pt x="1456" y="426"/>
                  <a:pt x="1454" y="427"/>
                </a:cubicBezTo>
                <a:cubicBezTo>
                  <a:pt x="1454" y="427"/>
                  <a:pt x="1456" y="432"/>
                  <a:pt x="1458" y="431"/>
                </a:cubicBezTo>
                <a:close/>
                <a:moveTo>
                  <a:pt x="1506" y="395"/>
                </a:moveTo>
                <a:cubicBezTo>
                  <a:pt x="1505" y="393"/>
                  <a:pt x="1503" y="397"/>
                  <a:pt x="1503" y="397"/>
                </a:cubicBezTo>
                <a:cubicBezTo>
                  <a:pt x="1503" y="397"/>
                  <a:pt x="1497" y="400"/>
                  <a:pt x="1498" y="403"/>
                </a:cubicBezTo>
                <a:cubicBezTo>
                  <a:pt x="1498" y="406"/>
                  <a:pt x="1500" y="407"/>
                  <a:pt x="1500" y="407"/>
                </a:cubicBezTo>
                <a:cubicBezTo>
                  <a:pt x="1500" y="407"/>
                  <a:pt x="1498" y="409"/>
                  <a:pt x="1500" y="411"/>
                </a:cubicBezTo>
                <a:cubicBezTo>
                  <a:pt x="1501" y="412"/>
                  <a:pt x="1503" y="413"/>
                  <a:pt x="1503" y="413"/>
                </a:cubicBezTo>
                <a:cubicBezTo>
                  <a:pt x="1503" y="413"/>
                  <a:pt x="1505" y="411"/>
                  <a:pt x="1505" y="409"/>
                </a:cubicBezTo>
                <a:cubicBezTo>
                  <a:pt x="1505" y="406"/>
                  <a:pt x="1505" y="406"/>
                  <a:pt x="1505" y="406"/>
                </a:cubicBezTo>
                <a:cubicBezTo>
                  <a:pt x="1507" y="405"/>
                  <a:pt x="1507" y="405"/>
                  <a:pt x="1507" y="405"/>
                </a:cubicBezTo>
                <a:cubicBezTo>
                  <a:pt x="1506" y="398"/>
                  <a:pt x="1506" y="398"/>
                  <a:pt x="1506" y="398"/>
                </a:cubicBezTo>
                <a:cubicBezTo>
                  <a:pt x="1505" y="398"/>
                  <a:pt x="1505" y="398"/>
                  <a:pt x="1505" y="398"/>
                </a:cubicBezTo>
                <a:cubicBezTo>
                  <a:pt x="1505" y="398"/>
                  <a:pt x="1507" y="396"/>
                  <a:pt x="1506" y="395"/>
                </a:cubicBezTo>
                <a:close/>
                <a:moveTo>
                  <a:pt x="1443" y="433"/>
                </a:moveTo>
                <a:cubicBezTo>
                  <a:pt x="1443" y="433"/>
                  <a:pt x="1444" y="435"/>
                  <a:pt x="1445" y="435"/>
                </a:cubicBezTo>
                <a:cubicBezTo>
                  <a:pt x="1446" y="436"/>
                  <a:pt x="1448" y="436"/>
                  <a:pt x="1448" y="436"/>
                </a:cubicBezTo>
                <a:cubicBezTo>
                  <a:pt x="1449" y="435"/>
                  <a:pt x="1451" y="433"/>
                  <a:pt x="1451" y="432"/>
                </a:cubicBezTo>
                <a:cubicBezTo>
                  <a:pt x="1450" y="430"/>
                  <a:pt x="1449" y="430"/>
                  <a:pt x="1449" y="430"/>
                </a:cubicBezTo>
                <a:cubicBezTo>
                  <a:pt x="1449" y="430"/>
                  <a:pt x="1448" y="429"/>
                  <a:pt x="1447" y="429"/>
                </a:cubicBezTo>
                <a:cubicBezTo>
                  <a:pt x="1445" y="429"/>
                  <a:pt x="1441" y="432"/>
                  <a:pt x="1441" y="433"/>
                </a:cubicBezTo>
                <a:cubicBezTo>
                  <a:pt x="1442" y="434"/>
                  <a:pt x="1443" y="433"/>
                  <a:pt x="1443" y="433"/>
                </a:cubicBezTo>
                <a:close/>
                <a:moveTo>
                  <a:pt x="1560" y="452"/>
                </a:moveTo>
                <a:cubicBezTo>
                  <a:pt x="1561" y="451"/>
                  <a:pt x="1560" y="447"/>
                  <a:pt x="1560" y="447"/>
                </a:cubicBezTo>
                <a:cubicBezTo>
                  <a:pt x="1559" y="449"/>
                  <a:pt x="1559" y="449"/>
                  <a:pt x="1559" y="449"/>
                </a:cubicBezTo>
                <a:cubicBezTo>
                  <a:pt x="1559" y="449"/>
                  <a:pt x="1556" y="448"/>
                  <a:pt x="1555" y="448"/>
                </a:cubicBezTo>
                <a:cubicBezTo>
                  <a:pt x="1553" y="449"/>
                  <a:pt x="1551" y="450"/>
                  <a:pt x="1551" y="450"/>
                </a:cubicBezTo>
                <a:cubicBezTo>
                  <a:pt x="1551" y="450"/>
                  <a:pt x="1547" y="451"/>
                  <a:pt x="1546" y="451"/>
                </a:cubicBezTo>
                <a:cubicBezTo>
                  <a:pt x="1544" y="451"/>
                  <a:pt x="1541" y="447"/>
                  <a:pt x="1540" y="448"/>
                </a:cubicBezTo>
                <a:cubicBezTo>
                  <a:pt x="1540" y="449"/>
                  <a:pt x="1538" y="450"/>
                  <a:pt x="1538" y="450"/>
                </a:cubicBezTo>
                <a:cubicBezTo>
                  <a:pt x="1535" y="449"/>
                  <a:pt x="1535" y="449"/>
                  <a:pt x="1535" y="449"/>
                </a:cubicBezTo>
                <a:cubicBezTo>
                  <a:pt x="1535" y="449"/>
                  <a:pt x="1531" y="450"/>
                  <a:pt x="1533" y="452"/>
                </a:cubicBezTo>
                <a:cubicBezTo>
                  <a:pt x="1535" y="456"/>
                  <a:pt x="1538" y="455"/>
                  <a:pt x="1539" y="455"/>
                </a:cubicBezTo>
                <a:cubicBezTo>
                  <a:pt x="1540" y="455"/>
                  <a:pt x="1541" y="457"/>
                  <a:pt x="1541" y="458"/>
                </a:cubicBezTo>
                <a:cubicBezTo>
                  <a:pt x="1542" y="459"/>
                  <a:pt x="1546" y="461"/>
                  <a:pt x="1546" y="461"/>
                </a:cubicBezTo>
                <a:cubicBezTo>
                  <a:pt x="1549" y="460"/>
                  <a:pt x="1549" y="460"/>
                  <a:pt x="1549" y="460"/>
                </a:cubicBezTo>
                <a:cubicBezTo>
                  <a:pt x="1549" y="460"/>
                  <a:pt x="1552" y="464"/>
                  <a:pt x="1556" y="465"/>
                </a:cubicBezTo>
                <a:cubicBezTo>
                  <a:pt x="1560" y="465"/>
                  <a:pt x="1559" y="461"/>
                  <a:pt x="1559" y="461"/>
                </a:cubicBezTo>
                <a:cubicBezTo>
                  <a:pt x="1559" y="461"/>
                  <a:pt x="1558" y="458"/>
                  <a:pt x="1558" y="456"/>
                </a:cubicBezTo>
                <a:cubicBezTo>
                  <a:pt x="1558" y="455"/>
                  <a:pt x="1559" y="453"/>
                  <a:pt x="1560" y="452"/>
                </a:cubicBezTo>
                <a:close/>
                <a:moveTo>
                  <a:pt x="1494" y="416"/>
                </a:moveTo>
                <a:cubicBezTo>
                  <a:pt x="1493" y="418"/>
                  <a:pt x="1493" y="418"/>
                  <a:pt x="1493" y="418"/>
                </a:cubicBezTo>
                <a:cubicBezTo>
                  <a:pt x="1493" y="418"/>
                  <a:pt x="1497" y="421"/>
                  <a:pt x="1497" y="423"/>
                </a:cubicBezTo>
                <a:cubicBezTo>
                  <a:pt x="1497" y="425"/>
                  <a:pt x="1496" y="429"/>
                  <a:pt x="1496" y="429"/>
                </a:cubicBezTo>
                <a:cubicBezTo>
                  <a:pt x="1497" y="430"/>
                  <a:pt x="1497" y="430"/>
                  <a:pt x="1497" y="430"/>
                </a:cubicBezTo>
                <a:cubicBezTo>
                  <a:pt x="1495" y="431"/>
                  <a:pt x="1495" y="431"/>
                  <a:pt x="1495" y="431"/>
                </a:cubicBezTo>
                <a:cubicBezTo>
                  <a:pt x="1496" y="438"/>
                  <a:pt x="1496" y="438"/>
                  <a:pt x="1496" y="438"/>
                </a:cubicBezTo>
                <a:cubicBezTo>
                  <a:pt x="1494" y="438"/>
                  <a:pt x="1494" y="438"/>
                  <a:pt x="1494" y="438"/>
                </a:cubicBezTo>
                <a:cubicBezTo>
                  <a:pt x="1497" y="440"/>
                  <a:pt x="1497" y="440"/>
                  <a:pt x="1497" y="440"/>
                </a:cubicBezTo>
                <a:cubicBezTo>
                  <a:pt x="1500" y="440"/>
                  <a:pt x="1502" y="436"/>
                  <a:pt x="1502" y="436"/>
                </a:cubicBezTo>
                <a:cubicBezTo>
                  <a:pt x="1502" y="436"/>
                  <a:pt x="1504" y="439"/>
                  <a:pt x="1506" y="437"/>
                </a:cubicBezTo>
                <a:cubicBezTo>
                  <a:pt x="1508" y="436"/>
                  <a:pt x="1507" y="432"/>
                  <a:pt x="1507" y="432"/>
                </a:cubicBezTo>
                <a:cubicBezTo>
                  <a:pt x="1508" y="430"/>
                  <a:pt x="1508" y="430"/>
                  <a:pt x="1508" y="430"/>
                </a:cubicBezTo>
                <a:cubicBezTo>
                  <a:pt x="1508" y="427"/>
                  <a:pt x="1508" y="427"/>
                  <a:pt x="1508" y="427"/>
                </a:cubicBezTo>
                <a:cubicBezTo>
                  <a:pt x="1508" y="427"/>
                  <a:pt x="1507" y="426"/>
                  <a:pt x="1507" y="425"/>
                </a:cubicBezTo>
                <a:cubicBezTo>
                  <a:pt x="1507" y="424"/>
                  <a:pt x="1509" y="424"/>
                  <a:pt x="1509" y="423"/>
                </a:cubicBezTo>
                <a:cubicBezTo>
                  <a:pt x="1509" y="421"/>
                  <a:pt x="1507" y="414"/>
                  <a:pt x="1505" y="414"/>
                </a:cubicBezTo>
                <a:cubicBezTo>
                  <a:pt x="1502" y="414"/>
                  <a:pt x="1500" y="418"/>
                  <a:pt x="1498" y="418"/>
                </a:cubicBezTo>
                <a:cubicBezTo>
                  <a:pt x="1497" y="418"/>
                  <a:pt x="1494" y="416"/>
                  <a:pt x="1494" y="416"/>
                </a:cubicBezTo>
                <a:close/>
                <a:moveTo>
                  <a:pt x="891" y="134"/>
                </a:moveTo>
                <a:cubicBezTo>
                  <a:pt x="900" y="133"/>
                  <a:pt x="900" y="133"/>
                  <a:pt x="900" y="133"/>
                </a:cubicBezTo>
                <a:cubicBezTo>
                  <a:pt x="900" y="131"/>
                  <a:pt x="900" y="131"/>
                  <a:pt x="900" y="131"/>
                </a:cubicBezTo>
                <a:cubicBezTo>
                  <a:pt x="894" y="131"/>
                  <a:pt x="894" y="131"/>
                  <a:pt x="894" y="131"/>
                </a:cubicBezTo>
                <a:cubicBezTo>
                  <a:pt x="891" y="134"/>
                  <a:pt x="891" y="134"/>
                  <a:pt x="891" y="134"/>
                </a:cubicBezTo>
                <a:cubicBezTo>
                  <a:pt x="891" y="134"/>
                  <a:pt x="891" y="134"/>
                  <a:pt x="891" y="134"/>
                </a:cubicBezTo>
                <a:close/>
                <a:moveTo>
                  <a:pt x="891" y="125"/>
                </a:moveTo>
                <a:cubicBezTo>
                  <a:pt x="886" y="123"/>
                  <a:pt x="891" y="127"/>
                  <a:pt x="891" y="127"/>
                </a:cubicBezTo>
                <a:cubicBezTo>
                  <a:pt x="895" y="127"/>
                  <a:pt x="897" y="126"/>
                  <a:pt x="891" y="125"/>
                </a:cubicBezTo>
                <a:close/>
                <a:moveTo>
                  <a:pt x="796" y="84"/>
                </a:moveTo>
                <a:cubicBezTo>
                  <a:pt x="801" y="83"/>
                  <a:pt x="805" y="87"/>
                  <a:pt x="805" y="87"/>
                </a:cubicBezTo>
                <a:cubicBezTo>
                  <a:pt x="813" y="86"/>
                  <a:pt x="813" y="86"/>
                  <a:pt x="813" y="86"/>
                </a:cubicBezTo>
                <a:cubicBezTo>
                  <a:pt x="812" y="83"/>
                  <a:pt x="812" y="83"/>
                  <a:pt x="812" y="83"/>
                </a:cubicBezTo>
                <a:cubicBezTo>
                  <a:pt x="812" y="83"/>
                  <a:pt x="822" y="83"/>
                  <a:pt x="824" y="80"/>
                </a:cubicBezTo>
                <a:cubicBezTo>
                  <a:pt x="826" y="78"/>
                  <a:pt x="830" y="75"/>
                  <a:pt x="827" y="75"/>
                </a:cubicBezTo>
                <a:cubicBezTo>
                  <a:pt x="824" y="75"/>
                  <a:pt x="808" y="73"/>
                  <a:pt x="799" y="74"/>
                </a:cubicBezTo>
                <a:cubicBezTo>
                  <a:pt x="791" y="74"/>
                  <a:pt x="794" y="74"/>
                  <a:pt x="793" y="75"/>
                </a:cubicBezTo>
                <a:cubicBezTo>
                  <a:pt x="793" y="77"/>
                  <a:pt x="790" y="78"/>
                  <a:pt x="783" y="80"/>
                </a:cubicBezTo>
                <a:cubicBezTo>
                  <a:pt x="776" y="81"/>
                  <a:pt x="783" y="81"/>
                  <a:pt x="782" y="86"/>
                </a:cubicBezTo>
                <a:cubicBezTo>
                  <a:pt x="780" y="89"/>
                  <a:pt x="780" y="89"/>
                  <a:pt x="780" y="89"/>
                </a:cubicBezTo>
                <a:cubicBezTo>
                  <a:pt x="784" y="92"/>
                  <a:pt x="784" y="92"/>
                  <a:pt x="784" y="92"/>
                </a:cubicBezTo>
                <a:cubicBezTo>
                  <a:pt x="795" y="87"/>
                  <a:pt x="795" y="87"/>
                  <a:pt x="795" y="87"/>
                </a:cubicBezTo>
                <a:cubicBezTo>
                  <a:pt x="795" y="87"/>
                  <a:pt x="791" y="86"/>
                  <a:pt x="796" y="84"/>
                </a:cubicBezTo>
                <a:close/>
                <a:moveTo>
                  <a:pt x="869" y="120"/>
                </a:moveTo>
                <a:cubicBezTo>
                  <a:pt x="866" y="121"/>
                  <a:pt x="861" y="123"/>
                  <a:pt x="866" y="122"/>
                </a:cubicBezTo>
                <a:cubicBezTo>
                  <a:pt x="871" y="121"/>
                  <a:pt x="875" y="120"/>
                  <a:pt x="875" y="120"/>
                </a:cubicBezTo>
                <a:cubicBezTo>
                  <a:pt x="880" y="116"/>
                  <a:pt x="873" y="119"/>
                  <a:pt x="869" y="120"/>
                </a:cubicBezTo>
                <a:close/>
                <a:moveTo>
                  <a:pt x="813" y="71"/>
                </a:moveTo>
                <a:cubicBezTo>
                  <a:pt x="816" y="69"/>
                  <a:pt x="821" y="65"/>
                  <a:pt x="820" y="63"/>
                </a:cubicBezTo>
                <a:cubicBezTo>
                  <a:pt x="819" y="62"/>
                  <a:pt x="812" y="62"/>
                  <a:pt x="810" y="62"/>
                </a:cubicBezTo>
                <a:cubicBezTo>
                  <a:pt x="805" y="63"/>
                  <a:pt x="796" y="66"/>
                  <a:pt x="798" y="67"/>
                </a:cubicBezTo>
                <a:cubicBezTo>
                  <a:pt x="801" y="69"/>
                  <a:pt x="813" y="71"/>
                  <a:pt x="813" y="71"/>
                </a:cubicBezTo>
                <a:close/>
                <a:moveTo>
                  <a:pt x="885" y="118"/>
                </a:moveTo>
                <a:cubicBezTo>
                  <a:pt x="882" y="116"/>
                  <a:pt x="880" y="120"/>
                  <a:pt x="882" y="121"/>
                </a:cubicBezTo>
                <a:cubicBezTo>
                  <a:pt x="882" y="121"/>
                  <a:pt x="888" y="119"/>
                  <a:pt x="885" y="118"/>
                </a:cubicBezTo>
                <a:close/>
                <a:moveTo>
                  <a:pt x="845" y="177"/>
                </a:moveTo>
                <a:cubicBezTo>
                  <a:pt x="847" y="175"/>
                  <a:pt x="841" y="174"/>
                  <a:pt x="841" y="174"/>
                </a:cubicBezTo>
                <a:cubicBezTo>
                  <a:pt x="841" y="174"/>
                  <a:pt x="841" y="180"/>
                  <a:pt x="845" y="177"/>
                </a:cubicBezTo>
                <a:close/>
                <a:moveTo>
                  <a:pt x="872" y="138"/>
                </a:moveTo>
                <a:cubicBezTo>
                  <a:pt x="880" y="139"/>
                  <a:pt x="882" y="137"/>
                  <a:pt x="885" y="135"/>
                </a:cubicBezTo>
                <a:cubicBezTo>
                  <a:pt x="888" y="133"/>
                  <a:pt x="887" y="130"/>
                  <a:pt x="884" y="129"/>
                </a:cubicBezTo>
                <a:cubicBezTo>
                  <a:pt x="881" y="129"/>
                  <a:pt x="875" y="130"/>
                  <a:pt x="875" y="130"/>
                </a:cubicBezTo>
                <a:cubicBezTo>
                  <a:pt x="867" y="135"/>
                  <a:pt x="865" y="136"/>
                  <a:pt x="872" y="138"/>
                </a:cubicBezTo>
                <a:close/>
                <a:moveTo>
                  <a:pt x="46" y="274"/>
                </a:moveTo>
                <a:cubicBezTo>
                  <a:pt x="46" y="271"/>
                  <a:pt x="46" y="271"/>
                  <a:pt x="46" y="271"/>
                </a:cubicBezTo>
                <a:cubicBezTo>
                  <a:pt x="39" y="274"/>
                  <a:pt x="39" y="274"/>
                  <a:pt x="39" y="274"/>
                </a:cubicBezTo>
                <a:cubicBezTo>
                  <a:pt x="46" y="274"/>
                  <a:pt x="46" y="274"/>
                  <a:pt x="46" y="274"/>
                </a:cubicBezTo>
                <a:cubicBezTo>
                  <a:pt x="46" y="274"/>
                  <a:pt x="46" y="274"/>
                  <a:pt x="46" y="274"/>
                </a:cubicBezTo>
                <a:close/>
                <a:moveTo>
                  <a:pt x="0" y="286"/>
                </a:moveTo>
                <a:cubicBezTo>
                  <a:pt x="9" y="284"/>
                  <a:pt x="9" y="284"/>
                  <a:pt x="9" y="284"/>
                </a:cubicBezTo>
                <a:cubicBezTo>
                  <a:pt x="10" y="282"/>
                  <a:pt x="10" y="282"/>
                  <a:pt x="10" y="282"/>
                </a:cubicBezTo>
                <a:cubicBezTo>
                  <a:pt x="19" y="281"/>
                  <a:pt x="19" y="281"/>
                  <a:pt x="19" y="281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0" y="286"/>
                  <a:pt x="0" y="286"/>
                  <a:pt x="0" y="286"/>
                </a:cubicBezTo>
                <a:cubicBezTo>
                  <a:pt x="0" y="286"/>
                  <a:pt x="0" y="286"/>
                  <a:pt x="0" y="286"/>
                </a:cubicBezTo>
                <a:close/>
                <a:moveTo>
                  <a:pt x="110" y="214"/>
                </a:moveTo>
                <a:cubicBezTo>
                  <a:pt x="114" y="213"/>
                  <a:pt x="124" y="209"/>
                  <a:pt x="121" y="208"/>
                </a:cubicBezTo>
                <a:cubicBezTo>
                  <a:pt x="117" y="207"/>
                  <a:pt x="113" y="206"/>
                  <a:pt x="112" y="208"/>
                </a:cubicBezTo>
                <a:cubicBezTo>
                  <a:pt x="110" y="209"/>
                  <a:pt x="108" y="206"/>
                  <a:pt x="107" y="208"/>
                </a:cubicBezTo>
                <a:cubicBezTo>
                  <a:pt x="106" y="211"/>
                  <a:pt x="107" y="214"/>
                  <a:pt x="110" y="214"/>
                </a:cubicBezTo>
                <a:close/>
                <a:moveTo>
                  <a:pt x="22" y="280"/>
                </a:moveTo>
                <a:cubicBezTo>
                  <a:pt x="28" y="280"/>
                  <a:pt x="28" y="280"/>
                  <a:pt x="28" y="280"/>
                </a:cubicBezTo>
                <a:cubicBezTo>
                  <a:pt x="34" y="276"/>
                  <a:pt x="34" y="276"/>
                  <a:pt x="34" y="276"/>
                </a:cubicBezTo>
                <a:cubicBezTo>
                  <a:pt x="32" y="274"/>
                  <a:pt x="32" y="274"/>
                  <a:pt x="32" y="274"/>
                </a:cubicBezTo>
                <a:cubicBezTo>
                  <a:pt x="22" y="280"/>
                  <a:pt x="22" y="280"/>
                  <a:pt x="22" y="280"/>
                </a:cubicBezTo>
                <a:cubicBezTo>
                  <a:pt x="22" y="280"/>
                  <a:pt x="22" y="280"/>
                  <a:pt x="22" y="280"/>
                </a:cubicBezTo>
                <a:close/>
                <a:moveTo>
                  <a:pt x="69" y="263"/>
                </a:moveTo>
                <a:cubicBezTo>
                  <a:pt x="67" y="263"/>
                  <a:pt x="61" y="265"/>
                  <a:pt x="61" y="265"/>
                </a:cubicBezTo>
                <a:cubicBezTo>
                  <a:pt x="61" y="265"/>
                  <a:pt x="53" y="268"/>
                  <a:pt x="53" y="270"/>
                </a:cubicBezTo>
                <a:cubicBezTo>
                  <a:pt x="54" y="271"/>
                  <a:pt x="56" y="270"/>
                  <a:pt x="60" y="269"/>
                </a:cubicBezTo>
                <a:cubicBezTo>
                  <a:pt x="64" y="267"/>
                  <a:pt x="69" y="270"/>
                  <a:pt x="70" y="268"/>
                </a:cubicBezTo>
                <a:cubicBezTo>
                  <a:pt x="72" y="267"/>
                  <a:pt x="72" y="263"/>
                  <a:pt x="69" y="263"/>
                </a:cubicBezTo>
                <a:close/>
                <a:moveTo>
                  <a:pt x="190" y="233"/>
                </a:moveTo>
                <a:cubicBezTo>
                  <a:pt x="189" y="233"/>
                  <a:pt x="187" y="234"/>
                  <a:pt x="187" y="234"/>
                </a:cubicBezTo>
                <a:cubicBezTo>
                  <a:pt x="187" y="234"/>
                  <a:pt x="185" y="233"/>
                  <a:pt x="184" y="233"/>
                </a:cubicBezTo>
                <a:cubicBezTo>
                  <a:pt x="183" y="233"/>
                  <a:pt x="183" y="237"/>
                  <a:pt x="183" y="237"/>
                </a:cubicBezTo>
                <a:cubicBezTo>
                  <a:pt x="180" y="239"/>
                  <a:pt x="180" y="239"/>
                  <a:pt x="180" y="239"/>
                </a:cubicBezTo>
                <a:cubicBezTo>
                  <a:pt x="180" y="235"/>
                  <a:pt x="180" y="235"/>
                  <a:pt x="180" y="235"/>
                </a:cubicBezTo>
                <a:cubicBezTo>
                  <a:pt x="180" y="235"/>
                  <a:pt x="177" y="234"/>
                  <a:pt x="174" y="237"/>
                </a:cubicBezTo>
                <a:cubicBezTo>
                  <a:pt x="174" y="237"/>
                  <a:pt x="170" y="239"/>
                  <a:pt x="170" y="241"/>
                </a:cubicBezTo>
                <a:cubicBezTo>
                  <a:pt x="169" y="243"/>
                  <a:pt x="174" y="243"/>
                  <a:pt x="174" y="243"/>
                </a:cubicBezTo>
                <a:cubicBezTo>
                  <a:pt x="174" y="243"/>
                  <a:pt x="180" y="243"/>
                  <a:pt x="182" y="242"/>
                </a:cubicBezTo>
                <a:cubicBezTo>
                  <a:pt x="185" y="241"/>
                  <a:pt x="184" y="239"/>
                  <a:pt x="184" y="239"/>
                </a:cubicBezTo>
                <a:cubicBezTo>
                  <a:pt x="188" y="239"/>
                  <a:pt x="188" y="239"/>
                  <a:pt x="188" y="239"/>
                </a:cubicBezTo>
                <a:cubicBezTo>
                  <a:pt x="188" y="237"/>
                  <a:pt x="188" y="237"/>
                  <a:pt x="188" y="237"/>
                </a:cubicBezTo>
                <a:cubicBezTo>
                  <a:pt x="194" y="237"/>
                  <a:pt x="194" y="237"/>
                  <a:pt x="194" y="237"/>
                </a:cubicBezTo>
                <a:cubicBezTo>
                  <a:pt x="195" y="234"/>
                  <a:pt x="195" y="234"/>
                  <a:pt x="195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92" y="234"/>
                  <a:pt x="191" y="233"/>
                  <a:pt x="190" y="233"/>
                </a:cubicBezTo>
                <a:close/>
                <a:moveTo>
                  <a:pt x="631" y="55"/>
                </a:moveTo>
                <a:cubicBezTo>
                  <a:pt x="631" y="55"/>
                  <a:pt x="639" y="53"/>
                  <a:pt x="641" y="55"/>
                </a:cubicBezTo>
                <a:cubicBezTo>
                  <a:pt x="643" y="56"/>
                  <a:pt x="642" y="58"/>
                  <a:pt x="645" y="58"/>
                </a:cubicBezTo>
                <a:cubicBezTo>
                  <a:pt x="647" y="58"/>
                  <a:pt x="652" y="57"/>
                  <a:pt x="652" y="57"/>
                </a:cubicBezTo>
                <a:cubicBezTo>
                  <a:pt x="652" y="57"/>
                  <a:pt x="655" y="59"/>
                  <a:pt x="658" y="57"/>
                </a:cubicBezTo>
                <a:cubicBezTo>
                  <a:pt x="662" y="56"/>
                  <a:pt x="661" y="53"/>
                  <a:pt x="661" y="53"/>
                </a:cubicBezTo>
                <a:cubicBezTo>
                  <a:pt x="666" y="53"/>
                  <a:pt x="666" y="53"/>
                  <a:pt x="666" y="53"/>
                </a:cubicBezTo>
                <a:cubicBezTo>
                  <a:pt x="675" y="50"/>
                  <a:pt x="675" y="50"/>
                  <a:pt x="675" y="50"/>
                </a:cubicBezTo>
                <a:cubicBezTo>
                  <a:pt x="670" y="54"/>
                  <a:pt x="670" y="54"/>
                  <a:pt x="670" y="54"/>
                </a:cubicBezTo>
                <a:cubicBezTo>
                  <a:pt x="677" y="56"/>
                  <a:pt x="677" y="56"/>
                  <a:pt x="677" y="56"/>
                </a:cubicBezTo>
                <a:cubicBezTo>
                  <a:pt x="685" y="53"/>
                  <a:pt x="685" y="53"/>
                  <a:pt x="685" y="53"/>
                </a:cubicBezTo>
                <a:cubicBezTo>
                  <a:pt x="698" y="47"/>
                  <a:pt x="698" y="47"/>
                  <a:pt x="698" y="47"/>
                </a:cubicBezTo>
                <a:cubicBezTo>
                  <a:pt x="698" y="47"/>
                  <a:pt x="688" y="43"/>
                  <a:pt x="686" y="43"/>
                </a:cubicBezTo>
                <a:cubicBezTo>
                  <a:pt x="684" y="43"/>
                  <a:pt x="673" y="43"/>
                  <a:pt x="673" y="43"/>
                </a:cubicBezTo>
                <a:cubicBezTo>
                  <a:pt x="662" y="44"/>
                  <a:pt x="662" y="44"/>
                  <a:pt x="662" y="44"/>
                </a:cubicBezTo>
                <a:cubicBezTo>
                  <a:pt x="662" y="47"/>
                  <a:pt x="662" y="47"/>
                  <a:pt x="662" y="47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0" y="47"/>
                  <a:pt x="635" y="47"/>
                </a:cubicBezTo>
                <a:cubicBezTo>
                  <a:pt x="631" y="48"/>
                  <a:pt x="631" y="50"/>
                  <a:pt x="631" y="50"/>
                </a:cubicBezTo>
                <a:cubicBezTo>
                  <a:pt x="631" y="51"/>
                  <a:pt x="631" y="55"/>
                  <a:pt x="631" y="55"/>
                </a:cubicBezTo>
                <a:close/>
                <a:moveTo>
                  <a:pt x="726" y="48"/>
                </a:moveTo>
                <a:cubicBezTo>
                  <a:pt x="739" y="48"/>
                  <a:pt x="738" y="44"/>
                  <a:pt x="738" y="44"/>
                </a:cubicBezTo>
                <a:cubicBezTo>
                  <a:pt x="737" y="42"/>
                  <a:pt x="737" y="42"/>
                  <a:pt x="737" y="42"/>
                </a:cubicBezTo>
                <a:cubicBezTo>
                  <a:pt x="747" y="41"/>
                  <a:pt x="747" y="41"/>
                  <a:pt x="747" y="41"/>
                </a:cubicBezTo>
                <a:cubicBezTo>
                  <a:pt x="745" y="40"/>
                  <a:pt x="745" y="40"/>
                  <a:pt x="745" y="40"/>
                </a:cubicBezTo>
                <a:cubicBezTo>
                  <a:pt x="735" y="40"/>
                  <a:pt x="735" y="40"/>
                  <a:pt x="735" y="40"/>
                </a:cubicBezTo>
                <a:cubicBezTo>
                  <a:pt x="734" y="42"/>
                  <a:pt x="734" y="42"/>
                  <a:pt x="734" y="42"/>
                </a:cubicBezTo>
                <a:cubicBezTo>
                  <a:pt x="734" y="42"/>
                  <a:pt x="721" y="39"/>
                  <a:pt x="720" y="42"/>
                </a:cubicBezTo>
                <a:cubicBezTo>
                  <a:pt x="719" y="46"/>
                  <a:pt x="726" y="48"/>
                  <a:pt x="726" y="48"/>
                </a:cubicBezTo>
                <a:close/>
                <a:moveTo>
                  <a:pt x="684" y="57"/>
                </a:moveTo>
                <a:cubicBezTo>
                  <a:pt x="676" y="60"/>
                  <a:pt x="676" y="60"/>
                  <a:pt x="676" y="60"/>
                </a:cubicBezTo>
                <a:cubicBezTo>
                  <a:pt x="676" y="60"/>
                  <a:pt x="683" y="62"/>
                  <a:pt x="680" y="62"/>
                </a:cubicBezTo>
                <a:cubicBezTo>
                  <a:pt x="677" y="63"/>
                  <a:pt x="664" y="64"/>
                  <a:pt x="664" y="64"/>
                </a:cubicBezTo>
                <a:cubicBezTo>
                  <a:pt x="662" y="67"/>
                  <a:pt x="662" y="67"/>
                  <a:pt x="662" y="67"/>
                </a:cubicBezTo>
                <a:cubicBezTo>
                  <a:pt x="669" y="66"/>
                  <a:pt x="669" y="66"/>
                  <a:pt x="669" y="66"/>
                </a:cubicBezTo>
                <a:cubicBezTo>
                  <a:pt x="669" y="66"/>
                  <a:pt x="672" y="67"/>
                  <a:pt x="676" y="68"/>
                </a:cubicBezTo>
                <a:cubicBezTo>
                  <a:pt x="680" y="68"/>
                  <a:pt x="692" y="65"/>
                  <a:pt x="692" y="65"/>
                </a:cubicBezTo>
                <a:cubicBezTo>
                  <a:pt x="692" y="66"/>
                  <a:pt x="692" y="66"/>
                  <a:pt x="692" y="66"/>
                </a:cubicBezTo>
                <a:cubicBezTo>
                  <a:pt x="692" y="66"/>
                  <a:pt x="700" y="65"/>
                  <a:pt x="706" y="65"/>
                </a:cubicBezTo>
                <a:cubicBezTo>
                  <a:pt x="712" y="65"/>
                  <a:pt x="707" y="66"/>
                  <a:pt x="704" y="66"/>
                </a:cubicBezTo>
                <a:cubicBezTo>
                  <a:pt x="702" y="67"/>
                  <a:pt x="695" y="67"/>
                  <a:pt x="690" y="68"/>
                </a:cubicBezTo>
                <a:cubicBezTo>
                  <a:pt x="685" y="69"/>
                  <a:pt x="678" y="71"/>
                  <a:pt x="678" y="71"/>
                </a:cubicBezTo>
                <a:cubicBezTo>
                  <a:pt x="678" y="71"/>
                  <a:pt x="684" y="72"/>
                  <a:pt x="695" y="72"/>
                </a:cubicBezTo>
                <a:cubicBezTo>
                  <a:pt x="705" y="73"/>
                  <a:pt x="712" y="68"/>
                  <a:pt x="712" y="68"/>
                </a:cubicBezTo>
                <a:cubicBezTo>
                  <a:pt x="722" y="66"/>
                  <a:pt x="722" y="66"/>
                  <a:pt x="722" y="66"/>
                </a:cubicBezTo>
                <a:cubicBezTo>
                  <a:pt x="722" y="66"/>
                  <a:pt x="726" y="67"/>
                  <a:pt x="736" y="66"/>
                </a:cubicBezTo>
                <a:cubicBezTo>
                  <a:pt x="745" y="64"/>
                  <a:pt x="746" y="62"/>
                  <a:pt x="750" y="61"/>
                </a:cubicBezTo>
                <a:cubicBezTo>
                  <a:pt x="754" y="60"/>
                  <a:pt x="751" y="56"/>
                  <a:pt x="746" y="56"/>
                </a:cubicBezTo>
                <a:cubicBezTo>
                  <a:pt x="742" y="56"/>
                  <a:pt x="744" y="59"/>
                  <a:pt x="744" y="59"/>
                </a:cubicBezTo>
                <a:cubicBezTo>
                  <a:pt x="738" y="59"/>
                  <a:pt x="738" y="59"/>
                  <a:pt x="738" y="59"/>
                </a:cubicBezTo>
                <a:cubicBezTo>
                  <a:pt x="738" y="59"/>
                  <a:pt x="739" y="57"/>
                  <a:pt x="740" y="56"/>
                </a:cubicBezTo>
                <a:cubicBezTo>
                  <a:pt x="741" y="54"/>
                  <a:pt x="744" y="51"/>
                  <a:pt x="741" y="51"/>
                </a:cubicBezTo>
                <a:cubicBezTo>
                  <a:pt x="739" y="50"/>
                  <a:pt x="734" y="53"/>
                  <a:pt x="727" y="55"/>
                </a:cubicBezTo>
                <a:cubicBezTo>
                  <a:pt x="719" y="57"/>
                  <a:pt x="731" y="56"/>
                  <a:pt x="731" y="56"/>
                </a:cubicBezTo>
                <a:cubicBezTo>
                  <a:pt x="730" y="60"/>
                  <a:pt x="730" y="60"/>
                  <a:pt x="730" y="60"/>
                </a:cubicBezTo>
                <a:cubicBezTo>
                  <a:pt x="714" y="62"/>
                  <a:pt x="714" y="62"/>
                  <a:pt x="714" y="62"/>
                </a:cubicBezTo>
                <a:cubicBezTo>
                  <a:pt x="714" y="62"/>
                  <a:pt x="712" y="58"/>
                  <a:pt x="713" y="56"/>
                </a:cubicBezTo>
                <a:cubicBezTo>
                  <a:pt x="714" y="54"/>
                  <a:pt x="702" y="53"/>
                  <a:pt x="702" y="53"/>
                </a:cubicBezTo>
                <a:cubicBezTo>
                  <a:pt x="684" y="57"/>
                  <a:pt x="684" y="57"/>
                  <a:pt x="684" y="57"/>
                </a:cubicBezTo>
                <a:cubicBezTo>
                  <a:pt x="684" y="57"/>
                  <a:pt x="684" y="57"/>
                  <a:pt x="684" y="57"/>
                </a:cubicBezTo>
                <a:close/>
                <a:moveTo>
                  <a:pt x="574" y="98"/>
                </a:moveTo>
                <a:cubicBezTo>
                  <a:pt x="575" y="100"/>
                  <a:pt x="569" y="104"/>
                  <a:pt x="575" y="103"/>
                </a:cubicBezTo>
                <a:cubicBezTo>
                  <a:pt x="581" y="102"/>
                  <a:pt x="588" y="99"/>
                  <a:pt x="588" y="99"/>
                </a:cubicBezTo>
                <a:cubicBezTo>
                  <a:pt x="593" y="101"/>
                  <a:pt x="593" y="101"/>
                  <a:pt x="593" y="101"/>
                </a:cubicBezTo>
                <a:cubicBezTo>
                  <a:pt x="604" y="93"/>
                  <a:pt x="604" y="93"/>
                  <a:pt x="604" y="93"/>
                </a:cubicBezTo>
                <a:cubicBezTo>
                  <a:pt x="622" y="87"/>
                  <a:pt x="622" y="87"/>
                  <a:pt x="622" y="87"/>
                </a:cubicBezTo>
                <a:cubicBezTo>
                  <a:pt x="640" y="82"/>
                  <a:pt x="640" y="82"/>
                  <a:pt x="640" y="82"/>
                </a:cubicBezTo>
                <a:cubicBezTo>
                  <a:pt x="654" y="79"/>
                  <a:pt x="654" y="79"/>
                  <a:pt x="654" y="79"/>
                </a:cubicBezTo>
                <a:cubicBezTo>
                  <a:pt x="654" y="79"/>
                  <a:pt x="645" y="73"/>
                  <a:pt x="645" y="72"/>
                </a:cubicBezTo>
                <a:cubicBezTo>
                  <a:pt x="644" y="71"/>
                  <a:pt x="634" y="72"/>
                  <a:pt x="634" y="72"/>
                </a:cubicBezTo>
                <a:cubicBezTo>
                  <a:pt x="625" y="74"/>
                  <a:pt x="625" y="74"/>
                  <a:pt x="625" y="74"/>
                </a:cubicBezTo>
                <a:cubicBezTo>
                  <a:pt x="620" y="70"/>
                  <a:pt x="620" y="70"/>
                  <a:pt x="620" y="70"/>
                </a:cubicBezTo>
                <a:cubicBezTo>
                  <a:pt x="609" y="71"/>
                  <a:pt x="609" y="71"/>
                  <a:pt x="609" y="71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599" y="76"/>
                  <a:pt x="599" y="76"/>
                  <a:pt x="599" y="76"/>
                </a:cubicBezTo>
                <a:cubicBezTo>
                  <a:pt x="597" y="80"/>
                  <a:pt x="597" y="80"/>
                  <a:pt x="597" y="80"/>
                </a:cubicBezTo>
                <a:cubicBezTo>
                  <a:pt x="590" y="82"/>
                  <a:pt x="590" y="82"/>
                  <a:pt x="590" y="82"/>
                </a:cubicBezTo>
                <a:cubicBezTo>
                  <a:pt x="581" y="85"/>
                  <a:pt x="581" y="85"/>
                  <a:pt x="581" y="85"/>
                </a:cubicBezTo>
                <a:cubicBezTo>
                  <a:pt x="584" y="87"/>
                  <a:pt x="584" y="87"/>
                  <a:pt x="584" y="87"/>
                </a:cubicBezTo>
                <a:cubicBezTo>
                  <a:pt x="567" y="94"/>
                  <a:pt x="567" y="94"/>
                  <a:pt x="567" y="94"/>
                </a:cubicBezTo>
                <a:cubicBezTo>
                  <a:pt x="567" y="94"/>
                  <a:pt x="573" y="95"/>
                  <a:pt x="574" y="98"/>
                </a:cubicBezTo>
                <a:close/>
                <a:moveTo>
                  <a:pt x="705" y="51"/>
                </a:moveTo>
                <a:cubicBezTo>
                  <a:pt x="709" y="48"/>
                  <a:pt x="705" y="46"/>
                  <a:pt x="701" y="48"/>
                </a:cubicBezTo>
                <a:cubicBezTo>
                  <a:pt x="697" y="50"/>
                  <a:pt x="705" y="51"/>
                  <a:pt x="705" y="51"/>
                </a:cubicBezTo>
                <a:close/>
                <a:moveTo>
                  <a:pt x="744" y="38"/>
                </a:moveTo>
                <a:cubicBezTo>
                  <a:pt x="746" y="38"/>
                  <a:pt x="752" y="40"/>
                  <a:pt x="753" y="38"/>
                </a:cubicBezTo>
                <a:cubicBezTo>
                  <a:pt x="753" y="36"/>
                  <a:pt x="751" y="35"/>
                  <a:pt x="748" y="35"/>
                </a:cubicBezTo>
                <a:cubicBezTo>
                  <a:pt x="744" y="35"/>
                  <a:pt x="730" y="37"/>
                  <a:pt x="730" y="37"/>
                </a:cubicBezTo>
                <a:cubicBezTo>
                  <a:pt x="730" y="37"/>
                  <a:pt x="742" y="39"/>
                  <a:pt x="744" y="38"/>
                </a:cubicBezTo>
                <a:close/>
                <a:moveTo>
                  <a:pt x="893" y="87"/>
                </a:moveTo>
                <a:cubicBezTo>
                  <a:pt x="896" y="88"/>
                  <a:pt x="901" y="85"/>
                  <a:pt x="901" y="85"/>
                </a:cubicBezTo>
                <a:cubicBezTo>
                  <a:pt x="909" y="85"/>
                  <a:pt x="909" y="85"/>
                  <a:pt x="909" y="85"/>
                </a:cubicBezTo>
                <a:cubicBezTo>
                  <a:pt x="909" y="85"/>
                  <a:pt x="915" y="87"/>
                  <a:pt x="917" y="86"/>
                </a:cubicBezTo>
                <a:cubicBezTo>
                  <a:pt x="918" y="85"/>
                  <a:pt x="917" y="80"/>
                  <a:pt x="913" y="79"/>
                </a:cubicBezTo>
                <a:cubicBezTo>
                  <a:pt x="909" y="79"/>
                  <a:pt x="906" y="80"/>
                  <a:pt x="906" y="80"/>
                </a:cubicBezTo>
                <a:cubicBezTo>
                  <a:pt x="901" y="80"/>
                  <a:pt x="901" y="80"/>
                  <a:pt x="901" y="80"/>
                </a:cubicBezTo>
                <a:cubicBezTo>
                  <a:pt x="901" y="80"/>
                  <a:pt x="894" y="77"/>
                  <a:pt x="892" y="79"/>
                </a:cubicBezTo>
                <a:cubicBezTo>
                  <a:pt x="890" y="81"/>
                  <a:pt x="889" y="82"/>
                  <a:pt x="889" y="82"/>
                </a:cubicBezTo>
                <a:cubicBezTo>
                  <a:pt x="892" y="83"/>
                  <a:pt x="892" y="83"/>
                  <a:pt x="892" y="83"/>
                </a:cubicBezTo>
                <a:cubicBezTo>
                  <a:pt x="892" y="83"/>
                  <a:pt x="890" y="86"/>
                  <a:pt x="893" y="87"/>
                </a:cubicBezTo>
                <a:close/>
                <a:moveTo>
                  <a:pt x="839" y="24"/>
                </a:moveTo>
                <a:cubicBezTo>
                  <a:pt x="831" y="25"/>
                  <a:pt x="831" y="25"/>
                  <a:pt x="831" y="25"/>
                </a:cubicBezTo>
                <a:cubicBezTo>
                  <a:pt x="834" y="29"/>
                  <a:pt x="834" y="29"/>
                  <a:pt x="834" y="29"/>
                </a:cubicBezTo>
                <a:cubicBezTo>
                  <a:pt x="839" y="24"/>
                  <a:pt x="839" y="24"/>
                  <a:pt x="839" y="24"/>
                </a:cubicBezTo>
                <a:cubicBezTo>
                  <a:pt x="839" y="24"/>
                  <a:pt x="839" y="24"/>
                  <a:pt x="839" y="24"/>
                </a:cubicBezTo>
                <a:close/>
                <a:moveTo>
                  <a:pt x="714" y="107"/>
                </a:moveTo>
                <a:cubicBezTo>
                  <a:pt x="713" y="106"/>
                  <a:pt x="700" y="106"/>
                  <a:pt x="700" y="106"/>
                </a:cubicBezTo>
                <a:cubicBezTo>
                  <a:pt x="711" y="100"/>
                  <a:pt x="711" y="100"/>
                  <a:pt x="711" y="100"/>
                </a:cubicBezTo>
                <a:cubicBezTo>
                  <a:pt x="711" y="100"/>
                  <a:pt x="717" y="85"/>
                  <a:pt x="711" y="83"/>
                </a:cubicBezTo>
                <a:cubicBezTo>
                  <a:pt x="706" y="81"/>
                  <a:pt x="698" y="85"/>
                  <a:pt x="698" y="85"/>
                </a:cubicBezTo>
                <a:cubicBezTo>
                  <a:pt x="698" y="85"/>
                  <a:pt x="692" y="96"/>
                  <a:pt x="687" y="97"/>
                </a:cubicBezTo>
                <a:cubicBezTo>
                  <a:pt x="682" y="98"/>
                  <a:pt x="690" y="89"/>
                  <a:pt x="690" y="87"/>
                </a:cubicBezTo>
                <a:cubicBezTo>
                  <a:pt x="690" y="85"/>
                  <a:pt x="676" y="85"/>
                  <a:pt x="676" y="85"/>
                </a:cubicBezTo>
                <a:cubicBezTo>
                  <a:pt x="675" y="88"/>
                  <a:pt x="675" y="88"/>
                  <a:pt x="675" y="88"/>
                </a:cubicBezTo>
                <a:cubicBezTo>
                  <a:pt x="675" y="88"/>
                  <a:pt x="667" y="91"/>
                  <a:pt x="660" y="91"/>
                </a:cubicBezTo>
                <a:cubicBezTo>
                  <a:pt x="652" y="92"/>
                  <a:pt x="663" y="89"/>
                  <a:pt x="671" y="86"/>
                </a:cubicBezTo>
                <a:cubicBezTo>
                  <a:pt x="678" y="84"/>
                  <a:pt x="667" y="84"/>
                  <a:pt x="667" y="84"/>
                </a:cubicBezTo>
                <a:cubicBezTo>
                  <a:pt x="658" y="86"/>
                  <a:pt x="658" y="86"/>
                  <a:pt x="658" y="86"/>
                </a:cubicBezTo>
                <a:cubicBezTo>
                  <a:pt x="652" y="87"/>
                  <a:pt x="652" y="87"/>
                  <a:pt x="652" y="87"/>
                </a:cubicBezTo>
                <a:cubicBezTo>
                  <a:pt x="652" y="87"/>
                  <a:pt x="655" y="85"/>
                  <a:pt x="659" y="82"/>
                </a:cubicBezTo>
                <a:cubicBezTo>
                  <a:pt x="662" y="80"/>
                  <a:pt x="658" y="80"/>
                  <a:pt x="658" y="80"/>
                </a:cubicBezTo>
                <a:cubicBezTo>
                  <a:pt x="637" y="87"/>
                  <a:pt x="637" y="87"/>
                  <a:pt x="637" y="87"/>
                </a:cubicBezTo>
                <a:cubicBezTo>
                  <a:pt x="634" y="87"/>
                  <a:pt x="634" y="87"/>
                  <a:pt x="634" y="87"/>
                </a:cubicBezTo>
                <a:cubicBezTo>
                  <a:pt x="623" y="91"/>
                  <a:pt x="623" y="91"/>
                  <a:pt x="623" y="91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15" y="95"/>
                  <a:pt x="615" y="95"/>
                  <a:pt x="615" y="95"/>
                </a:cubicBezTo>
                <a:cubicBezTo>
                  <a:pt x="613" y="98"/>
                  <a:pt x="613" y="98"/>
                  <a:pt x="613" y="98"/>
                </a:cubicBezTo>
                <a:cubicBezTo>
                  <a:pt x="617" y="99"/>
                  <a:pt x="617" y="99"/>
                  <a:pt x="617" y="99"/>
                </a:cubicBezTo>
                <a:cubicBezTo>
                  <a:pt x="617" y="99"/>
                  <a:pt x="621" y="96"/>
                  <a:pt x="622" y="99"/>
                </a:cubicBezTo>
                <a:cubicBezTo>
                  <a:pt x="623" y="101"/>
                  <a:pt x="614" y="100"/>
                  <a:pt x="611" y="104"/>
                </a:cubicBezTo>
                <a:cubicBezTo>
                  <a:pt x="609" y="108"/>
                  <a:pt x="642" y="104"/>
                  <a:pt x="637" y="108"/>
                </a:cubicBezTo>
                <a:cubicBezTo>
                  <a:pt x="633" y="111"/>
                  <a:pt x="607" y="109"/>
                  <a:pt x="604" y="113"/>
                </a:cubicBezTo>
                <a:cubicBezTo>
                  <a:pt x="602" y="116"/>
                  <a:pt x="609" y="116"/>
                  <a:pt x="613" y="118"/>
                </a:cubicBezTo>
                <a:cubicBezTo>
                  <a:pt x="618" y="121"/>
                  <a:pt x="611" y="119"/>
                  <a:pt x="610" y="123"/>
                </a:cubicBezTo>
                <a:cubicBezTo>
                  <a:pt x="609" y="126"/>
                  <a:pt x="631" y="125"/>
                  <a:pt x="631" y="125"/>
                </a:cubicBezTo>
                <a:cubicBezTo>
                  <a:pt x="631" y="125"/>
                  <a:pt x="666" y="121"/>
                  <a:pt x="674" y="119"/>
                </a:cubicBezTo>
                <a:cubicBezTo>
                  <a:pt x="680" y="117"/>
                  <a:pt x="691" y="125"/>
                  <a:pt x="697" y="125"/>
                </a:cubicBezTo>
                <a:cubicBezTo>
                  <a:pt x="704" y="126"/>
                  <a:pt x="707" y="118"/>
                  <a:pt x="707" y="118"/>
                </a:cubicBezTo>
                <a:cubicBezTo>
                  <a:pt x="696" y="118"/>
                  <a:pt x="696" y="118"/>
                  <a:pt x="696" y="118"/>
                </a:cubicBezTo>
                <a:cubicBezTo>
                  <a:pt x="700" y="114"/>
                  <a:pt x="700" y="114"/>
                  <a:pt x="700" y="114"/>
                </a:cubicBezTo>
                <a:cubicBezTo>
                  <a:pt x="700" y="114"/>
                  <a:pt x="707" y="116"/>
                  <a:pt x="714" y="114"/>
                </a:cubicBezTo>
                <a:cubicBezTo>
                  <a:pt x="721" y="113"/>
                  <a:pt x="714" y="109"/>
                  <a:pt x="714" y="107"/>
                </a:cubicBezTo>
                <a:close/>
                <a:moveTo>
                  <a:pt x="831" y="50"/>
                </a:moveTo>
                <a:cubicBezTo>
                  <a:pt x="830" y="50"/>
                  <a:pt x="828" y="49"/>
                  <a:pt x="828" y="49"/>
                </a:cubicBezTo>
                <a:cubicBezTo>
                  <a:pt x="828" y="49"/>
                  <a:pt x="816" y="49"/>
                  <a:pt x="816" y="51"/>
                </a:cubicBezTo>
                <a:cubicBezTo>
                  <a:pt x="816" y="53"/>
                  <a:pt x="819" y="53"/>
                  <a:pt x="819" y="53"/>
                </a:cubicBezTo>
                <a:cubicBezTo>
                  <a:pt x="820" y="56"/>
                  <a:pt x="820" y="56"/>
                  <a:pt x="820" y="56"/>
                </a:cubicBezTo>
                <a:cubicBezTo>
                  <a:pt x="820" y="56"/>
                  <a:pt x="830" y="57"/>
                  <a:pt x="831" y="56"/>
                </a:cubicBezTo>
                <a:cubicBezTo>
                  <a:pt x="832" y="56"/>
                  <a:pt x="834" y="56"/>
                  <a:pt x="836" y="56"/>
                </a:cubicBezTo>
                <a:cubicBezTo>
                  <a:pt x="835" y="58"/>
                  <a:pt x="835" y="60"/>
                  <a:pt x="835" y="60"/>
                </a:cubicBezTo>
                <a:cubicBezTo>
                  <a:pt x="827" y="66"/>
                  <a:pt x="827" y="66"/>
                  <a:pt x="827" y="66"/>
                </a:cubicBezTo>
                <a:cubicBezTo>
                  <a:pt x="830" y="67"/>
                  <a:pt x="830" y="67"/>
                  <a:pt x="830" y="67"/>
                </a:cubicBezTo>
                <a:cubicBezTo>
                  <a:pt x="830" y="67"/>
                  <a:pt x="825" y="70"/>
                  <a:pt x="827" y="70"/>
                </a:cubicBezTo>
                <a:cubicBezTo>
                  <a:pt x="830" y="70"/>
                  <a:pt x="834" y="68"/>
                  <a:pt x="834" y="68"/>
                </a:cubicBezTo>
                <a:cubicBezTo>
                  <a:pt x="834" y="68"/>
                  <a:pt x="832" y="71"/>
                  <a:pt x="836" y="71"/>
                </a:cubicBezTo>
                <a:cubicBezTo>
                  <a:pt x="840" y="70"/>
                  <a:pt x="847" y="68"/>
                  <a:pt x="847" y="68"/>
                </a:cubicBezTo>
                <a:cubicBezTo>
                  <a:pt x="848" y="71"/>
                  <a:pt x="848" y="71"/>
                  <a:pt x="848" y="71"/>
                </a:cubicBezTo>
                <a:cubicBezTo>
                  <a:pt x="857" y="70"/>
                  <a:pt x="857" y="70"/>
                  <a:pt x="857" y="70"/>
                </a:cubicBezTo>
                <a:cubicBezTo>
                  <a:pt x="868" y="72"/>
                  <a:pt x="868" y="72"/>
                  <a:pt x="868" y="72"/>
                </a:cubicBezTo>
                <a:cubicBezTo>
                  <a:pt x="881" y="71"/>
                  <a:pt x="881" y="71"/>
                  <a:pt x="881" y="71"/>
                </a:cubicBezTo>
                <a:cubicBezTo>
                  <a:pt x="885" y="68"/>
                  <a:pt x="885" y="68"/>
                  <a:pt x="885" y="68"/>
                </a:cubicBezTo>
                <a:cubicBezTo>
                  <a:pt x="885" y="68"/>
                  <a:pt x="883" y="71"/>
                  <a:pt x="886" y="71"/>
                </a:cubicBezTo>
                <a:cubicBezTo>
                  <a:pt x="888" y="71"/>
                  <a:pt x="904" y="71"/>
                  <a:pt x="904" y="71"/>
                </a:cubicBezTo>
                <a:cubicBezTo>
                  <a:pt x="905" y="68"/>
                  <a:pt x="905" y="68"/>
                  <a:pt x="905" y="68"/>
                </a:cubicBezTo>
                <a:cubicBezTo>
                  <a:pt x="915" y="64"/>
                  <a:pt x="915" y="64"/>
                  <a:pt x="915" y="64"/>
                </a:cubicBezTo>
                <a:cubicBezTo>
                  <a:pt x="912" y="63"/>
                  <a:pt x="912" y="63"/>
                  <a:pt x="912" y="63"/>
                </a:cubicBezTo>
                <a:cubicBezTo>
                  <a:pt x="912" y="62"/>
                  <a:pt x="912" y="62"/>
                  <a:pt x="912" y="62"/>
                </a:cubicBezTo>
                <a:cubicBezTo>
                  <a:pt x="912" y="62"/>
                  <a:pt x="903" y="59"/>
                  <a:pt x="900" y="59"/>
                </a:cubicBezTo>
                <a:cubicBezTo>
                  <a:pt x="896" y="59"/>
                  <a:pt x="871" y="64"/>
                  <a:pt x="871" y="64"/>
                </a:cubicBezTo>
                <a:cubicBezTo>
                  <a:pt x="871" y="64"/>
                  <a:pt x="868" y="62"/>
                  <a:pt x="866" y="62"/>
                </a:cubicBezTo>
                <a:cubicBezTo>
                  <a:pt x="865" y="62"/>
                  <a:pt x="858" y="64"/>
                  <a:pt x="858" y="64"/>
                </a:cubicBezTo>
                <a:cubicBezTo>
                  <a:pt x="856" y="61"/>
                  <a:pt x="856" y="61"/>
                  <a:pt x="856" y="61"/>
                </a:cubicBezTo>
                <a:cubicBezTo>
                  <a:pt x="853" y="63"/>
                  <a:pt x="853" y="63"/>
                  <a:pt x="853" y="63"/>
                </a:cubicBezTo>
                <a:cubicBezTo>
                  <a:pt x="849" y="62"/>
                  <a:pt x="849" y="62"/>
                  <a:pt x="849" y="62"/>
                </a:cubicBezTo>
                <a:cubicBezTo>
                  <a:pt x="853" y="60"/>
                  <a:pt x="853" y="60"/>
                  <a:pt x="853" y="60"/>
                </a:cubicBezTo>
                <a:cubicBezTo>
                  <a:pt x="850" y="59"/>
                  <a:pt x="850" y="59"/>
                  <a:pt x="850" y="59"/>
                </a:cubicBezTo>
                <a:cubicBezTo>
                  <a:pt x="843" y="60"/>
                  <a:pt x="843" y="60"/>
                  <a:pt x="843" y="60"/>
                </a:cubicBezTo>
                <a:cubicBezTo>
                  <a:pt x="848" y="58"/>
                  <a:pt x="848" y="58"/>
                  <a:pt x="848" y="58"/>
                </a:cubicBezTo>
                <a:cubicBezTo>
                  <a:pt x="848" y="57"/>
                  <a:pt x="848" y="57"/>
                  <a:pt x="848" y="57"/>
                </a:cubicBezTo>
                <a:cubicBezTo>
                  <a:pt x="857" y="57"/>
                  <a:pt x="857" y="57"/>
                  <a:pt x="857" y="57"/>
                </a:cubicBezTo>
                <a:cubicBezTo>
                  <a:pt x="852" y="55"/>
                  <a:pt x="852" y="55"/>
                  <a:pt x="852" y="55"/>
                </a:cubicBezTo>
                <a:cubicBezTo>
                  <a:pt x="849" y="55"/>
                  <a:pt x="849" y="55"/>
                  <a:pt x="849" y="55"/>
                </a:cubicBezTo>
                <a:cubicBezTo>
                  <a:pt x="849" y="55"/>
                  <a:pt x="852" y="53"/>
                  <a:pt x="849" y="53"/>
                </a:cubicBezTo>
                <a:cubicBezTo>
                  <a:pt x="848" y="53"/>
                  <a:pt x="841" y="53"/>
                  <a:pt x="838" y="54"/>
                </a:cubicBezTo>
                <a:cubicBezTo>
                  <a:pt x="837" y="52"/>
                  <a:pt x="831" y="50"/>
                  <a:pt x="831" y="50"/>
                </a:cubicBezTo>
                <a:close/>
                <a:moveTo>
                  <a:pt x="861" y="29"/>
                </a:moveTo>
                <a:cubicBezTo>
                  <a:pt x="854" y="30"/>
                  <a:pt x="854" y="30"/>
                  <a:pt x="854" y="30"/>
                </a:cubicBezTo>
                <a:cubicBezTo>
                  <a:pt x="859" y="32"/>
                  <a:pt x="859" y="32"/>
                  <a:pt x="859" y="32"/>
                </a:cubicBezTo>
                <a:cubicBezTo>
                  <a:pt x="859" y="32"/>
                  <a:pt x="856" y="33"/>
                  <a:pt x="856" y="35"/>
                </a:cubicBezTo>
                <a:cubicBezTo>
                  <a:pt x="857" y="37"/>
                  <a:pt x="862" y="37"/>
                  <a:pt x="862" y="37"/>
                </a:cubicBezTo>
                <a:cubicBezTo>
                  <a:pt x="860" y="39"/>
                  <a:pt x="860" y="39"/>
                  <a:pt x="860" y="39"/>
                </a:cubicBezTo>
                <a:cubicBezTo>
                  <a:pt x="860" y="39"/>
                  <a:pt x="863" y="39"/>
                  <a:pt x="866" y="41"/>
                </a:cubicBezTo>
                <a:cubicBezTo>
                  <a:pt x="869" y="43"/>
                  <a:pt x="875" y="39"/>
                  <a:pt x="875" y="39"/>
                </a:cubicBezTo>
                <a:cubicBezTo>
                  <a:pt x="878" y="37"/>
                  <a:pt x="878" y="37"/>
                  <a:pt x="878" y="37"/>
                </a:cubicBezTo>
                <a:cubicBezTo>
                  <a:pt x="878" y="37"/>
                  <a:pt x="879" y="38"/>
                  <a:pt x="880" y="41"/>
                </a:cubicBezTo>
                <a:cubicBezTo>
                  <a:pt x="882" y="43"/>
                  <a:pt x="887" y="39"/>
                  <a:pt x="889" y="39"/>
                </a:cubicBezTo>
                <a:cubicBezTo>
                  <a:pt x="890" y="38"/>
                  <a:pt x="893" y="35"/>
                  <a:pt x="893" y="35"/>
                </a:cubicBezTo>
                <a:cubicBezTo>
                  <a:pt x="895" y="37"/>
                  <a:pt x="895" y="37"/>
                  <a:pt x="895" y="37"/>
                </a:cubicBezTo>
                <a:cubicBezTo>
                  <a:pt x="895" y="37"/>
                  <a:pt x="898" y="34"/>
                  <a:pt x="898" y="33"/>
                </a:cubicBezTo>
                <a:cubicBezTo>
                  <a:pt x="898" y="32"/>
                  <a:pt x="909" y="33"/>
                  <a:pt x="912" y="33"/>
                </a:cubicBezTo>
                <a:cubicBezTo>
                  <a:pt x="914" y="33"/>
                  <a:pt x="914" y="30"/>
                  <a:pt x="914" y="30"/>
                </a:cubicBezTo>
                <a:cubicBezTo>
                  <a:pt x="905" y="30"/>
                  <a:pt x="905" y="30"/>
                  <a:pt x="905" y="30"/>
                </a:cubicBezTo>
                <a:cubicBezTo>
                  <a:pt x="909" y="27"/>
                  <a:pt x="909" y="27"/>
                  <a:pt x="909" y="27"/>
                </a:cubicBezTo>
                <a:cubicBezTo>
                  <a:pt x="909" y="27"/>
                  <a:pt x="911" y="23"/>
                  <a:pt x="910" y="22"/>
                </a:cubicBezTo>
                <a:cubicBezTo>
                  <a:pt x="909" y="20"/>
                  <a:pt x="902" y="24"/>
                  <a:pt x="902" y="24"/>
                </a:cubicBezTo>
                <a:cubicBezTo>
                  <a:pt x="901" y="21"/>
                  <a:pt x="901" y="21"/>
                  <a:pt x="901" y="21"/>
                </a:cubicBezTo>
                <a:cubicBezTo>
                  <a:pt x="895" y="22"/>
                  <a:pt x="895" y="22"/>
                  <a:pt x="895" y="22"/>
                </a:cubicBezTo>
                <a:cubicBezTo>
                  <a:pt x="895" y="22"/>
                  <a:pt x="894" y="18"/>
                  <a:pt x="892" y="15"/>
                </a:cubicBezTo>
                <a:cubicBezTo>
                  <a:pt x="890" y="13"/>
                  <a:pt x="881" y="18"/>
                  <a:pt x="881" y="18"/>
                </a:cubicBezTo>
                <a:cubicBezTo>
                  <a:pt x="870" y="18"/>
                  <a:pt x="870" y="18"/>
                  <a:pt x="870" y="18"/>
                </a:cubicBezTo>
                <a:cubicBezTo>
                  <a:pt x="874" y="21"/>
                  <a:pt x="874" y="21"/>
                  <a:pt x="874" y="21"/>
                </a:cubicBezTo>
                <a:cubicBezTo>
                  <a:pt x="874" y="21"/>
                  <a:pt x="866" y="21"/>
                  <a:pt x="863" y="21"/>
                </a:cubicBezTo>
                <a:cubicBezTo>
                  <a:pt x="861" y="22"/>
                  <a:pt x="865" y="25"/>
                  <a:pt x="865" y="25"/>
                </a:cubicBezTo>
                <a:cubicBezTo>
                  <a:pt x="865" y="25"/>
                  <a:pt x="853" y="24"/>
                  <a:pt x="852" y="27"/>
                </a:cubicBezTo>
                <a:cubicBezTo>
                  <a:pt x="851" y="30"/>
                  <a:pt x="861" y="29"/>
                  <a:pt x="861" y="29"/>
                </a:cubicBezTo>
                <a:close/>
                <a:moveTo>
                  <a:pt x="863" y="44"/>
                </a:moveTo>
                <a:cubicBezTo>
                  <a:pt x="859" y="45"/>
                  <a:pt x="859" y="47"/>
                  <a:pt x="859" y="47"/>
                </a:cubicBezTo>
                <a:cubicBezTo>
                  <a:pt x="862" y="48"/>
                  <a:pt x="862" y="48"/>
                  <a:pt x="862" y="48"/>
                </a:cubicBezTo>
                <a:cubicBezTo>
                  <a:pt x="866" y="48"/>
                  <a:pt x="868" y="44"/>
                  <a:pt x="863" y="44"/>
                </a:cubicBezTo>
                <a:close/>
                <a:moveTo>
                  <a:pt x="828" y="43"/>
                </a:moveTo>
                <a:cubicBezTo>
                  <a:pt x="830" y="44"/>
                  <a:pt x="831" y="46"/>
                  <a:pt x="831" y="46"/>
                </a:cubicBezTo>
                <a:cubicBezTo>
                  <a:pt x="831" y="46"/>
                  <a:pt x="840" y="45"/>
                  <a:pt x="844" y="45"/>
                </a:cubicBezTo>
                <a:cubicBezTo>
                  <a:pt x="848" y="45"/>
                  <a:pt x="839" y="42"/>
                  <a:pt x="839" y="42"/>
                </a:cubicBezTo>
                <a:cubicBezTo>
                  <a:pt x="839" y="42"/>
                  <a:pt x="841" y="40"/>
                  <a:pt x="843" y="40"/>
                </a:cubicBezTo>
                <a:cubicBezTo>
                  <a:pt x="845" y="39"/>
                  <a:pt x="837" y="37"/>
                  <a:pt x="831" y="35"/>
                </a:cubicBezTo>
                <a:cubicBezTo>
                  <a:pt x="831" y="35"/>
                  <a:pt x="826" y="36"/>
                  <a:pt x="825" y="37"/>
                </a:cubicBezTo>
                <a:cubicBezTo>
                  <a:pt x="824" y="38"/>
                  <a:pt x="826" y="43"/>
                  <a:pt x="828" y="43"/>
                </a:cubicBezTo>
                <a:close/>
                <a:moveTo>
                  <a:pt x="765" y="62"/>
                </a:moveTo>
                <a:cubicBezTo>
                  <a:pt x="767" y="62"/>
                  <a:pt x="776" y="63"/>
                  <a:pt x="776" y="63"/>
                </a:cubicBezTo>
                <a:cubicBezTo>
                  <a:pt x="776" y="63"/>
                  <a:pt x="771" y="67"/>
                  <a:pt x="774" y="67"/>
                </a:cubicBezTo>
                <a:cubicBezTo>
                  <a:pt x="777" y="67"/>
                  <a:pt x="785" y="67"/>
                  <a:pt x="785" y="67"/>
                </a:cubicBezTo>
                <a:cubicBezTo>
                  <a:pt x="788" y="67"/>
                  <a:pt x="793" y="66"/>
                  <a:pt x="792" y="64"/>
                </a:cubicBezTo>
                <a:cubicBezTo>
                  <a:pt x="791" y="62"/>
                  <a:pt x="800" y="62"/>
                  <a:pt x="799" y="60"/>
                </a:cubicBezTo>
                <a:cubicBezTo>
                  <a:pt x="799" y="58"/>
                  <a:pt x="807" y="57"/>
                  <a:pt x="804" y="54"/>
                </a:cubicBezTo>
                <a:cubicBezTo>
                  <a:pt x="801" y="52"/>
                  <a:pt x="797" y="54"/>
                  <a:pt x="797" y="54"/>
                </a:cubicBezTo>
                <a:cubicBezTo>
                  <a:pt x="797" y="54"/>
                  <a:pt x="787" y="51"/>
                  <a:pt x="787" y="53"/>
                </a:cubicBezTo>
                <a:cubicBezTo>
                  <a:pt x="786" y="54"/>
                  <a:pt x="786" y="59"/>
                  <a:pt x="786" y="59"/>
                </a:cubicBezTo>
                <a:cubicBezTo>
                  <a:pt x="786" y="59"/>
                  <a:pt x="782" y="53"/>
                  <a:pt x="780" y="55"/>
                </a:cubicBezTo>
                <a:cubicBezTo>
                  <a:pt x="777" y="57"/>
                  <a:pt x="775" y="62"/>
                  <a:pt x="773" y="61"/>
                </a:cubicBezTo>
                <a:cubicBezTo>
                  <a:pt x="771" y="59"/>
                  <a:pt x="770" y="54"/>
                  <a:pt x="768" y="54"/>
                </a:cubicBezTo>
                <a:cubicBezTo>
                  <a:pt x="766" y="53"/>
                  <a:pt x="761" y="54"/>
                  <a:pt x="761" y="56"/>
                </a:cubicBezTo>
                <a:cubicBezTo>
                  <a:pt x="761" y="59"/>
                  <a:pt x="763" y="62"/>
                  <a:pt x="765" y="62"/>
                </a:cubicBezTo>
                <a:close/>
                <a:moveTo>
                  <a:pt x="793" y="35"/>
                </a:moveTo>
                <a:cubicBezTo>
                  <a:pt x="793" y="35"/>
                  <a:pt x="789" y="39"/>
                  <a:pt x="792" y="39"/>
                </a:cubicBezTo>
                <a:cubicBezTo>
                  <a:pt x="795" y="39"/>
                  <a:pt x="802" y="39"/>
                  <a:pt x="802" y="39"/>
                </a:cubicBezTo>
                <a:cubicBezTo>
                  <a:pt x="802" y="39"/>
                  <a:pt x="804" y="43"/>
                  <a:pt x="808" y="43"/>
                </a:cubicBezTo>
                <a:cubicBezTo>
                  <a:pt x="812" y="43"/>
                  <a:pt x="814" y="40"/>
                  <a:pt x="814" y="40"/>
                </a:cubicBezTo>
                <a:cubicBezTo>
                  <a:pt x="813" y="38"/>
                  <a:pt x="813" y="38"/>
                  <a:pt x="813" y="38"/>
                </a:cubicBezTo>
                <a:cubicBezTo>
                  <a:pt x="817" y="37"/>
                  <a:pt x="817" y="37"/>
                  <a:pt x="817" y="37"/>
                </a:cubicBezTo>
                <a:cubicBezTo>
                  <a:pt x="811" y="33"/>
                  <a:pt x="811" y="33"/>
                  <a:pt x="811" y="33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3" y="30"/>
                  <a:pt x="803" y="30"/>
                  <a:pt x="803" y="30"/>
                </a:cubicBezTo>
                <a:cubicBezTo>
                  <a:pt x="799" y="30"/>
                  <a:pt x="799" y="30"/>
                  <a:pt x="799" y="30"/>
                </a:cubicBezTo>
                <a:cubicBezTo>
                  <a:pt x="794" y="30"/>
                  <a:pt x="787" y="30"/>
                  <a:pt x="787" y="33"/>
                </a:cubicBezTo>
                <a:cubicBezTo>
                  <a:pt x="786" y="35"/>
                  <a:pt x="793" y="35"/>
                  <a:pt x="793" y="35"/>
                </a:cubicBezTo>
                <a:close/>
                <a:moveTo>
                  <a:pt x="768" y="74"/>
                </a:moveTo>
                <a:cubicBezTo>
                  <a:pt x="768" y="74"/>
                  <a:pt x="755" y="74"/>
                  <a:pt x="748" y="76"/>
                </a:cubicBezTo>
                <a:cubicBezTo>
                  <a:pt x="741" y="79"/>
                  <a:pt x="752" y="81"/>
                  <a:pt x="750" y="83"/>
                </a:cubicBezTo>
                <a:cubicBezTo>
                  <a:pt x="747" y="86"/>
                  <a:pt x="743" y="79"/>
                  <a:pt x="735" y="82"/>
                </a:cubicBezTo>
                <a:cubicBezTo>
                  <a:pt x="737" y="88"/>
                  <a:pt x="737" y="88"/>
                  <a:pt x="737" y="88"/>
                </a:cubicBezTo>
                <a:cubicBezTo>
                  <a:pt x="737" y="88"/>
                  <a:pt x="739" y="90"/>
                  <a:pt x="742" y="90"/>
                </a:cubicBezTo>
                <a:cubicBezTo>
                  <a:pt x="746" y="91"/>
                  <a:pt x="746" y="98"/>
                  <a:pt x="746" y="98"/>
                </a:cubicBezTo>
                <a:cubicBezTo>
                  <a:pt x="746" y="98"/>
                  <a:pt x="760" y="96"/>
                  <a:pt x="765" y="95"/>
                </a:cubicBezTo>
                <a:cubicBezTo>
                  <a:pt x="769" y="94"/>
                  <a:pt x="769" y="85"/>
                  <a:pt x="769" y="85"/>
                </a:cubicBezTo>
                <a:cubicBezTo>
                  <a:pt x="760" y="83"/>
                  <a:pt x="760" y="83"/>
                  <a:pt x="760" y="83"/>
                </a:cubicBezTo>
                <a:cubicBezTo>
                  <a:pt x="760" y="83"/>
                  <a:pt x="771" y="80"/>
                  <a:pt x="777" y="78"/>
                </a:cubicBezTo>
                <a:cubicBezTo>
                  <a:pt x="782" y="76"/>
                  <a:pt x="768" y="74"/>
                  <a:pt x="768" y="74"/>
                </a:cubicBezTo>
                <a:close/>
                <a:moveTo>
                  <a:pt x="767" y="50"/>
                </a:moveTo>
                <a:cubicBezTo>
                  <a:pt x="771" y="49"/>
                  <a:pt x="771" y="43"/>
                  <a:pt x="768" y="43"/>
                </a:cubicBezTo>
                <a:cubicBezTo>
                  <a:pt x="765" y="43"/>
                  <a:pt x="763" y="50"/>
                  <a:pt x="767" y="50"/>
                </a:cubicBezTo>
                <a:close/>
                <a:moveTo>
                  <a:pt x="199" y="228"/>
                </a:moveTo>
                <a:cubicBezTo>
                  <a:pt x="197" y="230"/>
                  <a:pt x="192" y="231"/>
                  <a:pt x="193" y="232"/>
                </a:cubicBezTo>
                <a:cubicBezTo>
                  <a:pt x="195" y="234"/>
                  <a:pt x="201" y="232"/>
                  <a:pt x="201" y="232"/>
                </a:cubicBezTo>
                <a:cubicBezTo>
                  <a:pt x="202" y="230"/>
                  <a:pt x="202" y="230"/>
                  <a:pt x="202" y="230"/>
                </a:cubicBezTo>
                <a:cubicBezTo>
                  <a:pt x="202" y="230"/>
                  <a:pt x="205" y="231"/>
                  <a:pt x="205" y="230"/>
                </a:cubicBezTo>
                <a:cubicBezTo>
                  <a:pt x="204" y="228"/>
                  <a:pt x="202" y="226"/>
                  <a:pt x="199" y="228"/>
                </a:cubicBezTo>
                <a:close/>
                <a:moveTo>
                  <a:pt x="768" y="672"/>
                </a:moveTo>
                <a:cubicBezTo>
                  <a:pt x="766" y="672"/>
                  <a:pt x="761" y="670"/>
                  <a:pt x="758" y="670"/>
                </a:cubicBezTo>
                <a:cubicBezTo>
                  <a:pt x="755" y="670"/>
                  <a:pt x="755" y="677"/>
                  <a:pt x="755" y="677"/>
                </a:cubicBezTo>
                <a:cubicBezTo>
                  <a:pt x="761" y="678"/>
                  <a:pt x="761" y="678"/>
                  <a:pt x="761" y="678"/>
                </a:cubicBezTo>
                <a:cubicBezTo>
                  <a:pt x="762" y="677"/>
                  <a:pt x="762" y="677"/>
                  <a:pt x="762" y="677"/>
                </a:cubicBezTo>
                <a:cubicBezTo>
                  <a:pt x="762" y="677"/>
                  <a:pt x="765" y="678"/>
                  <a:pt x="768" y="677"/>
                </a:cubicBezTo>
                <a:cubicBezTo>
                  <a:pt x="772" y="677"/>
                  <a:pt x="775" y="674"/>
                  <a:pt x="775" y="672"/>
                </a:cubicBezTo>
                <a:cubicBezTo>
                  <a:pt x="775" y="671"/>
                  <a:pt x="769" y="672"/>
                  <a:pt x="768" y="672"/>
                </a:cubicBezTo>
                <a:close/>
                <a:moveTo>
                  <a:pt x="742" y="672"/>
                </a:moveTo>
                <a:cubicBezTo>
                  <a:pt x="744" y="671"/>
                  <a:pt x="743" y="668"/>
                  <a:pt x="743" y="668"/>
                </a:cubicBezTo>
                <a:cubicBezTo>
                  <a:pt x="743" y="668"/>
                  <a:pt x="738" y="664"/>
                  <a:pt x="735" y="663"/>
                </a:cubicBezTo>
                <a:cubicBezTo>
                  <a:pt x="732" y="662"/>
                  <a:pt x="731" y="661"/>
                  <a:pt x="729" y="660"/>
                </a:cubicBezTo>
                <a:cubicBezTo>
                  <a:pt x="727" y="660"/>
                  <a:pt x="725" y="656"/>
                  <a:pt x="724" y="655"/>
                </a:cubicBezTo>
                <a:cubicBezTo>
                  <a:pt x="723" y="654"/>
                  <a:pt x="718" y="654"/>
                  <a:pt x="714" y="654"/>
                </a:cubicBezTo>
                <a:cubicBezTo>
                  <a:pt x="713" y="654"/>
                  <a:pt x="712" y="654"/>
                  <a:pt x="712" y="655"/>
                </a:cubicBezTo>
                <a:cubicBezTo>
                  <a:pt x="710" y="655"/>
                  <a:pt x="710" y="656"/>
                  <a:pt x="710" y="656"/>
                </a:cubicBezTo>
                <a:cubicBezTo>
                  <a:pt x="710" y="656"/>
                  <a:pt x="703" y="654"/>
                  <a:pt x="700" y="654"/>
                </a:cubicBezTo>
                <a:cubicBezTo>
                  <a:pt x="697" y="654"/>
                  <a:pt x="695" y="654"/>
                  <a:pt x="694" y="656"/>
                </a:cubicBezTo>
                <a:cubicBezTo>
                  <a:pt x="693" y="657"/>
                  <a:pt x="698" y="657"/>
                  <a:pt x="699" y="657"/>
                </a:cubicBezTo>
                <a:cubicBezTo>
                  <a:pt x="701" y="657"/>
                  <a:pt x="703" y="660"/>
                  <a:pt x="703" y="660"/>
                </a:cubicBezTo>
                <a:cubicBezTo>
                  <a:pt x="703" y="660"/>
                  <a:pt x="700" y="661"/>
                  <a:pt x="701" y="664"/>
                </a:cubicBezTo>
                <a:cubicBezTo>
                  <a:pt x="701" y="667"/>
                  <a:pt x="703" y="668"/>
                  <a:pt x="700" y="668"/>
                </a:cubicBezTo>
                <a:cubicBezTo>
                  <a:pt x="698" y="668"/>
                  <a:pt x="693" y="667"/>
                  <a:pt x="692" y="667"/>
                </a:cubicBezTo>
                <a:cubicBezTo>
                  <a:pt x="690" y="667"/>
                  <a:pt x="686" y="667"/>
                  <a:pt x="685" y="669"/>
                </a:cubicBezTo>
                <a:cubicBezTo>
                  <a:pt x="685" y="669"/>
                  <a:pt x="689" y="674"/>
                  <a:pt x="691" y="675"/>
                </a:cubicBezTo>
                <a:cubicBezTo>
                  <a:pt x="693" y="676"/>
                  <a:pt x="694" y="672"/>
                  <a:pt x="694" y="672"/>
                </a:cubicBezTo>
                <a:cubicBezTo>
                  <a:pt x="694" y="672"/>
                  <a:pt x="697" y="672"/>
                  <a:pt x="701" y="672"/>
                </a:cubicBezTo>
                <a:cubicBezTo>
                  <a:pt x="704" y="672"/>
                  <a:pt x="708" y="671"/>
                  <a:pt x="708" y="671"/>
                </a:cubicBezTo>
                <a:cubicBezTo>
                  <a:pt x="713" y="677"/>
                  <a:pt x="713" y="677"/>
                  <a:pt x="713" y="677"/>
                </a:cubicBezTo>
                <a:cubicBezTo>
                  <a:pt x="720" y="672"/>
                  <a:pt x="720" y="672"/>
                  <a:pt x="720" y="672"/>
                </a:cubicBezTo>
                <a:cubicBezTo>
                  <a:pt x="720" y="672"/>
                  <a:pt x="726" y="672"/>
                  <a:pt x="733" y="672"/>
                </a:cubicBezTo>
                <a:cubicBezTo>
                  <a:pt x="736" y="673"/>
                  <a:pt x="740" y="673"/>
                  <a:pt x="742" y="672"/>
                </a:cubicBezTo>
                <a:close/>
                <a:moveTo>
                  <a:pt x="676" y="653"/>
                </a:moveTo>
                <a:cubicBezTo>
                  <a:pt x="683" y="651"/>
                  <a:pt x="690" y="650"/>
                  <a:pt x="690" y="650"/>
                </a:cubicBezTo>
                <a:cubicBezTo>
                  <a:pt x="690" y="650"/>
                  <a:pt x="690" y="648"/>
                  <a:pt x="687" y="648"/>
                </a:cubicBezTo>
                <a:cubicBezTo>
                  <a:pt x="683" y="647"/>
                  <a:pt x="680" y="647"/>
                  <a:pt x="680" y="647"/>
                </a:cubicBezTo>
                <a:cubicBezTo>
                  <a:pt x="680" y="647"/>
                  <a:pt x="682" y="643"/>
                  <a:pt x="678" y="643"/>
                </a:cubicBezTo>
                <a:cubicBezTo>
                  <a:pt x="674" y="642"/>
                  <a:pt x="671" y="643"/>
                  <a:pt x="671" y="643"/>
                </a:cubicBezTo>
                <a:cubicBezTo>
                  <a:pt x="674" y="640"/>
                  <a:pt x="674" y="640"/>
                  <a:pt x="674" y="640"/>
                </a:cubicBezTo>
                <a:cubicBezTo>
                  <a:pt x="674" y="640"/>
                  <a:pt x="668" y="638"/>
                  <a:pt x="666" y="638"/>
                </a:cubicBezTo>
                <a:cubicBezTo>
                  <a:pt x="665" y="638"/>
                  <a:pt x="660" y="636"/>
                  <a:pt x="660" y="636"/>
                </a:cubicBezTo>
                <a:cubicBezTo>
                  <a:pt x="660" y="636"/>
                  <a:pt x="662" y="632"/>
                  <a:pt x="661" y="632"/>
                </a:cubicBezTo>
                <a:cubicBezTo>
                  <a:pt x="659" y="632"/>
                  <a:pt x="658" y="632"/>
                  <a:pt x="658" y="632"/>
                </a:cubicBezTo>
                <a:cubicBezTo>
                  <a:pt x="658" y="632"/>
                  <a:pt x="650" y="624"/>
                  <a:pt x="648" y="625"/>
                </a:cubicBezTo>
                <a:cubicBezTo>
                  <a:pt x="646" y="627"/>
                  <a:pt x="650" y="629"/>
                  <a:pt x="650" y="629"/>
                </a:cubicBezTo>
                <a:cubicBezTo>
                  <a:pt x="641" y="625"/>
                  <a:pt x="641" y="625"/>
                  <a:pt x="641" y="625"/>
                </a:cubicBezTo>
                <a:cubicBezTo>
                  <a:pt x="641" y="625"/>
                  <a:pt x="636" y="619"/>
                  <a:pt x="633" y="618"/>
                </a:cubicBezTo>
                <a:cubicBezTo>
                  <a:pt x="631" y="617"/>
                  <a:pt x="625" y="618"/>
                  <a:pt x="625" y="618"/>
                </a:cubicBezTo>
                <a:cubicBezTo>
                  <a:pt x="625" y="618"/>
                  <a:pt x="620" y="616"/>
                  <a:pt x="612" y="616"/>
                </a:cubicBezTo>
                <a:cubicBezTo>
                  <a:pt x="604" y="616"/>
                  <a:pt x="601" y="618"/>
                  <a:pt x="597" y="621"/>
                </a:cubicBezTo>
                <a:cubicBezTo>
                  <a:pt x="594" y="624"/>
                  <a:pt x="587" y="627"/>
                  <a:pt x="587" y="627"/>
                </a:cubicBezTo>
                <a:cubicBezTo>
                  <a:pt x="598" y="626"/>
                  <a:pt x="598" y="626"/>
                  <a:pt x="598" y="626"/>
                </a:cubicBezTo>
                <a:cubicBezTo>
                  <a:pt x="598" y="624"/>
                  <a:pt x="598" y="624"/>
                  <a:pt x="598" y="624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11" y="622"/>
                  <a:pt x="611" y="622"/>
                  <a:pt x="611" y="622"/>
                </a:cubicBezTo>
                <a:cubicBezTo>
                  <a:pt x="611" y="622"/>
                  <a:pt x="617" y="622"/>
                  <a:pt x="619" y="623"/>
                </a:cubicBezTo>
                <a:cubicBezTo>
                  <a:pt x="620" y="625"/>
                  <a:pt x="614" y="626"/>
                  <a:pt x="614" y="626"/>
                </a:cubicBezTo>
                <a:cubicBezTo>
                  <a:pt x="616" y="627"/>
                  <a:pt x="616" y="627"/>
                  <a:pt x="616" y="627"/>
                </a:cubicBezTo>
                <a:cubicBezTo>
                  <a:pt x="616" y="627"/>
                  <a:pt x="620" y="629"/>
                  <a:pt x="623" y="630"/>
                </a:cubicBezTo>
                <a:cubicBezTo>
                  <a:pt x="627" y="631"/>
                  <a:pt x="627" y="629"/>
                  <a:pt x="627" y="629"/>
                </a:cubicBezTo>
                <a:cubicBezTo>
                  <a:pt x="627" y="629"/>
                  <a:pt x="630" y="631"/>
                  <a:pt x="633" y="633"/>
                </a:cubicBezTo>
                <a:cubicBezTo>
                  <a:pt x="637" y="635"/>
                  <a:pt x="643" y="632"/>
                  <a:pt x="643" y="632"/>
                </a:cubicBezTo>
                <a:cubicBezTo>
                  <a:pt x="642" y="636"/>
                  <a:pt x="642" y="636"/>
                  <a:pt x="642" y="636"/>
                </a:cubicBezTo>
                <a:cubicBezTo>
                  <a:pt x="651" y="640"/>
                  <a:pt x="651" y="640"/>
                  <a:pt x="651" y="640"/>
                </a:cubicBezTo>
                <a:cubicBezTo>
                  <a:pt x="654" y="644"/>
                  <a:pt x="654" y="644"/>
                  <a:pt x="654" y="644"/>
                </a:cubicBezTo>
                <a:cubicBezTo>
                  <a:pt x="654" y="644"/>
                  <a:pt x="657" y="646"/>
                  <a:pt x="657" y="647"/>
                </a:cubicBezTo>
                <a:cubicBezTo>
                  <a:pt x="657" y="649"/>
                  <a:pt x="652" y="650"/>
                  <a:pt x="653" y="652"/>
                </a:cubicBezTo>
                <a:cubicBezTo>
                  <a:pt x="655" y="654"/>
                  <a:pt x="660" y="650"/>
                  <a:pt x="662" y="650"/>
                </a:cubicBezTo>
                <a:cubicBezTo>
                  <a:pt x="663" y="650"/>
                  <a:pt x="667" y="650"/>
                  <a:pt x="664" y="651"/>
                </a:cubicBezTo>
                <a:cubicBezTo>
                  <a:pt x="661" y="651"/>
                  <a:pt x="666" y="654"/>
                  <a:pt x="666" y="654"/>
                </a:cubicBezTo>
                <a:cubicBezTo>
                  <a:pt x="666" y="654"/>
                  <a:pt x="670" y="655"/>
                  <a:pt x="676" y="653"/>
                </a:cubicBezTo>
                <a:close/>
                <a:moveTo>
                  <a:pt x="929" y="188"/>
                </a:moveTo>
                <a:cubicBezTo>
                  <a:pt x="934" y="187"/>
                  <a:pt x="934" y="187"/>
                  <a:pt x="934" y="187"/>
                </a:cubicBezTo>
                <a:cubicBezTo>
                  <a:pt x="934" y="185"/>
                  <a:pt x="934" y="185"/>
                  <a:pt x="934" y="185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8"/>
                  <a:pt x="929" y="188"/>
                  <a:pt x="929" y="188"/>
                </a:cubicBezTo>
                <a:cubicBezTo>
                  <a:pt x="929" y="188"/>
                  <a:pt x="929" y="188"/>
                  <a:pt x="929" y="188"/>
                </a:cubicBezTo>
                <a:close/>
                <a:moveTo>
                  <a:pt x="662" y="671"/>
                </a:moveTo>
                <a:cubicBezTo>
                  <a:pt x="660" y="671"/>
                  <a:pt x="656" y="671"/>
                  <a:pt x="654" y="671"/>
                </a:cubicBezTo>
                <a:cubicBezTo>
                  <a:pt x="652" y="670"/>
                  <a:pt x="650" y="669"/>
                  <a:pt x="648" y="670"/>
                </a:cubicBezTo>
                <a:cubicBezTo>
                  <a:pt x="646" y="671"/>
                  <a:pt x="644" y="671"/>
                  <a:pt x="644" y="671"/>
                </a:cubicBezTo>
                <a:cubicBezTo>
                  <a:pt x="644" y="671"/>
                  <a:pt x="646" y="674"/>
                  <a:pt x="648" y="675"/>
                </a:cubicBezTo>
                <a:cubicBezTo>
                  <a:pt x="649" y="676"/>
                  <a:pt x="653" y="676"/>
                  <a:pt x="653" y="676"/>
                </a:cubicBezTo>
                <a:cubicBezTo>
                  <a:pt x="655" y="677"/>
                  <a:pt x="655" y="677"/>
                  <a:pt x="655" y="677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60" y="675"/>
                  <a:pt x="660" y="675"/>
                  <a:pt x="660" y="675"/>
                </a:cubicBezTo>
                <a:cubicBezTo>
                  <a:pt x="667" y="677"/>
                  <a:pt x="667" y="677"/>
                  <a:pt x="667" y="677"/>
                </a:cubicBezTo>
                <a:cubicBezTo>
                  <a:pt x="667" y="677"/>
                  <a:pt x="664" y="671"/>
                  <a:pt x="662" y="671"/>
                </a:cubicBezTo>
                <a:close/>
                <a:moveTo>
                  <a:pt x="894" y="359"/>
                </a:moveTo>
                <a:cubicBezTo>
                  <a:pt x="892" y="358"/>
                  <a:pt x="889" y="360"/>
                  <a:pt x="888" y="360"/>
                </a:cubicBezTo>
                <a:cubicBezTo>
                  <a:pt x="889" y="360"/>
                  <a:pt x="890" y="359"/>
                  <a:pt x="892" y="356"/>
                </a:cubicBezTo>
                <a:cubicBezTo>
                  <a:pt x="895" y="354"/>
                  <a:pt x="888" y="353"/>
                  <a:pt x="885" y="357"/>
                </a:cubicBezTo>
                <a:cubicBezTo>
                  <a:pt x="884" y="360"/>
                  <a:pt x="884" y="360"/>
                  <a:pt x="884" y="360"/>
                </a:cubicBezTo>
                <a:cubicBezTo>
                  <a:pt x="882" y="363"/>
                  <a:pt x="882" y="363"/>
                  <a:pt x="882" y="363"/>
                </a:cubicBezTo>
                <a:cubicBezTo>
                  <a:pt x="890" y="362"/>
                  <a:pt x="890" y="362"/>
                  <a:pt x="890" y="362"/>
                </a:cubicBezTo>
                <a:cubicBezTo>
                  <a:pt x="890" y="362"/>
                  <a:pt x="898" y="360"/>
                  <a:pt x="894" y="359"/>
                </a:cubicBezTo>
                <a:close/>
                <a:moveTo>
                  <a:pt x="865" y="357"/>
                </a:moveTo>
                <a:cubicBezTo>
                  <a:pt x="861" y="356"/>
                  <a:pt x="859" y="354"/>
                  <a:pt x="859" y="354"/>
                </a:cubicBezTo>
                <a:cubicBezTo>
                  <a:pt x="857" y="356"/>
                  <a:pt x="857" y="356"/>
                  <a:pt x="857" y="356"/>
                </a:cubicBezTo>
                <a:cubicBezTo>
                  <a:pt x="857" y="356"/>
                  <a:pt x="860" y="358"/>
                  <a:pt x="861" y="358"/>
                </a:cubicBezTo>
                <a:cubicBezTo>
                  <a:pt x="862" y="359"/>
                  <a:pt x="866" y="359"/>
                  <a:pt x="866" y="359"/>
                </a:cubicBezTo>
                <a:cubicBezTo>
                  <a:pt x="866" y="359"/>
                  <a:pt x="868" y="360"/>
                  <a:pt x="870" y="360"/>
                </a:cubicBezTo>
                <a:cubicBezTo>
                  <a:pt x="872" y="359"/>
                  <a:pt x="873" y="357"/>
                  <a:pt x="873" y="357"/>
                </a:cubicBezTo>
                <a:cubicBezTo>
                  <a:pt x="873" y="357"/>
                  <a:pt x="869" y="357"/>
                  <a:pt x="865" y="357"/>
                </a:cubicBezTo>
                <a:close/>
                <a:moveTo>
                  <a:pt x="810" y="152"/>
                </a:moveTo>
                <a:cubicBezTo>
                  <a:pt x="807" y="151"/>
                  <a:pt x="809" y="155"/>
                  <a:pt x="809" y="155"/>
                </a:cubicBezTo>
                <a:cubicBezTo>
                  <a:pt x="811" y="155"/>
                  <a:pt x="813" y="152"/>
                  <a:pt x="810" y="152"/>
                </a:cubicBezTo>
                <a:close/>
                <a:moveTo>
                  <a:pt x="745" y="287"/>
                </a:moveTo>
                <a:cubicBezTo>
                  <a:pt x="750" y="287"/>
                  <a:pt x="743" y="284"/>
                  <a:pt x="743" y="284"/>
                </a:cubicBezTo>
                <a:cubicBezTo>
                  <a:pt x="734" y="285"/>
                  <a:pt x="739" y="288"/>
                  <a:pt x="745" y="287"/>
                </a:cubicBezTo>
                <a:close/>
                <a:moveTo>
                  <a:pt x="881" y="322"/>
                </a:moveTo>
                <a:cubicBezTo>
                  <a:pt x="881" y="322"/>
                  <a:pt x="875" y="320"/>
                  <a:pt x="869" y="320"/>
                </a:cubicBezTo>
                <a:cubicBezTo>
                  <a:pt x="863" y="320"/>
                  <a:pt x="872" y="322"/>
                  <a:pt x="872" y="322"/>
                </a:cubicBezTo>
                <a:cubicBezTo>
                  <a:pt x="872" y="324"/>
                  <a:pt x="872" y="324"/>
                  <a:pt x="872" y="324"/>
                </a:cubicBezTo>
                <a:cubicBezTo>
                  <a:pt x="872" y="324"/>
                  <a:pt x="879" y="325"/>
                  <a:pt x="885" y="326"/>
                </a:cubicBezTo>
                <a:cubicBezTo>
                  <a:pt x="891" y="327"/>
                  <a:pt x="897" y="325"/>
                  <a:pt x="881" y="322"/>
                </a:cubicBezTo>
                <a:close/>
                <a:moveTo>
                  <a:pt x="730" y="82"/>
                </a:moveTo>
                <a:cubicBezTo>
                  <a:pt x="726" y="78"/>
                  <a:pt x="726" y="78"/>
                  <a:pt x="726" y="78"/>
                </a:cubicBezTo>
                <a:cubicBezTo>
                  <a:pt x="722" y="79"/>
                  <a:pt x="722" y="79"/>
                  <a:pt x="722" y="79"/>
                </a:cubicBezTo>
                <a:cubicBezTo>
                  <a:pt x="722" y="79"/>
                  <a:pt x="719" y="76"/>
                  <a:pt x="714" y="77"/>
                </a:cubicBezTo>
                <a:cubicBezTo>
                  <a:pt x="709" y="79"/>
                  <a:pt x="721" y="84"/>
                  <a:pt x="721" y="84"/>
                </a:cubicBezTo>
                <a:cubicBezTo>
                  <a:pt x="730" y="82"/>
                  <a:pt x="730" y="82"/>
                  <a:pt x="730" y="82"/>
                </a:cubicBezTo>
                <a:cubicBezTo>
                  <a:pt x="730" y="82"/>
                  <a:pt x="730" y="82"/>
                  <a:pt x="730" y="82"/>
                </a:cubicBezTo>
                <a:close/>
                <a:moveTo>
                  <a:pt x="653" y="61"/>
                </a:moveTo>
                <a:cubicBezTo>
                  <a:pt x="644" y="63"/>
                  <a:pt x="650" y="65"/>
                  <a:pt x="650" y="65"/>
                </a:cubicBezTo>
                <a:cubicBezTo>
                  <a:pt x="662" y="62"/>
                  <a:pt x="661" y="59"/>
                  <a:pt x="653" y="61"/>
                </a:cubicBezTo>
                <a:close/>
                <a:moveTo>
                  <a:pt x="709" y="126"/>
                </a:moveTo>
                <a:cubicBezTo>
                  <a:pt x="716" y="126"/>
                  <a:pt x="717" y="123"/>
                  <a:pt x="713" y="123"/>
                </a:cubicBezTo>
                <a:cubicBezTo>
                  <a:pt x="708" y="123"/>
                  <a:pt x="709" y="126"/>
                  <a:pt x="709" y="126"/>
                </a:cubicBezTo>
                <a:close/>
                <a:moveTo>
                  <a:pt x="604" y="633"/>
                </a:moveTo>
                <a:cubicBezTo>
                  <a:pt x="603" y="636"/>
                  <a:pt x="609" y="637"/>
                  <a:pt x="609" y="633"/>
                </a:cubicBezTo>
                <a:cubicBezTo>
                  <a:pt x="610" y="631"/>
                  <a:pt x="604" y="633"/>
                  <a:pt x="604" y="633"/>
                </a:cubicBezTo>
                <a:close/>
                <a:moveTo>
                  <a:pt x="980" y="147"/>
                </a:moveTo>
                <a:cubicBezTo>
                  <a:pt x="983" y="143"/>
                  <a:pt x="975" y="141"/>
                  <a:pt x="974" y="142"/>
                </a:cubicBezTo>
                <a:cubicBezTo>
                  <a:pt x="973" y="143"/>
                  <a:pt x="970" y="141"/>
                  <a:pt x="970" y="141"/>
                </a:cubicBezTo>
                <a:cubicBezTo>
                  <a:pt x="966" y="144"/>
                  <a:pt x="966" y="144"/>
                  <a:pt x="966" y="144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0" y="140"/>
                  <a:pt x="960" y="140"/>
                  <a:pt x="960" y="140"/>
                </a:cubicBezTo>
                <a:cubicBezTo>
                  <a:pt x="960" y="140"/>
                  <a:pt x="967" y="138"/>
                  <a:pt x="966" y="136"/>
                </a:cubicBezTo>
                <a:cubicBezTo>
                  <a:pt x="964" y="134"/>
                  <a:pt x="954" y="133"/>
                  <a:pt x="954" y="133"/>
                </a:cubicBezTo>
                <a:cubicBezTo>
                  <a:pt x="953" y="131"/>
                  <a:pt x="953" y="131"/>
                  <a:pt x="953" y="131"/>
                </a:cubicBezTo>
                <a:cubicBezTo>
                  <a:pt x="946" y="131"/>
                  <a:pt x="946" y="131"/>
                  <a:pt x="946" y="131"/>
                </a:cubicBezTo>
                <a:cubicBezTo>
                  <a:pt x="937" y="124"/>
                  <a:pt x="937" y="124"/>
                  <a:pt x="937" y="124"/>
                </a:cubicBezTo>
                <a:cubicBezTo>
                  <a:pt x="947" y="124"/>
                  <a:pt x="947" y="124"/>
                  <a:pt x="947" y="124"/>
                </a:cubicBezTo>
                <a:cubicBezTo>
                  <a:pt x="943" y="121"/>
                  <a:pt x="943" y="121"/>
                  <a:pt x="943" y="121"/>
                </a:cubicBezTo>
                <a:cubicBezTo>
                  <a:pt x="943" y="121"/>
                  <a:pt x="945" y="120"/>
                  <a:pt x="946" y="120"/>
                </a:cubicBezTo>
                <a:cubicBezTo>
                  <a:pt x="947" y="120"/>
                  <a:pt x="958" y="122"/>
                  <a:pt x="957" y="120"/>
                </a:cubicBezTo>
                <a:cubicBezTo>
                  <a:pt x="955" y="117"/>
                  <a:pt x="944" y="117"/>
                  <a:pt x="944" y="117"/>
                </a:cubicBezTo>
                <a:cubicBezTo>
                  <a:pt x="940" y="117"/>
                  <a:pt x="940" y="117"/>
                  <a:pt x="940" y="117"/>
                </a:cubicBezTo>
                <a:cubicBezTo>
                  <a:pt x="940" y="117"/>
                  <a:pt x="956" y="117"/>
                  <a:pt x="957" y="115"/>
                </a:cubicBezTo>
                <a:cubicBezTo>
                  <a:pt x="957" y="113"/>
                  <a:pt x="952" y="113"/>
                  <a:pt x="952" y="113"/>
                </a:cubicBezTo>
                <a:cubicBezTo>
                  <a:pt x="938" y="115"/>
                  <a:pt x="938" y="115"/>
                  <a:pt x="938" y="115"/>
                </a:cubicBezTo>
                <a:cubicBezTo>
                  <a:pt x="946" y="110"/>
                  <a:pt x="946" y="110"/>
                  <a:pt x="946" y="110"/>
                </a:cubicBezTo>
                <a:cubicBezTo>
                  <a:pt x="946" y="110"/>
                  <a:pt x="957" y="111"/>
                  <a:pt x="954" y="108"/>
                </a:cubicBezTo>
                <a:cubicBezTo>
                  <a:pt x="950" y="105"/>
                  <a:pt x="945" y="105"/>
                  <a:pt x="945" y="105"/>
                </a:cubicBezTo>
                <a:cubicBezTo>
                  <a:pt x="940" y="108"/>
                  <a:pt x="940" y="108"/>
                  <a:pt x="940" y="108"/>
                </a:cubicBezTo>
                <a:cubicBezTo>
                  <a:pt x="937" y="107"/>
                  <a:pt x="937" y="107"/>
                  <a:pt x="937" y="107"/>
                </a:cubicBezTo>
                <a:cubicBezTo>
                  <a:pt x="932" y="112"/>
                  <a:pt x="932" y="112"/>
                  <a:pt x="932" y="112"/>
                </a:cubicBezTo>
                <a:cubicBezTo>
                  <a:pt x="932" y="108"/>
                  <a:pt x="932" y="108"/>
                  <a:pt x="932" y="108"/>
                </a:cubicBezTo>
                <a:cubicBezTo>
                  <a:pt x="929" y="111"/>
                  <a:pt x="929" y="111"/>
                  <a:pt x="929" y="111"/>
                </a:cubicBezTo>
                <a:cubicBezTo>
                  <a:pt x="932" y="107"/>
                  <a:pt x="932" y="107"/>
                  <a:pt x="932" y="107"/>
                </a:cubicBezTo>
                <a:cubicBezTo>
                  <a:pt x="932" y="107"/>
                  <a:pt x="936" y="108"/>
                  <a:pt x="938" y="106"/>
                </a:cubicBezTo>
                <a:cubicBezTo>
                  <a:pt x="940" y="104"/>
                  <a:pt x="940" y="101"/>
                  <a:pt x="939" y="102"/>
                </a:cubicBezTo>
                <a:cubicBezTo>
                  <a:pt x="937" y="102"/>
                  <a:pt x="936" y="104"/>
                  <a:pt x="936" y="104"/>
                </a:cubicBezTo>
                <a:cubicBezTo>
                  <a:pt x="931" y="104"/>
                  <a:pt x="931" y="104"/>
                  <a:pt x="931" y="104"/>
                </a:cubicBezTo>
                <a:cubicBezTo>
                  <a:pt x="928" y="106"/>
                  <a:pt x="928" y="106"/>
                  <a:pt x="928" y="106"/>
                </a:cubicBezTo>
                <a:cubicBezTo>
                  <a:pt x="931" y="102"/>
                  <a:pt x="931" y="102"/>
                  <a:pt x="931" y="102"/>
                </a:cubicBezTo>
                <a:cubicBezTo>
                  <a:pt x="935" y="102"/>
                  <a:pt x="935" y="102"/>
                  <a:pt x="935" y="102"/>
                </a:cubicBezTo>
                <a:cubicBezTo>
                  <a:pt x="935" y="102"/>
                  <a:pt x="940" y="100"/>
                  <a:pt x="937" y="98"/>
                </a:cubicBezTo>
                <a:cubicBezTo>
                  <a:pt x="935" y="97"/>
                  <a:pt x="925" y="101"/>
                  <a:pt x="925" y="101"/>
                </a:cubicBezTo>
                <a:cubicBezTo>
                  <a:pt x="924" y="99"/>
                  <a:pt x="924" y="99"/>
                  <a:pt x="924" y="99"/>
                </a:cubicBezTo>
                <a:cubicBezTo>
                  <a:pt x="920" y="102"/>
                  <a:pt x="920" y="102"/>
                  <a:pt x="920" y="102"/>
                </a:cubicBezTo>
                <a:cubicBezTo>
                  <a:pt x="923" y="97"/>
                  <a:pt x="923" y="97"/>
                  <a:pt x="923" y="97"/>
                </a:cubicBezTo>
                <a:cubicBezTo>
                  <a:pt x="916" y="100"/>
                  <a:pt x="916" y="100"/>
                  <a:pt x="916" y="100"/>
                </a:cubicBezTo>
                <a:cubicBezTo>
                  <a:pt x="916" y="97"/>
                  <a:pt x="916" y="97"/>
                  <a:pt x="916" y="97"/>
                </a:cubicBezTo>
                <a:cubicBezTo>
                  <a:pt x="916" y="97"/>
                  <a:pt x="923" y="95"/>
                  <a:pt x="923" y="94"/>
                </a:cubicBezTo>
                <a:cubicBezTo>
                  <a:pt x="923" y="93"/>
                  <a:pt x="913" y="95"/>
                  <a:pt x="913" y="95"/>
                </a:cubicBezTo>
                <a:cubicBezTo>
                  <a:pt x="913" y="94"/>
                  <a:pt x="913" y="94"/>
                  <a:pt x="913" y="94"/>
                </a:cubicBezTo>
                <a:cubicBezTo>
                  <a:pt x="913" y="94"/>
                  <a:pt x="923" y="92"/>
                  <a:pt x="922" y="90"/>
                </a:cubicBezTo>
                <a:cubicBezTo>
                  <a:pt x="920" y="89"/>
                  <a:pt x="907" y="88"/>
                  <a:pt x="905" y="88"/>
                </a:cubicBezTo>
                <a:cubicBezTo>
                  <a:pt x="903" y="87"/>
                  <a:pt x="900" y="88"/>
                  <a:pt x="900" y="89"/>
                </a:cubicBezTo>
                <a:cubicBezTo>
                  <a:pt x="899" y="89"/>
                  <a:pt x="902" y="92"/>
                  <a:pt x="902" y="92"/>
                </a:cubicBezTo>
                <a:cubicBezTo>
                  <a:pt x="897" y="92"/>
                  <a:pt x="897" y="92"/>
                  <a:pt x="897" y="92"/>
                </a:cubicBezTo>
                <a:cubicBezTo>
                  <a:pt x="897" y="95"/>
                  <a:pt x="897" y="95"/>
                  <a:pt x="897" y="95"/>
                </a:cubicBezTo>
                <a:cubicBezTo>
                  <a:pt x="894" y="92"/>
                  <a:pt x="894" y="92"/>
                  <a:pt x="894" y="92"/>
                </a:cubicBezTo>
                <a:cubicBezTo>
                  <a:pt x="889" y="95"/>
                  <a:pt x="889" y="95"/>
                  <a:pt x="889" y="95"/>
                </a:cubicBezTo>
                <a:cubicBezTo>
                  <a:pt x="889" y="95"/>
                  <a:pt x="890" y="92"/>
                  <a:pt x="889" y="91"/>
                </a:cubicBezTo>
                <a:cubicBezTo>
                  <a:pt x="888" y="90"/>
                  <a:pt x="878" y="94"/>
                  <a:pt x="878" y="94"/>
                </a:cubicBezTo>
                <a:cubicBezTo>
                  <a:pt x="881" y="89"/>
                  <a:pt x="881" y="89"/>
                  <a:pt x="881" y="89"/>
                </a:cubicBezTo>
                <a:cubicBezTo>
                  <a:pt x="881" y="89"/>
                  <a:pt x="889" y="89"/>
                  <a:pt x="889" y="87"/>
                </a:cubicBezTo>
                <a:cubicBezTo>
                  <a:pt x="889" y="85"/>
                  <a:pt x="886" y="83"/>
                  <a:pt x="886" y="83"/>
                </a:cubicBezTo>
                <a:cubicBezTo>
                  <a:pt x="886" y="83"/>
                  <a:pt x="891" y="79"/>
                  <a:pt x="888" y="78"/>
                </a:cubicBezTo>
                <a:cubicBezTo>
                  <a:pt x="884" y="78"/>
                  <a:pt x="875" y="79"/>
                  <a:pt x="875" y="79"/>
                </a:cubicBezTo>
                <a:cubicBezTo>
                  <a:pt x="872" y="81"/>
                  <a:pt x="872" y="81"/>
                  <a:pt x="872" y="81"/>
                </a:cubicBezTo>
                <a:cubicBezTo>
                  <a:pt x="859" y="81"/>
                  <a:pt x="859" y="81"/>
                  <a:pt x="859" y="81"/>
                </a:cubicBezTo>
                <a:cubicBezTo>
                  <a:pt x="861" y="83"/>
                  <a:pt x="861" y="83"/>
                  <a:pt x="861" y="83"/>
                </a:cubicBezTo>
                <a:cubicBezTo>
                  <a:pt x="865" y="85"/>
                  <a:pt x="865" y="85"/>
                  <a:pt x="865" y="85"/>
                </a:cubicBezTo>
                <a:cubicBezTo>
                  <a:pt x="859" y="83"/>
                  <a:pt x="859" y="83"/>
                  <a:pt x="859" y="83"/>
                </a:cubicBezTo>
                <a:cubicBezTo>
                  <a:pt x="860" y="87"/>
                  <a:pt x="860" y="87"/>
                  <a:pt x="860" y="87"/>
                </a:cubicBezTo>
                <a:cubicBezTo>
                  <a:pt x="860" y="87"/>
                  <a:pt x="853" y="84"/>
                  <a:pt x="852" y="86"/>
                </a:cubicBezTo>
                <a:cubicBezTo>
                  <a:pt x="850" y="89"/>
                  <a:pt x="853" y="92"/>
                  <a:pt x="853" y="92"/>
                </a:cubicBezTo>
                <a:cubicBezTo>
                  <a:pt x="854" y="95"/>
                  <a:pt x="854" y="95"/>
                  <a:pt x="854" y="95"/>
                </a:cubicBezTo>
                <a:cubicBezTo>
                  <a:pt x="854" y="95"/>
                  <a:pt x="850" y="93"/>
                  <a:pt x="847" y="93"/>
                </a:cubicBezTo>
                <a:cubicBezTo>
                  <a:pt x="845" y="94"/>
                  <a:pt x="842" y="98"/>
                  <a:pt x="845" y="98"/>
                </a:cubicBezTo>
                <a:cubicBezTo>
                  <a:pt x="847" y="98"/>
                  <a:pt x="848" y="99"/>
                  <a:pt x="848" y="99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33" y="103"/>
                  <a:pt x="833" y="103"/>
                  <a:pt x="833" y="103"/>
                </a:cubicBezTo>
                <a:cubicBezTo>
                  <a:pt x="833" y="103"/>
                  <a:pt x="841" y="102"/>
                  <a:pt x="841" y="100"/>
                </a:cubicBezTo>
                <a:cubicBezTo>
                  <a:pt x="841" y="98"/>
                  <a:pt x="836" y="98"/>
                  <a:pt x="838" y="95"/>
                </a:cubicBezTo>
                <a:cubicBezTo>
                  <a:pt x="841" y="92"/>
                  <a:pt x="843" y="92"/>
                  <a:pt x="843" y="92"/>
                </a:cubicBezTo>
                <a:cubicBezTo>
                  <a:pt x="843" y="88"/>
                  <a:pt x="843" y="88"/>
                  <a:pt x="843" y="88"/>
                </a:cubicBezTo>
                <a:cubicBezTo>
                  <a:pt x="843" y="88"/>
                  <a:pt x="851" y="83"/>
                  <a:pt x="853" y="82"/>
                </a:cubicBezTo>
                <a:cubicBezTo>
                  <a:pt x="856" y="81"/>
                  <a:pt x="865" y="79"/>
                  <a:pt x="863" y="79"/>
                </a:cubicBezTo>
                <a:cubicBezTo>
                  <a:pt x="862" y="78"/>
                  <a:pt x="852" y="77"/>
                  <a:pt x="847" y="78"/>
                </a:cubicBezTo>
                <a:cubicBezTo>
                  <a:pt x="841" y="78"/>
                  <a:pt x="827" y="87"/>
                  <a:pt x="827" y="87"/>
                </a:cubicBezTo>
                <a:cubicBezTo>
                  <a:pt x="827" y="87"/>
                  <a:pt x="821" y="89"/>
                  <a:pt x="819" y="90"/>
                </a:cubicBezTo>
                <a:cubicBezTo>
                  <a:pt x="817" y="90"/>
                  <a:pt x="816" y="92"/>
                  <a:pt x="816" y="92"/>
                </a:cubicBezTo>
                <a:cubicBezTo>
                  <a:pt x="816" y="92"/>
                  <a:pt x="807" y="98"/>
                  <a:pt x="810" y="99"/>
                </a:cubicBezTo>
                <a:cubicBezTo>
                  <a:pt x="814" y="101"/>
                  <a:pt x="825" y="100"/>
                  <a:pt x="823" y="102"/>
                </a:cubicBezTo>
                <a:cubicBezTo>
                  <a:pt x="822" y="104"/>
                  <a:pt x="804" y="103"/>
                  <a:pt x="808" y="107"/>
                </a:cubicBezTo>
                <a:cubicBezTo>
                  <a:pt x="813" y="110"/>
                  <a:pt x="818" y="110"/>
                  <a:pt x="818" y="110"/>
                </a:cubicBezTo>
                <a:cubicBezTo>
                  <a:pt x="825" y="108"/>
                  <a:pt x="825" y="108"/>
                  <a:pt x="825" y="108"/>
                </a:cubicBezTo>
                <a:cubicBezTo>
                  <a:pt x="825" y="108"/>
                  <a:pt x="823" y="111"/>
                  <a:pt x="827" y="111"/>
                </a:cubicBezTo>
                <a:cubicBezTo>
                  <a:pt x="832" y="111"/>
                  <a:pt x="851" y="115"/>
                  <a:pt x="853" y="114"/>
                </a:cubicBezTo>
                <a:cubicBezTo>
                  <a:pt x="855" y="113"/>
                  <a:pt x="850" y="110"/>
                  <a:pt x="850" y="110"/>
                </a:cubicBezTo>
                <a:cubicBezTo>
                  <a:pt x="850" y="110"/>
                  <a:pt x="864" y="112"/>
                  <a:pt x="866" y="112"/>
                </a:cubicBezTo>
                <a:cubicBezTo>
                  <a:pt x="868" y="112"/>
                  <a:pt x="874" y="114"/>
                  <a:pt x="876" y="113"/>
                </a:cubicBezTo>
                <a:cubicBezTo>
                  <a:pt x="878" y="112"/>
                  <a:pt x="874" y="108"/>
                  <a:pt x="874" y="108"/>
                </a:cubicBezTo>
                <a:cubicBezTo>
                  <a:pt x="881" y="107"/>
                  <a:pt x="881" y="107"/>
                  <a:pt x="881" y="107"/>
                </a:cubicBezTo>
                <a:cubicBezTo>
                  <a:pt x="881" y="107"/>
                  <a:pt x="882" y="111"/>
                  <a:pt x="883" y="111"/>
                </a:cubicBezTo>
                <a:cubicBezTo>
                  <a:pt x="884" y="111"/>
                  <a:pt x="887" y="114"/>
                  <a:pt x="887" y="114"/>
                </a:cubicBezTo>
                <a:cubicBezTo>
                  <a:pt x="891" y="113"/>
                  <a:pt x="891" y="113"/>
                  <a:pt x="891" y="113"/>
                </a:cubicBezTo>
                <a:cubicBezTo>
                  <a:pt x="891" y="113"/>
                  <a:pt x="889" y="117"/>
                  <a:pt x="890" y="117"/>
                </a:cubicBezTo>
                <a:cubicBezTo>
                  <a:pt x="891" y="117"/>
                  <a:pt x="897" y="119"/>
                  <a:pt x="897" y="119"/>
                </a:cubicBezTo>
                <a:cubicBezTo>
                  <a:pt x="897" y="119"/>
                  <a:pt x="893" y="123"/>
                  <a:pt x="894" y="123"/>
                </a:cubicBezTo>
                <a:cubicBezTo>
                  <a:pt x="896" y="123"/>
                  <a:pt x="900" y="123"/>
                  <a:pt x="900" y="123"/>
                </a:cubicBezTo>
                <a:cubicBezTo>
                  <a:pt x="899" y="126"/>
                  <a:pt x="899" y="126"/>
                  <a:pt x="899" y="126"/>
                </a:cubicBezTo>
                <a:cubicBezTo>
                  <a:pt x="899" y="126"/>
                  <a:pt x="906" y="127"/>
                  <a:pt x="906" y="130"/>
                </a:cubicBezTo>
                <a:cubicBezTo>
                  <a:pt x="906" y="134"/>
                  <a:pt x="902" y="141"/>
                  <a:pt x="900" y="141"/>
                </a:cubicBezTo>
                <a:cubicBezTo>
                  <a:pt x="899" y="141"/>
                  <a:pt x="881" y="149"/>
                  <a:pt x="881" y="149"/>
                </a:cubicBezTo>
                <a:cubicBezTo>
                  <a:pt x="881" y="149"/>
                  <a:pt x="887" y="153"/>
                  <a:pt x="884" y="155"/>
                </a:cubicBezTo>
                <a:cubicBezTo>
                  <a:pt x="881" y="156"/>
                  <a:pt x="876" y="156"/>
                  <a:pt x="876" y="156"/>
                </a:cubicBezTo>
                <a:cubicBezTo>
                  <a:pt x="866" y="158"/>
                  <a:pt x="866" y="158"/>
                  <a:pt x="866" y="158"/>
                </a:cubicBezTo>
                <a:cubicBezTo>
                  <a:pt x="864" y="161"/>
                  <a:pt x="864" y="161"/>
                  <a:pt x="864" y="161"/>
                </a:cubicBezTo>
                <a:cubicBezTo>
                  <a:pt x="862" y="158"/>
                  <a:pt x="862" y="158"/>
                  <a:pt x="862" y="158"/>
                </a:cubicBezTo>
                <a:cubicBezTo>
                  <a:pt x="862" y="158"/>
                  <a:pt x="857" y="156"/>
                  <a:pt x="854" y="157"/>
                </a:cubicBezTo>
                <a:cubicBezTo>
                  <a:pt x="851" y="157"/>
                  <a:pt x="852" y="160"/>
                  <a:pt x="852" y="160"/>
                </a:cubicBezTo>
                <a:cubicBezTo>
                  <a:pt x="852" y="160"/>
                  <a:pt x="842" y="162"/>
                  <a:pt x="842" y="165"/>
                </a:cubicBezTo>
                <a:cubicBezTo>
                  <a:pt x="842" y="170"/>
                  <a:pt x="849" y="169"/>
                  <a:pt x="855" y="167"/>
                </a:cubicBezTo>
                <a:cubicBezTo>
                  <a:pt x="861" y="165"/>
                  <a:pt x="862" y="165"/>
                  <a:pt x="862" y="165"/>
                </a:cubicBezTo>
                <a:cubicBezTo>
                  <a:pt x="862" y="165"/>
                  <a:pt x="866" y="168"/>
                  <a:pt x="867" y="167"/>
                </a:cubicBezTo>
                <a:cubicBezTo>
                  <a:pt x="868" y="166"/>
                  <a:pt x="868" y="164"/>
                  <a:pt x="868" y="164"/>
                </a:cubicBezTo>
                <a:cubicBezTo>
                  <a:pt x="871" y="161"/>
                  <a:pt x="871" y="161"/>
                  <a:pt x="871" y="161"/>
                </a:cubicBezTo>
                <a:cubicBezTo>
                  <a:pt x="871" y="161"/>
                  <a:pt x="868" y="163"/>
                  <a:pt x="870" y="164"/>
                </a:cubicBezTo>
                <a:cubicBezTo>
                  <a:pt x="872" y="164"/>
                  <a:pt x="879" y="164"/>
                  <a:pt x="879" y="164"/>
                </a:cubicBezTo>
                <a:cubicBezTo>
                  <a:pt x="879" y="164"/>
                  <a:pt x="876" y="166"/>
                  <a:pt x="877" y="167"/>
                </a:cubicBezTo>
                <a:cubicBezTo>
                  <a:pt x="877" y="169"/>
                  <a:pt x="881" y="169"/>
                  <a:pt x="881" y="169"/>
                </a:cubicBezTo>
                <a:cubicBezTo>
                  <a:pt x="881" y="169"/>
                  <a:pt x="878" y="171"/>
                  <a:pt x="881" y="173"/>
                </a:cubicBezTo>
                <a:cubicBezTo>
                  <a:pt x="883" y="174"/>
                  <a:pt x="888" y="174"/>
                  <a:pt x="888" y="174"/>
                </a:cubicBezTo>
                <a:cubicBezTo>
                  <a:pt x="882" y="176"/>
                  <a:pt x="882" y="176"/>
                  <a:pt x="882" y="176"/>
                </a:cubicBezTo>
                <a:cubicBezTo>
                  <a:pt x="882" y="176"/>
                  <a:pt x="883" y="181"/>
                  <a:pt x="884" y="180"/>
                </a:cubicBezTo>
                <a:cubicBezTo>
                  <a:pt x="885" y="180"/>
                  <a:pt x="887" y="179"/>
                  <a:pt x="887" y="179"/>
                </a:cubicBezTo>
                <a:cubicBezTo>
                  <a:pt x="887" y="179"/>
                  <a:pt x="888" y="182"/>
                  <a:pt x="890" y="182"/>
                </a:cubicBezTo>
                <a:cubicBezTo>
                  <a:pt x="892" y="182"/>
                  <a:pt x="896" y="183"/>
                  <a:pt x="896" y="183"/>
                </a:cubicBezTo>
                <a:cubicBezTo>
                  <a:pt x="896" y="183"/>
                  <a:pt x="896" y="187"/>
                  <a:pt x="899" y="187"/>
                </a:cubicBezTo>
                <a:cubicBezTo>
                  <a:pt x="903" y="188"/>
                  <a:pt x="905" y="187"/>
                  <a:pt x="908" y="188"/>
                </a:cubicBezTo>
                <a:cubicBezTo>
                  <a:pt x="911" y="190"/>
                  <a:pt x="918" y="193"/>
                  <a:pt x="918" y="193"/>
                </a:cubicBezTo>
                <a:cubicBezTo>
                  <a:pt x="918" y="193"/>
                  <a:pt x="921" y="189"/>
                  <a:pt x="918" y="186"/>
                </a:cubicBezTo>
                <a:cubicBezTo>
                  <a:pt x="916" y="183"/>
                  <a:pt x="912" y="181"/>
                  <a:pt x="912" y="181"/>
                </a:cubicBezTo>
                <a:cubicBezTo>
                  <a:pt x="912" y="181"/>
                  <a:pt x="907" y="175"/>
                  <a:pt x="908" y="174"/>
                </a:cubicBezTo>
                <a:cubicBezTo>
                  <a:pt x="909" y="172"/>
                  <a:pt x="914" y="177"/>
                  <a:pt x="914" y="177"/>
                </a:cubicBezTo>
                <a:cubicBezTo>
                  <a:pt x="914" y="173"/>
                  <a:pt x="914" y="173"/>
                  <a:pt x="914" y="173"/>
                </a:cubicBezTo>
                <a:cubicBezTo>
                  <a:pt x="914" y="173"/>
                  <a:pt x="916" y="178"/>
                  <a:pt x="918" y="178"/>
                </a:cubicBezTo>
                <a:cubicBezTo>
                  <a:pt x="920" y="178"/>
                  <a:pt x="923" y="177"/>
                  <a:pt x="923" y="177"/>
                </a:cubicBezTo>
                <a:cubicBezTo>
                  <a:pt x="923" y="177"/>
                  <a:pt x="922" y="181"/>
                  <a:pt x="925" y="181"/>
                </a:cubicBezTo>
                <a:cubicBezTo>
                  <a:pt x="927" y="181"/>
                  <a:pt x="928" y="184"/>
                  <a:pt x="928" y="184"/>
                </a:cubicBezTo>
                <a:cubicBezTo>
                  <a:pt x="930" y="180"/>
                  <a:pt x="930" y="180"/>
                  <a:pt x="930" y="180"/>
                </a:cubicBezTo>
                <a:cubicBezTo>
                  <a:pt x="930" y="180"/>
                  <a:pt x="932" y="183"/>
                  <a:pt x="934" y="182"/>
                </a:cubicBezTo>
                <a:cubicBezTo>
                  <a:pt x="935" y="182"/>
                  <a:pt x="933" y="179"/>
                  <a:pt x="933" y="179"/>
                </a:cubicBezTo>
                <a:cubicBezTo>
                  <a:pt x="935" y="172"/>
                  <a:pt x="935" y="172"/>
                  <a:pt x="935" y="172"/>
                </a:cubicBezTo>
                <a:cubicBezTo>
                  <a:pt x="935" y="172"/>
                  <a:pt x="935" y="178"/>
                  <a:pt x="937" y="178"/>
                </a:cubicBezTo>
                <a:cubicBezTo>
                  <a:pt x="939" y="178"/>
                  <a:pt x="940" y="172"/>
                  <a:pt x="940" y="172"/>
                </a:cubicBezTo>
                <a:cubicBezTo>
                  <a:pt x="937" y="169"/>
                  <a:pt x="937" y="169"/>
                  <a:pt x="937" y="169"/>
                </a:cubicBezTo>
                <a:cubicBezTo>
                  <a:pt x="940" y="168"/>
                  <a:pt x="940" y="168"/>
                  <a:pt x="940" y="168"/>
                </a:cubicBezTo>
                <a:cubicBezTo>
                  <a:pt x="937" y="166"/>
                  <a:pt x="937" y="166"/>
                  <a:pt x="937" y="166"/>
                </a:cubicBezTo>
                <a:cubicBezTo>
                  <a:pt x="937" y="163"/>
                  <a:pt x="937" y="163"/>
                  <a:pt x="937" y="163"/>
                </a:cubicBezTo>
                <a:cubicBezTo>
                  <a:pt x="933" y="163"/>
                  <a:pt x="933" y="163"/>
                  <a:pt x="933" y="163"/>
                </a:cubicBezTo>
                <a:cubicBezTo>
                  <a:pt x="933" y="161"/>
                  <a:pt x="933" y="161"/>
                  <a:pt x="933" y="161"/>
                </a:cubicBezTo>
                <a:cubicBezTo>
                  <a:pt x="930" y="161"/>
                  <a:pt x="930" y="161"/>
                  <a:pt x="930" y="161"/>
                </a:cubicBezTo>
                <a:cubicBezTo>
                  <a:pt x="930" y="154"/>
                  <a:pt x="930" y="154"/>
                  <a:pt x="930" y="154"/>
                </a:cubicBezTo>
                <a:cubicBezTo>
                  <a:pt x="925" y="154"/>
                  <a:pt x="925" y="154"/>
                  <a:pt x="925" y="154"/>
                </a:cubicBezTo>
                <a:cubicBezTo>
                  <a:pt x="925" y="154"/>
                  <a:pt x="923" y="150"/>
                  <a:pt x="925" y="150"/>
                </a:cubicBezTo>
                <a:cubicBezTo>
                  <a:pt x="928" y="149"/>
                  <a:pt x="930" y="153"/>
                  <a:pt x="931" y="152"/>
                </a:cubicBezTo>
                <a:cubicBezTo>
                  <a:pt x="933" y="152"/>
                  <a:pt x="933" y="146"/>
                  <a:pt x="933" y="146"/>
                </a:cubicBezTo>
                <a:cubicBezTo>
                  <a:pt x="936" y="147"/>
                  <a:pt x="936" y="147"/>
                  <a:pt x="936" y="147"/>
                </a:cubicBezTo>
                <a:cubicBezTo>
                  <a:pt x="941" y="145"/>
                  <a:pt x="941" y="145"/>
                  <a:pt x="941" y="145"/>
                </a:cubicBezTo>
                <a:cubicBezTo>
                  <a:pt x="941" y="145"/>
                  <a:pt x="941" y="151"/>
                  <a:pt x="943" y="150"/>
                </a:cubicBezTo>
                <a:cubicBezTo>
                  <a:pt x="944" y="149"/>
                  <a:pt x="947" y="149"/>
                  <a:pt x="947" y="149"/>
                </a:cubicBezTo>
                <a:cubicBezTo>
                  <a:pt x="945" y="151"/>
                  <a:pt x="945" y="151"/>
                  <a:pt x="945" y="151"/>
                </a:cubicBezTo>
                <a:cubicBezTo>
                  <a:pt x="948" y="151"/>
                  <a:pt x="948" y="151"/>
                  <a:pt x="948" y="151"/>
                </a:cubicBezTo>
                <a:cubicBezTo>
                  <a:pt x="947" y="155"/>
                  <a:pt x="947" y="155"/>
                  <a:pt x="947" y="155"/>
                </a:cubicBezTo>
                <a:cubicBezTo>
                  <a:pt x="947" y="155"/>
                  <a:pt x="952" y="164"/>
                  <a:pt x="955" y="162"/>
                </a:cubicBezTo>
                <a:cubicBezTo>
                  <a:pt x="958" y="160"/>
                  <a:pt x="959" y="154"/>
                  <a:pt x="959" y="154"/>
                </a:cubicBezTo>
                <a:cubicBezTo>
                  <a:pt x="960" y="152"/>
                  <a:pt x="960" y="152"/>
                  <a:pt x="960" y="152"/>
                </a:cubicBezTo>
                <a:cubicBezTo>
                  <a:pt x="960" y="152"/>
                  <a:pt x="964" y="156"/>
                  <a:pt x="967" y="154"/>
                </a:cubicBezTo>
                <a:cubicBezTo>
                  <a:pt x="970" y="152"/>
                  <a:pt x="970" y="148"/>
                  <a:pt x="970" y="148"/>
                </a:cubicBezTo>
                <a:cubicBezTo>
                  <a:pt x="970" y="148"/>
                  <a:pt x="977" y="150"/>
                  <a:pt x="980" y="147"/>
                </a:cubicBezTo>
                <a:close/>
                <a:moveTo>
                  <a:pt x="906" y="15"/>
                </a:moveTo>
                <a:cubicBezTo>
                  <a:pt x="918" y="15"/>
                  <a:pt x="918" y="15"/>
                  <a:pt x="918" y="15"/>
                </a:cubicBezTo>
                <a:cubicBezTo>
                  <a:pt x="906" y="17"/>
                  <a:pt x="906" y="17"/>
                  <a:pt x="906" y="17"/>
                </a:cubicBezTo>
                <a:cubicBezTo>
                  <a:pt x="906" y="17"/>
                  <a:pt x="911" y="19"/>
                  <a:pt x="913" y="19"/>
                </a:cubicBezTo>
                <a:cubicBezTo>
                  <a:pt x="916" y="19"/>
                  <a:pt x="924" y="17"/>
                  <a:pt x="924" y="17"/>
                </a:cubicBezTo>
                <a:cubicBezTo>
                  <a:pt x="924" y="17"/>
                  <a:pt x="929" y="16"/>
                  <a:pt x="933" y="16"/>
                </a:cubicBezTo>
                <a:cubicBezTo>
                  <a:pt x="937" y="16"/>
                  <a:pt x="946" y="18"/>
                  <a:pt x="946" y="18"/>
                </a:cubicBezTo>
                <a:cubicBezTo>
                  <a:pt x="946" y="18"/>
                  <a:pt x="935" y="18"/>
                  <a:pt x="933" y="18"/>
                </a:cubicBezTo>
                <a:cubicBezTo>
                  <a:pt x="930" y="18"/>
                  <a:pt x="923" y="21"/>
                  <a:pt x="923" y="21"/>
                </a:cubicBezTo>
                <a:cubicBezTo>
                  <a:pt x="923" y="21"/>
                  <a:pt x="929" y="21"/>
                  <a:pt x="933" y="21"/>
                </a:cubicBezTo>
                <a:cubicBezTo>
                  <a:pt x="938" y="22"/>
                  <a:pt x="939" y="20"/>
                  <a:pt x="939" y="20"/>
                </a:cubicBezTo>
                <a:cubicBezTo>
                  <a:pt x="948" y="20"/>
                  <a:pt x="948" y="20"/>
                  <a:pt x="948" y="20"/>
                </a:cubicBezTo>
                <a:cubicBezTo>
                  <a:pt x="948" y="20"/>
                  <a:pt x="951" y="20"/>
                  <a:pt x="955" y="20"/>
                </a:cubicBezTo>
                <a:cubicBezTo>
                  <a:pt x="958" y="20"/>
                  <a:pt x="967" y="18"/>
                  <a:pt x="967" y="17"/>
                </a:cubicBezTo>
                <a:cubicBezTo>
                  <a:pt x="968" y="17"/>
                  <a:pt x="974" y="16"/>
                  <a:pt x="977" y="15"/>
                </a:cubicBezTo>
                <a:cubicBezTo>
                  <a:pt x="979" y="14"/>
                  <a:pt x="984" y="15"/>
                  <a:pt x="984" y="15"/>
                </a:cubicBezTo>
                <a:cubicBezTo>
                  <a:pt x="972" y="19"/>
                  <a:pt x="972" y="19"/>
                  <a:pt x="972" y="19"/>
                </a:cubicBezTo>
                <a:cubicBezTo>
                  <a:pt x="976" y="19"/>
                  <a:pt x="976" y="19"/>
                  <a:pt x="976" y="19"/>
                </a:cubicBezTo>
                <a:cubicBezTo>
                  <a:pt x="970" y="21"/>
                  <a:pt x="970" y="21"/>
                  <a:pt x="970" y="21"/>
                </a:cubicBezTo>
                <a:cubicBezTo>
                  <a:pt x="970" y="21"/>
                  <a:pt x="946" y="22"/>
                  <a:pt x="943" y="22"/>
                </a:cubicBezTo>
                <a:cubicBezTo>
                  <a:pt x="941" y="22"/>
                  <a:pt x="941" y="25"/>
                  <a:pt x="941" y="25"/>
                </a:cubicBezTo>
                <a:cubicBezTo>
                  <a:pt x="951" y="28"/>
                  <a:pt x="951" y="28"/>
                  <a:pt x="951" y="28"/>
                </a:cubicBezTo>
                <a:cubicBezTo>
                  <a:pt x="951" y="28"/>
                  <a:pt x="947" y="29"/>
                  <a:pt x="945" y="29"/>
                </a:cubicBezTo>
                <a:cubicBezTo>
                  <a:pt x="942" y="29"/>
                  <a:pt x="932" y="24"/>
                  <a:pt x="932" y="24"/>
                </a:cubicBezTo>
                <a:cubicBezTo>
                  <a:pt x="932" y="24"/>
                  <a:pt x="922" y="24"/>
                  <a:pt x="919" y="24"/>
                </a:cubicBezTo>
                <a:cubicBezTo>
                  <a:pt x="917" y="24"/>
                  <a:pt x="915" y="27"/>
                  <a:pt x="915" y="27"/>
                </a:cubicBezTo>
                <a:cubicBezTo>
                  <a:pt x="919" y="29"/>
                  <a:pt x="919" y="29"/>
                  <a:pt x="919" y="29"/>
                </a:cubicBezTo>
                <a:cubicBezTo>
                  <a:pt x="919" y="29"/>
                  <a:pt x="922" y="32"/>
                  <a:pt x="925" y="33"/>
                </a:cubicBezTo>
                <a:cubicBezTo>
                  <a:pt x="928" y="34"/>
                  <a:pt x="935" y="33"/>
                  <a:pt x="935" y="33"/>
                </a:cubicBezTo>
                <a:cubicBezTo>
                  <a:pt x="935" y="33"/>
                  <a:pt x="934" y="35"/>
                  <a:pt x="930" y="35"/>
                </a:cubicBezTo>
                <a:cubicBezTo>
                  <a:pt x="927" y="36"/>
                  <a:pt x="920" y="34"/>
                  <a:pt x="919" y="34"/>
                </a:cubicBezTo>
                <a:cubicBezTo>
                  <a:pt x="917" y="34"/>
                  <a:pt x="905" y="36"/>
                  <a:pt x="902" y="36"/>
                </a:cubicBezTo>
                <a:cubicBezTo>
                  <a:pt x="898" y="36"/>
                  <a:pt x="890" y="41"/>
                  <a:pt x="890" y="41"/>
                </a:cubicBezTo>
                <a:cubicBezTo>
                  <a:pt x="901" y="39"/>
                  <a:pt x="901" y="39"/>
                  <a:pt x="901" y="39"/>
                </a:cubicBezTo>
                <a:cubicBezTo>
                  <a:pt x="900" y="42"/>
                  <a:pt x="900" y="42"/>
                  <a:pt x="900" y="42"/>
                </a:cubicBezTo>
                <a:cubicBezTo>
                  <a:pt x="909" y="39"/>
                  <a:pt x="909" y="39"/>
                  <a:pt x="909" y="39"/>
                </a:cubicBezTo>
                <a:cubicBezTo>
                  <a:pt x="899" y="43"/>
                  <a:pt x="899" y="43"/>
                  <a:pt x="899" y="43"/>
                </a:cubicBezTo>
                <a:cubicBezTo>
                  <a:pt x="899" y="43"/>
                  <a:pt x="901" y="45"/>
                  <a:pt x="904" y="45"/>
                </a:cubicBezTo>
                <a:cubicBezTo>
                  <a:pt x="908" y="45"/>
                  <a:pt x="917" y="42"/>
                  <a:pt x="917" y="42"/>
                </a:cubicBezTo>
                <a:cubicBezTo>
                  <a:pt x="903" y="47"/>
                  <a:pt x="903" y="47"/>
                  <a:pt x="903" y="47"/>
                </a:cubicBezTo>
                <a:cubicBezTo>
                  <a:pt x="894" y="47"/>
                  <a:pt x="894" y="47"/>
                  <a:pt x="894" y="47"/>
                </a:cubicBezTo>
                <a:cubicBezTo>
                  <a:pt x="892" y="43"/>
                  <a:pt x="892" y="43"/>
                  <a:pt x="892" y="43"/>
                </a:cubicBezTo>
                <a:cubicBezTo>
                  <a:pt x="892" y="43"/>
                  <a:pt x="885" y="42"/>
                  <a:pt x="883" y="43"/>
                </a:cubicBezTo>
                <a:cubicBezTo>
                  <a:pt x="881" y="43"/>
                  <a:pt x="884" y="48"/>
                  <a:pt x="884" y="48"/>
                </a:cubicBezTo>
                <a:cubicBezTo>
                  <a:pt x="884" y="48"/>
                  <a:pt x="874" y="49"/>
                  <a:pt x="873" y="49"/>
                </a:cubicBezTo>
                <a:cubicBezTo>
                  <a:pt x="872" y="49"/>
                  <a:pt x="865" y="52"/>
                  <a:pt x="861" y="53"/>
                </a:cubicBezTo>
                <a:cubicBezTo>
                  <a:pt x="859" y="53"/>
                  <a:pt x="857" y="53"/>
                  <a:pt x="856" y="53"/>
                </a:cubicBezTo>
                <a:cubicBezTo>
                  <a:pt x="855" y="53"/>
                  <a:pt x="859" y="54"/>
                  <a:pt x="863" y="54"/>
                </a:cubicBezTo>
                <a:cubicBezTo>
                  <a:pt x="866" y="54"/>
                  <a:pt x="867" y="53"/>
                  <a:pt x="867" y="53"/>
                </a:cubicBezTo>
                <a:cubicBezTo>
                  <a:pt x="866" y="56"/>
                  <a:pt x="866" y="56"/>
                  <a:pt x="866" y="56"/>
                </a:cubicBezTo>
                <a:cubicBezTo>
                  <a:pt x="871" y="54"/>
                  <a:pt x="871" y="54"/>
                  <a:pt x="871" y="54"/>
                </a:cubicBezTo>
                <a:cubicBezTo>
                  <a:pt x="874" y="53"/>
                  <a:pt x="874" y="53"/>
                  <a:pt x="874" y="53"/>
                </a:cubicBezTo>
                <a:cubicBezTo>
                  <a:pt x="874" y="55"/>
                  <a:pt x="874" y="55"/>
                  <a:pt x="874" y="55"/>
                </a:cubicBezTo>
                <a:cubicBezTo>
                  <a:pt x="877" y="54"/>
                  <a:pt x="877" y="54"/>
                  <a:pt x="877" y="54"/>
                </a:cubicBezTo>
                <a:cubicBezTo>
                  <a:pt x="881" y="54"/>
                  <a:pt x="881" y="54"/>
                  <a:pt x="881" y="54"/>
                </a:cubicBezTo>
                <a:cubicBezTo>
                  <a:pt x="881" y="54"/>
                  <a:pt x="881" y="56"/>
                  <a:pt x="883" y="56"/>
                </a:cubicBezTo>
                <a:cubicBezTo>
                  <a:pt x="886" y="56"/>
                  <a:pt x="890" y="53"/>
                  <a:pt x="890" y="53"/>
                </a:cubicBezTo>
                <a:cubicBezTo>
                  <a:pt x="891" y="55"/>
                  <a:pt x="891" y="55"/>
                  <a:pt x="891" y="55"/>
                </a:cubicBezTo>
                <a:cubicBezTo>
                  <a:pt x="895" y="53"/>
                  <a:pt x="895" y="53"/>
                  <a:pt x="895" y="53"/>
                </a:cubicBezTo>
                <a:cubicBezTo>
                  <a:pt x="895" y="53"/>
                  <a:pt x="896" y="55"/>
                  <a:pt x="898" y="55"/>
                </a:cubicBezTo>
                <a:cubicBezTo>
                  <a:pt x="900" y="56"/>
                  <a:pt x="902" y="53"/>
                  <a:pt x="902" y="53"/>
                </a:cubicBezTo>
                <a:cubicBezTo>
                  <a:pt x="902" y="53"/>
                  <a:pt x="904" y="55"/>
                  <a:pt x="906" y="55"/>
                </a:cubicBezTo>
                <a:cubicBezTo>
                  <a:pt x="909" y="55"/>
                  <a:pt x="907" y="53"/>
                  <a:pt x="907" y="53"/>
                </a:cubicBezTo>
                <a:cubicBezTo>
                  <a:pt x="915" y="56"/>
                  <a:pt x="915" y="56"/>
                  <a:pt x="915" y="56"/>
                </a:cubicBezTo>
                <a:cubicBezTo>
                  <a:pt x="915" y="56"/>
                  <a:pt x="916" y="57"/>
                  <a:pt x="917" y="57"/>
                </a:cubicBezTo>
                <a:cubicBezTo>
                  <a:pt x="918" y="57"/>
                  <a:pt x="930" y="55"/>
                  <a:pt x="932" y="55"/>
                </a:cubicBezTo>
                <a:cubicBezTo>
                  <a:pt x="935" y="55"/>
                  <a:pt x="940" y="53"/>
                  <a:pt x="941" y="51"/>
                </a:cubicBezTo>
                <a:cubicBezTo>
                  <a:pt x="942" y="50"/>
                  <a:pt x="932" y="51"/>
                  <a:pt x="932" y="51"/>
                </a:cubicBezTo>
                <a:cubicBezTo>
                  <a:pt x="932" y="51"/>
                  <a:pt x="934" y="49"/>
                  <a:pt x="932" y="49"/>
                </a:cubicBezTo>
                <a:cubicBezTo>
                  <a:pt x="931" y="48"/>
                  <a:pt x="926" y="49"/>
                  <a:pt x="926" y="49"/>
                </a:cubicBezTo>
                <a:cubicBezTo>
                  <a:pt x="918" y="48"/>
                  <a:pt x="918" y="48"/>
                  <a:pt x="918" y="48"/>
                </a:cubicBezTo>
                <a:cubicBezTo>
                  <a:pt x="920" y="45"/>
                  <a:pt x="920" y="45"/>
                  <a:pt x="920" y="45"/>
                </a:cubicBezTo>
                <a:cubicBezTo>
                  <a:pt x="929" y="48"/>
                  <a:pt x="929" y="48"/>
                  <a:pt x="929" y="48"/>
                </a:cubicBezTo>
                <a:cubicBezTo>
                  <a:pt x="929" y="48"/>
                  <a:pt x="941" y="47"/>
                  <a:pt x="945" y="47"/>
                </a:cubicBezTo>
                <a:cubicBezTo>
                  <a:pt x="949" y="47"/>
                  <a:pt x="948" y="43"/>
                  <a:pt x="948" y="43"/>
                </a:cubicBezTo>
                <a:cubicBezTo>
                  <a:pt x="948" y="43"/>
                  <a:pt x="953" y="42"/>
                  <a:pt x="957" y="42"/>
                </a:cubicBezTo>
                <a:cubicBezTo>
                  <a:pt x="961" y="42"/>
                  <a:pt x="969" y="40"/>
                  <a:pt x="969" y="40"/>
                </a:cubicBezTo>
                <a:cubicBezTo>
                  <a:pt x="965" y="38"/>
                  <a:pt x="965" y="38"/>
                  <a:pt x="965" y="38"/>
                </a:cubicBezTo>
                <a:cubicBezTo>
                  <a:pt x="965" y="38"/>
                  <a:pt x="970" y="38"/>
                  <a:pt x="975" y="36"/>
                </a:cubicBezTo>
                <a:cubicBezTo>
                  <a:pt x="981" y="35"/>
                  <a:pt x="968" y="33"/>
                  <a:pt x="968" y="33"/>
                </a:cubicBezTo>
                <a:cubicBezTo>
                  <a:pt x="968" y="33"/>
                  <a:pt x="962" y="34"/>
                  <a:pt x="959" y="33"/>
                </a:cubicBezTo>
                <a:cubicBezTo>
                  <a:pt x="957" y="32"/>
                  <a:pt x="970" y="29"/>
                  <a:pt x="970" y="29"/>
                </a:cubicBezTo>
                <a:cubicBezTo>
                  <a:pt x="971" y="29"/>
                  <a:pt x="980" y="30"/>
                  <a:pt x="980" y="30"/>
                </a:cubicBezTo>
                <a:cubicBezTo>
                  <a:pt x="980" y="30"/>
                  <a:pt x="990" y="30"/>
                  <a:pt x="993" y="29"/>
                </a:cubicBezTo>
                <a:cubicBezTo>
                  <a:pt x="996" y="28"/>
                  <a:pt x="986" y="28"/>
                  <a:pt x="989" y="26"/>
                </a:cubicBezTo>
                <a:cubicBezTo>
                  <a:pt x="993" y="25"/>
                  <a:pt x="1000" y="28"/>
                  <a:pt x="1004" y="28"/>
                </a:cubicBezTo>
                <a:cubicBezTo>
                  <a:pt x="1008" y="28"/>
                  <a:pt x="1006" y="24"/>
                  <a:pt x="1006" y="24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7" y="22"/>
                  <a:pt x="1017" y="22"/>
                  <a:pt x="1017" y="22"/>
                </a:cubicBezTo>
                <a:cubicBezTo>
                  <a:pt x="1017" y="22"/>
                  <a:pt x="1020" y="23"/>
                  <a:pt x="1022" y="23"/>
                </a:cubicBezTo>
                <a:cubicBezTo>
                  <a:pt x="1023" y="23"/>
                  <a:pt x="1030" y="20"/>
                  <a:pt x="1030" y="20"/>
                </a:cubicBezTo>
                <a:cubicBezTo>
                  <a:pt x="1030" y="20"/>
                  <a:pt x="1042" y="18"/>
                  <a:pt x="1049" y="17"/>
                </a:cubicBezTo>
                <a:cubicBezTo>
                  <a:pt x="1056" y="16"/>
                  <a:pt x="1056" y="15"/>
                  <a:pt x="1055" y="15"/>
                </a:cubicBezTo>
                <a:cubicBezTo>
                  <a:pt x="1054" y="15"/>
                  <a:pt x="1040" y="15"/>
                  <a:pt x="1040" y="15"/>
                </a:cubicBezTo>
                <a:cubicBezTo>
                  <a:pt x="1037" y="17"/>
                  <a:pt x="1037" y="17"/>
                  <a:pt x="1037" y="17"/>
                </a:cubicBezTo>
                <a:cubicBezTo>
                  <a:pt x="1027" y="16"/>
                  <a:pt x="1027" y="16"/>
                  <a:pt x="1027" y="16"/>
                </a:cubicBezTo>
                <a:cubicBezTo>
                  <a:pt x="1038" y="16"/>
                  <a:pt x="1038" y="16"/>
                  <a:pt x="1038" y="16"/>
                </a:cubicBezTo>
                <a:cubicBezTo>
                  <a:pt x="1038" y="14"/>
                  <a:pt x="1038" y="14"/>
                  <a:pt x="1038" y="14"/>
                </a:cubicBezTo>
                <a:cubicBezTo>
                  <a:pt x="1045" y="15"/>
                  <a:pt x="1045" y="15"/>
                  <a:pt x="1045" y="15"/>
                </a:cubicBezTo>
                <a:cubicBezTo>
                  <a:pt x="1045" y="15"/>
                  <a:pt x="1046" y="13"/>
                  <a:pt x="1048" y="13"/>
                </a:cubicBezTo>
                <a:cubicBezTo>
                  <a:pt x="1049" y="13"/>
                  <a:pt x="1071" y="12"/>
                  <a:pt x="1074" y="12"/>
                </a:cubicBezTo>
                <a:cubicBezTo>
                  <a:pt x="1078" y="12"/>
                  <a:pt x="1088" y="9"/>
                  <a:pt x="1087" y="8"/>
                </a:cubicBezTo>
                <a:cubicBezTo>
                  <a:pt x="1087" y="8"/>
                  <a:pt x="1075" y="9"/>
                  <a:pt x="1075" y="9"/>
                </a:cubicBezTo>
                <a:cubicBezTo>
                  <a:pt x="1076" y="7"/>
                  <a:pt x="1076" y="7"/>
                  <a:pt x="1076" y="7"/>
                </a:cubicBezTo>
                <a:cubicBezTo>
                  <a:pt x="1076" y="7"/>
                  <a:pt x="1068" y="5"/>
                  <a:pt x="1066" y="5"/>
                </a:cubicBezTo>
                <a:cubicBezTo>
                  <a:pt x="1063" y="5"/>
                  <a:pt x="1048" y="8"/>
                  <a:pt x="1048" y="8"/>
                </a:cubicBezTo>
                <a:cubicBezTo>
                  <a:pt x="1055" y="5"/>
                  <a:pt x="1055" y="5"/>
                  <a:pt x="1055" y="5"/>
                </a:cubicBezTo>
                <a:cubicBezTo>
                  <a:pt x="1045" y="5"/>
                  <a:pt x="1045" y="5"/>
                  <a:pt x="1045" y="5"/>
                </a:cubicBezTo>
                <a:cubicBezTo>
                  <a:pt x="1045" y="5"/>
                  <a:pt x="1038" y="3"/>
                  <a:pt x="1036" y="3"/>
                </a:cubicBezTo>
                <a:cubicBezTo>
                  <a:pt x="1034" y="4"/>
                  <a:pt x="1032" y="6"/>
                  <a:pt x="1032" y="6"/>
                </a:cubicBezTo>
                <a:cubicBezTo>
                  <a:pt x="1032" y="6"/>
                  <a:pt x="1027" y="3"/>
                  <a:pt x="1025" y="3"/>
                </a:cubicBezTo>
                <a:cubicBezTo>
                  <a:pt x="1023" y="3"/>
                  <a:pt x="1019" y="7"/>
                  <a:pt x="1019" y="7"/>
                </a:cubicBezTo>
                <a:cubicBezTo>
                  <a:pt x="1014" y="5"/>
                  <a:pt x="1014" y="5"/>
                  <a:pt x="1014" y="5"/>
                </a:cubicBezTo>
                <a:cubicBezTo>
                  <a:pt x="998" y="4"/>
                  <a:pt x="998" y="4"/>
                  <a:pt x="998" y="4"/>
                </a:cubicBezTo>
                <a:cubicBezTo>
                  <a:pt x="1002" y="8"/>
                  <a:pt x="1002" y="8"/>
                  <a:pt x="1002" y="8"/>
                </a:cubicBezTo>
                <a:cubicBezTo>
                  <a:pt x="993" y="5"/>
                  <a:pt x="993" y="5"/>
                  <a:pt x="993" y="5"/>
                </a:cubicBezTo>
                <a:cubicBezTo>
                  <a:pt x="985" y="7"/>
                  <a:pt x="985" y="7"/>
                  <a:pt x="985" y="7"/>
                </a:cubicBezTo>
                <a:cubicBezTo>
                  <a:pt x="985" y="7"/>
                  <a:pt x="978" y="5"/>
                  <a:pt x="975" y="5"/>
                </a:cubicBezTo>
                <a:cubicBezTo>
                  <a:pt x="972" y="5"/>
                  <a:pt x="962" y="8"/>
                  <a:pt x="962" y="8"/>
                </a:cubicBezTo>
                <a:cubicBezTo>
                  <a:pt x="974" y="12"/>
                  <a:pt x="974" y="12"/>
                  <a:pt x="974" y="12"/>
                </a:cubicBezTo>
                <a:cubicBezTo>
                  <a:pt x="962" y="10"/>
                  <a:pt x="962" y="10"/>
                  <a:pt x="962" y="10"/>
                </a:cubicBezTo>
                <a:cubicBezTo>
                  <a:pt x="962" y="10"/>
                  <a:pt x="950" y="8"/>
                  <a:pt x="945" y="8"/>
                </a:cubicBezTo>
                <a:cubicBezTo>
                  <a:pt x="940" y="9"/>
                  <a:pt x="941" y="12"/>
                  <a:pt x="941" y="12"/>
                </a:cubicBezTo>
                <a:cubicBezTo>
                  <a:pt x="941" y="12"/>
                  <a:pt x="928" y="10"/>
                  <a:pt x="926" y="10"/>
                </a:cubicBezTo>
                <a:cubicBezTo>
                  <a:pt x="923" y="10"/>
                  <a:pt x="902" y="12"/>
                  <a:pt x="901" y="13"/>
                </a:cubicBezTo>
                <a:cubicBezTo>
                  <a:pt x="901" y="13"/>
                  <a:pt x="906" y="15"/>
                  <a:pt x="906" y="15"/>
                </a:cubicBezTo>
                <a:close/>
                <a:moveTo>
                  <a:pt x="954" y="355"/>
                </a:moveTo>
                <a:cubicBezTo>
                  <a:pt x="963" y="346"/>
                  <a:pt x="963" y="346"/>
                  <a:pt x="963" y="346"/>
                </a:cubicBezTo>
                <a:cubicBezTo>
                  <a:pt x="962" y="343"/>
                  <a:pt x="962" y="343"/>
                  <a:pt x="962" y="343"/>
                </a:cubicBezTo>
                <a:cubicBezTo>
                  <a:pt x="958" y="345"/>
                  <a:pt x="958" y="345"/>
                  <a:pt x="958" y="345"/>
                </a:cubicBezTo>
                <a:cubicBezTo>
                  <a:pt x="954" y="345"/>
                  <a:pt x="954" y="345"/>
                  <a:pt x="954" y="345"/>
                </a:cubicBezTo>
                <a:cubicBezTo>
                  <a:pt x="958" y="342"/>
                  <a:pt x="958" y="342"/>
                  <a:pt x="958" y="342"/>
                </a:cubicBezTo>
                <a:cubicBezTo>
                  <a:pt x="953" y="342"/>
                  <a:pt x="953" y="342"/>
                  <a:pt x="953" y="342"/>
                </a:cubicBezTo>
                <a:cubicBezTo>
                  <a:pt x="953" y="342"/>
                  <a:pt x="962" y="331"/>
                  <a:pt x="961" y="331"/>
                </a:cubicBezTo>
                <a:cubicBezTo>
                  <a:pt x="960" y="331"/>
                  <a:pt x="954" y="330"/>
                  <a:pt x="956" y="329"/>
                </a:cubicBezTo>
                <a:cubicBezTo>
                  <a:pt x="958" y="329"/>
                  <a:pt x="960" y="326"/>
                  <a:pt x="960" y="326"/>
                </a:cubicBezTo>
                <a:cubicBezTo>
                  <a:pt x="957" y="324"/>
                  <a:pt x="957" y="324"/>
                  <a:pt x="957" y="324"/>
                </a:cubicBezTo>
                <a:cubicBezTo>
                  <a:pt x="950" y="328"/>
                  <a:pt x="950" y="328"/>
                  <a:pt x="950" y="328"/>
                </a:cubicBezTo>
                <a:cubicBezTo>
                  <a:pt x="949" y="324"/>
                  <a:pt x="949" y="324"/>
                  <a:pt x="949" y="324"/>
                </a:cubicBezTo>
                <a:cubicBezTo>
                  <a:pt x="945" y="325"/>
                  <a:pt x="945" y="325"/>
                  <a:pt x="945" y="325"/>
                </a:cubicBezTo>
                <a:cubicBezTo>
                  <a:pt x="946" y="320"/>
                  <a:pt x="946" y="320"/>
                  <a:pt x="946" y="320"/>
                </a:cubicBezTo>
                <a:cubicBezTo>
                  <a:pt x="943" y="319"/>
                  <a:pt x="943" y="319"/>
                  <a:pt x="943" y="319"/>
                </a:cubicBezTo>
                <a:cubicBezTo>
                  <a:pt x="940" y="316"/>
                  <a:pt x="940" y="316"/>
                  <a:pt x="940" y="316"/>
                </a:cubicBezTo>
                <a:cubicBezTo>
                  <a:pt x="936" y="323"/>
                  <a:pt x="936" y="323"/>
                  <a:pt x="936" y="323"/>
                </a:cubicBezTo>
                <a:cubicBezTo>
                  <a:pt x="933" y="325"/>
                  <a:pt x="933" y="325"/>
                  <a:pt x="933" y="325"/>
                </a:cubicBezTo>
                <a:cubicBezTo>
                  <a:pt x="933" y="322"/>
                  <a:pt x="933" y="322"/>
                  <a:pt x="933" y="322"/>
                </a:cubicBezTo>
                <a:cubicBezTo>
                  <a:pt x="938" y="316"/>
                  <a:pt x="938" y="316"/>
                  <a:pt x="938" y="316"/>
                </a:cubicBezTo>
                <a:cubicBezTo>
                  <a:pt x="938" y="316"/>
                  <a:pt x="941" y="315"/>
                  <a:pt x="944" y="313"/>
                </a:cubicBezTo>
                <a:cubicBezTo>
                  <a:pt x="946" y="311"/>
                  <a:pt x="948" y="307"/>
                  <a:pt x="948" y="307"/>
                </a:cubicBezTo>
                <a:cubicBezTo>
                  <a:pt x="950" y="305"/>
                  <a:pt x="950" y="305"/>
                  <a:pt x="950" y="305"/>
                </a:cubicBezTo>
                <a:cubicBezTo>
                  <a:pt x="950" y="305"/>
                  <a:pt x="954" y="303"/>
                  <a:pt x="950" y="302"/>
                </a:cubicBezTo>
                <a:cubicBezTo>
                  <a:pt x="946" y="301"/>
                  <a:pt x="940" y="304"/>
                  <a:pt x="940" y="304"/>
                </a:cubicBezTo>
                <a:cubicBezTo>
                  <a:pt x="932" y="314"/>
                  <a:pt x="932" y="314"/>
                  <a:pt x="932" y="314"/>
                </a:cubicBezTo>
                <a:cubicBezTo>
                  <a:pt x="925" y="322"/>
                  <a:pt x="925" y="322"/>
                  <a:pt x="925" y="322"/>
                </a:cubicBezTo>
                <a:cubicBezTo>
                  <a:pt x="913" y="333"/>
                  <a:pt x="913" y="333"/>
                  <a:pt x="913" y="333"/>
                </a:cubicBezTo>
                <a:cubicBezTo>
                  <a:pt x="913" y="333"/>
                  <a:pt x="905" y="336"/>
                  <a:pt x="904" y="337"/>
                </a:cubicBezTo>
                <a:cubicBezTo>
                  <a:pt x="904" y="339"/>
                  <a:pt x="910" y="339"/>
                  <a:pt x="910" y="339"/>
                </a:cubicBezTo>
                <a:cubicBezTo>
                  <a:pt x="910" y="339"/>
                  <a:pt x="903" y="340"/>
                  <a:pt x="905" y="343"/>
                </a:cubicBezTo>
                <a:cubicBezTo>
                  <a:pt x="908" y="345"/>
                  <a:pt x="916" y="342"/>
                  <a:pt x="916" y="342"/>
                </a:cubicBezTo>
                <a:cubicBezTo>
                  <a:pt x="916" y="342"/>
                  <a:pt x="931" y="346"/>
                  <a:pt x="934" y="346"/>
                </a:cubicBezTo>
                <a:cubicBezTo>
                  <a:pt x="938" y="346"/>
                  <a:pt x="936" y="348"/>
                  <a:pt x="936" y="348"/>
                </a:cubicBezTo>
                <a:cubicBezTo>
                  <a:pt x="930" y="350"/>
                  <a:pt x="930" y="350"/>
                  <a:pt x="930" y="350"/>
                </a:cubicBezTo>
                <a:cubicBezTo>
                  <a:pt x="930" y="351"/>
                  <a:pt x="930" y="351"/>
                  <a:pt x="930" y="351"/>
                </a:cubicBezTo>
                <a:cubicBezTo>
                  <a:pt x="936" y="351"/>
                  <a:pt x="936" y="351"/>
                  <a:pt x="936" y="351"/>
                </a:cubicBezTo>
                <a:cubicBezTo>
                  <a:pt x="945" y="350"/>
                  <a:pt x="945" y="350"/>
                  <a:pt x="945" y="350"/>
                </a:cubicBezTo>
                <a:cubicBezTo>
                  <a:pt x="946" y="351"/>
                  <a:pt x="946" y="351"/>
                  <a:pt x="946" y="351"/>
                </a:cubicBezTo>
                <a:cubicBezTo>
                  <a:pt x="951" y="351"/>
                  <a:pt x="951" y="351"/>
                  <a:pt x="951" y="351"/>
                </a:cubicBezTo>
                <a:cubicBezTo>
                  <a:pt x="948" y="354"/>
                  <a:pt x="948" y="354"/>
                  <a:pt x="948" y="354"/>
                </a:cubicBezTo>
                <a:cubicBezTo>
                  <a:pt x="954" y="355"/>
                  <a:pt x="954" y="355"/>
                  <a:pt x="954" y="355"/>
                </a:cubicBezTo>
                <a:cubicBezTo>
                  <a:pt x="954" y="355"/>
                  <a:pt x="954" y="355"/>
                  <a:pt x="954" y="355"/>
                </a:cubicBezTo>
                <a:close/>
                <a:moveTo>
                  <a:pt x="1248" y="123"/>
                </a:moveTo>
                <a:cubicBezTo>
                  <a:pt x="1252" y="123"/>
                  <a:pt x="1252" y="123"/>
                  <a:pt x="1252" y="123"/>
                </a:cubicBezTo>
                <a:cubicBezTo>
                  <a:pt x="1254" y="121"/>
                  <a:pt x="1254" y="121"/>
                  <a:pt x="1254" y="121"/>
                </a:cubicBezTo>
                <a:cubicBezTo>
                  <a:pt x="1257" y="121"/>
                  <a:pt x="1257" y="121"/>
                  <a:pt x="1257" y="121"/>
                </a:cubicBezTo>
                <a:cubicBezTo>
                  <a:pt x="1257" y="121"/>
                  <a:pt x="1261" y="117"/>
                  <a:pt x="1262" y="117"/>
                </a:cubicBezTo>
                <a:cubicBezTo>
                  <a:pt x="1263" y="116"/>
                  <a:pt x="1268" y="116"/>
                  <a:pt x="1268" y="116"/>
                </a:cubicBezTo>
                <a:cubicBezTo>
                  <a:pt x="1275" y="113"/>
                  <a:pt x="1275" y="113"/>
                  <a:pt x="1275" y="113"/>
                </a:cubicBezTo>
                <a:cubicBezTo>
                  <a:pt x="1279" y="112"/>
                  <a:pt x="1279" y="112"/>
                  <a:pt x="1279" y="112"/>
                </a:cubicBezTo>
                <a:cubicBezTo>
                  <a:pt x="1280" y="111"/>
                  <a:pt x="1280" y="111"/>
                  <a:pt x="1280" y="111"/>
                </a:cubicBezTo>
                <a:cubicBezTo>
                  <a:pt x="1280" y="111"/>
                  <a:pt x="1276" y="111"/>
                  <a:pt x="1274" y="111"/>
                </a:cubicBezTo>
                <a:cubicBezTo>
                  <a:pt x="1271" y="111"/>
                  <a:pt x="1270" y="110"/>
                  <a:pt x="1266" y="109"/>
                </a:cubicBezTo>
                <a:cubicBezTo>
                  <a:pt x="1263" y="109"/>
                  <a:pt x="1257" y="109"/>
                  <a:pt x="1254" y="110"/>
                </a:cubicBezTo>
                <a:cubicBezTo>
                  <a:pt x="1252" y="111"/>
                  <a:pt x="1247" y="111"/>
                  <a:pt x="1247" y="111"/>
                </a:cubicBezTo>
                <a:cubicBezTo>
                  <a:pt x="1245" y="112"/>
                  <a:pt x="1245" y="112"/>
                  <a:pt x="1245" y="112"/>
                </a:cubicBezTo>
                <a:cubicBezTo>
                  <a:pt x="1245" y="112"/>
                  <a:pt x="1236" y="113"/>
                  <a:pt x="1237" y="112"/>
                </a:cubicBezTo>
                <a:cubicBezTo>
                  <a:pt x="1239" y="111"/>
                  <a:pt x="1251" y="109"/>
                  <a:pt x="1251" y="109"/>
                </a:cubicBezTo>
                <a:cubicBezTo>
                  <a:pt x="1251" y="109"/>
                  <a:pt x="1264" y="106"/>
                  <a:pt x="1261" y="104"/>
                </a:cubicBezTo>
                <a:cubicBezTo>
                  <a:pt x="1258" y="103"/>
                  <a:pt x="1256" y="103"/>
                  <a:pt x="1256" y="103"/>
                </a:cubicBezTo>
                <a:cubicBezTo>
                  <a:pt x="1256" y="103"/>
                  <a:pt x="1244" y="106"/>
                  <a:pt x="1243" y="107"/>
                </a:cubicBezTo>
                <a:cubicBezTo>
                  <a:pt x="1242" y="108"/>
                  <a:pt x="1236" y="107"/>
                  <a:pt x="1236" y="107"/>
                </a:cubicBezTo>
                <a:cubicBezTo>
                  <a:pt x="1241" y="105"/>
                  <a:pt x="1241" y="105"/>
                  <a:pt x="1241" y="105"/>
                </a:cubicBezTo>
                <a:cubicBezTo>
                  <a:pt x="1244" y="102"/>
                  <a:pt x="1244" y="102"/>
                  <a:pt x="1244" y="102"/>
                </a:cubicBezTo>
                <a:cubicBezTo>
                  <a:pt x="1244" y="102"/>
                  <a:pt x="1249" y="103"/>
                  <a:pt x="1251" y="103"/>
                </a:cubicBezTo>
                <a:cubicBezTo>
                  <a:pt x="1252" y="102"/>
                  <a:pt x="1256" y="102"/>
                  <a:pt x="1258" y="102"/>
                </a:cubicBezTo>
                <a:cubicBezTo>
                  <a:pt x="1259" y="102"/>
                  <a:pt x="1264" y="101"/>
                  <a:pt x="1262" y="100"/>
                </a:cubicBezTo>
                <a:cubicBezTo>
                  <a:pt x="1259" y="99"/>
                  <a:pt x="1251" y="98"/>
                  <a:pt x="1251" y="98"/>
                </a:cubicBezTo>
                <a:cubicBezTo>
                  <a:pt x="1244" y="99"/>
                  <a:pt x="1244" y="99"/>
                  <a:pt x="1244" y="99"/>
                </a:cubicBezTo>
                <a:cubicBezTo>
                  <a:pt x="1248" y="97"/>
                  <a:pt x="1248" y="97"/>
                  <a:pt x="1248" y="97"/>
                </a:cubicBezTo>
                <a:cubicBezTo>
                  <a:pt x="1244" y="95"/>
                  <a:pt x="1244" y="95"/>
                  <a:pt x="1244" y="95"/>
                </a:cubicBezTo>
                <a:cubicBezTo>
                  <a:pt x="1244" y="95"/>
                  <a:pt x="1244" y="93"/>
                  <a:pt x="1245" y="93"/>
                </a:cubicBezTo>
                <a:cubicBezTo>
                  <a:pt x="1246" y="93"/>
                  <a:pt x="1250" y="97"/>
                  <a:pt x="1253" y="97"/>
                </a:cubicBezTo>
                <a:cubicBezTo>
                  <a:pt x="1255" y="97"/>
                  <a:pt x="1264" y="100"/>
                  <a:pt x="1264" y="100"/>
                </a:cubicBezTo>
                <a:cubicBezTo>
                  <a:pt x="1264" y="100"/>
                  <a:pt x="1268" y="98"/>
                  <a:pt x="1268" y="100"/>
                </a:cubicBezTo>
                <a:cubicBezTo>
                  <a:pt x="1268" y="102"/>
                  <a:pt x="1266" y="105"/>
                  <a:pt x="1270" y="106"/>
                </a:cubicBezTo>
                <a:cubicBezTo>
                  <a:pt x="1274" y="107"/>
                  <a:pt x="1279" y="108"/>
                  <a:pt x="1279" y="108"/>
                </a:cubicBezTo>
                <a:cubicBezTo>
                  <a:pt x="1279" y="108"/>
                  <a:pt x="1280" y="104"/>
                  <a:pt x="1280" y="105"/>
                </a:cubicBezTo>
                <a:cubicBezTo>
                  <a:pt x="1281" y="106"/>
                  <a:pt x="1280" y="109"/>
                  <a:pt x="1282" y="109"/>
                </a:cubicBezTo>
                <a:cubicBezTo>
                  <a:pt x="1284" y="109"/>
                  <a:pt x="1287" y="107"/>
                  <a:pt x="1287" y="107"/>
                </a:cubicBezTo>
                <a:cubicBezTo>
                  <a:pt x="1287" y="103"/>
                  <a:pt x="1287" y="103"/>
                  <a:pt x="1287" y="103"/>
                </a:cubicBezTo>
                <a:cubicBezTo>
                  <a:pt x="1285" y="103"/>
                  <a:pt x="1285" y="103"/>
                  <a:pt x="1285" y="103"/>
                </a:cubicBezTo>
                <a:cubicBezTo>
                  <a:pt x="1285" y="103"/>
                  <a:pt x="1288" y="101"/>
                  <a:pt x="1287" y="100"/>
                </a:cubicBezTo>
                <a:cubicBezTo>
                  <a:pt x="1286" y="99"/>
                  <a:pt x="1284" y="100"/>
                  <a:pt x="1284" y="100"/>
                </a:cubicBezTo>
                <a:cubicBezTo>
                  <a:pt x="1282" y="97"/>
                  <a:pt x="1282" y="97"/>
                  <a:pt x="1282" y="97"/>
                </a:cubicBezTo>
                <a:cubicBezTo>
                  <a:pt x="1280" y="96"/>
                  <a:pt x="1280" y="96"/>
                  <a:pt x="1280" y="96"/>
                </a:cubicBezTo>
                <a:cubicBezTo>
                  <a:pt x="1281" y="94"/>
                  <a:pt x="1281" y="94"/>
                  <a:pt x="1281" y="94"/>
                </a:cubicBezTo>
                <a:cubicBezTo>
                  <a:pt x="1271" y="90"/>
                  <a:pt x="1271" y="90"/>
                  <a:pt x="1271" y="90"/>
                </a:cubicBezTo>
                <a:cubicBezTo>
                  <a:pt x="1265" y="92"/>
                  <a:pt x="1265" y="92"/>
                  <a:pt x="1265" y="92"/>
                </a:cubicBezTo>
                <a:cubicBezTo>
                  <a:pt x="1264" y="91"/>
                  <a:pt x="1264" y="91"/>
                  <a:pt x="1264" y="91"/>
                </a:cubicBezTo>
                <a:cubicBezTo>
                  <a:pt x="1268" y="89"/>
                  <a:pt x="1268" y="89"/>
                  <a:pt x="1268" y="89"/>
                </a:cubicBezTo>
                <a:cubicBezTo>
                  <a:pt x="1269" y="89"/>
                  <a:pt x="1269" y="89"/>
                  <a:pt x="1269" y="89"/>
                </a:cubicBezTo>
                <a:cubicBezTo>
                  <a:pt x="1269" y="89"/>
                  <a:pt x="1268" y="87"/>
                  <a:pt x="1265" y="87"/>
                </a:cubicBezTo>
                <a:cubicBezTo>
                  <a:pt x="1261" y="87"/>
                  <a:pt x="1254" y="86"/>
                  <a:pt x="1254" y="86"/>
                </a:cubicBezTo>
                <a:cubicBezTo>
                  <a:pt x="1257" y="83"/>
                  <a:pt x="1257" y="83"/>
                  <a:pt x="1257" y="83"/>
                </a:cubicBezTo>
                <a:cubicBezTo>
                  <a:pt x="1257" y="83"/>
                  <a:pt x="1259" y="83"/>
                  <a:pt x="1262" y="84"/>
                </a:cubicBezTo>
                <a:cubicBezTo>
                  <a:pt x="1264" y="85"/>
                  <a:pt x="1267" y="82"/>
                  <a:pt x="1267" y="82"/>
                </a:cubicBezTo>
                <a:cubicBezTo>
                  <a:pt x="1271" y="82"/>
                  <a:pt x="1271" y="82"/>
                  <a:pt x="1271" y="82"/>
                </a:cubicBezTo>
                <a:cubicBezTo>
                  <a:pt x="1277" y="84"/>
                  <a:pt x="1277" y="84"/>
                  <a:pt x="1277" y="84"/>
                </a:cubicBezTo>
                <a:cubicBezTo>
                  <a:pt x="1280" y="83"/>
                  <a:pt x="1280" y="83"/>
                  <a:pt x="1280" y="83"/>
                </a:cubicBezTo>
                <a:cubicBezTo>
                  <a:pt x="1280" y="83"/>
                  <a:pt x="1286" y="88"/>
                  <a:pt x="1288" y="88"/>
                </a:cubicBezTo>
                <a:cubicBezTo>
                  <a:pt x="1290" y="88"/>
                  <a:pt x="1290" y="85"/>
                  <a:pt x="1290" y="85"/>
                </a:cubicBezTo>
                <a:cubicBezTo>
                  <a:pt x="1284" y="84"/>
                  <a:pt x="1284" y="84"/>
                  <a:pt x="1284" y="84"/>
                </a:cubicBezTo>
                <a:cubicBezTo>
                  <a:pt x="1280" y="82"/>
                  <a:pt x="1280" y="82"/>
                  <a:pt x="1280" y="82"/>
                </a:cubicBezTo>
                <a:cubicBezTo>
                  <a:pt x="1273" y="81"/>
                  <a:pt x="1273" y="81"/>
                  <a:pt x="1273" y="81"/>
                </a:cubicBezTo>
                <a:cubicBezTo>
                  <a:pt x="1273" y="81"/>
                  <a:pt x="1275" y="79"/>
                  <a:pt x="1276" y="79"/>
                </a:cubicBezTo>
                <a:cubicBezTo>
                  <a:pt x="1278" y="78"/>
                  <a:pt x="1281" y="82"/>
                  <a:pt x="1285" y="82"/>
                </a:cubicBezTo>
                <a:cubicBezTo>
                  <a:pt x="1288" y="82"/>
                  <a:pt x="1294" y="82"/>
                  <a:pt x="1294" y="82"/>
                </a:cubicBezTo>
                <a:cubicBezTo>
                  <a:pt x="1303" y="81"/>
                  <a:pt x="1303" y="81"/>
                  <a:pt x="1303" y="81"/>
                </a:cubicBezTo>
                <a:cubicBezTo>
                  <a:pt x="1303" y="77"/>
                  <a:pt x="1303" y="77"/>
                  <a:pt x="1303" y="77"/>
                </a:cubicBezTo>
                <a:cubicBezTo>
                  <a:pt x="1297" y="76"/>
                  <a:pt x="1297" y="76"/>
                  <a:pt x="1297" y="76"/>
                </a:cubicBezTo>
                <a:cubicBezTo>
                  <a:pt x="1294" y="78"/>
                  <a:pt x="1294" y="78"/>
                  <a:pt x="1294" y="78"/>
                </a:cubicBezTo>
                <a:cubicBezTo>
                  <a:pt x="1294" y="78"/>
                  <a:pt x="1291" y="75"/>
                  <a:pt x="1292" y="74"/>
                </a:cubicBezTo>
                <a:cubicBezTo>
                  <a:pt x="1293" y="74"/>
                  <a:pt x="1299" y="74"/>
                  <a:pt x="1299" y="74"/>
                </a:cubicBezTo>
                <a:cubicBezTo>
                  <a:pt x="1305" y="72"/>
                  <a:pt x="1305" y="72"/>
                  <a:pt x="1305" y="72"/>
                </a:cubicBezTo>
                <a:cubicBezTo>
                  <a:pt x="1305" y="72"/>
                  <a:pt x="1309" y="75"/>
                  <a:pt x="1312" y="74"/>
                </a:cubicBezTo>
                <a:cubicBezTo>
                  <a:pt x="1314" y="73"/>
                  <a:pt x="1317" y="71"/>
                  <a:pt x="1316" y="71"/>
                </a:cubicBezTo>
                <a:cubicBezTo>
                  <a:pt x="1315" y="70"/>
                  <a:pt x="1306" y="70"/>
                  <a:pt x="1305" y="70"/>
                </a:cubicBezTo>
                <a:cubicBezTo>
                  <a:pt x="1304" y="70"/>
                  <a:pt x="1306" y="68"/>
                  <a:pt x="1304" y="68"/>
                </a:cubicBezTo>
                <a:cubicBezTo>
                  <a:pt x="1301" y="67"/>
                  <a:pt x="1295" y="67"/>
                  <a:pt x="1295" y="67"/>
                </a:cubicBezTo>
                <a:cubicBezTo>
                  <a:pt x="1295" y="67"/>
                  <a:pt x="1302" y="67"/>
                  <a:pt x="1303" y="66"/>
                </a:cubicBezTo>
                <a:cubicBezTo>
                  <a:pt x="1304" y="65"/>
                  <a:pt x="1295" y="63"/>
                  <a:pt x="1295" y="63"/>
                </a:cubicBezTo>
                <a:cubicBezTo>
                  <a:pt x="1295" y="63"/>
                  <a:pt x="1300" y="62"/>
                  <a:pt x="1302" y="63"/>
                </a:cubicBezTo>
                <a:cubicBezTo>
                  <a:pt x="1303" y="63"/>
                  <a:pt x="1308" y="65"/>
                  <a:pt x="1309" y="65"/>
                </a:cubicBezTo>
                <a:cubicBezTo>
                  <a:pt x="1311" y="64"/>
                  <a:pt x="1311" y="67"/>
                  <a:pt x="1313" y="66"/>
                </a:cubicBezTo>
                <a:cubicBezTo>
                  <a:pt x="1315" y="65"/>
                  <a:pt x="1317" y="62"/>
                  <a:pt x="1315" y="61"/>
                </a:cubicBezTo>
                <a:cubicBezTo>
                  <a:pt x="1314" y="59"/>
                  <a:pt x="1310" y="57"/>
                  <a:pt x="1310" y="57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5"/>
                  <a:pt x="1298" y="54"/>
                  <a:pt x="1300" y="52"/>
                </a:cubicBezTo>
                <a:cubicBezTo>
                  <a:pt x="1301" y="51"/>
                  <a:pt x="1306" y="52"/>
                  <a:pt x="1306" y="52"/>
                </a:cubicBezTo>
                <a:cubicBezTo>
                  <a:pt x="1312" y="51"/>
                  <a:pt x="1312" y="51"/>
                  <a:pt x="1312" y="51"/>
                </a:cubicBezTo>
                <a:cubicBezTo>
                  <a:pt x="1312" y="51"/>
                  <a:pt x="1315" y="51"/>
                  <a:pt x="1321" y="52"/>
                </a:cubicBezTo>
                <a:cubicBezTo>
                  <a:pt x="1328" y="52"/>
                  <a:pt x="1331" y="47"/>
                  <a:pt x="1326" y="47"/>
                </a:cubicBezTo>
                <a:cubicBezTo>
                  <a:pt x="1322" y="46"/>
                  <a:pt x="1314" y="46"/>
                  <a:pt x="1314" y="46"/>
                </a:cubicBezTo>
                <a:cubicBezTo>
                  <a:pt x="1314" y="44"/>
                  <a:pt x="1314" y="44"/>
                  <a:pt x="1314" y="44"/>
                </a:cubicBezTo>
                <a:cubicBezTo>
                  <a:pt x="1318" y="44"/>
                  <a:pt x="1318" y="44"/>
                  <a:pt x="1318" y="44"/>
                </a:cubicBezTo>
                <a:cubicBezTo>
                  <a:pt x="1318" y="44"/>
                  <a:pt x="1317" y="41"/>
                  <a:pt x="1314" y="41"/>
                </a:cubicBezTo>
                <a:cubicBezTo>
                  <a:pt x="1311" y="42"/>
                  <a:pt x="1313" y="45"/>
                  <a:pt x="1311" y="45"/>
                </a:cubicBezTo>
                <a:cubicBezTo>
                  <a:pt x="1309" y="45"/>
                  <a:pt x="1304" y="43"/>
                  <a:pt x="1306" y="42"/>
                </a:cubicBezTo>
                <a:cubicBezTo>
                  <a:pt x="1308" y="41"/>
                  <a:pt x="1313" y="40"/>
                  <a:pt x="1313" y="39"/>
                </a:cubicBezTo>
                <a:cubicBezTo>
                  <a:pt x="1314" y="37"/>
                  <a:pt x="1316" y="35"/>
                  <a:pt x="1317" y="34"/>
                </a:cubicBezTo>
                <a:cubicBezTo>
                  <a:pt x="1317" y="34"/>
                  <a:pt x="1320" y="36"/>
                  <a:pt x="1322" y="35"/>
                </a:cubicBezTo>
                <a:cubicBezTo>
                  <a:pt x="1324" y="34"/>
                  <a:pt x="1327" y="32"/>
                  <a:pt x="1327" y="32"/>
                </a:cubicBezTo>
                <a:cubicBezTo>
                  <a:pt x="1325" y="30"/>
                  <a:pt x="1325" y="30"/>
                  <a:pt x="1325" y="30"/>
                </a:cubicBezTo>
                <a:cubicBezTo>
                  <a:pt x="1325" y="30"/>
                  <a:pt x="1330" y="27"/>
                  <a:pt x="1331" y="27"/>
                </a:cubicBezTo>
                <a:cubicBezTo>
                  <a:pt x="1333" y="27"/>
                  <a:pt x="1335" y="29"/>
                  <a:pt x="1336" y="28"/>
                </a:cubicBezTo>
                <a:cubicBezTo>
                  <a:pt x="1338" y="26"/>
                  <a:pt x="1342" y="26"/>
                  <a:pt x="1340" y="25"/>
                </a:cubicBezTo>
                <a:cubicBezTo>
                  <a:pt x="1337" y="24"/>
                  <a:pt x="1331" y="25"/>
                  <a:pt x="1331" y="25"/>
                </a:cubicBezTo>
                <a:cubicBezTo>
                  <a:pt x="1331" y="25"/>
                  <a:pt x="1320" y="28"/>
                  <a:pt x="1322" y="26"/>
                </a:cubicBezTo>
                <a:cubicBezTo>
                  <a:pt x="1324" y="24"/>
                  <a:pt x="1329" y="23"/>
                  <a:pt x="1329" y="23"/>
                </a:cubicBezTo>
                <a:cubicBezTo>
                  <a:pt x="1329" y="23"/>
                  <a:pt x="1338" y="24"/>
                  <a:pt x="1342" y="24"/>
                </a:cubicBezTo>
                <a:cubicBezTo>
                  <a:pt x="1346" y="23"/>
                  <a:pt x="1350" y="22"/>
                  <a:pt x="1350" y="22"/>
                </a:cubicBezTo>
                <a:cubicBezTo>
                  <a:pt x="1350" y="22"/>
                  <a:pt x="1342" y="20"/>
                  <a:pt x="1341" y="21"/>
                </a:cubicBezTo>
                <a:cubicBezTo>
                  <a:pt x="1340" y="21"/>
                  <a:pt x="1332" y="21"/>
                  <a:pt x="1332" y="21"/>
                </a:cubicBezTo>
                <a:cubicBezTo>
                  <a:pt x="1332" y="21"/>
                  <a:pt x="1322" y="22"/>
                  <a:pt x="1325" y="21"/>
                </a:cubicBezTo>
                <a:cubicBezTo>
                  <a:pt x="1329" y="20"/>
                  <a:pt x="1340" y="20"/>
                  <a:pt x="1340" y="20"/>
                </a:cubicBezTo>
                <a:cubicBezTo>
                  <a:pt x="1340" y="20"/>
                  <a:pt x="1353" y="20"/>
                  <a:pt x="1356" y="19"/>
                </a:cubicBezTo>
                <a:cubicBezTo>
                  <a:pt x="1358" y="19"/>
                  <a:pt x="1360" y="17"/>
                  <a:pt x="1360" y="17"/>
                </a:cubicBezTo>
                <a:cubicBezTo>
                  <a:pt x="1360" y="17"/>
                  <a:pt x="1366" y="17"/>
                  <a:pt x="1369" y="16"/>
                </a:cubicBezTo>
                <a:cubicBezTo>
                  <a:pt x="1373" y="16"/>
                  <a:pt x="1377" y="14"/>
                  <a:pt x="1377" y="14"/>
                </a:cubicBezTo>
                <a:cubicBezTo>
                  <a:pt x="1377" y="14"/>
                  <a:pt x="1372" y="12"/>
                  <a:pt x="1368" y="12"/>
                </a:cubicBezTo>
                <a:cubicBezTo>
                  <a:pt x="1364" y="12"/>
                  <a:pt x="1349" y="11"/>
                  <a:pt x="1348" y="12"/>
                </a:cubicBezTo>
                <a:cubicBezTo>
                  <a:pt x="1347" y="13"/>
                  <a:pt x="1342" y="15"/>
                  <a:pt x="1340" y="15"/>
                </a:cubicBezTo>
                <a:cubicBezTo>
                  <a:pt x="1338" y="15"/>
                  <a:pt x="1328" y="13"/>
                  <a:pt x="1326" y="13"/>
                </a:cubicBezTo>
                <a:cubicBezTo>
                  <a:pt x="1325" y="14"/>
                  <a:pt x="1314" y="17"/>
                  <a:pt x="1313" y="18"/>
                </a:cubicBezTo>
                <a:cubicBezTo>
                  <a:pt x="1311" y="19"/>
                  <a:pt x="1300" y="21"/>
                  <a:pt x="1302" y="20"/>
                </a:cubicBezTo>
                <a:cubicBezTo>
                  <a:pt x="1304" y="18"/>
                  <a:pt x="1320" y="15"/>
                  <a:pt x="1319" y="13"/>
                </a:cubicBezTo>
                <a:cubicBezTo>
                  <a:pt x="1318" y="11"/>
                  <a:pt x="1312" y="10"/>
                  <a:pt x="1309" y="11"/>
                </a:cubicBezTo>
                <a:cubicBezTo>
                  <a:pt x="1307" y="12"/>
                  <a:pt x="1303" y="13"/>
                  <a:pt x="1303" y="13"/>
                </a:cubicBezTo>
                <a:cubicBezTo>
                  <a:pt x="1287" y="15"/>
                  <a:pt x="1287" y="15"/>
                  <a:pt x="1287" y="15"/>
                </a:cubicBezTo>
                <a:cubicBezTo>
                  <a:pt x="1287" y="15"/>
                  <a:pt x="1302" y="12"/>
                  <a:pt x="1298" y="11"/>
                </a:cubicBezTo>
                <a:cubicBezTo>
                  <a:pt x="1295" y="11"/>
                  <a:pt x="1280" y="11"/>
                  <a:pt x="1280" y="11"/>
                </a:cubicBezTo>
                <a:cubicBezTo>
                  <a:pt x="1275" y="12"/>
                  <a:pt x="1275" y="12"/>
                  <a:pt x="1275" y="12"/>
                </a:cubicBezTo>
                <a:cubicBezTo>
                  <a:pt x="1266" y="11"/>
                  <a:pt x="1266" y="11"/>
                  <a:pt x="1266" y="11"/>
                </a:cubicBezTo>
                <a:cubicBezTo>
                  <a:pt x="1266" y="11"/>
                  <a:pt x="1255" y="14"/>
                  <a:pt x="1256" y="13"/>
                </a:cubicBezTo>
                <a:cubicBezTo>
                  <a:pt x="1256" y="11"/>
                  <a:pt x="1269" y="10"/>
                  <a:pt x="1273" y="10"/>
                </a:cubicBezTo>
                <a:cubicBezTo>
                  <a:pt x="1277" y="10"/>
                  <a:pt x="1306" y="9"/>
                  <a:pt x="1308" y="9"/>
                </a:cubicBezTo>
                <a:cubicBezTo>
                  <a:pt x="1309" y="9"/>
                  <a:pt x="1326" y="9"/>
                  <a:pt x="1324" y="7"/>
                </a:cubicBezTo>
                <a:cubicBezTo>
                  <a:pt x="1322" y="6"/>
                  <a:pt x="1312" y="5"/>
                  <a:pt x="1308" y="6"/>
                </a:cubicBezTo>
                <a:cubicBezTo>
                  <a:pt x="1304" y="6"/>
                  <a:pt x="1301" y="6"/>
                  <a:pt x="1301" y="6"/>
                </a:cubicBezTo>
                <a:cubicBezTo>
                  <a:pt x="1301" y="6"/>
                  <a:pt x="1306" y="4"/>
                  <a:pt x="1303" y="4"/>
                </a:cubicBezTo>
                <a:cubicBezTo>
                  <a:pt x="1300" y="3"/>
                  <a:pt x="1294" y="4"/>
                  <a:pt x="1294" y="4"/>
                </a:cubicBezTo>
                <a:cubicBezTo>
                  <a:pt x="1294" y="4"/>
                  <a:pt x="1288" y="4"/>
                  <a:pt x="1286" y="3"/>
                </a:cubicBezTo>
                <a:cubicBezTo>
                  <a:pt x="1285" y="3"/>
                  <a:pt x="1292" y="4"/>
                  <a:pt x="1294" y="2"/>
                </a:cubicBezTo>
                <a:cubicBezTo>
                  <a:pt x="1295" y="1"/>
                  <a:pt x="1286" y="1"/>
                  <a:pt x="1281" y="1"/>
                </a:cubicBezTo>
                <a:cubicBezTo>
                  <a:pt x="1277" y="1"/>
                  <a:pt x="1265" y="2"/>
                  <a:pt x="1265" y="2"/>
                </a:cubicBezTo>
                <a:cubicBezTo>
                  <a:pt x="1265" y="2"/>
                  <a:pt x="1257" y="1"/>
                  <a:pt x="1252" y="0"/>
                </a:cubicBezTo>
                <a:cubicBezTo>
                  <a:pt x="1247" y="0"/>
                  <a:pt x="1243" y="1"/>
                  <a:pt x="1241" y="1"/>
                </a:cubicBezTo>
                <a:cubicBezTo>
                  <a:pt x="1239" y="2"/>
                  <a:pt x="1235" y="2"/>
                  <a:pt x="1230" y="1"/>
                </a:cubicBezTo>
                <a:cubicBezTo>
                  <a:pt x="1226" y="1"/>
                  <a:pt x="1221" y="1"/>
                  <a:pt x="1222" y="2"/>
                </a:cubicBezTo>
                <a:cubicBezTo>
                  <a:pt x="1222" y="3"/>
                  <a:pt x="1228" y="3"/>
                  <a:pt x="1228" y="3"/>
                </a:cubicBezTo>
                <a:cubicBezTo>
                  <a:pt x="1228" y="3"/>
                  <a:pt x="1221" y="4"/>
                  <a:pt x="1218" y="4"/>
                </a:cubicBezTo>
                <a:cubicBezTo>
                  <a:pt x="1215" y="4"/>
                  <a:pt x="1204" y="3"/>
                  <a:pt x="1201" y="2"/>
                </a:cubicBezTo>
                <a:cubicBezTo>
                  <a:pt x="1198" y="2"/>
                  <a:pt x="1190" y="3"/>
                  <a:pt x="1189" y="3"/>
                </a:cubicBezTo>
                <a:cubicBezTo>
                  <a:pt x="1188" y="3"/>
                  <a:pt x="1177" y="4"/>
                  <a:pt x="1182" y="5"/>
                </a:cubicBezTo>
                <a:cubicBezTo>
                  <a:pt x="1186" y="6"/>
                  <a:pt x="1201" y="7"/>
                  <a:pt x="1201" y="7"/>
                </a:cubicBezTo>
                <a:cubicBezTo>
                  <a:pt x="1213" y="8"/>
                  <a:pt x="1213" y="8"/>
                  <a:pt x="1213" y="8"/>
                </a:cubicBezTo>
                <a:cubicBezTo>
                  <a:pt x="1213" y="8"/>
                  <a:pt x="1201" y="8"/>
                  <a:pt x="1199" y="8"/>
                </a:cubicBezTo>
                <a:cubicBezTo>
                  <a:pt x="1198" y="8"/>
                  <a:pt x="1188" y="6"/>
                  <a:pt x="1188" y="7"/>
                </a:cubicBezTo>
                <a:cubicBezTo>
                  <a:pt x="1188" y="7"/>
                  <a:pt x="1192" y="8"/>
                  <a:pt x="1192" y="8"/>
                </a:cubicBezTo>
                <a:cubicBezTo>
                  <a:pt x="1186" y="9"/>
                  <a:pt x="1186" y="9"/>
                  <a:pt x="1186" y="9"/>
                </a:cubicBezTo>
                <a:cubicBezTo>
                  <a:pt x="1186" y="9"/>
                  <a:pt x="1182" y="12"/>
                  <a:pt x="1183" y="12"/>
                </a:cubicBezTo>
                <a:cubicBezTo>
                  <a:pt x="1184" y="13"/>
                  <a:pt x="1178" y="13"/>
                  <a:pt x="1175" y="12"/>
                </a:cubicBezTo>
                <a:cubicBezTo>
                  <a:pt x="1173" y="10"/>
                  <a:pt x="1167" y="9"/>
                  <a:pt x="1162" y="8"/>
                </a:cubicBezTo>
                <a:cubicBezTo>
                  <a:pt x="1156" y="8"/>
                  <a:pt x="1150" y="8"/>
                  <a:pt x="1150" y="8"/>
                </a:cubicBezTo>
                <a:cubicBezTo>
                  <a:pt x="1150" y="12"/>
                  <a:pt x="1150" y="12"/>
                  <a:pt x="1150" y="12"/>
                </a:cubicBezTo>
                <a:cubicBezTo>
                  <a:pt x="1150" y="12"/>
                  <a:pt x="1146" y="13"/>
                  <a:pt x="1144" y="12"/>
                </a:cubicBezTo>
                <a:cubicBezTo>
                  <a:pt x="1141" y="12"/>
                  <a:pt x="1136" y="10"/>
                  <a:pt x="1134" y="11"/>
                </a:cubicBezTo>
                <a:cubicBezTo>
                  <a:pt x="1132" y="11"/>
                  <a:pt x="1129" y="13"/>
                  <a:pt x="1129" y="13"/>
                </a:cubicBezTo>
                <a:cubicBezTo>
                  <a:pt x="1129" y="13"/>
                  <a:pt x="1131" y="9"/>
                  <a:pt x="1128" y="9"/>
                </a:cubicBezTo>
                <a:cubicBezTo>
                  <a:pt x="1126" y="9"/>
                  <a:pt x="1111" y="9"/>
                  <a:pt x="1107" y="10"/>
                </a:cubicBezTo>
                <a:cubicBezTo>
                  <a:pt x="1103" y="11"/>
                  <a:pt x="1096" y="9"/>
                  <a:pt x="1097" y="10"/>
                </a:cubicBezTo>
                <a:cubicBezTo>
                  <a:pt x="1098" y="11"/>
                  <a:pt x="1105" y="15"/>
                  <a:pt x="1105" y="15"/>
                </a:cubicBezTo>
                <a:cubicBezTo>
                  <a:pt x="1105" y="15"/>
                  <a:pt x="1094" y="11"/>
                  <a:pt x="1092" y="11"/>
                </a:cubicBezTo>
                <a:cubicBezTo>
                  <a:pt x="1090" y="11"/>
                  <a:pt x="1085" y="10"/>
                  <a:pt x="1084" y="12"/>
                </a:cubicBezTo>
                <a:cubicBezTo>
                  <a:pt x="1083" y="15"/>
                  <a:pt x="1079" y="17"/>
                  <a:pt x="1076" y="17"/>
                </a:cubicBezTo>
                <a:cubicBezTo>
                  <a:pt x="1074" y="17"/>
                  <a:pt x="1066" y="17"/>
                  <a:pt x="1066" y="17"/>
                </a:cubicBezTo>
                <a:cubicBezTo>
                  <a:pt x="1066" y="17"/>
                  <a:pt x="1050" y="20"/>
                  <a:pt x="1050" y="20"/>
                </a:cubicBezTo>
                <a:cubicBezTo>
                  <a:pt x="1049" y="20"/>
                  <a:pt x="1034" y="22"/>
                  <a:pt x="1036" y="24"/>
                </a:cubicBezTo>
                <a:cubicBezTo>
                  <a:pt x="1038" y="25"/>
                  <a:pt x="1047" y="26"/>
                  <a:pt x="1048" y="25"/>
                </a:cubicBezTo>
                <a:cubicBezTo>
                  <a:pt x="1049" y="25"/>
                  <a:pt x="1052" y="25"/>
                  <a:pt x="1052" y="25"/>
                </a:cubicBezTo>
                <a:cubicBezTo>
                  <a:pt x="1047" y="27"/>
                  <a:pt x="1047" y="27"/>
                  <a:pt x="1047" y="27"/>
                </a:cubicBezTo>
                <a:cubicBezTo>
                  <a:pt x="1045" y="29"/>
                  <a:pt x="1045" y="29"/>
                  <a:pt x="1045" y="29"/>
                </a:cubicBezTo>
                <a:cubicBezTo>
                  <a:pt x="1045" y="29"/>
                  <a:pt x="1035" y="33"/>
                  <a:pt x="1031" y="33"/>
                </a:cubicBezTo>
                <a:cubicBezTo>
                  <a:pt x="1028" y="33"/>
                  <a:pt x="1013" y="33"/>
                  <a:pt x="1011" y="35"/>
                </a:cubicBezTo>
                <a:cubicBezTo>
                  <a:pt x="1008" y="38"/>
                  <a:pt x="1005" y="35"/>
                  <a:pt x="1005" y="35"/>
                </a:cubicBezTo>
                <a:cubicBezTo>
                  <a:pt x="1001" y="37"/>
                  <a:pt x="1001" y="37"/>
                  <a:pt x="1001" y="37"/>
                </a:cubicBezTo>
                <a:cubicBezTo>
                  <a:pt x="994" y="37"/>
                  <a:pt x="994" y="37"/>
                  <a:pt x="994" y="37"/>
                </a:cubicBezTo>
                <a:cubicBezTo>
                  <a:pt x="994" y="37"/>
                  <a:pt x="982" y="38"/>
                  <a:pt x="985" y="40"/>
                </a:cubicBezTo>
                <a:cubicBezTo>
                  <a:pt x="988" y="42"/>
                  <a:pt x="993" y="44"/>
                  <a:pt x="993" y="44"/>
                </a:cubicBezTo>
                <a:cubicBezTo>
                  <a:pt x="997" y="43"/>
                  <a:pt x="997" y="43"/>
                  <a:pt x="997" y="43"/>
                </a:cubicBezTo>
                <a:cubicBezTo>
                  <a:pt x="997" y="43"/>
                  <a:pt x="997" y="45"/>
                  <a:pt x="999" y="46"/>
                </a:cubicBezTo>
                <a:cubicBezTo>
                  <a:pt x="1001" y="47"/>
                  <a:pt x="1006" y="44"/>
                  <a:pt x="1006" y="44"/>
                </a:cubicBezTo>
                <a:cubicBezTo>
                  <a:pt x="1006" y="44"/>
                  <a:pt x="1005" y="46"/>
                  <a:pt x="1007" y="46"/>
                </a:cubicBezTo>
                <a:cubicBezTo>
                  <a:pt x="1009" y="46"/>
                  <a:pt x="1017" y="43"/>
                  <a:pt x="1019" y="44"/>
                </a:cubicBezTo>
                <a:cubicBezTo>
                  <a:pt x="1020" y="45"/>
                  <a:pt x="1020" y="46"/>
                  <a:pt x="1020" y="46"/>
                </a:cubicBezTo>
                <a:cubicBezTo>
                  <a:pt x="1017" y="46"/>
                  <a:pt x="1017" y="46"/>
                  <a:pt x="1017" y="46"/>
                </a:cubicBezTo>
                <a:cubicBezTo>
                  <a:pt x="1017" y="46"/>
                  <a:pt x="1016" y="49"/>
                  <a:pt x="1014" y="49"/>
                </a:cubicBezTo>
                <a:cubicBezTo>
                  <a:pt x="1013" y="49"/>
                  <a:pt x="1014" y="47"/>
                  <a:pt x="1011" y="47"/>
                </a:cubicBezTo>
                <a:cubicBezTo>
                  <a:pt x="1009" y="47"/>
                  <a:pt x="1002" y="48"/>
                  <a:pt x="1002" y="48"/>
                </a:cubicBezTo>
                <a:cubicBezTo>
                  <a:pt x="996" y="48"/>
                  <a:pt x="996" y="48"/>
                  <a:pt x="996" y="48"/>
                </a:cubicBezTo>
                <a:cubicBezTo>
                  <a:pt x="996" y="48"/>
                  <a:pt x="988" y="44"/>
                  <a:pt x="986" y="48"/>
                </a:cubicBezTo>
                <a:cubicBezTo>
                  <a:pt x="984" y="52"/>
                  <a:pt x="989" y="53"/>
                  <a:pt x="991" y="53"/>
                </a:cubicBezTo>
                <a:cubicBezTo>
                  <a:pt x="993" y="52"/>
                  <a:pt x="998" y="53"/>
                  <a:pt x="998" y="53"/>
                </a:cubicBezTo>
                <a:cubicBezTo>
                  <a:pt x="998" y="53"/>
                  <a:pt x="989" y="53"/>
                  <a:pt x="990" y="55"/>
                </a:cubicBezTo>
                <a:cubicBezTo>
                  <a:pt x="991" y="56"/>
                  <a:pt x="997" y="57"/>
                  <a:pt x="997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6"/>
                  <a:pt x="1004" y="56"/>
                </a:cubicBezTo>
                <a:cubicBezTo>
                  <a:pt x="1005" y="56"/>
                  <a:pt x="1007" y="58"/>
                  <a:pt x="1007" y="58"/>
                </a:cubicBezTo>
                <a:cubicBezTo>
                  <a:pt x="1012" y="56"/>
                  <a:pt x="1012" y="56"/>
                  <a:pt x="1012" y="56"/>
                </a:cubicBezTo>
                <a:cubicBezTo>
                  <a:pt x="1012" y="56"/>
                  <a:pt x="1013" y="58"/>
                  <a:pt x="1013" y="58"/>
                </a:cubicBezTo>
                <a:cubicBezTo>
                  <a:pt x="1014" y="58"/>
                  <a:pt x="1020" y="55"/>
                  <a:pt x="1022" y="56"/>
                </a:cubicBezTo>
                <a:cubicBezTo>
                  <a:pt x="1024" y="56"/>
                  <a:pt x="1026" y="57"/>
                  <a:pt x="1027" y="57"/>
                </a:cubicBezTo>
                <a:cubicBezTo>
                  <a:pt x="1028" y="57"/>
                  <a:pt x="1030" y="55"/>
                  <a:pt x="1031" y="55"/>
                </a:cubicBezTo>
                <a:cubicBezTo>
                  <a:pt x="1032" y="55"/>
                  <a:pt x="1036" y="57"/>
                  <a:pt x="1036" y="57"/>
                </a:cubicBezTo>
                <a:cubicBezTo>
                  <a:pt x="1036" y="57"/>
                  <a:pt x="1043" y="56"/>
                  <a:pt x="1047" y="57"/>
                </a:cubicBezTo>
                <a:cubicBezTo>
                  <a:pt x="1052" y="59"/>
                  <a:pt x="1053" y="61"/>
                  <a:pt x="1053" y="61"/>
                </a:cubicBezTo>
                <a:cubicBezTo>
                  <a:pt x="1053" y="61"/>
                  <a:pt x="1057" y="60"/>
                  <a:pt x="1057" y="61"/>
                </a:cubicBezTo>
                <a:cubicBezTo>
                  <a:pt x="1057" y="62"/>
                  <a:pt x="1055" y="64"/>
                  <a:pt x="1055" y="64"/>
                </a:cubicBezTo>
                <a:cubicBezTo>
                  <a:pt x="1057" y="66"/>
                  <a:pt x="1057" y="66"/>
                  <a:pt x="1057" y="66"/>
                </a:cubicBezTo>
                <a:cubicBezTo>
                  <a:pt x="1057" y="66"/>
                  <a:pt x="1063" y="67"/>
                  <a:pt x="1063" y="69"/>
                </a:cubicBezTo>
                <a:cubicBezTo>
                  <a:pt x="1063" y="71"/>
                  <a:pt x="1060" y="72"/>
                  <a:pt x="1060" y="72"/>
                </a:cubicBezTo>
                <a:cubicBezTo>
                  <a:pt x="1062" y="75"/>
                  <a:pt x="1062" y="75"/>
                  <a:pt x="1062" y="75"/>
                </a:cubicBezTo>
                <a:cubicBezTo>
                  <a:pt x="1065" y="77"/>
                  <a:pt x="1065" y="77"/>
                  <a:pt x="1065" y="77"/>
                </a:cubicBezTo>
                <a:cubicBezTo>
                  <a:pt x="1062" y="78"/>
                  <a:pt x="1062" y="78"/>
                  <a:pt x="1062" y="78"/>
                </a:cubicBezTo>
                <a:cubicBezTo>
                  <a:pt x="1064" y="81"/>
                  <a:pt x="1064" y="81"/>
                  <a:pt x="1064" y="81"/>
                </a:cubicBezTo>
                <a:cubicBezTo>
                  <a:pt x="1064" y="81"/>
                  <a:pt x="1062" y="81"/>
                  <a:pt x="1062" y="83"/>
                </a:cubicBezTo>
                <a:cubicBezTo>
                  <a:pt x="1062" y="85"/>
                  <a:pt x="1067" y="85"/>
                  <a:pt x="1066" y="86"/>
                </a:cubicBezTo>
                <a:cubicBezTo>
                  <a:pt x="1065" y="87"/>
                  <a:pt x="1061" y="89"/>
                  <a:pt x="1061" y="89"/>
                </a:cubicBezTo>
                <a:cubicBezTo>
                  <a:pt x="1063" y="91"/>
                  <a:pt x="1063" y="91"/>
                  <a:pt x="1063" y="91"/>
                </a:cubicBezTo>
                <a:cubicBezTo>
                  <a:pt x="1063" y="91"/>
                  <a:pt x="1054" y="92"/>
                  <a:pt x="1055" y="92"/>
                </a:cubicBezTo>
                <a:cubicBezTo>
                  <a:pt x="1055" y="93"/>
                  <a:pt x="1057" y="93"/>
                  <a:pt x="1059" y="93"/>
                </a:cubicBezTo>
                <a:cubicBezTo>
                  <a:pt x="1062" y="93"/>
                  <a:pt x="1059" y="95"/>
                  <a:pt x="1059" y="95"/>
                </a:cubicBezTo>
                <a:cubicBezTo>
                  <a:pt x="1059" y="95"/>
                  <a:pt x="1048" y="95"/>
                  <a:pt x="1050" y="97"/>
                </a:cubicBezTo>
                <a:cubicBezTo>
                  <a:pt x="1053" y="99"/>
                  <a:pt x="1056" y="100"/>
                  <a:pt x="1059" y="100"/>
                </a:cubicBezTo>
                <a:cubicBezTo>
                  <a:pt x="1062" y="100"/>
                  <a:pt x="1063" y="98"/>
                  <a:pt x="1063" y="98"/>
                </a:cubicBezTo>
                <a:cubicBezTo>
                  <a:pt x="1063" y="98"/>
                  <a:pt x="1069" y="98"/>
                  <a:pt x="1068" y="96"/>
                </a:cubicBezTo>
                <a:cubicBezTo>
                  <a:pt x="1068" y="94"/>
                  <a:pt x="1070" y="92"/>
                  <a:pt x="1070" y="92"/>
                </a:cubicBezTo>
                <a:cubicBezTo>
                  <a:pt x="1070" y="96"/>
                  <a:pt x="1070" y="96"/>
                  <a:pt x="1070" y="96"/>
                </a:cubicBezTo>
                <a:cubicBezTo>
                  <a:pt x="1073" y="94"/>
                  <a:pt x="1073" y="94"/>
                  <a:pt x="1073" y="94"/>
                </a:cubicBezTo>
                <a:cubicBezTo>
                  <a:pt x="1073" y="94"/>
                  <a:pt x="1072" y="95"/>
                  <a:pt x="1073" y="96"/>
                </a:cubicBezTo>
                <a:cubicBezTo>
                  <a:pt x="1073" y="97"/>
                  <a:pt x="1079" y="97"/>
                  <a:pt x="1079" y="97"/>
                </a:cubicBezTo>
                <a:cubicBezTo>
                  <a:pt x="1077" y="99"/>
                  <a:pt x="1077" y="99"/>
                  <a:pt x="1077" y="99"/>
                </a:cubicBezTo>
                <a:cubicBezTo>
                  <a:pt x="1077" y="99"/>
                  <a:pt x="1076" y="101"/>
                  <a:pt x="1077" y="102"/>
                </a:cubicBezTo>
                <a:cubicBezTo>
                  <a:pt x="1079" y="103"/>
                  <a:pt x="1082" y="106"/>
                  <a:pt x="1081" y="107"/>
                </a:cubicBezTo>
                <a:cubicBezTo>
                  <a:pt x="1080" y="108"/>
                  <a:pt x="1077" y="107"/>
                  <a:pt x="1077" y="107"/>
                </a:cubicBezTo>
                <a:cubicBezTo>
                  <a:pt x="1077" y="109"/>
                  <a:pt x="1077" y="109"/>
                  <a:pt x="1077" y="109"/>
                </a:cubicBezTo>
                <a:cubicBezTo>
                  <a:pt x="1077" y="109"/>
                  <a:pt x="1074" y="108"/>
                  <a:pt x="1072" y="108"/>
                </a:cubicBezTo>
                <a:cubicBezTo>
                  <a:pt x="1070" y="108"/>
                  <a:pt x="1069" y="106"/>
                  <a:pt x="1069" y="106"/>
                </a:cubicBezTo>
                <a:cubicBezTo>
                  <a:pt x="1060" y="106"/>
                  <a:pt x="1060" y="106"/>
                  <a:pt x="1060" y="106"/>
                </a:cubicBezTo>
                <a:cubicBezTo>
                  <a:pt x="1060" y="106"/>
                  <a:pt x="1055" y="101"/>
                  <a:pt x="1054" y="106"/>
                </a:cubicBezTo>
                <a:cubicBezTo>
                  <a:pt x="1054" y="108"/>
                  <a:pt x="1056" y="109"/>
                  <a:pt x="1058" y="109"/>
                </a:cubicBezTo>
                <a:cubicBezTo>
                  <a:pt x="1059" y="109"/>
                  <a:pt x="1060" y="108"/>
                  <a:pt x="1062" y="109"/>
                </a:cubicBezTo>
                <a:cubicBezTo>
                  <a:pt x="1064" y="110"/>
                  <a:pt x="1066" y="113"/>
                  <a:pt x="1069" y="113"/>
                </a:cubicBezTo>
                <a:cubicBezTo>
                  <a:pt x="1072" y="113"/>
                  <a:pt x="1074" y="112"/>
                  <a:pt x="1074" y="112"/>
                </a:cubicBezTo>
                <a:cubicBezTo>
                  <a:pt x="1077" y="113"/>
                  <a:pt x="1077" y="113"/>
                  <a:pt x="1077" y="113"/>
                </a:cubicBezTo>
                <a:cubicBezTo>
                  <a:pt x="1080" y="112"/>
                  <a:pt x="1080" y="112"/>
                  <a:pt x="1080" y="112"/>
                </a:cubicBezTo>
                <a:cubicBezTo>
                  <a:pt x="1080" y="115"/>
                  <a:pt x="1080" y="115"/>
                  <a:pt x="1080" y="115"/>
                </a:cubicBezTo>
                <a:cubicBezTo>
                  <a:pt x="1080" y="115"/>
                  <a:pt x="1076" y="113"/>
                  <a:pt x="1076" y="115"/>
                </a:cubicBezTo>
                <a:cubicBezTo>
                  <a:pt x="1076" y="116"/>
                  <a:pt x="1078" y="117"/>
                  <a:pt x="1078" y="117"/>
                </a:cubicBezTo>
                <a:cubicBezTo>
                  <a:pt x="1078" y="117"/>
                  <a:pt x="1072" y="117"/>
                  <a:pt x="1072" y="119"/>
                </a:cubicBezTo>
                <a:cubicBezTo>
                  <a:pt x="1073" y="120"/>
                  <a:pt x="1077" y="120"/>
                  <a:pt x="1077" y="120"/>
                </a:cubicBezTo>
                <a:cubicBezTo>
                  <a:pt x="1077" y="120"/>
                  <a:pt x="1076" y="122"/>
                  <a:pt x="1075" y="122"/>
                </a:cubicBezTo>
                <a:cubicBezTo>
                  <a:pt x="1074" y="122"/>
                  <a:pt x="1071" y="120"/>
                  <a:pt x="1070" y="121"/>
                </a:cubicBezTo>
                <a:cubicBezTo>
                  <a:pt x="1069" y="122"/>
                  <a:pt x="1071" y="124"/>
                  <a:pt x="1071" y="124"/>
                </a:cubicBezTo>
                <a:cubicBezTo>
                  <a:pt x="1068" y="124"/>
                  <a:pt x="1068" y="124"/>
                  <a:pt x="1068" y="124"/>
                </a:cubicBezTo>
                <a:cubicBezTo>
                  <a:pt x="1069" y="127"/>
                  <a:pt x="1069" y="127"/>
                  <a:pt x="1069" y="127"/>
                </a:cubicBezTo>
                <a:cubicBezTo>
                  <a:pt x="1069" y="127"/>
                  <a:pt x="1064" y="127"/>
                  <a:pt x="1065" y="129"/>
                </a:cubicBezTo>
                <a:cubicBezTo>
                  <a:pt x="1066" y="131"/>
                  <a:pt x="1070" y="131"/>
                  <a:pt x="1070" y="131"/>
                </a:cubicBezTo>
                <a:cubicBezTo>
                  <a:pt x="1070" y="131"/>
                  <a:pt x="1070" y="134"/>
                  <a:pt x="1069" y="134"/>
                </a:cubicBezTo>
                <a:cubicBezTo>
                  <a:pt x="1067" y="134"/>
                  <a:pt x="1068" y="135"/>
                  <a:pt x="1068" y="135"/>
                </a:cubicBezTo>
                <a:cubicBezTo>
                  <a:pt x="1068" y="135"/>
                  <a:pt x="1068" y="136"/>
                  <a:pt x="1067" y="134"/>
                </a:cubicBezTo>
                <a:cubicBezTo>
                  <a:pt x="1067" y="132"/>
                  <a:pt x="1064" y="131"/>
                  <a:pt x="1064" y="131"/>
                </a:cubicBezTo>
                <a:cubicBezTo>
                  <a:pt x="1064" y="131"/>
                  <a:pt x="1061" y="124"/>
                  <a:pt x="1059" y="125"/>
                </a:cubicBezTo>
                <a:cubicBezTo>
                  <a:pt x="1057" y="125"/>
                  <a:pt x="1051" y="128"/>
                  <a:pt x="1054" y="129"/>
                </a:cubicBezTo>
                <a:cubicBezTo>
                  <a:pt x="1057" y="131"/>
                  <a:pt x="1062" y="131"/>
                  <a:pt x="1062" y="131"/>
                </a:cubicBezTo>
                <a:cubicBezTo>
                  <a:pt x="1062" y="131"/>
                  <a:pt x="1058" y="132"/>
                  <a:pt x="1056" y="132"/>
                </a:cubicBezTo>
                <a:cubicBezTo>
                  <a:pt x="1053" y="132"/>
                  <a:pt x="1050" y="131"/>
                  <a:pt x="1049" y="132"/>
                </a:cubicBezTo>
                <a:cubicBezTo>
                  <a:pt x="1047" y="133"/>
                  <a:pt x="1042" y="134"/>
                  <a:pt x="1044" y="135"/>
                </a:cubicBezTo>
                <a:cubicBezTo>
                  <a:pt x="1045" y="135"/>
                  <a:pt x="1054" y="134"/>
                  <a:pt x="1056" y="134"/>
                </a:cubicBezTo>
                <a:cubicBezTo>
                  <a:pt x="1058" y="134"/>
                  <a:pt x="1063" y="135"/>
                  <a:pt x="1063" y="135"/>
                </a:cubicBezTo>
                <a:cubicBezTo>
                  <a:pt x="1063" y="135"/>
                  <a:pt x="1059" y="135"/>
                  <a:pt x="1058" y="135"/>
                </a:cubicBezTo>
                <a:cubicBezTo>
                  <a:pt x="1056" y="135"/>
                  <a:pt x="1043" y="136"/>
                  <a:pt x="1041" y="137"/>
                </a:cubicBezTo>
                <a:cubicBezTo>
                  <a:pt x="1040" y="138"/>
                  <a:pt x="1040" y="139"/>
                  <a:pt x="1043" y="139"/>
                </a:cubicBezTo>
                <a:cubicBezTo>
                  <a:pt x="1047" y="138"/>
                  <a:pt x="1055" y="138"/>
                  <a:pt x="1055" y="138"/>
                </a:cubicBezTo>
                <a:cubicBezTo>
                  <a:pt x="1055" y="138"/>
                  <a:pt x="1060" y="137"/>
                  <a:pt x="1061" y="138"/>
                </a:cubicBezTo>
                <a:cubicBezTo>
                  <a:pt x="1061" y="139"/>
                  <a:pt x="1051" y="139"/>
                  <a:pt x="1051" y="139"/>
                </a:cubicBezTo>
                <a:cubicBezTo>
                  <a:pt x="1051" y="139"/>
                  <a:pt x="1039" y="139"/>
                  <a:pt x="1040" y="140"/>
                </a:cubicBezTo>
                <a:cubicBezTo>
                  <a:pt x="1040" y="140"/>
                  <a:pt x="1042" y="141"/>
                  <a:pt x="1044" y="141"/>
                </a:cubicBezTo>
                <a:cubicBezTo>
                  <a:pt x="1045" y="141"/>
                  <a:pt x="1048" y="143"/>
                  <a:pt x="1048" y="143"/>
                </a:cubicBezTo>
                <a:cubicBezTo>
                  <a:pt x="1048" y="143"/>
                  <a:pt x="1043" y="142"/>
                  <a:pt x="1042" y="143"/>
                </a:cubicBezTo>
                <a:cubicBezTo>
                  <a:pt x="1041" y="144"/>
                  <a:pt x="1042" y="144"/>
                  <a:pt x="1042" y="144"/>
                </a:cubicBezTo>
                <a:cubicBezTo>
                  <a:pt x="1042" y="144"/>
                  <a:pt x="1036" y="146"/>
                  <a:pt x="1037" y="148"/>
                </a:cubicBezTo>
                <a:cubicBezTo>
                  <a:pt x="1042" y="148"/>
                  <a:pt x="1042" y="148"/>
                  <a:pt x="1042" y="148"/>
                </a:cubicBezTo>
                <a:cubicBezTo>
                  <a:pt x="1037" y="150"/>
                  <a:pt x="1037" y="150"/>
                  <a:pt x="1037" y="150"/>
                </a:cubicBezTo>
                <a:cubicBezTo>
                  <a:pt x="1037" y="150"/>
                  <a:pt x="1037" y="153"/>
                  <a:pt x="1039" y="152"/>
                </a:cubicBezTo>
                <a:cubicBezTo>
                  <a:pt x="1041" y="152"/>
                  <a:pt x="1046" y="152"/>
                  <a:pt x="1046" y="152"/>
                </a:cubicBezTo>
                <a:cubicBezTo>
                  <a:pt x="1046" y="152"/>
                  <a:pt x="1038" y="154"/>
                  <a:pt x="1039" y="156"/>
                </a:cubicBezTo>
                <a:cubicBezTo>
                  <a:pt x="1041" y="157"/>
                  <a:pt x="1045" y="155"/>
                  <a:pt x="1045" y="155"/>
                </a:cubicBezTo>
                <a:cubicBezTo>
                  <a:pt x="1045" y="155"/>
                  <a:pt x="1042" y="158"/>
                  <a:pt x="1041" y="160"/>
                </a:cubicBezTo>
                <a:cubicBezTo>
                  <a:pt x="1041" y="161"/>
                  <a:pt x="1040" y="162"/>
                  <a:pt x="1042" y="162"/>
                </a:cubicBezTo>
                <a:cubicBezTo>
                  <a:pt x="1043" y="162"/>
                  <a:pt x="1045" y="161"/>
                  <a:pt x="1045" y="161"/>
                </a:cubicBezTo>
                <a:cubicBezTo>
                  <a:pt x="1045" y="161"/>
                  <a:pt x="1044" y="164"/>
                  <a:pt x="1043" y="164"/>
                </a:cubicBezTo>
                <a:cubicBezTo>
                  <a:pt x="1041" y="164"/>
                  <a:pt x="1038" y="166"/>
                  <a:pt x="1038" y="168"/>
                </a:cubicBezTo>
                <a:cubicBezTo>
                  <a:pt x="1039" y="170"/>
                  <a:pt x="1043" y="166"/>
                  <a:pt x="1043" y="166"/>
                </a:cubicBezTo>
                <a:cubicBezTo>
                  <a:pt x="1043" y="166"/>
                  <a:pt x="1046" y="162"/>
                  <a:pt x="1047" y="163"/>
                </a:cubicBezTo>
                <a:cubicBezTo>
                  <a:pt x="1048" y="164"/>
                  <a:pt x="1053" y="162"/>
                  <a:pt x="1053" y="162"/>
                </a:cubicBezTo>
                <a:cubicBezTo>
                  <a:pt x="1053" y="164"/>
                  <a:pt x="1053" y="164"/>
                  <a:pt x="1053" y="164"/>
                </a:cubicBezTo>
                <a:cubicBezTo>
                  <a:pt x="1055" y="162"/>
                  <a:pt x="1055" y="162"/>
                  <a:pt x="1055" y="162"/>
                </a:cubicBezTo>
                <a:cubicBezTo>
                  <a:pt x="1053" y="166"/>
                  <a:pt x="1053" y="166"/>
                  <a:pt x="1053" y="166"/>
                </a:cubicBezTo>
                <a:cubicBezTo>
                  <a:pt x="1057" y="166"/>
                  <a:pt x="1057" y="166"/>
                  <a:pt x="1057" y="166"/>
                </a:cubicBezTo>
                <a:cubicBezTo>
                  <a:pt x="1057" y="166"/>
                  <a:pt x="1051" y="166"/>
                  <a:pt x="1050" y="167"/>
                </a:cubicBezTo>
                <a:cubicBezTo>
                  <a:pt x="1050" y="168"/>
                  <a:pt x="1052" y="168"/>
                  <a:pt x="1052" y="168"/>
                </a:cubicBezTo>
                <a:cubicBezTo>
                  <a:pt x="1052" y="168"/>
                  <a:pt x="1047" y="169"/>
                  <a:pt x="1046" y="170"/>
                </a:cubicBezTo>
                <a:cubicBezTo>
                  <a:pt x="1045" y="170"/>
                  <a:pt x="1046" y="171"/>
                  <a:pt x="1046" y="171"/>
                </a:cubicBezTo>
                <a:cubicBezTo>
                  <a:pt x="1046" y="171"/>
                  <a:pt x="1041" y="172"/>
                  <a:pt x="1041" y="173"/>
                </a:cubicBezTo>
                <a:cubicBezTo>
                  <a:pt x="1040" y="174"/>
                  <a:pt x="1046" y="174"/>
                  <a:pt x="1046" y="174"/>
                </a:cubicBezTo>
                <a:cubicBezTo>
                  <a:pt x="1046" y="174"/>
                  <a:pt x="1041" y="174"/>
                  <a:pt x="1041" y="175"/>
                </a:cubicBezTo>
                <a:cubicBezTo>
                  <a:pt x="1041" y="176"/>
                  <a:pt x="1045" y="177"/>
                  <a:pt x="1045" y="177"/>
                </a:cubicBezTo>
                <a:cubicBezTo>
                  <a:pt x="1045" y="177"/>
                  <a:pt x="1042" y="177"/>
                  <a:pt x="1042" y="178"/>
                </a:cubicBezTo>
                <a:cubicBezTo>
                  <a:pt x="1041" y="180"/>
                  <a:pt x="1047" y="179"/>
                  <a:pt x="1047" y="179"/>
                </a:cubicBezTo>
                <a:cubicBezTo>
                  <a:pt x="1044" y="182"/>
                  <a:pt x="1044" y="182"/>
                  <a:pt x="1044" y="182"/>
                </a:cubicBezTo>
                <a:cubicBezTo>
                  <a:pt x="1048" y="181"/>
                  <a:pt x="1048" y="181"/>
                  <a:pt x="1048" y="181"/>
                </a:cubicBezTo>
                <a:cubicBezTo>
                  <a:pt x="1048" y="181"/>
                  <a:pt x="1044" y="184"/>
                  <a:pt x="1044" y="187"/>
                </a:cubicBezTo>
                <a:cubicBezTo>
                  <a:pt x="1045" y="189"/>
                  <a:pt x="1050" y="188"/>
                  <a:pt x="1050" y="188"/>
                </a:cubicBezTo>
                <a:cubicBezTo>
                  <a:pt x="1047" y="192"/>
                  <a:pt x="1047" y="192"/>
                  <a:pt x="1047" y="192"/>
                </a:cubicBezTo>
                <a:cubicBezTo>
                  <a:pt x="1052" y="190"/>
                  <a:pt x="1052" y="190"/>
                  <a:pt x="1052" y="190"/>
                </a:cubicBezTo>
                <a:cubicBezTo>
                  <a:pt x="1052" y="190"/>
                  <a:pt x="1049" y="193"/>
                  <a:pt x="1049" y="194"/>
                </a:cubicBezTo>
                <a:cubicBezTo>
                  <a:pt x="1050" y="195"/>
                  <a:pt x="1054" y="195"/>
                  <a:pt x="1054" y="195"/>
                </a:cubicBezTo>
                <a:cubicBezTo>
                  <a:pt x="1054" y="195"/>
                  <a:pt x="1052" y="196"/>
                  <a:pt x="1052" y="197"/>
                </a:cubicBezTo>
                <a:cubicBezTo>
                  <a:pt x="1053" y="198"/>
                  <a:pt x="1055" y="197"/>
                  <a:pt x="1055" y="197"/>
                </a:cubicBezTo>
                <a:cubicBezTo>
                  <a:pt x="1055" y="197"/>
                  <a:pt x="1052" y="200"/>
                  <a:pt x="1053" y="201"/>
                </a:cubicBezTo>
                <a:cubicBezTo>
                  <a:pt x="1053" y="202"/>
                  <a:pt x="1057" y="201"/>
                  <a:pt x="1057" y="201"/>
                </a:cubicBezTo>
                <a:cubicBezTo>
                  <a:pt x="1056" y="203"/>
                  <a:pt x="1056" y="203"/>
                  <a:pt x="1056" y="203"/>
                </a:cubicBezTo>
                <a:cubicBezTo>
                  <a:pt x="1062" y="202"/>
                  <a:pt x="1062" y="202"/>
                  <a:pt x="1062" y="202"/>
                </a:cubicBezTo>
                <a:cubicBezTo>
                  <a:pt x="1062" y="202"/>
                  <a:pt x="1063" y="204"/>
                  <a:pt x="1065" y="203"/>
                </a:cubicBezTo>
                <a:cubicBezTo>
                  <a:pt x="1067" y="201"/>
                  <a:pt x="1072" y="198"/>
                  <a:pt x="1073" y="198"/>
                </a:cubicBezTo>
                <a:cubicBezTo>
                  <a:pt x="1074" y="199"/>
                  <a:pt x="1071" y="201"/>
                  <a:pt x="1071" y="201"/>
                </a:cubicBezTo>
                <a:cubicBezTo>
                  <a:pt x="1075" y="201"/>
                  <a:pt x="1075" y="201"/>
                  <a:pt x="1075" y="201"/>
                </a:cubicBezTo>
                <a:cubicBezTo>
                  <a:pt x="1077" y="200"/>
                  <a:pt x="1077" y="200"/>
                  <a:pt x="1077" y="200"/>
                </a:cubicBezTo>
                <a:cubicBezTo>
                  <a:pt x="1077" y="200"/>
                  <a:pt x="1073" y="203"/>
                  <a:pt x="1072" y="204"/>
                </a:cubicBezTo>
                <a:cubicBezTo>
                  <a:pt x="1071" y="205"/>
                  <a:pt x="1070" y="206"/>
                  <a:pt x="1072" y="206"/>
                </a:cubicBezTo>
                <a:cubicBezTo>
                  <a:pt x="1073" y="206"/>
                  <a:pt x="1079" y="205"/>
                  <a:pt x="1079" y="205"/>
                </a:cubicBezTo>
                <a:cubicBezTo>
                  <a:pt x="1079" y="205"/>
                  <a:pt x="1073" y="208"/>
                  <a:pt x="1075" y="209"/>
                </a:cubicBezTo>
                <a:cubicBezTo>
                  <a:pt x="1076" y="211"/>
                  <a:pt x="1080" y="209"/>
                  <a:pt x="1080" y="209"/>
                </a:cubicBezTo>
                <a:cubicBezTo>
                  <a:pt x="1080" y="209"/>
                  <a:pt x="1082" y="213"/>
                  <a:pt x="1085" y="212"/>
                </a:cubicBezTo>
                <a:cubicBezTo>
                  <a:pt x="1087" y="210"/>
                  <a:pt x="1089" y="209"/>
                  <a:pt x="1089" y="209"/>
                </a:cubicBezTo>
                <a:cubicBezTo>
                  <a:pt x="1089" y="209"/>
                  <a:pt x="1088" y="208"/>
                  <a:pt x="1087" y="207"/>
                </a:cubicBezTo>
                <a:cubicBezTo>
                  <a:pt x="1086" y="206"/>
                  <a:pt x="1090" y="207"/>
                  <a:pt x="1091" y="206"/>
                </a:cubicBezTo>
                <a:cubicBezTo>
                  <a:pt x="1092" y="205"/>
                  <a:pt x="1091" y="202"/>
                  <a:pt x="1091" y="202"/>
                </a:cubicBezTo>
                <a:cubicBezTo>
                  <a:pt x="1091" y="202"/>
                  <a:pt x="1096" y="204"/>
                  <a:pt x="1096" y="202"/>
                </a:cubicBezTo>
                <a:cubicBezTo>
                  <a:pt x="1096" y="200"/>
                  <a:pt x="1095" y="198"/>
                  <a:pt x="1095" y="198"/>
                </a:cubicBezTo>
                <a:cubicBezTo>
                  <a:pt x="1095" y="198"/>
                  <a:pt x="1096" y="200"/>
                  <a:pt x="1097" y="201"/>
                </a:cubicBezTo>
                <a:cubicBezTo>
                  <a:pt x="1098" y="201"/>
                  <a:pt x="1099" y="199"/>
                  <a:pt x="1099" y="198"/>
                </a:cubicBezTo>
                <a:cubicBezTo>
                  <a:pt x="1098" y="196"/>
                  <a:pt x="1096" y="195"/>
                  <a:pt x="1096" y="195"/>
                </a:cubicBezTo>
                <a:cubicBezTo>
                  <a:pt x="1096" y="195"/>
                  <a:pt x="1101" y="196"/>
                  <a:pt x="1101" y="195"/>
                </a:cubicBezTo>
                <a:cubicBezTo>
                  <a:pt x="1101" y="194"/>
                  <a:pt x="1100" y="193"/>
                  <a:pt x="1100" y="193"/>
                </a:cubicBezTo>
                <a:cubicBezTo>
                  <a:pt x="1104" y="193"/>
                  <a:pt x="1104" y="193"/>
                  <a:pt x="1104" y="193"/>
                </a:cubicBezTo>
                <a:cubicBezTo>
                  <a:pt x="1102" y="190"/>
                  <a:pt x="1102" y="190"/>
                  <a:pt x="1102" y="190"/>
                </a:cubicBezTo>
                <a:cubicBezTo>
                  <a:pt x="1104" y="189"/>
                  <a:pt x="1104" y="189"/>
                  <a:pt x="1104" y="189"/>
                </a:cubicBezTo>
                <a:cubicBezTo>
                  <a:pt x="1104" y="189"/>
                  <a:pt x="1102" y="187"/>
                  <a:pt x="1101" y="187"/>
                </a:cubicBezTo>
                <a:cubicBezTo>
                  <a:pt x="1100" y="187"/>
                  <a:pt x="1103" y="186"/>
                  <a:pt x="1103" y="186"/>
                </a:cubicBezTo>
                <a:cubicBezTo>
                  <a:pt x="1100" y="183"/>
                  <a:pt x="1100" y="183"/>
                  <a:pt x="1100" y="183"/>
                </a:cubicBezTo>
                <a:cubicBezTo>
                  <a:pt x="1100" y="183"/>
                  <a:pt x="1103" y="185"/>
                  <a:pt x="1104" y="185"/>
                </a:cubicBezTo>
                <a:cubicBezTo>
                  <a:pt x="1105" y="184"/>
                  <a:pt x="1107" y="183"/>
                  <a:pt x="1107" y="183"/>
                </a:cubicBezTo>
                <a:cubicBezTo>
                  <a:pt x="1107" y="183"/>
                  <a:pt x="1110" y="183"/>
                  <a:pt x="1111" y="183"/>
                </a:cubicBezTo>
                <a:cubicBezTo>
                  <a:pt x="1111" y="182"/>
                  <a:pt x="1110" y="180"/>
                  <a:pt x="1110" y="180"/>
                </a:cubicBezTo>
                <a:cubicBezTo>
                  <a:pt x="1113" y="180"/>
                  <a:pt x="1113" y="180"/>
                  <a:pt x="1113" y="180"/>
                </a:cubicBezTo>
                <a:cubicBezTo>
                  <a:pt x="1114" y="176"/>
                  <a:pt x="1114" y="176"/>
                  <a:pt x="1114" y="176"/>
                </a:cubicBezTo>
                <a:cubicBezTo>
                  <a:pt x="1114" y="176"/>
                  <a:pt x="1118" y="178"/>
                  <a:pt x="1119" y="176"/>
                </a:cubicBezTo>
                <a:cubicBezTo>
                  <a:pt x="1120" y="175"/>
                  <a:pt x="1119" y="174"/>
                  <a:pt x="1119" y="174"/>
                </a:cubicBezTo>
                <a:cubicBezTo>
                  <a:pt x="1119" y="174"/>
                  <a:pt x="1121" y="176"/>
                  <a:pt x="1122" y="176"/>
                </a:cubicBezTo>
                <a:cubicBezTo>
                  <a:pt x="1123" y="176"/>
                  <a:pt x="1124" y="174"/>
                  <a:pt x="1124" y="173"/>
                </a:cubicBezTo>
                <a:cubicBezTo>
                  <a:pt x="1125" y="172"/>
                  <a:pt x="1124" y="170"/>
                  <a:pt x="1124" y="170"/>
                </a:cubicBezTo>
                <a:cubicBezTo>
                  <a:pt x="1119" y="169"/>
                  <a:pt x="1119" y="169"/>
                  <a:pt x="1119" y="169"/>
                </a:cubicBezTo>
                <a:cubicBezTo>
                  <a:pt x="1123" y="168"/>
                  <a:pt x="1123" y="168"/>
                  <a:pt x="1123" y="168"/>
                </a:cubicBezTo>
                <a:cubicBezTo>
                  <a:pt x="1127" y="166"/>
                  <a:pt x="1127" y="166"/>
                  <a:pt x="1127" y="166"/>
                </a:cubicBezTo>
                <a:cubicBezTo>
                  <a:pt x="1127" y="163"/>
                  <a:pt x="1127" y="163"/>
                  <a:pt x="1127" y="163"/>
                </a:cubicBezTo>
                <a:cubicBezTo>
                  <a:pt x="1124" y="163"/>
                  <a:pt x="1124" y="163"/>
                  <a:pt x="1124" y="163"/>
                </a:cubicBezTo>
                <a:cubicBezTo>
                  <a:pt x="1125" y="160"/>
                  <a:pt x="1125" y="160"/>
                  <a:pt x="1125" y="160"/>
                </a:cubicBezTo>
                <a:cubicBezTo>
                  <a:pt x="1130" y="160"/>
                  <a:pt x="1130" y="160"/>
                  <a:pt x="1130" y="160"/>
                </a:cubicBezTo>
                <a:cubicBezTo>
                  <a:pt x="1130" y="160"/>
                  <a:pt x="1133" y="161"/>
                  <a:pt x="1134" y="160"/>
                </a:cubicBezTo>
                <a:cubicBezTo>
                  <a:pt x="1136" y="158"/>
                  <a:pt x="1135" y="156"/>
                  <a:pt x="1135" y="156"/>
                </a:cubicBezTo>
                <a:cubicBezTo>
                  <a:pt x="1139" y="155"/>
                  <a:pt x="1139" y="155"/>
                  <a:pt x="1139" y="155"/>
                </a:cubicBezTo>
                <a:cubicBezTo>
                  <a:pt x="1139" y="155"/>
                  <a:pt x="1146" y="156"/>
                  <a:pt x="1147" y="155"/>
                </a:cubicBezTo>
                <a:cubicBezTo>
                  <a:pt x="1149" y="153"/>
                  <a:pt x="1150" y="152"/>
                  <a:pt x="1150" y="152"/>
                </a:cubicBezTo>
                <a:cubicBezTo>
                  <a:pt x="1152" y="151"/>
                  <a:pt x="1152" y="151"/>
                  <a:pt x="1152" y="151"/>
                </a:cubicBezTo>
                <a:cubicBezTo>
                  <a:pt x="1152" y="151"/>
                  <a:pt x="1152" y="149"/>
                  <a:pt x="1154" y="148"/>
                </a:cubicBezTo>
                <a:cubicBezTo>
                  <a:pt x="1157" y="148"/>
                  <a:pt x="1150" y="155"/>
                  <a:pt x="1152" y="155"/>
                </a:cubicBezTo>
                <a:cubicBezTo>
                  <a:pt x="1153" y="155"/>
                  <a:pt x="1155" y="154"/>
                  <a:pt x="1155" y="154"/>
                </a:cubicBezTo>
                <a:cubicBezTo>
                  <a:pt x="1156" y="152"/>
                  <a:pt x="1156" y="152"/>
                  <a:pt x="1156" y="152"/>
                </a:cubicBezTo>
                <a:cubicBezTo>
                  <a:pt x="1158" y="152"/>
                  <a:pt x="1158" y="152"/>
                  <a:pt x="1158" y="152"/>
                </a:cubicBezTo>
                <a:cubicBezTo>
                  <a:pt x="1159" y="150"/>
                  <a:pt x="1159" y="150"/>
                  <a:pt x="1159" y="150"/>
                </a:cubicBezTo>
                <a:cubicBezTo>
                  <a:pt x="1159" y="150"/>
                  <a:pt x="1163" y="153"/>
                  <a:pt x="1166" y="152"/>
                </a:cubicBezTo>
                <a:cubicBezTo>
                  <a:pt x="1168" y="150"/>
                  <a:pt x="1172" y="147"/>
                  <a:pt x="1172" y="147"/>
                </a:cubicBezTo>
                <a:cubicBezTo>
                  <a:pt x="1172" y="147"/>
                  <a:pt x="1175" y="148"/>
                  <a:pt x="1181" y="146"/>
                </a:cubicBezTo>
                <a:cubicBezTo>
                  <a:pt x="1186" y="144"/>
                  <a:pt x="1186" y="140"/>
                  <a:pt x="1189" y="138"/>
                </a:cubicBezTo>
                <a:cubicBezTo>
                  <a:pt x="1193" y="135"/>
                  <a:pt x="1202" y="133"/>
                  <a:pt x="1202" y="133"/>
                </a:cubicBezTo>
                <a:cubicBezTo>
                  <a:pt x="1202" y="133"/>
                  <a:pt x="1203" y="131"/>
                  <a:pt x="1202" y="130"/>
                </a:cubicBezTo>
                <a:cubicBezTo>
                  <a:pt x="1202" y="128"/>
                  <a:pt x="1201" y="126"/>
                  <a:pt x="1202" y="125"/>
                </a:cubicBezTo>
                <a:cubicBezTo>
                  <a:pt x="1204" y="125"/>
                  <a:pt x="1206" y="131"/>
                  <a:pt x="1208" y="131"/>
                </a:cubicBezTo>
                <a:cubicBezTo>
                  <a:pt x="1208" y="131"/>
                  <a:pt x="1217" y="131"/>
                  <a:pt x="1219" y="130"/>
                </a:cubicBezTo>
                <a:cubicBezTo>
                  <a:pt x="1222" y="130"/>
                  <a:pt x="1226" y="128"/>
                  <a:pt x="1231" y="127"/>
                </a:cubicBezTo>
                <a:cubicBezTo>
                  <a:pt x="1236" y="126"/>
                  <a:pt x="1244" y="126"/>
                  <a:pt x="1245" y="125"/>
                </a:cubicBezTo>
                <a:cubicBezTo>
                  <a:pt x="1247" y="125"/>
                  <a:pt x="1248" y="123"/>
                  <a:pt x="1248" y="123"/>
                </a:cubicBezTo>
                <a:close/>
                <a:moveTo>
                  <a:pt x="724" y="122"/>
                </a:moveTo>
                <a:cubicBezTo>
                  <a:pt x="728" y="123"/>
                  <a:pt x="730" y="124"/>
                  <a:pt x="733" y="126"/>
                </a:cubicBezTo>
                <a:cubicBezTo>
                  <a:pt x="736" y="128"/>
                  <a:pt x="748" y="126"/>
                  <a:pt x="748" y="126"/>
                </a:cubicBezTo>
                <a:cubicBezTo>
                  <a:pt x="745" y="116"/>
                  <a:pt x="745" y="116"/>
                  <a:pt x="745" y="116"/>
                </a:cubicBezTo>
                <a:cubicBezTo>
                  <a:pt x="731" y="113"/>
                  <a:pt x="731" y="113"/>
                  <a:pt x="731" y="113"/>
                </a:cubicBezTo>
                <a:cubicBezTo>
                  <a:pt x="726" y="119"/>
                  <a:pt x="726" y="119"/>
                  <a:pt x="726" y="119"/>
                </a:cubicBezTo>
                <a:cubicBezTo>
                  <a:pt x="722" y="119"/>
                  <a:pt x="722" y="119"/>
                  <a:pt x="722" y="119"/>
                </a:cubicBezTo>
                <a:cubicBezTo>
                  <a:pt x="722" y="119"/>
                  <a:pt x="720" y="122"/>
                  <a:pt x="724" y="122"/>
                </a:cubicBezTo>
                <a:close/>
                <a:moveTo>
                  <a:pt x="1054" y="119"/>
                </a:moveTo>
                <a:cubicBezTo>
                  <a:pt x="1056" y="119"/>
                  <a:pt x="1056" y="119"/>
                  <a:pt x="1056" y="119"/>
                </a:cubicBezTo>
                <a:cubicBezTo>
                  <a:pt x="1056" y="119"/>
                  <a:pt x="1059" y="118"/>
                  <a:pt x="1061" y="118"/>
                </a:cubicBezTo>
                <a:cubicBezTo>
                  <a:pt x="1062" y="118"/>
                  <a:pt x="1065" y="116"/>
                  <a:pt x="1064" y="114"/>
                </a:cubicBezTo>
                <a:cubicBezTo>
                  <a:pt x="1064" y="113"/>
                  <a:pt x="1059" y="112"/>
                  <a:pt x="1059" y="112"/>
                </a:cubicBezTo>
                <a:cubicBezTo>
                  <a:pt x="1059" y="112"/>
                  <a:pt x="1057" y="110"/>
                  <a:pt x="1055" y="110"/>
                </a:cubicBezTo>
                <a:cubicBezTo>
                  <a:pt x="1053" y="110"/>
                  <a:pt x="1052" y="111"/>
                  <a:pt x="1049" y="110"/>
                </a:cubicBezTo>
                <a:cubicBezTo>
                  <a:pt x="1048" y="113"/>
                  <a:pt x="1048" y="113"/>
                  <a:pt x="1048" y="113"/>
                </a:cubicBezTo>
                <a:cubicBezTo>
                  <a:pt x="1048" y="113"/>
                  <a:pt x="1046" y="114"/>
                  <a:pt x="1046" y="116"/>
                </a:cubicBezTo>
                <a:cubicBezTo>
                  <a:pt x="1046" y="117"/>
                  <a:pt x="1049" y="118"/>
                  <a:pt x="1049" y="118"/>
                </a:cubicBezTo>
                <a:cubicBezTo>
                  <a:pt x="1048" y="120"/>
                  <a:pt x="1048" y="120"/>
                  <a:pt x="1048" y="120"/>
                </a:cubicBezTo>
                <a:cubicBezTo>
                  <a:pt x="1054" y="119"/>
                  <a:pt x="1054" y="119"/>
                  <a:pt x="1054" y="119"/>
                </a:cubicBezTo>
                <a:cubicBezTo>
                  <a:pt x="1054" y="119"/>
                  <a:pt x="1054" y="119"/>
                  <a:pt x="1054" y="119"/>
                </a:cubicBezTo>
                <a:close/>
                <a:moveTo>
                  <a:pt x="802" y="151"/>
                </a:moveTo>
                <a:cubicBezTo>
                  <a:pt x="799" y="152"/>
                  <a:pt x="797" y="155"/>
                  <a:pt x="801" y="155"/>
                </a:cubicBezTo>
                <a:cubicBezTo>
                  <a:pt x="803" y="155"/>
                  <a:pt x="804" y="151"/>
                  <a:pt x="802" y="151"/>
                </a:cubicBezTo>
                <a:close/>
                <a:moveTo>
                  <a:pt x="335" y="230"/>
                </a:moveTo>
                <a:cubicBezTo>
                  <a:pt x="335" y="230"/>
                  <a:pt x="330" y="231"/>
                  <a:pt x="330" y="233"/>
                </a:cubicBezTo>
                <a:cubicBezTo>
                  <a:pt x="330" y="234"/>
                  <a:pt x="332" y="236"/>
                  <a:pt x="332" y="236"/>
                </a:cubicBezTo>
                <a:cubicBezTo>
                  <a:pt x="334" y="237"/>
                  <a:pt x="338" y="235"/>
                  <a:pt x="338" y="233"/>
                </a:cubicBezTo>
                <a:cubicBezTo>
                  <a:pt x="338" y="231"/>
                  <a:pt x="335" y="230"/>
                  <a:pt x="335" y="230"/>
                </a:cubicBezTo>
                <a:close/>
                <a:moveTo>
                  <a:pt x="329" y="307"/>
                </a:moveTo>
                <a:cubicBezTo>
                  <a:pt x="327" y="306"/>
                  <a:pt x="322" y="309"/>
                  <a:pt x="323" y="311"/>
                </a:cubicBezTo>
                <a:cubicBezTo>
                  <a:pt x="324" y="312"/>
                  <a:pt x="326" y="312"/>
                  <a:pt x="326" y="312"/>
                </a:cubicBezTo>
                <a:cubicBezTo>
                  <a:pt x="328" y="311"/>
                  <a:pt x="328" y="311"/>
                  <a:pt x="328" y="311"/>
                </a:cubicBezTo>
                <a:cubicBezTo>
                  <a:pt x="330" y="312"/>
                  <a:pt x="330" y="312"/>
                  <a:pt x="330" y="312"/>
                </a:cubicBezTo>
                <a:cubicBezTo>
                  <a:pt x="328" y="313"/>
                  <a:pt x="328" y="313"/>
                  <a:pt x="328" y="313"/>
                </a:cubicBezTo>
                <a:cubicBezTo>
                  <a:pt x="328" y="313"/>
                  <a:pt x="322" y="314"/>
                  <a:pt x="324" y="316"/>
                </a:cubicBezTo>
                <a:cubicBezTo>
                  <a:pt x="326" y="318"/>
                  <a:pt x="329" y="316"/>
                  <a:pt x="329" y="316"/>
                </a:cubicBezTo>
                <a:cubicBezTo>
                  <a:pt x="328" y="319"/>
                  <a:pt x="328" y="319"/>
                  <a:pt x="328" y="319"/>
                </a:cubicBezTo>
                <a:cubicBezTo>
                  <a:pt x="331" y="319"/>
                  <a:pt x="331" y="319"/>
                  <a:pt x="331" y="319"/>
                </a:cubicBezTo>
                <a:cubicBezTo>
                  <a:pt x="328" y="321"/>
                  <a:pt x="328" y="321"/>
                  <a:pt x="328" y="321"/>
                </a:cubicBezTo>
                <a:cubicBezTo>
                  <a:pt x="333" y="321"/>
                  <a:pt x="333" y="321"/>
                  <a:pt x="333" y="321"/>
                </a:cubicBezTo>
                <a:cubicBezTo>
                  <a:pt x="333" y="321"/>
                  <a:pt x="328" y="323"/>
                  <a:pt x="329" y="324"/>
                </a:cubicBezTo>
                <a:cubicBezTo>
                  <a:pt x="330" y="325"/>
                  <a:pt x="333" y="321"/>
                  <a:pt x="334" y="323"/>
                </a:cubicBezTo>
                <a:cubicBezTo>
                  <a:pt x="335" y="325"/>
                  <a:pt x="331" y="326"/>
                  <a:pt x="332" y="328"/>
                </a:cubicBezTo>
                <a:cubicBezTo>
                  <a:pt x="333" y="329"/>
                  <a:pt x="339" y="328"/>
                  <a:pt x="339" y="328"/>
                </a:cubicBezTo>
                <a:cubicBezTo>
                  <a:pt x="341" y="327"/>
                  <a:pt x="341" y="327"/>
                  <a:pt x="341" y="327"/>
                </a:cubicBezTo>
                <a:cubicBezTo>
                  <a:pt x="339" y="329"/>
                  <a:pt x="339" y="329"/>
                  <a:pt x="339" y="329"/>
                </a:cubicBezTo>
                <a:cubicBezTo>
                  <a:pt x="339" y="329"/>
                  <a:pt x="334" y="329"/>
                  <a:pt x="336" y="331"/>
                </a:cubicBezTo>
                <a:cubicBezTo>
                  <a:pt x="338" y="333"/>
                  <a:pt x="340" y="333"/>
                  <a:pt x="340" y="333"/>
                </a:cubicBezTo>
                <a:cubicBezTo>
                  <a:pt x="340" y="333"/>
                  <a:pt x="345" y="337"/>
                  <a:pt x="348" y="335"/>
                </a:cubicBezTo>
                <a:cubicBezTo>
                  <a:pt x="350" y="333"/>
                  <a:pt x="352" y="331"/>
                  <a:pt x="350" y="329"/>
                </a:cubicBezTo>
                <a:cubicBezTo>
                  <a:pt x="348" y="326"/>
                  <a:pt x="345" y="324"/>
                  <a:pt x="345" y="324"/>
                </a:cubicBezTo>
                <a:cubicBezTo>
                  <a:pt x="345" y="324"/>
                  <a:pt x="344" y="321"/>
                  <a:pt x="344" y="320"/>
                </a:cubicBezTo>
                <a:cubicBezTo>
                  <a:pt x="345" y="318"/>
                  <a:pt x="346" y="316"/>
                  <a:pt x="344" y="314"/>
                </a:cubicBezTo>
                <a:cubicBezTo>
                  <a:pt x="344" y="314"/>
                  <a:pt x="339" y="313"/>
                  <a:pt x="337" y="312"/>
                </a:cubicBezTo>
                <a:cubicBezTo>
                  <a:pt x="335" y="312"/>
                  <a:pt x="332" y="307"/>
                  <a:pt x="329" y="307"/>
                </a:cubicBezTo>
                <a:close/>
                <a:moveTo>
                  <a:pt x="343" y="308"/>
                </a:moveTo>
                <a:cubicBezTo>
                  <a:pt x="341" y="307"/>
                  <a:pt x="341" y="311"/>
                  <a:pt x="341" y="311"/>
                </a:cubicBezTo>
                <a:cubicBezTo>
                  <a:pt x="342" y="311"/>
                  <a:pt x="345" y="309"/>
                  <a:pt x="343" y="308"/>
                </a:cubicBezTo>
                <a:close/>
                <a:moveTo>
                  <a:pt x="340" y="290"/>
                </a:moveTo>
                <a:cubicBezTo>
                  <a:pt x="340" y="286"/>
                  <a:pt x="340" y="286"/>
                  <a:pt x="340" y="286"/>
                </a:cubicBezTo>
                <a:cubicBezTo>
                  <a:pt x="340" y="286"/>
                  <a:pt x="333" y="285"/>
                  <a:pt x="333" y="287"/>
                </a:cubicBezTo>
                <a:cubicBezTo>
                  <a:pt x="333" y="289"/>
                  <a:pt x="336" y="289"/>
                  <a:pt x="336" y="289"/>
                </a:cubicBezTo>
                <a:cubicBezTo>
                  <a:pt x="336" y="292"/>
                  <a:pt x="336" y="292"/>
                  <a:pt x="336" y="292"/>
                </a:cubicBezTo>
                <a:cubicBezTo>
                  <a:pt x="340" y="290"/>
                  <a:pt x="340" y="290"/>
                  <a:pt x="340" y="290"/>
                </a:cubicBezTo>
                <a:cubicBezTo>
                  <a:pt x="340" y="290"/>
                  <a:pt x="340" y="290"/>
                  <a:pt x="340" y="290"/>
                </a:cubicBezTo>
                <a:close/>
                <a:moveTo>
                  <a:pt x="331" y="280"/>
                </a:moveTo>
                <a:cubicBezTo>
                  <a:pt x="331" y="283"/>
                  <a:pt x="334" y="284"/>
                  <a:pt x="334" y="284"/>
                </a:cubicBezTo>
                <a:cubicBezTo>
                  <a:pt x="335" y="280"/>
                  <a:pt x="335" y="280"/>
                  <a:pt x="335" y="280"/>
                </a:cubicBezTo>
                <a:cubicBezTo>
                  <a:pt x="335" y="280"/>
                  <a:pt x="331" y="276"/>
                  <a:pt x="331" y="280"/>
                </a:cubicBezTo>
                <a:close/>
                <a:moveTo>
                  <a:pt x="329" y="256"/>
                </a:moveTo>
                <a:cubicBezTo>
                  <a:pt x="328" y="257"/>
                  <a:pt x="327" y="259"/>
                  <a:pt x="328" y="261"/>
                </a:cubicBezTo>
                <a:cubicBezTo>
                  <a:pt x="329" y="263"/>
                  <a:pt x="329" y="266"/>
                  <a:pt x="329" y="266"/>
                </a:cubicBezTo>
                <a:cubicBezTo>
                  <a:pt x="329" y="266"/>
                  <a:pt x="332" y="265"/>
                  <a:pt x="333" y="263"/>
                </a:cubicBezTo>
                <a:cubicBezTo>
                  <a:pt x="335" y="261"/>
                  <a:pt x="333" y="258"/>
                  <a:pt x="333" y="258"/>
                </a:cubicBezTo>
                <a:cubicBezTo>
                  <a:pt x="333" y="258"/>
                  <a:pt x="335" y="258"/>
                  <a:pt x="337" y="256"/>
                </a:cubicBezTo>
                <a:cubicBezTo>
                  <a:pt x="339" y="254"/>
                  <a:pt x="333" y="250"/>
                  <a:pt x="333" y="250"/>
                </a:cubicBezTo>
                <a:cubicBezTo>
                  <a:pt x="331" y="252"/>
                  <a:pt x="331" y="252"/>
                  <a:pt x="331" y="252"/>
                </a:cubicBezTo>
                <a:cubicBezTo>
                  <a:pt x="331" y="252"/>
                  <a:pt x="332" y="253"/>
                  <a:pt x="333" y="254"/>
                </a:cubicBezTo>
                <a:cubicBezTo>
                  <a:pt x="334" y="254"/>
                  <a:pt x="330" y="256"/>
                  <a:pt x="329" y="256"/>
                </a:cubicBezTo>
                <a:close/>
                <a:moveTo>
                  <a:pt x="342" y="230"/>
                </a:moveTo>
                <a:cubicBezTo>
                  <a:pt x="341" y="232"/>
                  <a:pt x="338" y="235"/>
                  <a:pt x="338" y="235"/>
                </a:cubicBezTo>
                <a:cubicBezTo>
                  <a:pt x="335" y="240"/>
                  <a:pt x="335" y="240"/>
                  <a:pt x="335" y="240"/>
                </a:cubicBezTo>
                <a:cubicBezTo>
                  <a:pt x="335" y="240"/>
                  <a:pt x="340" y="239"/>
                  <a:pt x="342" y="238"/>
                </a:cubicBezTo>
                <a:cubicBezTo>
                  <a:pt x="344" y="236"/>
                  <a:pt x="343" y="234"/>
                  <a:pt x="343" y="234"/>
                </a:cubicBezTo>
                <a:cubicBezTo>
                  <a:pt x="345" y="232"/>
                  <a:pt x="345" y="232"/>
                  <a:pt x="345" y="232"/>
                </a:cubicBezTo>
                <a:cubicBezTo>
                  <a:pt x="345" y="232"/>
                  <a:pt x="344" y="229"/>
                  <a:pt x="342" y="230"/>
                </a:cubicBezTo>
                <a:close/>
                <a:moveTo>
                  <a:pt x="338" y="278"/>
                </a:moveTo>
                <a:cubicBezTo>
                  <a:pt x="336" y="281"/>
                  <a:pt x="336" y="281"/>
                  <a:pt x="336" y="281"/>
                </a:cubicBezTo>
                <a:cubicBezTo>
                  <a:pt x="337" y="284"/>
                  <a:pt x="337" y="284"/>
                  <a:pt x="337" y="284"/>
                </a:cubicBezTo>
                <a:cubicBezTo>
                  <a:pt x="340" y="282"/>
                  <a:pt x="340" y="282"/>
                  <a:pt x="340" y="282"/>
                </a:cubicBezTo>
                <a:cubicBezTo>
                  <a:pt x="338" y="278"/>
                  <a:pt x="338" y="278"/>
                  <a:pt x="338" y="278"/>
                </a:cubicBezTo>
                <a:cubicBezTo>
                  <a:pt x="338" y="278"/>
                  <a:pt x="338" y="278"/>
                  <a:pt x="338" y="278"/>
                </a:cubicBezTo>
                <a:close/>
                <a:moveTo>
                  <a:pt x="896" y="206"/>
                </a:moveTo>
                <a:cubicBezTo>
                  <a:pt x="891" y="206"/>
                  <a:pt x="891" y="206"/>
                  <a:pt x="891" y="206"/>
                </a:cubicBezTo>
                <a:cubicBezTo>
                  <a:pt x="896" y="209"/>
                  <a:pt x="896" y="209"/>
                  <a:pt x="896" y="209"/>
                </a:cubicBezTo>
                <a:cubicBezTo>
                  <a:pt x="900" y="207"/>
                  <a:pt x="896" y="206"/>
                  <a:pt x="896" y="206"/>
                </a:cubicBezTo>
                <a:close/>
                <a:moveTo>
                  <a:pt x="926" y="195"/>
                </a:moveTo>
                <a:cubicBezTo>
                  <a:pt x="926" y="195"/>
                  <a:pt x="922" y="194"/>
                  <a:pt x="921" y="196"/>
                </a:cubicBezTo>
                <a:cubicBezTo>
                  <a:pt x="921" y="196"/>
                  <a:pt x="923" y="199"/>
                  <a:pt x="926" y="197"/>
                </a:cubicBezTo>
                <a:cubicBezTo>
                  <a:pt x="928" y="196"/>
                  <a:pt x="926" y="195"/>
                  <a:pt x="926" y="195"/>
                </a:cubicBezTo>
                <a:close/>
                <a:moveTo>
                  <a:pt x="311" y="293"/>
                </a:moveTo>
                <a:cubicBezTo>
                  <a:pt x="311" y="293"/>
                  <a:pt x="310" y="295"/>
                  <a:pt x="313" y="295"/>
                </a:cubicBezTo>
                <a:cubicBezTo>
                  <a:pt x="316" y="295"/>
                  <a:pt x="313" y="291"/>
                  <a:pt x="313" y="290"/>
                </a:cubicBezTo>
                <a:cubicBezTo>
                  <a:pt x="312" y="288"/>
                  <a:pt x="314" y="287"/>
                  <a:pt x="315" y="287"/>
                </a:cubicBezTo>
                <a:cubicBezTo>
                  <a:pt x="316" y="286"/>
                  <a:pt x="318" y="284"/>
                  <a:pt x="317" y="283"/>
                </a:cubicBezTo>
                <a:cubicBezTo>
                  <a:pt x="317" y="283"/>
                  <a:pt x="317" y="281"/>
                  <a:pt x="318" y="280"/>
                </a:cubicBezTo>
                <a:cubicBezTo>
                  <a:pt x="319" y="279"/>
                  <a:pt x="322" y="276"/>
                  <a:pt x="323" y="275"/>
                </a:cubicBezTo>
                <a:cubicBezTo>
                  <a:pt x="325" y="274"/>
                  <a:pt x="328" y="273"/>
                  <a:pt x="327" y="273"/>
                </a:cubicBezTo>
                <a:cubicBezTo>
                  <a:pt x="326" y="273"/>
                  <a:pt x="323" y="274"/>
                  <a:pt x="322" y="274"/>
                </a:cubicBezTo>
                <a:cubicBezTo>
                  <a:pt x="321" y="275"/>
                  <a:pt x="319" y="278"/>
                  <a:pt x="317" y="278"/>
                </a:cubicBezTo>
                <a:cubicBezTo>
                  <a:pt x="315" y="278"/>
                  <a:pt x="315" y="276"/>
                  <a:pt x="317" y="276"/>
                </a:cubicBezTo>
                <a:cubicBezTo>
                  <a:pt x="319" y="276"/>
                  <a:pt x="323" y="274"/>
                  <a:pt x="320" y="274"/>
                </a:cubicBezTo>
                <a:cubicBezTo>
                  <a:pt x="317" y="274"/>
                  <a:pt x="317" y="275"/>
                  <a:pt x="317" y="275"/>
                </a:cubicBezTo>
                <a:cubicBezTo>
                  <a:pt x="317" y="275"/>
                  <a:pt x="317" y="272"/>
                  <a:pt x="315" y="273"/>
                </a:cubicBezTo>
                <a:cubicBezTo>
                  <a:pt x="313" y="273"/>
                  <a:pt x="312" y="276"/>
                  <a:pt x="312" y="276"/>
                </a:cubicBezTo>
                <a:cubicBezTo>
                  <a:pt x="311" y="280"/>
                  <a:pt x="311" y="280"/>
                  <a:pt x="311" y="280"/>
                </a:cubicBezTo>
                <a:cubicBezTo>
                  <a:pt x="311" y="280"/>
                  <a:pt x="310" y="282"/>
                  <a:pt x="311" y="283"/>
                </a:cubicBezTo>
                <a:cubicBezTo>
                  <a:pt x="311" y="283"/>
                  <a:pt x="312" y="285"/>
                  <a:pt x="312" y="285"/>
                </a:cubicBezTo>
                <a:cubicBezTo>
                  <a:pt x="310" y="285"/>
                  <a:pt x="310" y="285"/>
                  <a:pt x="310" y="285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311" y="293"/>
                  <a:pt x="311" y="293"/>
                  <a:pt x="311" y="293"/>
                </a:cubicBezTo>
                <a:close/>
                <a:moveTo>
                  <a:pt x="833" y="176"/>
                </a:moveTo>
                <a:cubicBezTo>
                  <a:pt x="828" y="179"/>
                  <a:pt x="835" y="180"/>
                  <a:pt x="835" y="180"/>
                </a:cubicBezTo>
                <a:cubicBezTo>
                  <a:pt x="840" y="178"/>
                  <a:pt x="838" y="174"/>
                  <a:pt x="833" y="176"/>
                </a:cubicBezTo>
                <a:close/>
                <a:moveTo>
                  <a:pt x="774" y="253"/>
                </a:moveTo>
                <a:cubicBezTo>
                  <a:pt x="780" y="253"/>
                  <a:pt x="783" y="248"/>
                  <a:pt x="776" y="248"/>
                </a:cubicBezTo>
                <a:cubicBezTo>
                  <a:pt x="769" y="248"/>
                  <a:pt x="774" y="253"/>
                  <a:pt x="774" y="253"/>
                </a:cubicBezTo>
                <a:close/>
                <a:moveTo>
                  <a:pt x="811" y="188"/>
                </a:moveTo>
                <a:cubicBezTo>
                  <a:pt x="802" y="191"/>
                  <a:pt x="811" y="194"/>
                  <a:pt x="811" y="194"/>
                </a:cubicBezTo>
                <a:cubicBezTo>
                  <a:pt x="815" y="190"/>
                  <a:pt x="819" y="185"/>
                  <a:pt x="811" y="188"/>
                </a:cubicBezTo>
                <a:close/>
                <a:moveTo>
                  <a:pt x="824" y="175"/>
                </a:moveTo>
                <a:cubicBezTo>
                  <a:pt x="824" y="175"/>
                  <a:pt x="819" y="175"/>
                  <a:pt x="817" y="173"/>
                </a:cubicBezTo>
                <a:cubicBezTo>
                  <a:pt x="815" y="171"/>
                  <a:pt x="816" y="167"/>
                  <a:pt x="816" y="167"/>
                </a:cubicBezTo>
                <a:cubicBezTo>
                  <a:pt x="812" y="164"/>
                  <a:pt x="812" y="164"/>
                  <a:pt x="812" y="164"/>
                </a:cubicBezTo>
                <a:cubicBezTo>
                  <a:pt x="806" y="164"/>
                  <a:pt x="806" y="164"/>
                  <a:pt x="806" y="164"/>
                </a:cubicBezTo>
                <a:cubicBezTo>
                  <a:pt x="805" y="162"/>
                  <a:pt x="805" y="162"/>
                  <a:pt x="805" y="162"/>
                </a:cubicBezTo>
                <a:cubicBezTo>
                  <a:pt x="802" y="158"/>
                  <a:pt x="802" y="158"/>
                  <a:pt x="802" y="158"/>
                </a:cubicBezTo>
                <a:cubicBezTo>
                  <a:pt x="798" y="159"/>
                  <a:pt x="798" y="159"/>
                  <a:pt x="798" y="159"/>
                </a:cubicBezTo>
                <a:cubicBezTo>
                  <a:pt x="795" y="157"/>
                  <a:pt x="795" y="157"/>
                  <a:pt x="795" y="157"/>
                </a:cubicBezTo>
                <a:cubicBezTo>
                  <a:pt x="797" y="155"/>
                  <a:pt x="797" y="155"/>
                  <a:pt x="797" y="155"/>
                </a:cubicBezTo>
                <a:cubicBezTo>
                  <a:pt x="797" y="151"/>
                  <a:pt x="797" y="151"/>
                  <a:pt x="797" y="151"/>
                </a:cubicBezTo>
                <a:cubicBezTo>
                  <a:pt x="790" y="155"/>
                  <a:pt x="790" y="155"/>
                  <a:pt x="790" y="155"/>
                </a:cubicBezTo>
                <a:cubicBezTo>
                  <a:pt x="786" y="157"/>
                  <a:pt x="786" y="157"/>
                  <a:pt x="786" y="157"/>
                </a:cubicBezTo>
                <a:cubicBezTo>
                  <a:pt x="782" y="163"/>
                  <a:pt x="782" y="163"/>
                  <a:pt x="782" y="163"/>
                </a:cubicBezTo>
                <a:cubicBezTo>
                  <a:pt x="782" y="163"/>
                  <a:pt x="776" y="164"/>
                  <a:pt x="775" y="165"/>
                </a:cubicBezTo>
                <a:cubicBezTo>
                  <a:pt x="775" y="167"/>
                  <a:pt x="777" y="168"/>
                  <a:pt x="775" y="169"/>
                </a:cubicBezTo>
                <a:cubicBezTo>
                  <a:pt x="773" y="170"/>
                  <a:pt x="767" y="172"/>
                  <a:pt x="767" y="172"/>
                </a:cubicBezTo>
                <a:cubicBezTo>
                  <a:pt x="771" y="173"/>
                  <a:pt x="771" y="173"/>
                  <a:pt x="771" y="173"/>
                </a:cubicBezTo>
                <a:cubicBezTo>
                  <a:pt x="771" y="173"/>
                  <a:pt x="777" y="172"/>
                  <a:pt x="777" y="173"/>
                </a:cubicBezTo>
                <a:cubicBezTo>
                  <a:pt x="777" y="174"/>
                  <a:pt x="776" y="175"/>
                  <a:pt x="776" y="177"/>
                </a:cubicBezTo>
                <a:cubicBezTo>
                  <a:pt x="776" y="179"/>
                  <a:pt x="785" y="180"/>
                  <a:pt x="789" y="178"/>
                </a:cubicBezTo>
                <a:cubicBezTo>
                  <a:pt x="793" y="176"/>
                  <a:pt x="790" y="172"/>
                  <a:pt x="796" y="172"/>
                </a:cubicBezTo>
                <a:cubicBezTo>
                  <a:pt x="802" y="172"/>
                  <a:pt x="803" y="174"/>
                  <a:pt x="803" y="174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10" y="177"/>
                  <a:pt x="810" y="177"/>
                  <a:pt x="810" y="177"/>
                </a:cubicBezTo>
                <a:cubicBezTo>
                  <a:pt x="823" y="178"/>
                  <a:pt x="823" y="178"/>
                  <a:pt x="823" y="178"/>
                </a:cubicBezTo>
                <a:cubicBezTo>
                  <a:pt x="824" y="175"/>
                  <a:pt x="824" y="175"/>
                  <a:pt x="824" y="175"/>
                </a:cubicBezTo>
                <a:cubicBezTo>
                  <a:pt x="824" y="175"/>
                  <a:pt x="824" y="175"/>
                  <a:pt x="824" y="175"/>
                </a:cubicBezTo>
                <a:close/>
                <a:moveTo>
                  <a:pt x="788" y="185"/>
                </a:moveTo>
                <a:cubicBezTo>
                  <a:pt x="777" y="196"/>
                  <a:pt x="795" y="188"/>
                  <a:pt x="795" y="188"/>
                </a:cubicBezTo>
                <a:cubicBezTo>
                  <a:pt x="805" y="179"/>
                  <a:pt x="799" y="175"/>
                  <a:pt x="788" y="185"/>
                </a:cubicBezTo>
                <a:close/>
                <a:moveTo>
                  <a:pt x="887" y="183"/>
                </a:moveTo>
                <a:cubicBezTo>
                  <a:pt x="885" y="183"/>
                  <a:pt x="885" y="187"/>
                  <a:pt x="888" y="187"/>
                </a:cubicBezTo>
                <a:cubicBezTo>
                  <a:pt x="893" y="187"/>
                  <a:pt x="890" y="183"/>
                  <a:pt x="887" y="183"/>
                </a:cubicBezTo>
                <a:close/>
                <a:moveTo>
                  <a:pt x="344" y="260"/>
                </a:moveTo>
                <a:cubicBezTo>
                  <a:pt x="346" y="257"/>
                  <a:pt x="342" y="254"/>
                  <a:pt x="340" y="256"/>
                </a:cubicBezTo>
                <a:cubicBezTo>
                  <a:pt x="338" y="258"/>
                  <a:pt x="337" y="264"/>
                  <a:pt x="337" y="264"/>
                </a:cubicBezTo>
                <a:cubicBezTo>
                  <a:pt x="337" y="264"/>
                  <a:pt x="340" y="262"/>
                  <a:pt x="341" y="262"/>
                </a:cubicBezTo>
                <a:cubicBezTo>
                  <a:pt x="342" y="262"/>
                  <a:pt x="343" y="262"/>
                  <a:pt x="344" y="260"/>
                </a:cubicBezTo>
                <a:close/>
                <a:moveTo>
                  <a:pt x="343" y="243"/>
                </a:moveTo>
                <a:cubicBezTo>
                  <a:pt x="339" y="242"/>
                  <a:pt x="339" y="242"/>
                  <a:pt x="339" y="242"/>
                </a:cubicBezTo>
                <a:cubicBezTo>
                  <a:pt x="339" y="242"/>
                  <a:pt x="334" y="246"/>
                  <a:pt x="334" y="248"/>
                </a:cubicBezTo>
                <a:cubicBezTo>
                  <a:pt x="336" y="251"/>
                  <a:pt x="340" y="246"/>
                  <a:pt x="340" y="246"/>
                </a:cubicBezTo>
                <a:cubicBezTo>
                  <a:pt x="343" y="245"/>
                  <a:pt x="343" y="245"/>
                  <a:pt x="343" y="245"/>
                </a:cubicBezTo>
                <a:cubicBezTo>
                  <a:pt x="343" y="243"/>
                  <a:pt x="343" y="243"/>
                  <a:pt x="343" y="243"/>
                </a:cubicBezTo>
                <a:cubicBezTo>
                  <a:pt x="343" y="243"/>
                  <a:pt x="343" y="243"/>
                  <a:pt x="343" y="243"/>
                </a:cubicBezTo>
                <a:close/>
                <a:moveTo>
                  <a:pt x="325" y="266"/>
                </a:moveTo>
                <a:cubicBezTo>
                  <a:pt x="326" y="261"/>
                  <a:pt x="326" y="261"/>
                  <a:pt x="326" y="261"/>
                </a:cubicBezTo>
                <a:cubicBezTo>
                  <a:pt x="324" y="262"/>
                  <a:pt x="324" y="262"/>
                  <a:pt x="324" y="262"/>
                </a:cubicBezTo>
                <a:cubicBezTo>
                  <a:pt x="323" y="266"/>
                  <a:pt x="323" y="266"/>
                  <a:pt x="323" y="266"/>
                </a:cubicBezTo>
                <a:cubicBezTo>
                  <a:pt x="325" y="266"/>
                  <a:pt x="325" y="266"/>
                  <a:pt x="325" y="266"/>
                </a:cubicBezTo>
                <a:cubicBezTo>
                  <a:pt x="325" y="266"/>
                  <a:pt x="325" y="266"/>
                  <a:pt x="325" y="266"/>
                </a:cubicBezTo>
                <a:close/>
                <a:moveTo>
                  <a:pt x="326" y="240"/>
                </a:moveTo>
                <a:cubicBezTo>
                  <a:pt x="326" y="242"/>
                  <a:pt x="324" y="244"/>
                  <a:pt x="324" y="244"/>
                </a:cubicBezTo>
                <a:cubicBezTo>
                  <a:pt x="324" y="246"/>
                  <a:pt x="324" y="246"/>
                  <a:pt x="324" y="246"/>
                </a:cubicBezTo>
                <a:cubicBezTo>
                  <a:pt x="324" y="246"/>
                  <a:pt x="322" y="247"/>
                  <a:pt x="322" y="249"/>
                </a:cubicBezTo>
                <a:cubicBezTo>
                  <a:pt x="322" y="250"/>
                  <a:pt x="323" y="251"/>
                  <a:pt x="323" y="251"/>
                </a:cubicBezTo>
                <a:cubicBezTo>
                  <a:pt x="323" y="251"/>
                  <a:pt x="326" y="247"/>
                  <a:pt x="330" y="244"/>
                </a:cubicBezTo>
                <a:cubicBezTo>
                  <a:pt x="333" y="241"/>
                  <a:pt x="333" y="238"/>
                  <a:pt x="331" y="238"/>
                </a:cubicBezTo>
                <a:cubicBezTo>
                  <a:pt x="330" y="237"/>
                  <a:pt x="326" y="239"/>
                  <a:pt x="326" y="240"/>
                </a:cubicBezTo>
                <a:close/>
                <a:moveTo>
                  <a:pt x="927" y="892"/>
                </a:moveTo>
                <a:cubicBezTo>
                  <a:pt x="928" y="886"/>
                  <a:pt x="928" y="886"/>
                  <a:pt x="928" y="886"/>
                </a:cubicBezTo>
                <a:cubicBezTo>
                  <a:pt x="928" y="886"/>
                  <a:pt x="930" y="883"/>
                  <a:pt x="930" y="880"/>
                </a:cubicBezTo>
                <a:cubicBezTo>
                  <a:pt x="930" y="878"/>
                  <a:pt x="925" y="879"/>
                  <a:pt x="923" y="879"/>
                </a:cubicBezTo>
                <a:cubicBezTo>
                  <a:pt x="923" y="879"/>
                  <a:pt x="920" y="881"/>
                  <a:pt x="918" y="880"/>
                </a:cubicBezTo>
                <a:cubicBezTo>
                  <a:pt x="917" y="880"/>
                  <a:pt x="911" y="879"/>
                  <a:pt x="909" y="879"/>
                </a:cubicBezTo>
                <a:cubicBezTo>
                  <a:pt x="907" y="880"/>
                  <a:pt x="909" y="884"/>
                  <a:pt x="909" y="884"/>
                </a:cubicBezTo>
                <a:cubicBezTo>
                  <a:pt x="907" y="885"/>
                  <a:pt x="907" y="885"/>
                  <a:pt x="907" y="885"/>
                </a:cubicBezTo>
                <a:cubicBezTo>
                  <a:pt x="907" y="888"/>
                  <a:pt x="907" y="888"/>
                  <a:pt x="907" y="888"/>
                </a:cubicBezTo>
                <a:cubicBezTo>
                  <a:pt x="910" y="889"/>
                  <a:pt x="910" y="889"/>
                  <a:pt x="910" y="889"/>
                </a:cubicBezTo>
                <a:cubicBezTo>
                  <a:pt x="908" y="891"/>
                  <a:pt x="908" y="891"/>
                  <a:pt x="908" y="891"/>
                </a:cubicBezTo>
                <a:cubicBezTo>
                  <a:pt x="908" y="891"/>
                  <a:pt x="908" y="894"/>
                  <a:pt x="910" y="897"/>
                </a:cubicBezTo>
                <a:cubicBezTo>
                  <a:pt x="911" y="899"/>
                  <a:pt x="915" y="897"/>
                  <a:pt x="917" y="897"/>
                </a:cubicBezTo>
                <a:cubicBezTo>
                  <a:pt x="918" y="897"/>
                  <a:pt x="918" y="896"/>
                  <a:pt x="918" y="896"/>
                </a:cubicBezTo>
                <a:cubicBezTo>
                  <a:pt x="918" y="896"/>
                  <a:pt x="921" y="895"/>
                  <a:pt x="923" y="895"/>
                </a:cubicBezTo>
                <a:cubicBezTo>
                  <a:pt x="925" y="895"/>
                  <a:pt x="927" y="892"/>
                  <a:pt x="927" y="892"/>
                </a:cubicBezTo>
                <a:close/>
                <a:moveTo>
                  <a:pt x="906" y="877"/>
                </a:moveTo>
                <a:cubicBezTo>
                  <a:pt x="903" y="880"/>
                  <a:pt x="903" y="880"/>
                  <a:pt x="903" y="880"/>
                </a:cubicBezTo>
                <a:cubicBezTo>
                  <a:pt x="905" y="881"/>
                  <a:pt x="905" y="881"/>
                  <a:pt x="905" y="881"/>
                </a:cubicBezTo>
                <a:cubicBezTo>
                  <a:pt x="908" y="878"/>
                  <a:pt x="908" y="878"/>
                  <a:pt x="908" y="878"/>
                </a:cubicBezTo>
                <a:cubicBezTo>
                  <a:pt x="906" y="877"/>
                  <a:pt x="906" y="877"/>
                  <a:pt x="906" y="877"/>
                </a:cubicBezTo>
                <a:cubicBezTo>
                  <a:pt x="906" y="877"/>
                  <a:pt x="906" y="877"/>
                  <a:pt x="906" y="877"/>
                </a:cubicBezTo>
                <a:close/>
                <a:moveTo>
                  <a:pt x="914" y="874"/>
                </a:moveTo>
                <a:cubicBezTo>
                  <a:pt x="911" y="875"/>
                  <a:pt x="911" y="875"/>
                  <a:pt x="911" y="875"/>
                </a:cubicBezTo>
                <a:cubicBezTo>
                  <a:pt x="911" y="877"/>
                  <a:pt x="911" y="877"/>
                  <a:pt x="911" y="877"/>
                </a:cubicBezTo>
                <a:cubicBezTo>
                  <a:pt x="915" y="877"/>
                  <a:pt x="915" y="877"/>
                  <a:pt x="915" y="877"/>
                </a:cubicBezTo>
                <a:cubicBezTo>
                  <a:pt x="918" y="874"/>
                  <a:pt x="918" y="874"/>
                  <a:pt x="918" y="874"/>
                </a:cubicBezTo>
                <a:cubicBezTo>
                  <a:pt x="916" y="871"/>
                  <a:pt x="916" y="871"/>
                  <a:pt x="916" y="871"/>
                </a:cubicBezTo>
                <a:cubicBezTo>
                  <a:pt x="914" y="874"/>
                  <a:pt x="914" y="874"/>
                  <a:pt x="914" y="874"/>
                </a:cubicBezTo>
                <a:cubicBezTo>
                  <a:pt x="914" y="874"/>
                  <a:pt x="914" y="874"/>
                  <a:pt x="914" y="874"/>
                </a:cubicBezTo>
                <a:close/>
                <a:moveTo>
                  <a:pt x="921" y="878"/>
                </a:moveTo>
                <a:cubicBezTo>
                  <a:pt x="918" y="875"/>
                  <a:pt x="918" y="875"/>
                  <a:pt x="918" y="875"/>
                </a:cubicBezTo>
                <a:cubicBezTo>
                  <a:pt x="915" y="879"/>
                  <a:pt x="915" y="879"/>
                  <a:pt x="915" y="879"/>
                </a:cubicBezTo>
                <a:cubicBezTo>
                  <a:pt x="918" y="879"/>
                  <a:pt x="918" y="879"/>
                  <a:pt x="918" y="879"/>
                </a:cubicBezTo>
                <a:cubicBezTo>
                  <a:pt x="921" y="878"/>
                  <a:pt x="921" y="878"/>
                  <a:pt x="921" y="878"/>
                </a:cubicBezTo>
                <a:cubicBezTo>
                  <a:pt x="921" y="878"/>
                  <a:pt x="921" y="878"/>
                  <a:pt x="921" y="878"/>
                </a:cubicBezTo>
                <a:close/>
                <a:moveTo>
                  <a:pt x="787" y="1453"/>
                </a:moveTo>
                <a:cubicBezTo>
                  <a:pt x="788" y="1449"/>
                  <a:pt x="788" y="1449"/>
                  <a:pt x="788" y="1449"/>
                </a:cubicBezTo>
                <a:cubicBezTo>
                  <a:pt x="787" y="1444"/>
                  <a:pt x="787" y="1444"/>
                  <a:pt x="787" y="1444"/>
                </a:cubicBezTo>
                <a:cubicBezTo>
                  <a:pt x="785" y="1443"/>
                  <a:pt x="785" y="1443"/>
                  <a:pt x="785" y="1443"/>
                </a:cubicBezTo>
                <a:cubicBezTo>
                  <a:pt x="785" y="1445"/>
                  <a:pt x="785" y="1445"/>
                  <a:pt x="785" y="1445"/>
                </a:cubicBezTo>
                <a:cubicBezTo>
                  <a:pt x="780" y="1445"/>
                  <a:pt x="780" y="1445"/>
                  <a:pt x="780" y="1445"/>
                </a:cubicBezTo>
                <a:cubicBezTo>
                  <a:pt x="784" y="1449"/>
                  <a:pt x="784" y="1449"/>
                  <a:pt x="784" y="1449"/>
                </a:cubicBezTo>
                <a:cubicBezTo>
                  <a:pt x="783" y="1455"/>
                  <a:pt x="783" y="1455"/>
                  <a:pt x="783" y="1455"/>
                </a:cubicBezTo>
                <a:cubicBezTo>
                  <a:pt x="787" y="1453"/>
                  <a:pt x="787" y="1453"/>
                  <a:pt x="787" y="1453"/>
                </a:cubicBezTo>
                <a:cubicBezTo>
                  <a:pt x="787" y="1453"/>
                  <a:pt x="787" y="1453"/>
                  <a:pt x="787" y="1453"/>
                </a:cubicBezTo>
                <a:close/>
                <a:moveTo>
                  <a:pt x="857" y="1493"/>
                </a:moveTo>
                <a:cubicBezTo>
                  <a:pt x="859" y="1492"/>
                  <a:pt x="859" y="1492"/>
                  <a:pt x="859" y="1492"/>
                </a:cubicBezTo>
                <a:cubicBezTo>
                  <a:pt x="853" y="1491"/>
                  <a:pt x="853" y="1491"/>
                  <a:pt x="853" y="1491"/>
                </a:cubicBezTo>
                <a:cubicBezTo>
                  <a:pt x="848" y="1491"/>
                  <a:pt x="848" y="1491"/>
                  <a:pt x="848" y="1491"/>
                </a:cubicBezTo>
                <a:cubicBezTo>
                  <a:pt x="850" y="1496"/>
                  <a:pt x="850" y="1496"/>
                  <a:pt x="850" y="1496"/>
                </a:cubicBezTo>
                <a:cubicBezTo>
                  <a:pt x="855" y="1496"/>
                  <a:pt x="855" y="1496"/>
                  <a:pt x="855" y="1496"/>
                </a:cubicBezTo>
                <a:cubicBezTo>
                  <a:pt x="853" y="1494"/>
                  <a:pt x="853" y="1494"/>
                  <a:pt x="853" y="1494"/>
                </a:cubicBezTo>
                <a:cubicBezTo>
                  <a:pt x="855" y="1494"/>
                  <a:pt x="855" y="1494"/>
                  <a:pt x="855" y="1494"/>
                </a:cubicBezTo>
                <a:cubicBezTo>
                  <a:pt x="856" y="1496"/>
                  <a:pt x="856" y="1496"/>
                  <a:pt x="856" y="1496"/>
                </a:cubicBezTo>
                <a:cubicBezTo>
                  <a:pt x="863" y="1496"/>
                  <a:pt x="863" y="1496"/>
                  <a:pt x="863" y="1496"/>
                </a:cubicBezTo>
                <a:cubicBezTo>
                  <a:pt x="865" y="1498"/>
                  <a:pt x="865" y="1498"/>
                  <a:pt x="865" y="1498"/>
                </a:cubicBezTo>
                <a:cubicBezTo>
                  <a:pt x="867" y="1498"/>
                  <a:pt x="867" y="1498"/>
                  <a:pt x="867" y="1498"/>
                </a:cubicBezTo>
                <a:cubicBezTo>
                  <a:pt x="863" y="1494"/>
                  <a:pt x="863" y="1494"/>
                  <a:pt x="863" y="1494"/>
                </a:cubicBezTo>
                <a:cubicBezTo>
                  <a:pt x="857" y="1493"/>
                  <a:pt x="857" y="1493"/>
                  <a:pt x="857" y="1493"/>
                </a:cubicBezTo>
                <a:cubicBezTo>
                  <a:pt x="857" y="1493"/>
                  <a:pt x="857" y="1493"/>
                  <a:pt x="857" y="1493"/>
                </a:cubicBezTo>
                <a:close/>
                <a:moveTo>
                  <a:pt x="809" y="1462"/>
                </a:moveTo>
                <a:cubicBezTo>
                  <a:pt x="809" y="1462"/>
                  <a:pt x="804" y="1459"/>
                  <a:pt x="803" y="1462"/>
                </a:cubicBezTo>
                <a:cubicBezTo>
                  <a:pt x="802" y="1464"/>
                  <a:pt x="802" y="1467"/>
                  <a:pt x="802" y="1467"/>
                </a:cubicBezTo>
                <a:cubicBezTo>
                  <a:pt x="803" y="1467"/>
                  <a:pt x="807" y="1466"/>
                  <a:pt x="807" y="1466"/>
                </a:cubicBezTo>
                <a:cubicBezTo>
                  <a:pt x="807" y="1469"/>
                  <a:pt x="807" y="1469"/>
                  <a:pt x="807" y="1469"/>
                </a:cubicBezTo>
                <a:cubicBezTo>
                  <a:pt x="812" y="1467"/>
                  <a:pt x="812" y="1467"/>
                  <a:pt x="812" y="1467"/>
                </a:cubicBezTo>
                <a:cubicBezTo>
                  <a:pt x="809" y="1465"/>
                  <a:pt x="809" y="1465"/>
                  <a:pt x="809" y="1465"/>
                </a:cubicBezTo>
                <a:cubicBezTo>
                  <a:pt x="810" y="1462"/>
                  <a:pt x="810" y="1462"/>
                  <a:pt x="810" y="1462"/>
                </a:cubicBezTo>
                <a:cubicBezTo>
                  <a:pt x="809" y="1462"/>
                  <a:pt x="809" y="1462"/>
                  <a:pt x="809" y="1462"/>
                </a:cubicBezTo>
                <a:cubicBezTo>
                  <a:pt x="809" y="1462"/>
                  <a:pt x="809" y="1462"/>
                  <a:pt x="809" y="1462"/>
                </a:cubicBezTo>
                <a:close/>
                <a:moveTo>
                  <a:pt x="836" y="1478"/>
                </a:moveTo>
                <a:cubicBezTo>
                  <a:pt x="834" y="1480"/>
                  <a:pt x="834" y="1480"/>
                  <a:pt x="834" y="1480"/>
                </a:cubicBezTo>
                <a:cubicBezTo>
                  <a:pt x="835" y="1484"/>
                  <a:pt x="835" y="1484"/>
                  <a:pt x="835" y="1484"/>
                </a:cubicBezTo>
                <a:cubicBezTo>
                  <a:pt x="838" y="1483"/>
                  <a:pt x="838" y="1483"/>
                  <a:pt x="838" y="1483"/>
                </a:cubicBezTo>
                <a:cubicBezTo>
                  <a:pt x="836" y="1478"/>
                  <a:pt x="836" y="1478"/>
                  <a:pt x="836" y="1478"/>
                </a:cubicBezTo>
                <a:cubicBezTo>
                  <a:pt x="836" y="1478"/>
                  <a:pt x="836" y="1478"/>
                  <a:pt x="836" y="1478"/>
                </a:cubicBezTo>
                <a:close/>
                <a:moveTo>
                  <a:pt x="836" y="1487"/>
                </a:moveTo>
                <a:cubicBezTo>
                  <a:pt x="827" y="1486"/>
                  <a:pt x="827" y="1486"/>
                  <a:pt x="827" y="1486"/>
                </a:cubicBezTo>
                <a:cubicBezTo>
                  <a:pt x="828" y="1488"/>
                  <a:pt x="828" y="1488"/>
                  <a:pt x="828" y="1488"/>
                </a:cubicBezTo>
                <a:cubicBezTo>
                  <a:pt x="834" y="1488"/>
                  <a:pt x="834" y="1488"/>
                  <a:pt x="834" y="1488"/>
                </a:cubicBezTo>
                <a:cubicBezTo>
                  <a:pt x="836" y="1491"/>
                  <a:pt x="836" y="1491"/>
                  <a:pt x="836" y="1491"/>
                </a:cubicBezTo>
                <a:cubicBezTo>
                  <a:pt x="844" y="1494"/>
                  <a:pt x="844" y="1494"/>
                  <a:pt x="844" y="1494"/>
                </a:cubicBezTo>
                <a:cubicBezTo>
                  <a:pt x="839" y="1490"/>
                  <a:pt x="839" y="1490"/>
                  <a:pt x="839" y="1490"/>
                </a:cubicBezTo>
                <a:cubicBezTo>
                  <a:pt x="836" y="1487"/>
                  <a:pt x="836" y="1487"/>
                  <a:pt x="836" y="1487"/>
                </a:cubicBezTo>
                <a:cubicBezTo>
                  <a:pt x="836" y="1487"/>
                  <a:pt x="836" y="1487"/>
                  <a:pt x="836" y="1487"/>
                </a:cubicBezTo>
                <a:close/>
                <a:moveTo>
                  <a:pt x="832" y="1484"/>
                </a:moveTo>
                <a:cubicBezTo>
                  <a:pt x="831" y="1481"/>
                  <a:pt x="831" y="1481"/>
                  <a:pt x="831" y="1481"/>
                </a:cubicBezTo>
                <a:cubicBezTo>
                  <a:pt x="824" y="1480"/>
                  <a:pt x="824" y="1480"/>
                  <a:pt x="824" y="1480"/>
                </a:cubicBezTo>
                <a:cubicBezTo>
                  <a:pt x="822" y="1482"/>
                  <a:pt x="822" y="1482"/>
                  <a:pt x="822" y="1482"/>
                </a:cubicBezTo>
                <a:cubicBezTo>
                  <a:pt x="823" y="1485"/>
                  <a:pt x="823" y="1485"/>
                  <a:pt x="823" y="1485"/>
                </a:cubicBezTo>
                <a:cubicBezTo>
                  <a:pt x="827" y="1483"/>
                  <a:pt x="827" y="1483"/>
                  <a:pt x="827" y="1483"/>
                </a:cubicBezTo>
                <a:cubicBezTo>
                  <a:pt x="832" y="1484"/>
                  <a:pt x="832" y="1484"/>
                  <a:pt x="832" y="1484"/>
                </a:cubicBezTo>
                <a:cubicBezTo>
                  <a:pt x="832" y="1484"/>
                  <a:pt x="832" y="1484"/>
                  <a:pt x="832" y="1484"/>
                </a:cubicBezTo>
                <a:close/>
                <a:moveTo>
                  <a:pt x="855" y="1473"/>
                </a:moveTo>
                <a:cubicBezTo>
                  <a:pt x="850" y="1473"/>
                  <a:pt x="850" y="1473"/>
                  <a:pt x="850" y="1473"/>
                </a:cubicBezTo>
                <a:cubicBezTo>
                  <a:pt x="851" y="1471"/>
                  <a:pt x="851" y="1471"/>
                  <a:pt x="851" y="1471"/>
                </a:cubicBezTo>
                <a:cubicBezTo>
                  <a:pt x="845" y="1465"/>
                  <a:pt x="845" y="1465"/>
                  <a:pt x="845" y="1465"/>
                </a:cubicBezTo>
                <a:cubicBezTo>
                  <a:pt x="841" y="1467"/>
                  <a:pt x="841" y="1467"/>
                  <a:pt x="841" y="1467"/>
                </a:cubicBezTo>
                <a:cubicBezTo>
                  <a:pt x="839" y="1465"/>
                  <a:pt x="839" y="1465"/>
                  <a:pt x="839" y="1465"/>
                </a:cubicBezTo>
                <a:cubicBezTo>
                  <a:pt x="837" y="1468"/>
                  <a:pt x="837" y="1468"/>
                  <a:pt x="837" y="1468"/>
                </a:cubicBezTo>
                <a:cubicBezTo>
                  <a:pt x="835" y="1468"/>
                  <a:pt x="835" y="1468"/>
                  <a:pt x="835" y="1468"/>
                </a:cubicBezTo>
                <a:cubicBezTo>
                  <a:pt x="835" y="1471"/>
                  <a:pt x="835" y="1471"/>
                  <a:pt x="835" y="1471"/>
                </a:cubicBezTo>
                <a:cubicBezTo>
                  <a:pt x="833" y="1471"/>
                  <a:pt x="833" y="1471"/>
                  <a:pt x="833" y="1471"/>
                </a:cubicBezTo>
                <a:cubicBezTo>
                  <a:pt x="833" y="1475"/>
                  <a:pt x="833" y="1475"/>
                  <a:pt x="833" y="1475"/>
                </a:cubicBezTo>
                <a:cubicBezTo>
                  <a:pt x="836" y="1477"/>
                  <a:pt x="840" y="1473"/>
                  <a:pt x="840" y="1473"/>
                </a:cubicBezTo>
                <a:cubicBezTo>
                  <a:pt x="844" y="1474"/>
                  <a:pt x="844" y="1474"/>
                  <a:pt x="844" y="1474"/>
                </a:cubicBezTo>
                <a:cubicBezTo>
                  <a:pt x="844" y="1477"/>
                  <a:pt x="844" y="1477"/>
                  <a:pt x="844" y="1477"/>
                </a:cubicBezTo>
                <a:cubicBezTo>
                  <a:pt x="844" y="1477"/>
                  <a:pt x="837" y="1480"/>
                  <a:pt x="839" y="1481"/>
                </a:cubicBezTo>
                <a:cubicBezTo>
                  <a:pt x="841" y="1481"/>
                  <a:pt x="853" y="1485"/>
                  <a:pt x="853" y="1485"/>
                </a:cubicBezTo>
                <a:cubicBezTo>
                  <a:pt x="850" y="1488"/>
                  <a:pt x="850" y="1488"/>
                  <a:pt x="850" y="1488"/>
                </a:cubicBezTo>
                <a:cubicBezTo>
                  <a:pt x="850" y="1488"/>
                  <a:pt x="850" y="1485"/>
                  <a:pt x="848" y="1485"/>
                </a:cubicBezTo>
                <a:cubicBezTo>
                  <a:pt x="846" y="1485"/>
                  <a:pt x="845" y="1487"/>
                  <a:pt x="845" y="1487"/>
                </a:cubicBezTo>
                <a:cubicBezTo>
                  <a:pt x="843" y="1484"/>
                  <a:pt x="843" y="1484"/>
                  <a:pt x="843" y="1484"/>
                </a:cubicBezTo>
                <a:cubicBezTo>
                  <a:pt x="840" y="1485"/>
                  <a:pt x="840" y="1485"/>
                  <a:pt x="840" y="1485"/>
                </a:cubicBezTo>
                <a:cubicBezTo>
                  <a:pt x="842" y="1486"/>
                  <a:pt x="842" y="1486"/>
                  <a:pt x="842" y="1486"/>
                </a:cubicBezTo>
                <a:cubicBezTo>
                  <a:pt x="838" y="1486"/>
                  <a:pt x="838" y="1486"/>
                  <a:pt x="838" y="1486"/>
                </a:cubicBezTo>
                <a:cubicBezTo>
                  <a:pt x="838" y="1486"/>
                  <a:pt x="839" y="1489"/>
                  <a:pt x="842" y="1489"/>
                </a:cubicBezTo>
                <a:cubicBezTo>
                  <a:pt x="846" y="1489"/>
                  <a:pt x="848" y="1489"/>
                  <a:pt x="848" y="1489"/>
                </a:cubicBezTo>
                <a:cubicBezTo>
                  <a:pt x="848" y="1489"/>
                  <a:pt x="852" y="1490"/>
                  <a:pt x="854" y="1490"/>
                </a:cubicBezTo>
                <a:cubicBezTo>
                  <a:pt x="856" y="1490"/>
                  <a:pt x="865" y="1490"/>
                  <a:pt x="868" y="1490"/>
                </a:cubicBezTo>
                <a:cubicBezTo>
                  <a:pt x="871" y="1490"/>
                  <a:pt x="876" y="1492"/>
                  <a:pt x="876" y="1492"/>
                </a:cubicBezTo>
                <a:cubicBezTo>
                  <a:pt x="880" y="1490"/>
                  <a:pt x="880" y="1490"/>
                  <a:pt x="880" y="1490"/>
                </a:cubicBezTo>
                <a:cubicBezTo>
                  <a:pt x="882" y="1491"/>
                  <a:pt x="882" y="1491"/>
                  <a:pt x="882" y="1491"/>
                </a:cubicBezTo>
                <a:cubicBezTo>
                  <a:pt x="885" y="1491"/>
                  <a:pt x="885" y="1491"/>
                  <a:pt x="885" y="1491"/>
                </a:cubicBezTo>
                <a:cubicBezTo>
                  <a:pt x="885" y="1487"/>
                  <a:pt x="885" y="1487"/>
                  <a:pt x="885" y="1487"/>
                </a:cubicBezTo>
                <a:cubicBezTo>
                  <a:pt x="885" y="1487"/>
                  <a:pt x="876" y="1487"/>
                  <a:pt x="866" y="1481"/>
                </a:cubicBezTo>
                <a:cubicBezTo>
                  <a:pt x="855" y="1476"/>
                  <a:pt x="855" y="1473"/>
                  <a:pt x="855" y="1473"/>
                </a:cubicBezTo>
                <a:close/>
                <a:moveTo>
                  <a:pt x="862" y="1492"/>
                </a:moveTo>
                <a:cubicBezTo>
                  <a:pt x="865" y="1494"/>
                  <a:pt x="865" y="1494"/>
                  <a:pt x="865" y="1494"/>
                </a:cubicBezTo>
                <a:cubicBezTo>
                  <a:pt x="873" y="1495"/>
                  <a:pt x="873" y="1495"/>
                  <a:pt x="873" y="1495"/>
                </a:cubicBezTo>
                <a:cubicBezTo>
                  <a:pt x="869" y="1491"/>
                  <a:pt x="869" y="1491"/>
                  <a:pt x="869" y="1491"/>
                </a:cubicBezTo>
                <a:cubicBezTo>
                  <a:pt x="862" y="1492"/>
                  <a:pt x="862" y="1492"/>
                  <a:pt x="862" y="1492"/>
                </a:cubicBezTo>
                <a:cubicBezTo>
                  <a:pt x="862" y="1492"/>
                  <a:pt x="862" y="1492"/>
                  <a:pt x="862" y="1492"/>
                </a:cubicBezTo>
                <a:close/>
                <a:moveTo>
                  <a:pt x="898" y="886"/>
                </a:moveTo>
                <a:cubicBezTo>
                  <a:pt x="898" y="889"/>
                  <a:pt x="898" y="889"/>
                  <a:pt x="898" y="889"/>
                </a:cubicBezTo>
                <a:cubicBezTo>
                  <a:pt x="895" y="894"/>
                  <a:pt x="895" y="894"/>
                  <a:pt x="895" y="894"/>
                </a:cubicBezTo>
                <a:cubicBezTo>
                  <a:pt x="900" y="891"/>
                  <a:pt x="900" y="891"/>
                  <a:pt x="900" y="891"/>
                </a:cubicBezTo>
                <a:cubicBezTo>
                  <a:pt x="900" y="891"/>
                  <a:pt x="904" y="885"/>
                  <a:pt x="903" y="884"/>
                </a:cubicBezTo>
                <a:cubicBezTo>
                  <a:pt x="901" y="883"/>
                  <a:pt x="898" y="886"/>
                  <a:pt x="898" y="886"/>
                </a:cubicBezTo>
                <a:close/>
                <a:moveTo>
                  <a:pt x="758" y="1366"/>
                </a:moveTo>
                <a:cubicBezTo>
                  <a:pt x="758" y="1359"/>
                  <a:pt x="758" y="1359"/>
                  <a:pt x="758" y="1359"/>
                </a:cubicBezTo>
                <a:cubicBezTo>
                  <a:pt x="754" y="1355"/>
                  <a:pt x="754" y="1355"/>
                  <a:pt x="754" y="1355"/>
                </a:cubicBezTo>
                <a:cubicBezTo>
                  <a:pt x="756" y="1353"/>
                  <a:pt x="756" y="1353"/>
                  <a:pt x="756" y="1353"/>
                </a:cubicBezTo>
                <a:cubicBezTo>
                  <a:pt x="753" y="1350"/>
                  <a:pt x="753" y="1350"/>
                  <a:pt x="753" y="1350"/>
                </a:cubicBezTo>
                <a:cubicBezTo>
                  <a:pt x="748" y="1348"/>
                  <a:pt x="748" y="1348"/>
                  <a:pt x="748" y="1348"/>
                </a:cubicBezTo>
                <a:cubicBezTo>
                  <a:pt x="748" y="1348"/>
                  <a:pt x="748" y="1355"/>
                  <a:pt x="750" y="1356"/>
                </a:cubicBezTo>
                <a:cubicBezTo>
                  <a:pt x="751" y="1357"/>
                  <a:pt x="753" y="1361"/>
                  <a:pt x="753" y="1361"/>
                </a:cubicBezTo>
                <a:cubicBezTo>
                  <a:pt x="752" y="1364"/>
                  <a:pt x="752" y="1364"/>
                  <a:pt x="752" y="1364"/>
                </a:cubicBezTo>
                <a:cubicBezTo>
                  <a:pt x="758" y="1366"/>
                  <a:pt x="758" y="1366"/>
                  <a:pt x="758" y="1366"/>
                </a:cubicBezTo>
                <a:cubicBezTo>
                  <a:pt x="758" y="1366"/>
                  <a:pt x="758" y="1366"/>
                  <a:pt x="758" y="1366"/>
                </a:cubicBezTo>
                <a:close/>
                <a:moveTo>
                  <a:pt x="768" y="1381"/>
                </a:moveTo>
                <a:cubicBezTo>
                  <a:pt x="768" y="1381"/>
                  <a:pt x="775" y="1377"/>
                  <a:pt x="770" y="1376"/>
                </a:cubicBezTo>
                <a:cubicBezTo>
                  <a:pt x="766" y="1375"/>
                  <a:pt x="766" y="1381"/>
                  <a:pt x="768" y="1381"/>
                </a:cubicBezTo>
                <a:close/>
                <a:moveTo>
                  <a:pt x="1067" y="957"/>
                </a:moveTo>
                <a:cubicBezTo>
                  <a:pt x="1067" y="954"/>
                  <a:pt x="1063" y="949"/>
                  <a:pt x="1063" y="947"/>
                </a:cubicBezTo>
                <a:cubicBezTo>
                  <a:pt x="1063" y="944"/>
                  <a:pt x="1063" y="942"/>
                  <a:pt x="1063" y="940"/>
                </a:cubicBezTo>
                <a:cubicBezTo>
                  <a:pt x="1063" y="938"/>
                  <a:pt x="1059" y="935"/>
                  <a:pt x="1059" y="935"/>
                </a:cubicBezTo>
                <a:cubicBezTo>
                  <a:pt x="1055" y="934"/>
                  <a:pt x="1055" y="934"/>
                  <a:pt x="1055" y="934"/>
                </a:cubicBezTo>
                <a:cubicBezTo>
                  <a:pt x="1048" y="935"/>
                  <a:pt x="1048" y="935"/>
                  <a:pt x="1048" y="935"/>
                </a:cubicBezTo>
                <a:cubicBezTo>
                  <a:pt x="1045" y="933"/>
                  <a:pt x="1045" y="933"/>
                  <a:pt x="1045" y="933"/>
                </a:cubicBezTo>
                <a:cubicBezTo>
                  <a:pt x="1043" y="933"/>
                  <a:pt x="1043" y="933"/>
                  <a:pt x="1043" y="933"/>
                </a:cubicBezTo>
                <a:cubicBezTo>
                  <a:pt x="1040" y="929"/>
                  <a:pt x="1040" y="929"/>
                  <a:pt x="1040" y="929"/>
                </a:cubicBezTo>
                <a:cubicBezTo>
                  <a:pt x="1037" y="929"/>
                  <a:pt x="1037" y="929"/>
                  <a:pt x="1037" y="929"/>
                </a:cubicBezTo>
                <a:cubicBezTo>
                  <a:pt x="1037" y="929"/>
                  <a:pt x="1033" y="925"/>
                  <a:pt x="1030" y="921"/>
                </a:cubicBezTo>
                <a:cubicBezTo>
                  <a:pt x="1026" y="916"/>
                  <a:pt x="1016" y="910"/>
                  <a:pt x="1012" y="909"/>
                </a:cubicBezTo>
                <a:cubicBezTo>
                  <a:pt x="1009" y="909"/>
                  <a:pt x="1002" y="910"/>
                  <a:pt x="1002" y="910"/>
                </a:cubicBezTo>
                <a:cubicBezTo>
                  <a:pt x="1002" y="912"/>
                  <a:pt x="1002" y="912"/>
                  <a:pt x="1002" y="912"/>
                </a:cubicBezTo>
                <a:cubicBezTo>
                  <a:pt x="1002" y="912"/>
                  <a:pt x="999" y="910"/>
                  <a:pt x="998" y="909"/>
                </a:cubicBezTo>
                <a:cubicBezTo>
                  <a:pt x="996" y="908"/>
                  <a:pt x="991" y="908"/>
                  <a:pt x="991" y="908"/>
                </a:cubicBezTo>
                <a:cubicBezTo>
                  <a:pt x="991" y="908"/>
                  <a:pt x="985" y="905"/>
                  <a:pt x="981" y="904"/>
                </a:cubicBezTo>
                <a:cubicBezTo>
                  <a:pt x="977" y="903"/>
                  <a:pt x="973" y="910"/>
                  <a:pt x="973" y="910"/>
                </a:cubicBezTo>
                <a:cubicBezTo>
                  <a:pt x="970" y="908"/>
                  <a:pt x="970" y="908"/>
                  <a:pt x="970" y="908"/>
                </a:cubicBezTo>
                <a:cubicBezTo>
                  <a:pt x="970" y="912"/>
                  <a:pt x="970" y="912"/>
                  <a:pt x="970" y="912"/>
                </a:cubicBezTo>
                <a:cubicBezTo>
                  <a:pt x="966" y="915"/>
                  <a:pt x="966" y="915"/>
                  <a:pt x="966" y="915"/>
                </a:cubicBezTo>
                <a:cubicBezTo>
                  <a:pt x="968" y="906"/>
                  <a:pt x="968" y="906"/>
                  <a:pt x="968" y="906"/>
                </a:cubicBezTo>
                <a:cubicBezTo>
                  <a:pt x="968" y="906"/>
                  <a:pt x="972" y="904"/>
                  <a:pt x="971" y="902"/>
                </a:cubicBezTo>
                <a:cubicBezTo>
                  <a:pt x="969" y="900"/>
                  <a:pt x="967" y="904"/>
                  <a:pt x="967" y="904"/>
                </a:cubicBezTo>
                <a:cubicBezTo>
                  <a:pt x="968" y="899"/>
                  <a:pt x="968" y="899"/>
                  <a:pt x="968" y="899"/>
                </a:cubicBezTo>
                <a:cubicBezTo>
                  <a:pt x="968" y="899"/>
                  <a:pt x="967" y="899"/>
                  <a:pt x="967" y="898"/>
                </a:cubicBezTo>
                <a:cubicBezTo>
                  <a:pt x="967" y="896"/>
                  <a:pt x="963" y="894"/>
                  <a:pt x="963" y="894"/>
                </a:cubicBezTo>
                <a:cubicBezTo>
                  <a:pt x="961" y="897"/>
                  <a:pt x="961" y="897"/>
                  <a:pt x="961" y="897"/>
                </a:cubicBezTo>
                <a:cubicBezTo>
                  <a:pt x="961" y="897"/>
                  <a:pt x="958" y="893"/>
                  <a:pt x="956" y="891"/>
                </a:cubicBezTo>
                <a:cubicBezTo>
                  <a:pt x="954" y="889"/>
                  <a:pt x="948" y="889"/>
                  <a:pt x="948" y="889"/>
                </a:cubicBezTo>
                <a:cubicBezTo>
                  <a:pt x="947" y="888"/>
                  <a:pt x="942" y="884"/>
                  <a:pt x="942" y="884"/>
                </a:cubicBezTo>
                <a:cubicBezTo>
                  <a:pt x="940" y="886"/>
                  <a:pt x="940" y="886"/>
                  <a:pt x="940" y="886"/>
                </a:cubicBezTo>
                <a:cubicBezTo>
                  <a:pt x="940" y="886"/>
                  <a:pt x="936" y="885"/>
                  <a:pt x="934" y="885"/>
                </a:cubicBezTo>
                <a:cubicBezTo>
                  <a:pt x="932" y="885"/>
                  <a:pt x="930" y="892"/>
                  <a:pt x="930" y="892"/>
                </a:cubicBezTo>
                <a:cubicBezTo>
                  <a:pt x="932" y="895"/>
                  <a:pt x="932" y="895"/>
                  <a:pt x="932" y="895"/>
                </a:cubicBezTo>
                <a:cubicBezTo>
                  <a:pt x="932" y="895"/>
                  <a:pt x="929" y="895"/>
                  <a:pt x="927" y="895"/>
                </a:cubicBezTo>
                <a:cubicBezTo>
                  <a:pt x="925" y="895"/>
                  <a:pt x="923" y="900"/>
                  <a:pt x="923" y="900"/>
                </a:cubicBezTo>
                <a:cubicBezTo>
                  <a:pt x="923" y="900"/>
                  <a:pt x="921" y="907"/>
                  <a:pt x="920" y="906"/>
                </a:cubicBezTo>
                <a:cubicBezTo>
                  <a:pt x="918" y="906"/>
                  <a:pt x="922" y="901"/>
                  <a:pt x="921" y="899"/>
                </a:cubicBezTo>
                <a:cubicBezTo>
                  <a:pt x="921" y="896"/>
                  <a:pt x="916" y="901"/>
                  <a:pt x="916" y="901"/>
                </a:cubicBezTo>
                <a:cubicBezTo>
                  <a:pt x="915" y="899"/>
                  <a:pt x="915" y="899"/>
                  <a:pt x="915" y="899"/>
                </a:cubicBezTo>
                <a:cubicBezTo>
                  <a:pt x="915" y="899"/>
                  <a:pt x="911" y="900"/>
                  <a:pt x="908" y="899"/>
                </a:cubicBezTo>
                <a:cubicBezTo>
                  <a:pt x="906" y="898"/>
                  <a:pt x="906" y="895"/>
                  <a:pt x="906" y="893"/>
                </a:cubicBezTo>
                <a:cubicBezTo>
                  <a:pt x="906" y="890"/>
                  <a:pt x="905" y="888"/>
                  <a:pt x="905" y="888"/>
                </a:cubicBezTo>
                <a:cubicBezTo>
                  <a:pt x="904" y="887"/>
                  <a:pt x="901" y="892"/>
                  <a:pt x="901" y="892"/>
                </a:cubicBezTo>
                <a:cubicBezTo>
                  <a:pt x="901" y="892"/>
                  <a:pt x="896" y="895"/>
                  <a:pt x="894" y="896"/>
                </a:cubicBezTo>
                <a:cubicBezTo>
                  <a:pt x="891" y="896"/>
                  <a:pt x="888" y="895"/>
                  <a:pt x="888" y="895"/>
                </a:cubicBezTo>
                <a:cubicBezTo>
                  <a:pt x="894" y="893"/>
                  <a:pt x="894" y="893"/>
                  <a:pt x="894" y="893"/>
                </a:cubicBezTo>
                <a:cubicBezTo>
                  <a:pt x="894" y="893"/>
                  <a:pt x="896" y="891"/>
                  <a:pt x="896" y="890"/>
                </a:cubicBezTo>
                <a:cubicBezTo>
                  <a:pt x="897" y="889"/>
                  <a:pt x="897" y="886"/>
                  <a:pt x="897" y="886"/>
                </a:cubicBezTo>
                <a:cubicBezTo>
                  <a:pt x="897" y="886"/>
                  <a:pt x="899" y="885"/>
                  <a:pt x="900" y="882"/>
                </a:cubicBezTo>
                <a:cubicBezTo>
                  <a:pt x="900" y="880"/>
                  <a:pt x="905" y="876"/>
                  <a:pt x="908" y="874"/>
                </a:cubicBezTo>
                <a:cubicBezTo>
                  <a:pt x="910" y="873"/>
                  <a:pt x="910" y="871"/>
                  <a:pt x="911" y="869"/>
                </a:cubicBezTo>
                <a:cubicBezTo>
                  <a:pt x="912" y="867"/>
                  <a:pt x="916" y="865"/>
                  <a:pt x="916" y="865"/>
                </a:cubicBezTo>
                <a:cubicBezTo>
                  <a:pt x="913" y="864"/>
                  <a:pt x="913" y="864"/>
                  <a:pt x="913" y="864"/>
                </a:cubicBezTo>
                <a:cubicBezTo>
                  <a:pt x="913" y="864"/>
                  <a:pt x="916" y="863"/>
                  <a:pt x="916" y="859"/>
                </a:cubicBezTo>
                <a:cubicBezTo>
                  <a:pt x="916" y="856"/>
                  <a:pt x="910" y="858"/>
                  <a:pt x="908" y="856"/>
                </a:cubicBezTo>
                <a:cubicBezTo>
                  <a:pt x="906" y="853"/>
                  <a:pt x="906" y="849"/>
                  <a:pt x="905" y="841"/>
                </a:cubicBezTo>
                <a:cubicBezTo>
                  <a:pt x="904" y="833"/>
                  <a:pt x="903" y="829"/>
                  <a:pt x="901" y="829"/>
                </a:cubicBezTo>
                <a:cubicBezTo>
                  <a:pt x="899" y="828"/>
                  <a:pt x="900" y="832"/>
                  <a:pt x="900" y="833"/>
                </a:cubicBezTo>
                <a:cubicBezTo>
                  <a:pt x="900" y="834"/>
                  <a:pt x="898" y="833"/>
                  <a:pt x="898" y="832"/>
                </a:cubicBezTo>
                <a:cubicBezTo>
                  <a:pt x="897" y="831"/>
                  <a:pt x="895" y="824"/>
                  <a:pt x="895" y="824"/>
                </a:cubicBezTo>
                <a:cubicBezTo>
                  <a:pt x="891" y="822"/>
                  <a:pt x="891" y="822"/>
                  <a:pt x="891" y="822"/>
                </a:cubicBezTo>
                <a:cubicBezTo>
                  <a:pt x="887" y="816"/>
                  <a:pt x="887" y="816"/>
                  <a:pt x="887" y="816"/>
                </a:cubicBezTo>
                <a:cubicBezTo>
                  <a:pt x="883" y="816"/>
                  <a:pt x="883" y="816"/>
                  <a:pt x="883" y="816"/>
                </a:cubicBezTo>
                <a:cubicBezTo>
                  <a:pt x="883" y="816"/>
                  <a:pt x="878" y="814"/>
                  <a:pt x="876" y="812"/>
                </a:cubicBezTo>
                <a:cubicBezTo>
                  <a:pt x="876" y="812"/>
                  <a:pt x="876" y="812"/>
                  <a:pt x="876" y="812"/>
                </a:cubicBezTo>
                <a:cubicBezTo>
                  <a:pt x="874" y="810"/>
                  <a:pt x="864" y="810"/>
                  <a:pt x="864" y="810"/>
                </a:cubicBezTo>
                <a:cubicBezTo>
                  <a:pt x="864" y="812"/>
                  <a:pt x="864" y="812"/>
                  <a:pt x="864" y="812"/>
                </a:cubicBezTo>
                <a:cubicBezTo>
                  <a:pt x="857" y="811"/>
                  <a:pt x="857" y="811"/>
                  <a:pt x="857" y="811"/>
                </a:cubicBezTo>
                <a:cubicBezTo>
                  <a:pt x="857" y="813"/>
                  <a:pt x="857" y="813"/>
                  <a:pt x="857" y="813"/>
                </a:cubicBezTo>
                <a:cubicBezTo>
                  <a:pt x="849" y="810"/>
                  <a:pt x="849" y="810"/>
                  <a:pt x="849" y="810"/>
                </a:cubicBezTo>
                <a:cubicBezTo>
                  <a:pt x="845" y="811"/>
                  <a:pt x="845" y="811"/>
                  <a:pt x="845" y="811"/>
                </a:cubicBezTo>
                <a:cubicBezTo>
                  <a:pt x="845" y="811"/>
                  <a:pt x="845" y="809"/>
                  <a:pt x="844" y="807"/>
                </a:cubicBezTo>
                <a:cubicBezTo>
                  <a:pt x="844" y="806"/>
                  <a:pt x="841" y="807"/>
                  <a:pt x="841" y="807"/>
                </a:cubicBezTo>
                <a:cubicBezTo>
                  <a:pt x="840" y="804"/>
                  <a:pt x="840" y="804"/>
                  <a:pt x="840" y="804"/>
                </a:cubicBezTo>
                <a:cubicBezTo>
                  <a:pt x="840" y="804"/>
                  <a:pt x="837" y="801"/>
                  <a:pt x="834" y="801"/>
                </a:cubicBezTo>
                <a:cubicBezTo>
                  <a:pt x="831" y="800"/>
                  <a:pt x="830" y="806"/>
                  <a:pt x="830" y="806"/>
                </a:cubicBezTo>
                <a:cubicBezTo>
                  <a:pt x="830" y="806"/>
                  <a:pt x="832" y="797"/>
                  <a:pt x="832" y="796"/>
                </a:cubicBezTo>
                <a:cubicBezTo>
                  <a:pt x="832" y="794"/>
                  <a:pt x="830" y="789"/>
                  <a:pt x="828" y="787"/>
                </a:cubicBezTo>
                <a:cubicBezTo>
                  <a:pt x="827" y="786"/>
                  <a:pt x="819" y="783"/>
                  <a:pt x="819" y="783"/>
                </a:cubicBezTo>
                <a:cubicBezTo>
                  <a:pt x="819" y="783"/>
                  <a:pt x="818" y="781"/>
                  <a:pt x="817" y="780"/>
                </a:cubicBezTo>
                <a:cubicBezTo>
                  <a:pt x="816" y="778"/>
                  <a:pt x="813" y="782"/>
                  <a:pt x="813" y="782"/>
                </a:cubicBezTo>
                <a:cubicBezTo>
                  <a:pt x="813" y="782"/>
                  <a:pt x="811" y="781"/>
                  <a:pt x="809" y="780"/>
                </a:cubicBezTo>
                <a:cubicBezTo>
                  <a:pt x="808" y="780"/>
                  <a:pt x="805" y="783"/>
                  <a:pt x="805" y="783"/>
                </a:cubicBezTo>
                <a:cubicBezTo>
                  <a:pt x="801" y="780"/>
                  <a:pt x="801" y="780"/>
                  <a:pt x="801" y="780"/>
                </a:cubicBezTo>
                <a:cubicBezTo>
                  <a:pt x="801" y="780"/>
                  <a:pt x="806" y="780"/>
                  <a:pt x="807" y="779"/>
                </a:cubicBezTo>
                <a:cubicBezTo>
                  <a:pt x="808" y="777"/>
                  <a:pt x="808" y="775"/>
                  <a:pt x="808" y="775"/>
                </a:cubicBezTo>
                <a:cubicBezTo>
                  <a:pt x="808" y="775"/>
                  <a:pt x="810" y="775"/>
                  <a:pt x="810" y="772"/>
                </a:cubicBezTo>
                <a:cubicBezTo>
                  <a:pt x="811" y="769"/>
                  <a:pt x="805" y="770"/>
                  <a:pt x="805" y="770"/>
                </a:cubicBezTo>
                <a:cubicBezTo>
                  <a:pt x="805" y="770"/>
                  <a:pt x="804" y="767"/>
                  <a:pt x="802" y="767"/>
                </a:cubicBezTo>
                <a:cubicBezTo>
                  <a:pt x="801" y="766"/>
                  <a:pt x="801" y="770"/>
                  <a:pt x="801" y="770"/>
                </a:cubicBezTo>
                <a:cubicBezTo>
                  <a:pt x="801" y="770"/>
                  <a:pt x="800" y="768"/>
                  <a:pt x="800" y="767"/>
                </a:cubicBezTo>
                <a:cubicBezTo>
                  <a:pt x="800" y="765"/>
                  <a:pt x="797" y="766"/>
                  <a:pt x="797" y="766"/>
                </a:cubicBezTo>
                <a:cubicBezTo>
                  <a:pt x="796" y="770"/>
                  <a:pt x="796" y="770"/>
                  <a:pt x="796" y="770"/>
                </a:cubicBezTo>
                <a:cubicBezTo>
                  <a:pt x="796" y="770"/>
                  <a:pt x="795" y="768"/>
                  <a:pt x="794" y="767"/>
                </a:cubicBezTo>
                <a:cubicBezTo>
                  <a:pt x="794" y="766"/>
                  <a:pt x="794" y="763"/>
                  <a:pt x="794" y="763"/>
                </a:cubicBezTo>
                <a:cubicBezTo>
                  <a:pt x="789" y="764"/>
                  <a:pt x="789" y="764"/>
                  <a:pt x="789" y="764"/>
                </a:cubicBezTo>
                <a:cubicBezTo>
                  <a:pt x="789" y="764"/>
                  <a:pt x="793" y="762"/>
                  <a:pt x="793" y="761"/>
                </a:cubicBezTo>
                <a:cubicBezTo>
                  <a:pt x="793" y="760"/>
                  <a:pt x="790" y="760"/>
                  <a:pt x="790" y="759"/>
                </a:cubicBezTo>
                <a:cubicBezTo>
                  <a:pt x="790" y="758"/>
                  <a:pt x="799" y="758"/>
                  <a:pt x="799" y="757"/>
                </a:cubicBezTo>
                <a:cubicBezTo>
                  <a:pt x="800" y="756"/>
                  <a:pt x="781" y="757"/>
                  <a:pt x="781" y="757"/>
                </a:cubicBezTo>
                <a:cubicBezTo>
                  <a:pt x="782" y="759"/>
                  <a:pt x="782" y="759"/>
                  <a:pt x="782" y="759"/>
                </a:cubicBezTo>
                <a:cubicBezTo>
                  <a:pt x="782" y="759"/>
                  <a:pt x="778" y="760"/>
                  <a:pt x="776" y="761"/>
                </a:cubicBezTo>
                <a:cubicBezTo>
                  <a:pt x="774" y="761"/>
                  <a:pt x="769" y="765"/>
                  <a:pt x="769" y="765"/>
                </a:cubicBezTo>
                <a:cubicBezTo>
                  <a:pt x="764" y="765"/>
                  <a:pt x="757" y="758"/>
                  <a:pt x="757" y="758"/>
                </a:cubicBezTo>
                <a:cubicBezTo>
                  <a:pt x="757" y="758"/>
                  <a:pt x="740" y="759"/>
                  <a:pt x="738" y="759"/>
                </a:cubicBezTo>
                <a:cubicBezTo>
                  <a:pt x="736" y="759"/>
                  <a:pt x="736" y="757"/>
                  <a:pt x="736" y="754"/>
                </a:cubicBezTo>
                <a:cubicBezTo>
                  <a:pt x="736" y="751"/>
                  <a:pt x="734" y="749"/>
                  <a:pt x="729" y="748"/>
                </a:cubicBezTo>
                <a:cubicBezTo>
                  <a:pt x="723" y="747"/>
                  <a:pt x="716" y="752"/>
                  <a:pt x="716" y="752"/>
                </a:cubicBezTo>
                <a:cubicBezTo>
                  <a:pt x="716" y="752"/>
                  <a:pt x="710" y="753"/>
                  <a:pt x="707" y="756"/>
                </a:cubicBezTo>
                <a:cubicBezTo>
                  <a:pt x="703" y="759"/>
                  <a:pt x="708" y="764"/>
                  <a:pt x="709" y="768"/>
                </a:cubicBezTo>
                <a:cubicBezTo>
                  <a:pt x="709" y="772"/>
                  <a:pt x="703" y="776"/>
                  <a:pt x="703" y="776"/>
                </a:cubicBezTo>
                <a:cubicBezTo>
                  <a:pt x="704" y="772"/>
                  <a:pt x="704" y="772"/>
                  <a:pt x="704" y="772"/>
                </a:cubicBezTo>
                <a:cubicBezTo>
                  <a:pt x="704" y="772"/>
                  <a:pt x="700" y="771"/>
                  <a:pt x="699" y="769"/>
                </a:cubicBezTo>
                <a:cubicBezTo>
                  <a:pt x="697" y="767"/>
                  <a:pt x="701" y="763"/>
                  <a:pt x="702" y="761"/>
                </a:cubicBezTo>
                <a:cubicBezTo>
                  <a:pt x="704" y="759"/>
                  <a:pt x="703" y="756"/>
                  <a:pt x="703" y="753"/>
                </a:cubicBezTo>
                <a:cubicBezTo>
                  <a:pt x="703" y="751"/>
                  <a:pt x="701" y="748"/>
                  <a:pt x="701" y="748"/>
                </a:cubicBezTo>
                <a:cubicBezTo>
                  <a:pt x="701" y="748"/>
                  <a:pt x="705" y="746"/>
                  <a:pt x="706" y="745"/>
                </a:cubicBezTo>
                <a:cubicBezTo>
                  <a:pt x="707" y="745"/>
                  <a:pt x="710" y="744"/>
                  <a:pt x="710" y="740"/>
                </a:cubicBezTo>
                <a:cubicBezTo>
                  <a:pt x="710" y="736"/>
                  <a:pt x="702" y="739"/>
                  <a:pt x="700" y="739"/>
                </a:cubicBezTo>
                <a:cubicBezTo>
                  <a:pt x="699" y="739"/>
                  <a:pt x="699" y="744"/>
                  <a:pt x="698" y="745"/>
                </a:cubicBezTo>
                <a:cubicBezTo>
                  <a:pt x="696" y="746"/>
                  <a:pt x="694" y="745"/>
                  <a:pt x="692" y="745"/>
                </a:cubicBezTo>
                <a:cubicBezTo>
                  <a:pt x="691" y="745"/>
                  <a:pt x="688" y="750"/>
                  <a:pt x="688" y="750"/>
                </a:cubicBezTo>
                <a:cubicBezTo>
                  <a:pt x="683" y="751"/>
                  <a:pt x="683" y="751"/>
                  <a:pt x="683" y="751"/>
                </a:cubicBezTo>
                <a:cubicBezTo>
                  <a:pt x="683" y="751"/>
                  <a:pt x="681" y="749"/>
                  <a:pt x="680" y="750"/>
                </a:cubicBezTo>
                <a:cubicBezTo>
                  <a:pt x="678" y="751"/>
                  <a:pt x="678" y="754"/>
                  <a:pt x="678" y="754"/>
                </a:cubicBezTo>
                <a:cubicBezTo>
                  <a:pt x="678" y="754"/>
                  <a:pt x="677" y="757"/>
                  <a:pt x="676" y="757"/>
                </a:cubicBezTo>
                <a:cubicBezTo>
                  <a:pt x="675" y="757"/>
                  <a:pt x="676" y="755"/>
                  <a:pt x="676" y="755"/>
                </a:cubicBezTo>
                <a:cubicBezTo>
                  <a:pt x="676" y="755"/>
                  <a:pt x="675" y="754"/>
                  <a:pt x="674" y="754"/>
                </a:cubicBezTo>
                <a:cubicBezTo>
                  <a:pt x="673" y="754"/>
                  <a:pt x="670" y="755"/>
                  <a:pt x="669" y="755"/>
                </a:cubicBezTo>
                <a:cubicBezTo>
                  <a:pt x="668" y="756"/>
                  <a:pt x="665" y="759"/>
                  <a:pt x="664" y="761"/>
                </a:cubicBezTo>
                <a:cubicBezTo>
                  <a:pt x="664" y="762"/>
                  <a:pt x="665" y="764"/>
                  <a:pt x="665" y="764"/>
                </a:cubicBezTo>
                <a:cubicBezTo>
                  <a:pt x="663" y="768"/>
                  <a:pt x="663" y="768"/>
                  <a:pt x="663" y="768"/>
                </a:cubicBezTo>
                <a:cubicBezTo>
                  <a:pt x="664" y="771"/>
                  <a:pt x="664" y="771"/>
                  <a:pt x="664" y="771"/>
                </a:cubicBezTo>
                <a:cubicBezTo>
                  <a:pt x="664" y="771"/>
                  <a:pt x="661" y="772"/>
                  <a:pt x="660" y="772"/>
                </a:cubicBezTo>
                <a:cubicBezTo>
                  <a:pt x="659" y="773"/>
                  <a:pt x="657" y="776"/>
                  <a:pt x="657" y="777"/>
                </a:cubicBezTo>
                <a:cubicBezTo>
                  <a:pt x="656" y="778"/>
                  <a:pt x="653" y="779"/>
                  <a:pt x="653" y="779"/>
                </a:cubicBezTo>
                <a:cubicBezTo>
                  <a:pt x="650" y="780"/>
                  <a:pt x="650" y="780"/>
                  <a:pt x="650" y="780"/>
                </a:cubicBezTo>
                <a:cubicBezTo>
                  <a:pt x="652" y="784"/>
                  <a:pt x="652" y="784"/>
                  <a:pt x="652" y="784"/>
                </a:cubicBezTo>
                <a:cubicBezTo>
                  <a:pt x="652" y="784"/>
                  <a:pt x="652" y="788"/>
                  <a:pt x="651" y="789"/>
                </a:cubicBezTo>
                <a:cubicBezTo>
                  <a:pt x="649" y="789"/>
                  <a:pt x="650" y="787"/>
                  <a:pt x="650" y="785"/>
                </a:cubicBezTo>
                <a:cubicBezTo>
                  <a:pt x="650" y="783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2" y="778"/>
                  <a:pt x="642" y="778"/>
                  <a:pt x="642" y="778"/>
                </a:cubicBezTo>
                <a:cubicBezTo>
                  <a:pt x="642" y="778"/>
                  <a:pt x="641" y="774"/>
                  <a:pt x="638" y="772"/>
                </a:cubicBezTo>
                <a:cubicBezTo>
                  <a:pt x="635" y="771"/>
                  <a:pt x="630" y="771"/>
                  <a:pt x="630" y="771"/>
                </a:cubicBezTo>
                <a:cubicBezTo>
                  <a:pt x="630" y="770"/>
                  <a:pt x="630" y="770"/>
                  <a:pt x="630" y="770"/>
                </a:cubicBezTo>
                <a:cubicBezTo>
                  <a:pt x="630" y="770"/>
                  <a:pt x="624" y="769"/>
                  <a:pt x="623" y="770"/>
                </a:cubicBezTo>
                <a:cubicBezTo>
                  <a:pt x="622" y="772"/>
                  <a:pt x="619" y="774"/>
                  <a:pt x="619" y="774"/>
                </a:cubicBezTo>
                <a:cubicBezTo>
                  <a:pt x="619" y="774"/>
                  <a:pt x="617" y="772"/>
                  <a:pt x="615" y="774"/>
                </a:cubicBezTo>
                <a:cubicBezTo>
                  <a:pt x="614" y="775"/>
                  <a:pt x="611" y="779"/>
                  <a:pt x="609" y="779"/>
                </a:cubicBezTo>
                <a:cubicBezTo>
                  <a:pt x="607" y="779"/>
                  <a:pt x="605" y="778"/>
                  <a:pt x="605" y="778"/>
                </a:cubicBezTo>
                <a:cubicBezTo>
                  <a:pt x="603" y="775"/>
                  <a:pt x="603" y="775"/>
                  <a:pt x="603" y="775"/>
                </a:cubicBezTo>
                <a:cubicBezTo>
                  <a:pt x="601" y="777"/>
                  <a:pt x="601" y="777"/>
                  <a:pt x="601" y="777"/>
                </a:cubicBezTo>
                <a:cubicBezTo>
                  <a:pt x="601" y="777"/>
                  <a:pt x="598" y="778"/>
                  <a:pt x="597" y="776"/>
                </a:cubicBezTo>
                <a:cubicBezTo>
                  <a:pt x="596" y="774"/>
                  <a:pt x="598" y="772"/>
                  <a:pt x="596" y="771"/>
                </a:cubicBezTo>
                <a:cubicBezTo>
                  <a:pt x="596" y="770"/>
                  <a:pt x="595" y="770"/>
                  <a:pt x="595" y="770"/>
                </a:cubicBezTo>
                <a:cubicBezTo>
                  <a:pt x="593" y="769"/>
                  <a:pt x="591" y="767"/>
                  <a:pt x="590" y="765"/>
                </a:cubicBezTo>
                <a:cubicBezTo>
                  <a:pt x="589" y="763"/>
                  <a:pt x="587" y="760"/>
                  <a:pt x="587" y="760"/>
                </a:cubicBezTo>
                <a:cubicBezTo>
                  <a:pt x="586" y="757"/>
                  <a:pt x="586" y="757"/>
                  <a:pt x="586" y="757"/>
                </a:cubicBezTo>
                <a:cubicBezTo>
                  <a:pt x="586" y="757"/>
                  <a:pt x="586" y="757"/>
                  <a:pt x="586" y="756"/>
                </a:cubicBezTo>
                <a:cubicBezTo>
                  <a:pt x="586" y="756"/>
                  <a:pt x="586" y="756"/>
                  <a:pt x="586" y="756"/>
                </a:cubicBezTo>
                <a:cubicBezTo>
                  <a:pt x="586" y="756"/>
                  <a:pt x="584" y="753"/>
                  <a:pt x="584" y="750"/>
                </a:cubicBezTo>
                <a:cubicBezTo>
                  <a:pt x="584" y="747"/>
                  <a:pt x="586" y="748"/>
                  <a:pt x="586" y="746"/>
                </a:cubicBezTo>
                <a:cubicBezTo>
                  <a:pt x="586" y="744"/>
                  <a:pt x="585" y="742"/>
                  <a:pt x="585" y="742"/>
                </a:cubicBezTo>
                <a:cubicBezTo>
                  <a:pt x="586" y="735"/>
                  <a:pt x="586" y="735"/>
                  <a:pt x="586" y="735"/>
                </a:cubicBezTo>
                <a:cubicBezTo>
                  <a:pt x="588" y="738"/>
                  <a:pt x="588" y="738"/>
                  <a:pt x="588" y="738"/>
                </a:cubicBezTo>
                <a:cubicBezTo>
                  <a:pt x="589" y="726"/>
                  <a:pt x="589" y="726"/>
                  <a:pt x="589" y="726"/>
                </a:cubicBezTo>
                <a:cubicBezTo>
                  <a:pt x="589" y="726"/>
                  <a:pt x="590" y="721"/>
                  <a:pt x="592" y="719"/>
                </a:cubicBezTo>
                <a:cubicBezTo>
                  <a:pt x="594" y="718"/>
                  <a:pt x="594" y="714"/>
                  <a:pt x="594" y="713"/>
                </a:cubicBezTo>
                <a:cubicBezTo>
                  <a:pt x="593" y="712"/>
                  <a:pt x="592" y="711"/>
                  <a:pt x="592" y="710"/>
                </a:cubicBezTo>
                <a:cubicBezTo>
                  <a:pt x="592" y="710"/>
                  <a:pt x="595" y="710"/>
                  <a:pt x="595" y="708"/>
                </a:cubicBezTo>
                <a:cubicBezTo>
                  <a:pt x="594" y="707"/>
                  <a:pt x="593" y="705"/>
                  <a:pt x="593" y="705"/>
                </a:cubicBezTo>
                <a:cubicBezTo>
                  <a:pt x="589" y="704"/>
                  <a:pt x="589" y="704"/>
                  <a:pt x="589" y="704"/>
                </a:cubicBezTo>
                <a:cubicBezTo>
                  <a:pt x="589" y="704"/>
                  <a:pt x="587" y="703"/>
                  <a:pt x="585" y="701"/>
                </a:cubicBezTo>
                <a:cubicBezTo>
                  <a:pt x="583" y="699"/>
                  <a:pt x="581" y="700"/>
                  <a:pt x="581" y="700"/>
                </a:cubicBezTo>
                <a:cubicBezTo>
                  <a:pt x="581" y="700"/>
                  <a:pt x="581" y="697"/>
                  <a:pt x="578" y="697"/>
                </a:cubicBezTo>
                <a:cubicBezTo>
                  <a:pt x="576" y="697"/>
                  <a:pt x="573" y="699"/>
                  <a:pt x="573" y="699"/>
                </a:cubicBezTo>
                <a:cubicBezTo>
                  <a:pt x="573" y="699"/>
                  <a:pt x="571" y="697"/>
                  <a:pt x="569" y="697"/>
                </a:cubicBezTo>
                <a:cubicBezTo>
                  <a:pt x="568" y="697"/>
                  <a:pt x="564" y="701"/>
                  <a:pt x="564" y="701"/>
                </a:cubicBezTo>
                <a:cubicBezTo>
                  <a:pt x="559" y="700"/>
                  <a:pt x="559" y="700"/>
                  <a:pt x="559" y="700"/>
                </a:cubicBezTo>
                <a:cubicBezTo>
                  <a:pt x="559" y="700"/>
                  <a:pt x="557" y="699"/>
                  <a:pt x="556" y="699"/>
                </a:cubicBezTo>
                <a:cubicBezTo>
                  <a:pt x="555" y="699"/>
                  <a:pt x="552" y="700"/>
                  <a:pt x="552" y="700"/>
                </a:cubicBezTo>
                <a:cubicBezTo>
                  <a:pt x="552" y="700"/>
                  <a:pt x="551" y="697"/>
                  <a:pt x="550" y="697"/>
                </a:cubicBezTo>
                <a:cubicBezTo>
                  <a:pt x="550" y="697"/>
                  <a:pt x="546" y="700"/>
                  <a:pt x="546" y="700"/>
                </a:cubicBezTo>
                <a:cubicBezTo>
                  <a:pt x="544" y="698"/>
                  <a:pt x="544" y="698"/>
                  <a:pt x="544" y="698"/>
                </a:cubicBezTo>
                <a:cubicBezTo>
                  <a:pt x="541" y="700"/>
                  <a:pt x="541" y="700"/>
                  <a:pt x="541" y="700"/>
                </a:cubicBezTo>
                <a:cubicBezTo>
                  <a:pt x="540" y="699"/>
                  <a:pt x="540" y="699"/>
                  <a:pt x="540" y="699"/>
                </a:cubicBezTo>
                <a:cubicBezTo>
                  <a:pt x="542" y="693"/>
                  <a:pt x="542" y="693"/>
                  <a:pt x="542" y="693"/>
                </a:cubicBezTo>
                <a:cubicBezTo>
                  <a:pt x="544" y="694"/>
                  <a:pt x="544" y="694"/>
                  <a:pt x="544" y="694"/>
                </a:cubicBezTo>
                <a:cubicBezTo>
                  <a:pt x="544" y="694"/>
                  <a:pt x="547" y="691"/>
                  <a:pt x="547" y="689"/>
                </a:cubicBezTo>
                <a:cubicBezTo>
                  <a:pt x="547" y="686"/>
                  <a:pt x="546" y="684"/>
                  <a:pt x="547" y="682"/>
                </a:cubicBezTo>
                <a:cubicBezTo>
                  <a:pt x="548" y="680"/>
                  <a:pt x="551" y="675"/>
                  <a:pt x="551" y="674"/>
                </a:cubicBezTo>
                <a:cubicBezTo>
                  <a:pt x="551" y="673"/>
                  <a:pt x="547" y="672"/>
                  <a:pt x="547" y="672"/>
                </a:cubicBezTo>
                <a:cubicBezTo>
                  <a:pt x="549" y="669"/>
                  <a:pt x="549" y="669"/>
                  <a:pt x="549" y="669"/>
                </a:cubicBezTo>
                <a:cubicBezTo>
                  <a:pt x="552" y="666"/>
                  <a:pt x="552" y="666"/>
                  <a:pt x="552" y="666"/>
                </a:cubicBezTo>
                <a:cubicBezTo>
                  <a:pt x="552" y="666"/>
                  <a:pt x="551" y="670"/>
                  <a:pt x="552" y="671"/>
                </a:cubicBezTo>
                <a:cubicBezTo>
                  <a:pt x="553" y="671"/>
                  <a:pt x="554" y="671"/>
                  <a:pt x="554" y="671"/>
                </a:cubicBezTo>
                <a:cubicBezTo>
                  <a:pt x="557" y="662"/>
                  <a:pt x="557" y="662"/>
                  <a:pt x="557" y="662"/>
                </a:cubicBezTo>
                <a:cubicBezTo>
                  <a:pt x="556" y="660"/>
                  <a:pt x="556" y="660"/>
                  <a:pt x="556" y="660"/>
                </a:cubicBezTo>
                <a:cubicBezTo>
                  <a:pt x="559" y="659"/>
                  <a:pt x="559" y="659"/>
                  <a:pt x="559" y="659"/>
                </a:cubicBezTo>
                <a:cubicBezTo>
                  <a:pt x="559" y="658"/>
                  <a:pt x="559" y="658"/>
                  <a:pt x="559" y="658"/>
                </a:cubicBezTo>
                <a:cubicBezTo>
                  <a:pt x="557" y="657"/>
                  <a:pt x="557" y="657"/>
                  <a:pt x="557" y="657"/>
                </a:cubicBezTo>
                <a:cubicBezTo>
                  <a:pt x="559" y="654"/>
                  <a:pt x="559" y="654"/>
                  <a:pt x="559" y="654"/>
                </a:cubicBezTo>
                <a:cubicBezTo>
                  <a:pt x="560" y="651"/>
                  <a:pt x="560" y="651"/>
                  <a:pt x="560" y="651"/>
                </a:cubicBezTo>
                <a:cubicBezTo>
                  <a:pt x="560" y="651"/>
                  <a:pt x="566" y="644"/>
                  <a:pt x="567" y="642"/>
                </a:cubicBezTo>
                <a:cubicBezTo>
                  <a:pt x="568" y="641"/>
                  <a:pt x="570" y="636"/>
                  <a:pt x="567" y="635"/>
                </a:cubicBezTo>
                <a:cubicBezTo>
                  <a:pt x="565" y="635"/>
                  <a:pt x="560" y="636"/>
                  <a:pt x="560" y="636"/>
                </a:cubicBezTo>
                <a:cubicBezTo>
                  <a:pt x="560" y="636"/>
                  <a:pt x="555" y="635"/>
                  <a:pt x="554" y="635"/>
                </a:cubicBezTo>
                <a:cubicBezTo>
                  <a:pt x="553" y="635"/>
                  <a:pt x="547" y="636"/>
                  <a:pt x="544" y="637"/>
                </a:cubicBezTo>
                <a:cubicBezTo>
                  <a:pt x="541" y="638"/>
                  <a:pt x="536" y="637"/>
                  <a:pt x="534" y="638"/>
                </a:cubicBezTo>
                <a:cubicBezTo>
                  <a:pt x="533" y="640"/>
                  <a:pt x="531" y="644"/>
                  <a:pt x="531" y="647"/>
                </a:cubicBezTo>
                <a:cubicBezTo>
                  <a:pt x="530" y="651"/>
                  <a:pt x="530" y="654"/>
                  <a:pt x="530" y="654"/>
                </a:cubicBezTo>
                <a:cubicBezTo>
                  <a:pt x="528" y="655"/>
                  <a:pt x="528" y="655"/>
                  <a:pt x="528" y="655"/>
                </a:cubicBezTo>
                <a:cubicBezTo>
                  <a:pt x="528" y="655"/>
                  <a:pt x="528" y="659"/>
                  <a:pt x="527" y="660"/>
                </a:cubicBezTo>
                <a:cubicBezTo>
                  <a:pt x="526" y="661"/>
                  <a:pt x="521" y="663"/>
                  <a:pt x="520" y="664"/>
                </a:cubicBezTo>
                <a:cubicBezTo>
                  <a:pt x="519" y="666"/>
                  <a:pt x="520" y="670"/>
                  <a:pt x="517" y="671"/>
                </a:cubicBezTo>
                <a:cubicBezTo>
                  <a:pt x="514" y="671"/>
                  <a:pt x="516" y="667"/>
                  <a:pt x="513" y="667"/>
                </a:cubicBezTo>
                <a:cubicBezTo>
                  <a:pt x="509" y="667"/>
                  <a:pt x="504" y="669"/>
                  <a:pt x="500" y="669"/>
                </a:cubicBezTo>
                <a:cubicBezTo>
                  <a:pt x="495" y="669"/>
                  <a:pt x="490" y="674"/>
                  <a:pt x="488" y="673"/>
                </a:cubicBezTo>
                <a:cubicBezTo>
                  <a:pt x="486" y="673"/>
                  <a:pt x="486" y="668"/>
                  <a:pt x="484" y="668"/>
                </a:cubicBezTo>
                <a:cubicBezTo>
                  <a:pt x="481" y="667"/>
                  <a:pt x="476" y="667"/>
                  <a:pt x="476" y="667"/>
                </a:cubicBezTo>
                <a:cubicBezTo>
                  <a:pt x="476" y="667"/>
                  <a:pt x="475" y="663"/>
                  <a:pt x="474" y="662"/>
                </a:cubicBezTo>
                <a:cubicBezTo>
                  <a:pt x="473" y="660"/>
                  <a:pt x="471" y="658"/>
                  <a:pt x="471" y="658"/>
                </a:cubicBezTo>
                <a:cubicBezTo>
                  <a:pt x="471" y="654"/>
                  <a:pt x="471" y="654"/>
                  <a:pt x="471" y="654"/>
                </a:cubicBezTo>
                <a:cubicBezTo>
                  <a:pt x="466" y="645"/>
                  <a:pt x="466" y="645"/>
                  <a:pt x="466" y="645"/>
                </a:cubicBezTo>
                <a:cubicBezTo>
                  <a:pt x="466" y="639"/>
                  <a:pt x="466" y="639"/>
                  <a:pt x="466" y="639"/>
                </a:cubicBezTo>
                <a:cubicBezTo>
                  <a:pt x="463" y="635"/>
                  <a:pt x="463" y="635"/>
                  <a:pt x="463" y="635"/>
                </a:cubicBezTo>
                <a:cubicBezTo>
                  <a:pt x="463" y="623"/>
                  <a:pt x="463" y="623"/>
                  <a:pt x="463" y="623"/>
                </a:cubicBezTo>
                <a:cubicBezTo>
                  <a:pt x="463" y="623"/>
                  <a:pt x="466" y="619"/>
                  <a:pt x="466" y="616"/>
                </a:cubicBezTo>
                <a:cubicBezTo>
                  <a:pt x="466" y="614"/>
                  <a:pt x="467" y="608"/>
                  <a:pt x="467" y="608"/>
                </a:cubicBezTo>
                <a:cubicBezTo>
                  <a:pt x="466" y="602"/>
                  <a:pt x="466" y="602"/>
                  <a:pt x="466" y="602"/>
                </a:cubicBezTo>
                <a:cubicBezTo>
                  <a:pt x="469" y="601"/>
                  <a:pt x="469" y="601"/>
                  <a:pt x="469" y="601"/>
                </a:cubicBezTo>
                <a:cubicBezTo>
                  <a:pt x="469" y="601"/>
                  <a:pt x="469" y="593"/>
                  <a:pt x="471" y="592"/>
                </a:cubicBezTo>
                <a:cubicBezTo>
                  <a:pt x="473" y="592"/>
                  <a:pt x="474" y="594"/>
                  <a:pt x="475" y="592"/>
                </a:cubicBezTo>
                <a:cubicBezTo>
                  <a:pt x="475" y="590"/>
                  <a:pt x="477" y="586"/>
                  <a:pt x="477" y="586"/>
                </a:cubicBezTo>
                <a:cubicBezTo>
                  <a:pt x="475" y="576"/>
                  <a:pt x="475" y="576"/>
                  <a:pt x="475" y="576"/>
                </a:cubicBezTo>
                <a:cubicBezTo>
                  <a:pt x="478" y="574"/>
                  <a:pt x="478" y="574"/>
                  <a:pt x="478" y="574"/>
                </a:cubicBezTo>
                <a:cubicBezTo>
                  <a:pt x="475" y="572"/>
                  <a:pt x="475" y="572"/>
                  <a:pt x="475" y="572"/>
                </a:cubicBezTo>
                <a:cubicBezTo>
                  <a:pt x="475" y="569"/>
                  <a:pt x="475" y="569"/>
                  <a:pt x="475" y="569"/>
                </a:cubicBezTo>
                <a:cubicBezTo>
                  <a:pt x="475" y="569"/>
                  <a:pt x="479" y="572"/>
                  <a:pt x="480" y="569"/>
                </a:cubicBezTo>
                <a:cubicBezTo>
                  <a:pt x="480" y="567"/>
                  <a:pt x="480" y="565"/>
                  <a:pt x="480" y="565"/>
                </a:cubicBezTo>
                <a:cubicBezTo>
                  <a:pt x="483" y="564"/>
                  <a:pt x="483" y="564"/>
                  <a:pt x="483" y="564"/>
                </a:cubicBezTo>
                <a:cubicBezTo>
                  <a:pt x="484" y="560"/>
                  <a:pt x="484" y="560"/>
                  <a:pt x="484" y="560"/>
                </a:cubicBezTo>
                <a:cubicBezTo>
                  <a:pt x="486" y="561"/>
                  <a:pt x="486" y="561"/>
                  <a:pt x="486" y="561"/>
                </a:cubicBezTo>
                <a:cubicBezTo>
                  <a:pt x="489" y="560"/>
                  <a:pt x="489" y="560"/>
                  <a:pt x="489" y="560"/>
                </a:cubicBezTo>
                <a:cubicBezTo>
                  <a:pt x="488" y="557"/>
                  <a:pt x="488" y="557"/>
                  <a:pt x="488" y="557"/>
                </a:cubicBezTo>
                <a:cubicBezTo>
                  <a:pt x="490" y="558"/>
                  <a:pt x="490" y="558"/>
                  <a:pt x="490" y="558"/>
                </a:cubicBezTo>
                <a:cubicBezTo>
                  <a:pt x="490" y="558"/>
                  <a:pt x="491" y="554"/>
                  <a:pt x="492" y="554"/>
                </a:cubicBezTo>
                <a:cubicBezTo>
                  <a:pt x="493" y="555"/>
                  <a:pt x="493" y="558"/>
                  <a:pt x="495" y="557"/>
                </a:cubicBezTo>
                <a:cubicBezTo>
                  <a:pt x="496" y="556"/>
                  <a:pt x="502" y="555"/>
                  <a:pt x="503" y="553"/>
                </a:cubicBezTo>
                <a:cubicBezTo>
                  <a:pt x="505" y="551"/>
                  <a:pt x="508" y="547"/>
                  <a:pt x="508" y="547"/>
                </a:cubicBezTo>
                <a:cubicBezTo>
                  <a:pt x="508" y="547"/>
                  <a:pt x="506" y="542"/>
                  <a:pt x="508" y="542"/>
                </a:cubicBezTo>
                <a:cubicBezTo>
                  <a:pt x="510" y="542"/>
                  <a:pt x="513" y="547"/>
                  <a:pt x="515" y="546"/>
                </a:cubicBezTo>
                <a:cubicBezTo>
                  <a:pt x="518" y="544"/>
                  <a:pt x="519" y="538"/>
                  <a:pt x="520" y="540"/>
                </a:cubicBezTo>
                <a:cubicBezTo>
                  <a:pt x="521" y="541"/>
                  <a:pt x="522" y="542"/>
                  <a:pt x="523" y="542"/>
                </a:cubicBezTo>
                <a:cubicBezTo>
                  <a:pt x="524" y="542"/>
                  <a:pt x="526" y="539"/>
                  <a:pt x="526" y="539"/>
                </a:cubicBezTo>
                <a:cubicBezTo>
                  <a:pt x="526" y="539"/>
                  <a:pt x="530" y="546"/>
                  <a:pt x="533" y="545"/>
                </a:cubicBezTo>
                <a:cubicBezTo>
                  <a:pt x="536" y="545"/>
                  <a:pt x="536" y="538"/>
                  <a:pt x="540" y="542"/>
                </a:cubicBezTo>
                <a:cubicBezTo>
                  <a:pt x="543" y="545"/>
                  <a:pt x="541" y="549"/>
                  <a:pt x="544" y="549"/>
                </a:cubicBezTo>
                <a:cubicBezTo>
                  <a:pt x="546" y="549"/>
                  <a:pt x="549" y="550"/>
                  <a:pt x="549" y="550"/>
                </a:cubicBezTo>
                <a:cubicBezTo>
                  <a:pt x="549" y="550"/>
                  <a:pt x="549" y="547"/>
                  <a:pt x="550" y="548"/>
                </a:cubicBezTo>
                <a:cubicBezTo>
                  <a:pt x="552" y="549"/>
                  <a:pt x="553" y="553"/>
                  <a:pt x="554" y="550"/>
                </a:cubicBezTo>
                <a:cubicBezTo>
                  <a:pt x="555" y="548"/>
                  <a:pt x="554" y="545"/>
                  <a:pt x="554" y="545"/>
                </a:cubicBezTo>
                <a:cubicBezTo>
                  <a:pt x="557" y="546"/>
                  <a:pt x="557" y="546"/>
                  <a:pt x="557" y="546"/>
                </a:cubicBezTo>
                <a:cubicBezTo>
                  <a:pt x="558" y="548"/>
                  <a:pt x="558" y="548"/>
                  <a:pt x="558" y="548"/>
                </a:cubicBezTo>
                <a:cubicBezTo>
                  <a:pt x="560" y="549"/>
                  <a:pt x="560" y="549"/>
                  <a:pt x="560" y="549"/>
                </a:cubicBezTo>
                <a:cubicBezTo>
                  <a:pt x="560" y="551"/>
                  <a:pt x="560" y="551"/>
                  <a:pt x="560" y="551"/>
                </a:cubicBezTo>
                <a:cubicBezTo>
                  <a:pt x="560" y="551"/>
                  <a:pt x="565" y="552"/>
                  <a:pt x="564" y="550"/>
                </a:cubicBezTo>
                <a:cubicBezTo>
                  <a:pt x="563" y="547"/>
                  <a:pt x="560" y="546"/>
                  <a:pt x="560" y="546"/>
                </a:cubicBezTo>
                <a:cubicBezTo>
                  <a:pt x="559" y="544"/>
                  <a:pt x="559" y="544"/>
                  <a:pt x="559" y="544"/>
                </a:cubicBezTo>
                <a:cubicBezTo>
                  <a:pt x="559" y="544"/>
                  <a:pt x="563" y="543"/>
                  <a:pt x="563" y="542"/>
                </a:cubicBezTo>
                <a:cubicBezTo>
                  <a:pt x="562" y="540"/>
                  <a:pt x="562" y="540"/>
                  <a:pt x="560" y="540"/>
                </a:cubicBezTo>
                <a:cubicBezTo>
                  <a:pt x="558" y="540"/>
                  <a:pt x="552" y="541"/>
                  <a:pt x="554" y="538"/>
                </a:cubicBezTo>
                <a:cubicBezTo>
                  <a:pt x="556" y="535"/>
                  <a:pt x="558" y="537"/>
                  <a:pt x="560" y="538"/>
                </a:cubicBezTo>
                <a:cubicBezTo>
                  <a:pt x="563" y="538"/>
                  <a:pt x="564" y="538"/>
                  <a:pt x="566" y="536"/>
                </a:cubicBezTo>
                <a:cubicBezTo>
                  <a:pt x="568" y="535"/>
                  <a:pt x="571" y="535"/>
                  <a:pt x="571" y="535"/>
                </a:cubicBezTo>
                <a:cubicBezTo>
                  <a:pt x="571" y="536"/>
                  <a:pt x="571" y="536"/>
                  <a:pt x="571" y="536"/>
                </a:cubicBezTo>
                <a:cubicBezTo>
                  <a:pt x="571" y="536"/>
                  <a:pt x="577" y="536"/>
                  <a:pt x="577" y="534"/>
                </a:cubicBezTo>
                <a:cubicBezTo>
                  <a:pt x="577" y="533"/>
                  <a:pt x="578" y="530"/>
                  <a:pt x="579" y="531"/>
                </a:cubicBezTo>
                <a:cubicBezTo>
                  <a:pt x="580" y="532"/>
                  <a:pt x="580" y="536"/>
                  <a:pt x="580" y="536"/>
                </a:cubicBezTo>
                <a:cubicBezTo>
                  <a:pt x="580" y="536"/>
                  <a:pt x="587" y="534"/>
                  <a:pt x="589" y="534"/>
                </a:cubicBezTo>
                <a:cubicBezTo>
                  <a:pt x="590" y="534"/>
                  <a:pt x="592" y="536"/>
                  <a:pt x="592" y="536"/>
                </a:cubicBezTo>
                <a:cubicBezTo>
                  <a:pt x="592" y="536"/>
                  <a:pt x="591" y="533"/>
                  <a:pt x="593" y="534"/>
                </a:cubicBezTo>
                <a:cubicBezTo>
                  <a:pt x="595" y="535"/>
                  <a:pt x="595" y="538"/>
                  <a:pt x="595" y="538"/>
                </a:cubicBezTo>
                <a:cubicBezTo>
                  <a:pt x="600" y="537"/>
                  <a:pt x="600" y="537"/>
                  <a:pt x="600" y="537"/>
                </a:cubicBezTo>
                <a:cubicBezTo>
                  <a:pt x="599" y="538"/>
                  <a:pt x="599" y="538"/>
                  <a:pt x="599" y="538"/>
                </a:cubicBezTo>
                <a:cubicBezTo>
                  <a:pt x="599" y="538"/>
                  <a:pt x="599" y="545"/>
                  <a:pt x="603" y="544"/>
                </a:cubicBezTo>
                <a:cubicBezTo>
                  <a:pt x="607" y="543"/>
                  <a:pt x="609" y="538"/>
                  <a:pt x="613" y="539"/>
                </a:cubicBezTo>
                <a:cubicBezTo>
                  <a:pt x="617" y="540"/>
                  <a:pt x="617" y="547"/>
                  <a:pt x="619" y="548"/>
                </a:cubicBezTo>
                <a:cubicBezTo>
                  <a:pt x="621" y="549"/>
                  <a:pt x="625" y="549"/>
                  <a:pt x="625" y="549"/>
                </a:cubicBezTo>
                <a:cubicBezTo>
                  <a:pt x="624" y="555"/>
                  <a:pt x="624" y="555"/>
                  <a:pt x="624" y="555"/>
                </a:cubicBezTo>
                <a:cubicBezTo>
                  <a:pt x="624" y="555"/>
                  <a:pt x="620" y="560"/>
                  <a:pt x="620" y="562"/>
                </a:cubicBezTo>
                <a:cubicBezTo>
                  <a:pt x="621" y="564"/>
                  <a:pt x="623" y="564"/>
                  <a:pt x="623" y="564"/>
                </a:cubicBezTo>
                <a:cubicBezTo>
                  <a:pt x="624" y="566"/>
                  <a:pt x="624" y="566"/>
                  <a:pt x="624" y="566"/>
                </a:cubicBezTo>
                <a:cubicBezTo>
                  <a:pt x="620" y="569"/>
                  <a:pt x="620" y="569"/>
                  <a:pt x="620" y="569"/>
                </a:cubicBezTo>
                <a:cubicBezTo>
                  <a:pt x="623" y="576"/>
                  <a:pt x="623" y="576"/>
                  <a:pt x="623" y="576"/>
                </a:cubicBezTo>
                <a:cubicBezTo>
                  <a:pt x="623" y="576"/>
                  <a:pt x="626" y="572"/>
                  <a:pt x="626" y="573"/>
                </a:cubicBezTo>
                <a:cubicBezTo>
                  <a:pt x="626" y="574"/>
                  <a:pt x="624" y="579"/>
                  <a:pt x="624" y="579"/>
                </a:cubicBezTo>
                <a:cubicBezTo>
                  <a:pt x="626" y="579"/>
                  <a:pt x="626" y="579"/>
                  <a:pt x="626" y="579"/>
                </a:cubicBezTo>
                <a:cubicBezTo>
                  <a:pt x="626" y="586"/>
                  <a:pt x="626" y="586"/>
                  <a:pt x="626" y="586"/>
                </a:cubicBezTo>
                <a:cubicBezTo>
                  <a:pt x="626" y="586"/>
                  <a:pt x="630" y="586"/>
                  <a:pt x="630" y="587"/>
                </a:cubicBezTo>
                <a:cubicBezTo>
                  <a:pt x="630" y="588"/>
                  <a:pt x="629" y="591"/>
                  <a:pt x="629" y="591"/>
                </a:cubicBezTo>
                <a:cubicBezTo>
                  <a:pt x="632" y="595"/>
                  <a:pt x="632" y="595"/>
                  <a:pt x="632" y="595"/>
                </a:cubicBezTo>
                <a:cubicBezTo>
                  <a:pt x="632" y="595"/>
                  <a:pt x="637" y="594"/>
                  <a:pt x="638" y="592"/>
                </a:cubicBezTo>
                <a:cubicBezTo>
                  <a:pt x="638" y="591"/>
                  <a:pt x="639" y="588"/>
                  <a:pt x="639" y="588"/>
                </a:cubicBezTo>
                <a:cubicBezTo>
                  <a:pt x="641" y="588"/>
                  <a:pt x="641" y="588"/>
                  <a:pt x="641" y="588"/>
                </a:cubicBezTo>
                <a:cubicBezTo>
                  <a:pt x="641" y="588"/>
                  <a:pt x="641" y="584"/>
                  <a:pt x="643" y="582"/>
                </a:cubicBezTo>
                <a:cubicBezTo>
                  <a:pt x="644" y="579"/>
                  <a:pt x="645" y="576"/>
                  <a:pt x="644" y="574"/>
                </a:cubicBezTo>
                <a:cubicBezTo>
                  <a:pt x="644" y="572"/>
                  <a:pt x="641" y="565"/>
                  <a:pt x="641" y="563"/>
                </a:cubicBezTo>
                <a:cubicBezTo>
                  <a:pt x="641" y="561"/>
                  <a:pt x="643" y="558"/>
                  <a:pt x="643" y="555"/>
                </a:cubicBezTo>
                <a:cubicBezTo>
                  <a:pt x="643" y="551"/>
                  <a:pt x="639" y="546"/>
                  <a:pt x="639" y="543"/>
                </a:cubicBezTo>
                <a:cubicBezTo>
                  <a:pt x="640" y="540"/>
                  <a:pt x="639" y="532"/>
                  <a:pt x="641" y="529"/>
                </a:cubicBezTo>
                <a:cubicBezTo>
                  <a:pt x="644" y="526"/>
                  <a:pt x="645" y="520"/>
                  <a:pt x="645" y="520"/>
                </a:cubicBezTo>
                <a:cubicBezTo>
                  <a:pt x="647" y="519"/>
                  <a:pt x="647" y="519"/>
                  <a:pt x="647" y="519"/>
                </a:cubicBezTo>
                <a:cubicBezTo>
                  <a:pt x="650" y="517"/>
                  <a:pt x="650" y="517"/>
                  <a:pt x="650" y="517"/>
                </a:cubicBezTo>
                <a:cubicBezTo>
                  <a:pt x="651" y="513"/>
                  <a:pt x="651" y="513"/>
                  <a:pt x="651" y="513"/>
                </a:cubicBezTo>
                <a:cubicBezTo>
                  <a:pt x="653" y="514"/>
                  <a:pt x="653" y="514"/>
                  <a:pt x="653" y="514"/>
                </a:cubicBezTo>
                <a:cubicBezTo>
                  <a:pt x="654" y="511"/>
                  <a:pt x="654" y="511"/>
                  <a:pt x="654" y="511"/>
                </a:cubicBezTo>
                <a:cubicBezTo>
                  <a:pt x="654" y="511"/>
                  <a:pt x="660" y="512"/>
                  <a:pt x="661" y="511"/>
                </a:cubicBezTo>
                <a:cubicBezTo>
                  <a:pt x="662" y="510"/>
                  <a:pt x="661" y="508"/>
                  <a:pt x="661" y="508"/>
                </a:cubicBezTo>
                <a:cubicBezTo>
                  <a:pt x="664" y="508"/>
                  <a:pt x="664" y="508"/>
                  <a:pt x="664" y="508"/>
                </a:cubicBezTo>
                <a:cubicBezTo>
                  <a:pt x="665" y="506"/>
                  <a:pt x="665" y="506"/>
                  <a:pt x="665" y="506"/>
                </a:cubicBezTo>
                <a:cubicBezTo>
                  <a:pt x="667" y="506"/>
                  <a:pt x="667" y="506"/>
                  <a:pt x="667" y="506"/>
                </a:cubicBezTo>
                <a:cubicBezTo>
                  <a:pt x="671" y="502"/>
                  <a:pt x="671" y="502"/>
                  <a:pt x="671" y="502"/>
                </a:cubicBezTo>
                <a:cubicBezTo>
                  <a:pt x="671" y="502"/>
                  <a:pt x="672" y="498"/>
                  <a:pt x="676" y="497"/>
                </a:cubicBezTo>
                <a:cubicBezTo>
                  <a:pt x="680" y="496"/>
                  <a:pt x="682" y="498"/>
                  <a:pt x="684" y="496"/>
                </a:cubicBezTo>
                <a:cubicBezTo>
                  <a:pt x="686" y="494"/>
                  <a:pt x="687" y="491"/>
                  <a:pt x="687" y="491"/>
                </a:cubicBezTo>
                <a:cubicBezTo>
                  <a:pt x="689" y="491"/>
                  <a:pt x="689" y="491"/>
                  <a:pt x="689" y="491"/>
                </a:cubicBezTo>
                <a:cubicBezTo>
                  <a:pt x="690" y="488"/>
                  <a:pt x="690" y="488"/>
                  <a:pt x="690" y="488"/>
                </a:cubicBezTo>
                <a:cubicBezTo>
                  <a:pt x="701" y="487"/>
                  <a:pt x="701" y="487"/>
                  <a:pt x="701" y="487"/>
                </a:cubicBezTo>
                <a:cubicBezTo>
                  <a:pt x="702" y="484"/>
                  <a:pt x="702" y="484"/>
                  <a:pt x="702" y="484"/>
                </a:cubicBezTo>
                <a:cubicBezTo>
                  <a:pt x="697" y="484"/>
                  <a:pt x="697" y="484"/>
                  <a:pt x="697" y="484"/>
                </a:cubicBezTo>
                <a:cubicBezTo>
                  <a:pt x="697" y="484"/>
                  <a:pt x="700" y="483"/>
                  <a:pt x="699" y="482"/>
                </a:cubicBezTo>
                <a:cubicBezTo>
                  <a:pt x="699" y="480"/>
                  <a:pt x="697" y="479"/>
                  <a:pt x="697" y="479"/>
                </a:cubicBezTo>
                <a:cubicBezTo>
                  <a:pt x="702" y="478"/>
                  <a:pt x="702" y="478"/>
                  <a:pt x="702" y="478"/>
                </a:cubicBezTo>
                <a:cubicBezTo>
                  <a:pt x="705" y="479"/>
                  <a:pt x="705" y="479"/>
                  <a:pt x="705" y="479"/>
                </a:cubicBezTo>
                <a:cubicBezTo>
                  <a:pt x="710" y="474"/>
                  <a:pt x="710" y="474"/>
                  <a:pt x="710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0"/>
                  <a:pt x="702" y="470"/>
                  <a:pt x="702" y="470"/>
                </a:cubicBezTo>
                <a:cubicBezTo>
                  <a:pt x="704" y="472"/>
                  <a:pt x="704" y="472"/>
                  <a:pt x="704" y="472"/>
                </a:cubicBezTo>
                <a:cubicBezTo>
                  <a:pt x="710" y="470"/>
                  <a:pt x="710" y="470"/>
                  <a:pt x="710" y="470"/>
                </a:cubicBezTo>
                <a:cubicBezTo>
                  <a:pt x="711" y="462"/>
                  <a:pt x="711" y="462"/>
                  <a:pt x="711" y="462"/>
                </a:cubicBezTo>
                <a:cubicBezTo>
                  <a:pt x="707" y="464"/>
                  <a:pt x="707" y="464"/>
                  <a:pt x="707" y="464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3" y="457"/>
                  <a:pt x="703" y="457"/>
                  <a:pt x="703" y="457"/>
                </a:cubicBezTo>
                <a:cubicBezTo>
                  <a:pt x="709" y="461"/>
                  <a:pt x="709" y="461"/>
                  <a:pt x="709" y="461"/>
                </a:cubicBezTo>
                <a:cubicBezTo>
                  <a:pt x="710" y="459"/>
                  <a:pt x="710" y="459"/>
                  <a:pt x="710" y="459"/>
                </a:cubicBezTo>
                <a:cubicBezTo>
                  <a:pt x="707" y="457"/>
                  <a:pt x="707" y="457"/>
                  <a:pt x="707" y="457"/>
                </a:cubicBezTo>
                <a:cubicBezTo>
                  <a:pt x="711" y="457"/>
                  <a:pt x="711" y="457"/>
                  <a:pt x="711" y="457"/>
                </a:cubicBezTo>
                <a:cubicBezTo>
                  <a:pt x="711" y="457"/>
                  <a:pt x="707" y="451"/>
                  <a:pt x="707" y="450"/>
                </a:cubicBezTo>
                <a:cubicBezTo>
                  <a:pt x="707" y="448"/>
                  <a:pt x="708" y="448"/>
                  <a:pt x="708" y="448"/>
                </a:cubicBezTo>
                <a:cubicBezTo>
                  <a:pt x="708" y="448"/>
                  <a:pt x="704" y="445"/>
                  <a:pt x="704" y="445"/>
                </a:cubicBezTo>
                <a:cubicBezTo>
                  <a:pt x="705" y="444"/>
                  <a:pt x="709" y="442"/>
                  <a:pt x="709" y="442"/>
                </a:cubicBezTo>
                <a:cubicBezTo>
                  <a:pt x="708" y="445"/>
                  <a:pt x="708" y="445"/>
                  <a:pt x="708" y="445"/>
                </a:cubicBezTo>
                <a:cubicBezTo>
                  <a:pt x="712" y="449"/>
                  <a:pt x="712" y="449"/>
                  <a:pt x="712" y="449"/>
                </a:cubicBezTo>
                <a:cubicBezTo>
                  <a:pt x="712" y="449"/>
                  <a:pt x="714" y="444"/>
                  <a:pt x="714" y="441"/>
                </a:cubicBezTo>
                <a:cubicBezTo>
                  <a:pt x="714" y="438"/>
                  <a:pt x="722" y="432"/>
                  <a:pt x="722" y="434"/>
                </a:cubicBezTo>
                <a:cubicBezTo>
                  <a:pt x="721" y="435"/>
                  <a:pt x="717" y="442"/>
                  <a:pt x="717" y="442"/>
                </a:cubicBezTo>
                <a:cubicBezTo>
                  <a:pt x="715" y="447"/>
                  <a:pt x="715" y="447"/>
                  <a:pt x="715" y="447"/>
                </a:cubicBezTo>
                <a:cubicBezTo>
                  <a:pt x="718" y="447"/>
                  <a:pt x="718" y="447"/>
                  <a:pt x="718" y="447"/>
                </a:cubicBezTo>
                <a:cubicBezTo>
                  <a:pt x="718" y="447"/>
                  <a:pt x="717" y="452"/>
                  <a:pt x="716" y="452"/>
                </a:cubicBezTo>
                <a:cubicBezTo>
                  <a:pt x="715" y="453"/>
                  <a:pt x="712" y="460"/>
                  <a:pt x="713" y="460"/>
                </a:cubicBezTo>
                <a:cubicBezTo>
                  <a:pt x="714" y="460"/>
                  <a:pt x="717" y="455"/>
                  <a:pt x="718" y="454"/>
                </a:cubicBezTo>
                <a:cubicBezTo>
                  <a:pt x="719" y="453"/>
                  <a:pt x="725" y="450"/>
                  <a:pt x="726" y="447"/>
                </a:cubicBezTo>
                <a:cubicBezTo>
                  <a:pt x="726" y="445"/>
                  <a:pt x="725" y="440"/>
                  <a:pt x="725" y="438"/>
                </a:cubicBezTo>
                <a:cubicBezTo>
                  <a:pt x="725" y="436"/>
                  <a:pt x="726" y="430"/>
                  <a:pt x="728" y="429"/>
                </a:cubicBezTo>
                <a:cubicBezTo>
                  <a:pt x="729" y="429"/>
                  <a:pt x="728" y="430"/>
                  <a:pt x="727" y="433"/>
                </a:cubicBezTo>
                <a:cubicBezTo>
                  <a:pt x="727" y="435"/>
                  <a:pt x="729" y="436"/>
                  <a:pt x="729" y="436"/>
                </a:cubicBezTo>
                <a:cubicBezTo>
                  <a:pt x="729" y="436"/>
                  <a:pt x="728" y="441"/>
                  <a:pt x="729" y="441"/>
                </a:cubicBezTo>
                <a:cubicBezTo>
                  <a:pt x="729" y="441"/>
                  <a:pt x="736" y="433"/>
                  <a:pt x="738" y="431"/>
                </a:cubicBezTo>
                <a:cubicBezTo>
                  <a:pt x="740" y="429"/>
                  <a:pt x="745" y="426"/>
                  <a:pt x="744" y="425"/>
                </a:cubicBezTo>
                <a:cubicBezTo>
                  <a:pt x="743" y="424"/>
                  <a:pt x="741" y="425"/>
                  <a:pt x="741" y="423"/>
                </a:cubicBezTo>
                <a:cubicBezTo>
                  <a:pt x="741" y="420"/>
                  <a:pt x="745" y="422"/>
                  <a:pt x="749" y="422"/>
                </a:cubicBezTo>
                <a:cubicBezTo>
                  <a:pt x="754" y="422"/>
                  <a:pt x="763" y="417"/>
                  <a:pt x="763" y="417"/>
                </a:cubicBezTo>
                <a:cubicBezTo>
                  <a:pt x="760" y="416"/>
                  <a:pt x="760" y="416"/>
                  <a:pt x="760" y="416"/>
                </a:cubicBezTo>
                <a:cubicBezTo>
                  <a:pt x="760" y="416"/>
                  <a:pt x="755" y="418"/>
                  <a:pt x="753" y="418"/>
                </a:cubicBezTo>
                <a:cubicBezTo>
                  <a:pt x="750" y="418"/>
                  <a:pt x="746" y="420"/>
                  <a:pt x="747" y="417"/>
                </a:cubicBezTo>
                <a:cubicBezTo>
                  <a:pt x="748" y="415"/>
                  <a:pt x="755" y="414"/>
                  <a:pt x="755" y="414"/>
                </a:cubicBezTo>
                <a:cubicBezTo>
                  <a:pt x="767" y="414"/>
                  <a:pt x="767" y="414"/>
                  <a:pt x="767" y="414"/>
                </a:cubicBezTo>
                <a:cubicBezTo>
                  <a:pt x="773" y="408"/>
                  <a:pt x="773" y="408"/>
                  <a:pt x="773" y="408"/>
                </a:cubicBezTo>
                <a:cubicBezTo>
                  <a:pt x="775" y="410"/>
                  <a:pt x="775" y="410"/>
                  <a:pt x="775" y="410"/>
                </a:cubicBezTo>
                <a:cubicBezTo>
                  <a:pt x="778" y="408"/>
                  <a:pt x="778" y="408"/>
                  <a:pt x="778" y="408"/>
                </a:cubicBezTo>
                <a:cubicBezTo>
                  <a:pt x="778" y="413"/>
                  <a:pt x="778" y="413"/>
                  <a:pt x="778" y="413"/>
                </a:cubicBezTo>
                <a:cubicBezTo>
                  <a:pt x="782" y="410"/>
                  <a:pt x="782" y="410"/>
                  <a:pt x="782" y="410"/>
                </a:cubicBezTo>
                <a:cubicBezTo>
                  <a:pt x="786" y="410"/>
                  <a:pt x="786" y="410"/>
                  <a:pt x="786" y="410"/>
                </a:cubicBezTo>
                <a:cubicBezTo>
                  <a:pt x="787" y="405"/>
                  <a:pt x="787" y="405"/>
                  <a:pt x="787" y="405"/>
                </a:cubicBezTo>
                <a:cubicBezTo>
                  <a:pt x="785" y="403"/>
                  <a:pt x="785" y="403"/>
                  <a:pt x="785" y="403"/>
                </a:cubicBezTo>
                <a:cubicBezTo>
                  <a:pt x="784" y="407"/>
                  <a:pt x="784" y="407"/>
                  <a:pt x="784" y="407"/>
                </a:cubicBezTo>
                <a:cubicBezTo>
                  <a:pt x="781" y="408"/>
                  <a:pt x="781" y="408"/>
                  <a:pt x="781" y="408"/>
                </a:cubicBezTo>
                <a:cubicBezTo>
                  <a:pt x="781" y="404"/>
                  <a:pt x="781" y="404"/>
                  <a:pt x="781" y="404"/>
                </a:cubicBezTo>
                <a:cubicBezTo>
                  <a:pt x="778" y="401"/>
                  <a:pt x="778" y="401"/>
                  <a:pt x="778" y="401"/>
                </a:cubicBezTo>
                <a:cubicBezTo>
                  <a:pt x="782" y="399"/>
                  <a:pt x="782" y="399"/>
                  <a:pt x="782" y="399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6" y="391"/>
                  <a:pt x="788" y="390"/>
                </a:cubicBezTo>
                <a:cubicBezTo>
                  <a:pt x="790" y="389"/>
                  <a:pt x="791" y="385"/>
                  <a:pt x="791" y="385"/>
                </a:cubicBezTo>
                <a:cubicBezTo>
                  <a:pt x="795" y="386"/>
                  <a:pt x="795" y="386"/>
                  <a:pt x="795" y="386"/>
                </a:cubicBezTo>
                <a:cubicBezTo>
                  <a:pt x="797" y="383"/>
                  <a:pt x="797" y="383"/>
                  <a:pt x="797" y="383"/>
                </a:cubicBezTo>
                <a:cubicBezTo>
                  <a:pt x="797" y="383"/>
                  <a:pt x="798" y="385"/>
                  <a:pt x="799" y="384"/>
                </a:cubicBezTo>
                <a:cubicBezTo>
                  <a:pt x="801" y="383"/>
                  <a:pt x="807" y="378"/>
                  <a:pt x="807" y="378"/>
                </a:cubicBezTo>
                <a:cubicBezTo>
                  <a:pt x="807" y="382"/>
                  <a:pt x="807" y="382"/>
                  <a:pt x="807" y="382"/>
                </a:cubicBezTo>
                <a:cubicBezTo>
                  <a:pt x="807" y="382"/>
                  <a:pt x="814" y="378"/>
                  <a:pt x="816" y="377"/>
                </a:cubicBezTo>
                <a:cubicBezTo>
                  <a:pt x="817" y="375"/>
                  <a:pt x="824" y="375"/>
                  <a:pt x="824" y="375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5" y="371"/>
                  <a:pt x="827" y="372"/>
                  <a:pt x="830" y="371"/>
                </a:cubicBezTo>
                <a:cubicBezTo>
                  <a:pt x="833" y="370"/>
                  <a:pt x="835" y="366"/>
                  <a:pt x="835" y="366"/>
                </a:cubicBezTo>
                <a:cubicBezTo>
                  <a:pt x="837" y="369"/>
                  <a:pt x="837" y="369"/>
                  <a:pt x="837" y="369"/>
                </a:cubicBezTo>
                <a:cubicBezTo>
                  <a:pt x="837" y="369"/>
                  <a:pt x="843" y="366"/>
                  <a:pt x="844" y="366"/>
                </a:cubicBezTo>
                <a:cubicBezTo>
                  <a:pt x="845" y="365"/>
                  <a:pt x="850" y="364"/>
                  <a:pt x="850" y="364"/>
                </a:cubicBezTo>
                <a:cubicBezTo>
                  <a:pt x="852" y="364"/>
                  <a:pt x="852" y="364"/>
                  <a:pt x="852" y="364"/>
                </a:cubicBezTo>
                <a:cubicBezTo>
                  <a:pt x="846" y="369"/>
                  <a:pt x="846" y="369"/>
                  <a:pt x="846" y="369"/>
                </a:cubicBezTo>
                <a:cubicBezTo>
                  <a:pt x="859" y="367"/>
                  <a:pt x="859" y="367"/>
                  <a:pt x="859" y="367"/>
                </a:cubicBezTo>
                <a:cubicBezTo>
                  <a:pt x="859" y="367"/>
                  <a:pt x="853" y="368"/>
                  <a:pt x="852" y="369"/>
                </a:cubicBezTo>
                <a:cubicBezTo>
                  <a:pt x="852" y="370"/>
                  <a:pt x="851" y="372"/>
                  <a:pt x="851" y="372"/>
                </a:cubicBezTo>
                <a:cubicBezTo>
                  <a:pt x="851" y="372"/>
                  <a:pt x="847" y="370"/>
                  <a:pt x="846" y="370"/>
                </a:cubicBezTo>
                <a:cubicBezTo>
                  <a:pt x="844" y="371"/>
                  <a:pt x="830" y="378"/>
                  <a:pt x="830" y="380"/>
                </a:cubicBezTo>
                <a:cubicBezTo>
                  <a:pt x="829" y="381"/>
                  <a:pt x="828" y="386"/>
                  <a:pt x="829" y="387"/>
                </a:cubicBezTo>
                <a:cubicBezTo>
                  <a:pt x="830" y="387"/>
                  <a:pt x="831" y="386"/>
                  <a:pt x="831" y="386"/>
                </a:cubicBezTo>
                <a:cubicBezTo>
                  <a:pt x="831" y="386"/>
                  <a:pt x="831" y="389"/>
                  <a:pt x="833" y="388"/>
                </a:cubicBezTo>
                <a:cubicBezTo>
                  <a:pt x="835" y="388"/>
                  <a:pt x="836" y="385"/>
                  <a:pt x="836" y="385"/>
                </a:cubicBezTo>
                <a:cubicBezTo>
                  <a:pt x="836" y="385"/>
                  <a:pt x="841" y="385"/>
                  <a:pt x="844" y="382"/>
                </a:cubicBezTo>
                <a:cubicBezTo>
                  <a:pt x="847" y="380"/>
                  <a:pt x="850" y="375"/>
                  <a:pt x="850" y="375"/>
                </a:cubicBezTo>
                <a:cubicBezTo>
                  <a:pt x="850" y="375"/>
                  <a:pt x="850" y="379"/>
                  <a:pt x="853" y="378"/>
                </a:cubicBezTo>
                <a:cubicBezTo>
                  <a:pt x="856" y="377"/>
                  <a:pt x="863" y="374"/>
                  <a:pt x="866" y="374"/>
                </a:cubicBezTo>
                <a:cubicBezTo>
                  <a:pt x="868" y="373"/>
                  <a:pt x="879" y="370"/>
                  <a:pt x="879" y="370"/>
                </a:cubicBezTo>
                <a:cubicBezTo>
                  <a:pt x="877" y="368"/>
                  <a:pt x="877" y="368"/>
                  <a:pt x="877" y="368"/>
                </a:cubicBezTo>
                <a:cubicBezTo>
                  <a:pt x="878" y="365"/>
                  <a:pt x="878" y="365"/>
                  <a:pt x="878" y="365"/>
                </a:cubicBezTo>
                <a:cubicBezTo>
                  <a:pt x="873" y="366"/>
                  <a:pt x="873" y="366"/>
                  <a:pt x="873" y="366"/>
                </a:cubicBezTo>
                <a:cubicBezTo>
                  <a:pt x="873" y="363"/>
                  <a:pt x="873" y="363"/>
                  <a:pt x="873" y="363"/>
                </a:cubicBezTo>
                <a:cubicBezTo>
                  <a:pt x="873" y="363"/>
                  <a:pt x="868" y="366"/>
                  <a:pt x="867" y="366"/>
                </a:cubicBezTo>
                <a:cubicBezTo>
                  <a:pt x="866" y="365"/>
                  <a:pt x="866" y="364"/>
                  <a:pt x="866" y="364"/>
                </a:cubicBezTo>
                <a:cubicBezTo>
                  <a:pt x="866" y="364"/>
                  <a:pt x="859" y="364"/>
                  <a:pt x="858" y="363"/>
                </a:cubicBezTo>
                <a:cubicBezTo>
                  <a:pt x="857" y="362"/>
                  <a:pt x="855" y="360"/>
                  <a:pt x="857" y="360"/>
                </a:cubicBezTo>
                <a:cubicBezTo>
                  <a:pt x="859" y="360"/>
                  <a:pt x="856" y="357"/>
                  <a:pt x="854" y="358"/>
                </a:cubicBezTo>
                <a:cubicBezTo>
                  <a:pt x="852" y="359"/>
                  <a:pt x="851" y="355"/>
                  <a:pt x="851" y="353"/>
                </a:cubicBezTo>
                <a:cubicBezTo>
                  <a:pt x="851" y="352"/>
                  <a:pt x="853" y="350"/>
                  <a:pt x="853" y="350"/>
                </a:cubicBezTo>
                <a:cubicBezTo>
                  <a:pt x="850" y="350"/>
                  <a:pt x="850" y="350"/>
                  <a:pt x="850" y="350"/>
                </a:cubicBezTo>
                <a:cubicBezTo>
                  <a:pt x="850" y="350"/>
                  <a:pt x="854" y="346"/>
                  <a:pt x="855" y="345"/>
                </a:cubicBezTo>
                <a:cubicBezTo>
                  <a:pt x="857" y="343"/>
                  <a:pt x="861" y="339"/>
                  <a:pt x="861" y="339"/>
                </a:cubicBezTo>
                <a:cubicBezTo>
                  <a:pt x="859" y="338"/>
                  <a:pt x="859" y="338"/>
                  <a:pt x="859" y="338"/>
                </a:cubicBezTo>
                <a:cubicBezTo>
                  <a:pt x="856" y="342"/>
                  <a:pt x="856" y="342"/>
                  <a:pt x="856" y="342"/>
                </a:cubicBezTo>
                <a:cubicBezTo>
                  <a:pt x="853" y="341"/>
                  <a:pt x="853" y="341"/>
                  <a:pt x="853" y="341"/>
                </a:cubicBezTo>
                <a:cubicBezTo>
                  <a:pt x="849" y="343"/>
                  <a:pt x="849" y="343"/>
                  <a:pt x="849" y="343"/>
                </a:cubicBezTo>
                <a:cubicBezTo>
                  <a:pt x="848" y="341"/>
                  <a:pt x="848" y="341"/>
                  <a:pt x="848" y="341"/>
                </a:cubicBezTo>
                <a:cubicBezTo>
                  <a:pt x="844" y="339"/>
                  <a:pt x="844" y="339"/>
                  <a:pt x="844" y="339"/>
                </a:cubicBezTo>
                <a:cubicBezTo>
                  <a:pt x="841" y="340"/>
                  <a:pt x="841" y="340"/>
                  <a:pt x="841" y="340"/>
                </a:cubicBezTo>
                <a:cubicBezTo>
                  <a:pt x="849" y="337"/>
                  <a:pt x="849" y="337"/>
                  <a:pt x="849" y="337"/>
                </a:cubicBezTo>
                <a:cubicBezTo>
                  <a:pt x="849" y="337"/>
                  <a:pt x="850" y="339"/>
                  <a:pt x="852" y="339"/>
                </a:cubicBezTo>
                <a:cubicBezTo>
                  <a:pt x="854" y="339"/>
                  <a:pt x="859" y="335"/>
                  <a:pt x="859" y="335"/>
                </a:cubicBezTo>
                <a:cubicBezTo>
                  <a:pt x="859" y="335"/>
                  <a:pt x="864" y="336"/>
                  <a:pt x="865" y="334"/>
                </a:cubicBezTo>
                <a:cubicBezTo>
                  <a:pt x="865" y="333"/>
                  <a:pt x="863" y="331"/>
                  <a:pt x="863" y="331"/>
                </a:cubicBezTo>
                <a:cubicBezTo>
                  <a:pt x="867" y="330"/>
                  <a:pt x="867" y="330"/>
                  <a:pt x="867" y="330"/>
                </a:cubicBezTo>
                <a:cubicBezTo>
                  <a:pt x="867" y="330"/>
                  <a:pt x="865" y="326"/>
                  <a:pt x="856" y="326"/>
                </a:cubicBezTo>
                <a:cubicBezTo>
                  <a:pt x="847" y="326"/>
                  <a:pt x="837" y="330"/>
                  <a:pt x="832" y="331"/>
                </a:cubicBezTo>
                <a:cubicBezTo>
                  <a:pt x="827" y="332"/>
                  <a:pt x="819" y="337"/>
                  <a:pt x="818" y="338"/>
                </a:cubicBezTo>
                <a:cubicBezTo>
                  <a:pt x="816" y="339"/>
                  <a:pt x="808" y="346"/>
                  <a:pt x="805" y="348"/>
                </a:cubicBezTo>
                <a:cubicBezTo>
                  <a:pt x="803" y="350"/>
                  <a:pt x="796" y="351"/>
                  <a:pt x="796" y="351"/>
                </a:cubicBezTo>
                <a:cubicBezTo>
                  <a:pt x="796" y="351"/>
                  <a:pt x="806" y="345"/>
                  <a:pt x="808" y="343"/>
                </a:cubicBezTo>
                <a:cubicBezTo>
                  <a:pt x="810" y="341"/>
                  <a:pt x="813" y="338"/>
                  <a:pt x="813" y="338"/>
                </a:cubicBezTo>
                <a:cubicBezTo>
                  <a:pt x="810" y="336"/>
                  <a:pt x="810" y="336"/>
                  <a:pt x="810" y="336"/>
                </a:cubicBezTo>
                <a:cubicBezTo>
                  <a:pt x="810" y="336"/>
                  <a:pt x="814" y="338"/>
                  <a:pt x="815" y="337"/>
                </a:cubicBezTo>
                <a:cubicBezTo>
                  <a:pt x="816" y="336"/>
                  <a:pt x="827" y="329"/>
                  <a:pt x="829" y="327"/>
                </a:cubicBezTo>
                <a:cubicBezTo>
                  <a:pt x="832" y="325"/>
                  <a:pt x="840" y="324"/>
                  <a:pt x="840" y="324"/>
                </a:cubicBezTo>
                <a:cubicBezTo>
                  <a:pt x="841" y="325"/>
                  <a:pt x="846" y="317"/>
                  <a:pt x="852" y="316"/>
                </a:cubicBezTo>
                <a:cubicBezTo>
                  <a:pt x="858" y="315"/>
                  <a:pt x="874" y="314"/>
                  <a:pt x="878" y="314"/>
                </a:cubicBezTo>
                <a:cubicBezTo>
                  <a:pt x="881" y="314"/>
                  <a:pt x="893" y="318"/>
                  <a:pt x="895" y="317"/>
                </a:cubicBezTo>
                <a:cubicBezTo>
                  <a:pt x="898" y="317"/>
                  <a:pt x="902" y="314"/>
                  <a:pt x="904" y="314"/>
                </a:cubicBezTo>
                <a:cubicBezTo>
                  <a:pt x="906" y="314"/>
                  <a:pt x="913" y="313"/>
                  <a:pt x="915" y="311"/>
                </a:cubicBezTo>
                <a:cubicBezTo>
                  <a:pt x="918" y="309"/>
                  <a:pt x="923" y="304"/>
                  <a:pt x="925" y="303"/>
                </a:cubicBezTo>
                <a:cubicBezTo>
                  <a:pt x="927" y="303"/>
                  <a:pt x="931" y="303"/>
                  <a:pt x="931" y="303"/>
                </a:cubicBezTo>
                <a:cubicBezTo>
                  <a:pt x="931" y="303"/>
                  <a:pt x="934" y="301"/>
                  <a:pt x="936" y="301"/>
                </a:cubicBezTo>
                <a:cubicBezTo>
                  <a:pt x="938" y="301"/>
                  <a:pt x="938" y="302"/>
                  <a:pt x="941" y="300"/>
                </a:cubicBezTo>
                <a:cubicBezTo>
                  <a:pt x="941" y="300"/>
                  <a:pt x="955" y="297"/>
                  <a:pt x="954" y="294"/>
                </a:cubicBezTo>
                <a:cubicBezTo>
                  <a:pt x="953" y="292"/>
                  <a:pt x="949" y="290"/>
                  <a:pt x="949" y="290"/>
                </a:cubicBezTo>
                <a:cubicBezTo>
                  <a:pt x="949" y="290"/>
                  <a:pt x="954" y="290"/>
                  <a:pt x="954" y="288"/>
                </a:cubicBezTo>
                <a:cubicBezTo>
                  <a:pt x="954" y="286"/>
                  <a:pt x="953" y="284"/>
                  <a:pt x="953" y="284"/>
                </a:cubicBezTo>
                <a:cubicBezTo>
                  <a:pt x="953" y="284"/>
                  <a:pt x="959" y="285"/>
                  <a:pt x="957" y="281"/>
                </a:cubicBezTo>
                <a:cubicBezTo>
                  <a:pt x="956" y="278"/>
                  <a:pt x="951" y="276"/>
                  <a:pt x="950" y="277"/>
                </a:cubicBezTo>
                <a:cubicBezTo>
                  <a:pt x="948" y="279"/>
                  <a:pt x="949" y="282"/>
                  <a:pt x="945" y="280"/>
                </a:cubicBezTo>
                <a:cubicBezTo>
                  <a:pt x="942" y="278"/>
                  <a:pt x="947" y="276"/>
                  <a:pt x="947" y="276"/>
                </a:cubicBezTo>
                <a:cubicBezTo>
                  <a:pt x="947" y="273"/>
                  <a:pt x="947" y="273"/>
                  <a:pt x="947" y="273"/>
                </a:cubicBezTo>
                <a:cubicBezTo>
                  <a:pt x="943" y="272"/>
                  <a:pt x="943" y="272"/>
                  <a:pt x="943" y="272"/>
                </a:cubicBezTo>
                <a:cubicBezTo>
                  <a:pt x="943" y="272"/>
                  <a:pt x="933" y="276"/>
                  <a:pt x="932" y="277"/>
                </a:cubicBezTo>
                <a:cubicBezTo>
                  <a:pt x="932" y="278"/>
                  <a:pt x="924" y="279"/>
                  <a:pt x="924" y="279"/>
                </a:cubicBezTo>
                <a:cubicBezTo>
                  <a:pt x="920" y="282"/>
                  <a:pt x="920" y="282"/>
                  <a:pt x="920" y="282"/>
                </a:cubicBezTo>
                <a:cubicBezTo>
                  <a:pt x="921" y="279"/>
                  <a:pt x="921" y="279"/>
                  <a:pt x="921" y="279"/>
                </a:cubicBezTo>
                <a:cubicBezTo>
                  <a:pt x="918" y="276"/>
                  <a:pt x="918" y="276"/>
                  <a:pt x="918" y="276"/>
                </a:cubicBezTo>
                <a:cubicBezTo>
                  <a:pt x="923" y="278"/>
                  <a:pt x="923" y="278"/>
                  <a:pt x="923" y="278"/>
                </a:cubicBezTo>
                <a:cubicBezTo>
                  <a:pt x="925" y="276"/>
                  <a:pt x="925" y="276"/>
                  <a:pt x="925" y="276"/>
                </a:cubicBezTo>
                <a:cubicBezTo>
                  <a:pt x="929" y="276"/>
                  <a:pt x="929" y="276"/>
                  <a:pt x="929" y="276"/>
                </a:cubicBezTo>
                <a:cubicBezTo>
                  <a:pt x="929" y="273"/>
                  <a:pt x="929" y="273"/>
                  <a:pt x="929" y="273"/>
                </a:cubicBezTo>
                <a:cubicBezTo>
                  <a:pt x="929" y="273"/>
                  <a:pt x="934" y="274"/>
                  <a:pt x="936" y="273"/>
                </a:cubicBezTo>
                <a:cubicBezTo>
                  <a:pt x="939" y="271"/>
                  <a:pt x="942" y="270"/>
                  <a:pt x="942" y="270"/>
                </a:cubicBezTo>
                <a:cubicBezTo>
                  <a:pt x="942" y="270"/>
                  <a:pt x="952" y="271"/>
                  <a:pt x="952" y="270"/>
                </a:cubicBezTo>
                <a:cubicBezTo>
                  <a:pt x="952" y="269"/>
                  <a:pt x="948" y="267"/>
                  <a:pt x="948" y="267"/>
                </a:cubicBezTo>
                <a:cubicBezTo>
                  <a:pt x="948" y="264"/>
                  <a:pt x="948" y="264"/>
                  <a:pt x="948" y="264"/>
                </a:cubicBezTo>
                <a:cubicBezTo>
                  <a:pt x="948" y="264"/>
                  <a:pt x="942" y="265"/>
                  <a:pt x="941" y="265"/>
                </a:cubicBezTo>
                <a:cubicBezTo>
                  <a:pt x="940" y="265"/>
                  <a:pt x="939" y="262"/>
                  <a:pt x="939" y="262"/>
                </a:cubicBezTo>
                <a:cubicBezTo>
                  <a:pt x="931" y="265"/>
                  <a:pt x="931" y="265"/>
                  <a:pt x="931" y="265"/>
                </a:cubicBezTo>
                <a:cubicBezTo>
                  <a:pt x="931" y="261"/>
                  <a:pt x="931" y="261"/>
                  <a:pt x="931" y="261"/>
                </a:cubicBezTo>
                <a:cubicBezTo>
                  <a:pt x="925" y="263"/>
                  <a:pt x="925" y="263"/>
                  <a:pt x="925" y="263"/>
                </a:cubicBezTo>
                <a:cubicBezTo>
                  <a:pt x="925" y="263"/>
                  <a:pt x="932" y="256"/>
                  <a:pt x="930" y="255"/>
                </a:cubicBezTo>
                <a:cubicBezTo>
                  <a:pt x="928" y="254"/>
                  <a:pt x="923" y="254"/>
                  <a:pt x="923" y="254"/>
                </a:cubicBezTo>
                <a:cubicBezTo>
                  <a:pt x="924" y="251"/>
                  <a:pt x="924" y="251"/>
                  <a:pt x="924" y="251"/>
                </a:cubicBezTo>
                <a:cubicBezTo>
                  <a:pt x="919" y="251"/>
                  <a:pt x="919" y="251"/>
                  <a:pt x="919" y="251"/>
                </a:cubicBezTo>
                <a:cubicBezTo>
                  <a:pt x="921" y="248"/>
                  <a:pt x="921" y="248"/>
                  <a:pt x="921" y="248"/>
                </a:cubicBezTo>
                <a:cubicBezTo>
                  <a:pt x="917" y="244"/>
                  <a:pt x="917" y="244"/>
                  <a:pt x="917" y="244"/>
                </a:cubicBezTo>
                <a:cubicBezTo>
                  <a:pt x="917" y="244"/>
                  <a:pt x="923" y="246"/>
                  <a:pt x="925" y="244"/>
                </a:cubicBezTo>
                <a:cubicBezTo>
                  <a:pt x="927" y="243"/>
                  <a:pt x="929" y="242"/>
                  <a:pt x="929" y="242"/>
                </a:cubicBezTo>
                <a:cubicBezTo>
                  <a:pt x="923" y="238"/>
                  <a:pt x="923" y="238"/>
                  <a:pt x="923" y="238"/>
                </a:cubicBezTo>
                <a:cubicBezTo>
                  <a:pt x="930" y="234"/>
                  <a:pt x="930" y="234"/>
                  <a:pt x="930" y="234"/>
                </a:cubicBezTo>
                <a:cubicBezTo>
                  <a:pt x="923" y="231"/>
                  <a:pt x="923" y="231"/>
                  <a:pt x="923" y="231"/>
                </a:cubicBezTo>
                <a:cubicBezTo>
                  <a:pt x="917" y="232"/>
                  <a:pt x="917" y="232"/>
                  <a:pt x="917" y="232"/>
                </a:cubicBezTo>
                <a:cubicBezTo>
                  <a:pt x="924" y="229"/>
                  <a:pt x="924" y="229"/>
                  <a:pt x="924" y="229"/>
                </a:cubicBezTo>
                <a:cubicBezTo>
                  <a:pt x="919" y="228"/>
                  <a:pt x="919" y="228"/>
                  <a:pt x="919" y="228"/>
                </a:cubicBezTo>
                <a:cubicBezTo>
                  <a:pt x="925" y="225"/>
                  <a:pt x="925" y="225"/>
                  <a:pt x="925" y="225"/>
                </a:cubicBezTo>
                <a:cubicBezTo>
                  <a:pt x="924" y="221"/>
                  <a:pt x="924" y="221"/>
                  <a:pt x="924" y="221"/>
                </a:cubicBezTo>
                <a:cubicBezTo>
                  <a:pt x="920" y="221"/>
                  <a:pt x="920" y="221"/>
                  <a:pt x="920" y="221"/>
                </a:cubicBezTo>
                <a:cubicBezTo>
                  <a:pt x="920" y="221"/>
                  <a:pt x="923" y="219"/>
                  <a:pt x="922" y="215"/>
                </a:cubicBezTo>
                <a:cubicBezTo>
                  <a:pt x="920" y="211"/>
                  <a:pt x="918" y="211"/>
                  <a:pt x="918" y="211"/>
                </a:cubicBezTo>
                <a:cubicBezTo>
                  <a:pt x="920" y="208"/>
                  <a:pt x="920" y="208"/>
                  <a:pt x="920" y="208"/>
                </a:cubicBezTo>
                <a:cubicBezTo>
                  <a:pt x="920" y="208"/>
                  <a:pt x="915" y="211"/>
                  <a:pt x="914" y="212"/>
                </a:cubicBezTo>
                <a:cubicBezTo>
                  <a:pt x="913" y="214"/>
                  <a:pt x="914" y="215"/>
                  <a:pt x="914" y="215"/>
                </a:cubicBezTo>
                <a:cubicBezTo>
                  <a:pt x="910" y="214"/>
                  <a:pt x="910" y="214"/>
                  <a:pt x="910" y="214"/>
                </a:cubicBezTo>
                <a:cubicBezTo>
                  <a:pt x="911" y="218"/>
                  <a:pt x="911" y="218"/>
                  <a:pt x="911" y="218"/>
                </a:cubicBezTo>
                <a:cubicBezTo>
                  <a:pt x="907" y="218"/>
                  <a:pt x="907" y="218"/>
                  <a:pt x="907" y="218"/>
                </a:cubicBezTo>
                <a:cubicBezTo>
                  <a:pt x="905" y="221"/>
                  <a:pt x="905" y="221"/>
                  <a:pt x="905" y="221"/>
                </a:cubicBezTo>
                <a:cubicBezTo>
                  <a:pt x="906" y="222"/>
                  <a:pt x="906" y="222"/>
                  <a:pt x="906" y="222"/>
                </a:cubicBezTo>
                <a:cubicBezTo>
                  <a:pt x="903" y="223"/>
                  <a:pt x="903" y="223"/>
                  <a:pt x="903" y="223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8" y="229"/>
                  <a:pt x="898" y="229"/>
                  <a:pt x="898" y="229"/>
                </a:cubicBezTo>
                <a:cubicBezTo>
                  <a:pt x="900" y="224"/>
                  <a:pt x="900" y="224"/>
                  <a:pt x="900" y="224"/>
                </a:cubicBezTo>
                <a:cubicBezTo>
                  <a:pt x="900" y="224"/>
                  <a:pt x="898" y="220"/>
                  <a:pt x="896" y="222"/>
                </a:cubicBezTo>
                <a:cubicBezTo>
                  <a:pt x="894" y="224"/>
                  <a:pt x="892" y="227"/>
                  <a:pt x="890" y="227"/>
                </a:cubicBezTo>
                <a:cubicBezTo>
                  <a:pt x="889" y="227"/>
                  <a:pt x="883" y="232"/>
                  <a:pt x="883" y="232"/>
                </a:cubicBezTo>
                <a:cubicBezTo>
                  <a:pt x="884" y="229"/>
                  <a:pt x="884" y="229"/>
                  <a:pt x="884" y="229"/>
                </a:cubicBezTo>
                <a:cubicBezTo>
                  <a:pt x="884" y="226"/>
                  <a:pt x="884" y="226"/>
                  <a:pt x="884" y="226"/>
                </a:cubicBezTo>
                <a:cubicBezTo>
                  <a:pt x="879" y="231"/>
                  <a:pt x="879" y="231"/>
                  <a:pt x="879" y="231"/>
                </a:cubicBezTo>
                <a:cubicBezTo>
                  <a:pt x="869" y="233"/>
                  <a:pt x="869" y="233"/>
                  <a:pt x="869" y="233"/>
                </a:cubicBez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83" y="224"/>
                  <a:pt x="880" y="223"/>
                </a:cubicBezTo>
                <a:cubicBezTo>
                  <a:pt x="878" y="222"/>
                  <a:pt x="875" y="223"/>
                  <a:pt x="875" y="223"/>
                </a:cubicBezTo>
                <a:cubicBezTo>
                  <a:pt x="875" y="223"/>
                  <a:pt x="868" y="226"/>
                  <a:pt x="868" y="224"/>
                </a:cubicBezTo>
                <a:cubicBezTo>
                  <a:pt x="868" y="221"/>
                  <a:pt x="872" y="221"/>
                  <a:pt x="872" y="221"/>
                </a:cubicBezTo>
                <a:cubicBezTo>
                  <a:pt x="872" y="222"/>
                  <a:pt x="872" y="222"/>
                  <a:pt x="872" y="222"/>
                </a:cubicBezTo>
                <a:cubicBezTo>
                  <a:pt x="875" y="221"/>
                  <a:pt x="875" y="221"/>
                  <a:pt x="875" y="221"/>
                </a:cubicBezTo>
                <a:cubicBezTo>
                  <a:pt x="874" y="217"/>
                  <a:pt x="874" y="217"/>
                  <a:pt x="874" y="217"/>
                </a:cubicBezTo>
                <a:cubicBezTo>
                  <a:pt x="874" y="217"/>
                  <a:pt x="879" y="214"/>
                  <a:pt x="877" y="213"/>
                </a:cubicBezTo>
                <a:cubicBezTo>
                  <a:pt x="876" y="211"/>
                  <a:pt x="870" y="211"/>
                  <a:pt x="870" y="211"/>
                </a:cubicBezTo>
                <a:cubicBezTo>
                  <a:pt x="870" y="211"/>
                  <a:pt x="879" y="211"/>
                  <a:pt x="880" y="208"/>
                </a:cubicBezTo>
                <a:cubicBezTo>
                  <a:pt x="881" y="206"/>
                  <a:pt x="881" y="205"/>
                  <a:pt x="882" y="205"/>
                </a:cubicBezTo>
                <a:cubicBezTo>
                  <a:pt x="884" y="204"/>
                  <a:pt x="888" y="203"/>
                  <a:pt x="886" y="202"/>
                </a:cubicBezTo>
                <a:cubicBezTo>
                  <a:pt x="884" y="200"/>
                  <a:pt x="882" y="203"/>
                  <a:pt x="882" y="203"/>
                </a:cubicBezTo>
                <a:cubicBezTo>
                  <a:pt x="880" y="199"/>
                  <a:pt x="880" y="199"/>
                  <a:pt x="880" y="199"/>
                </a:cubicBezTo>
                <a:cubicBezTo>
                  <a:pt x="880" y="199"/>
                  <a:pt x="874" y="200"/>
                  <a:pt x="872" y="200"/>
                </a:cubicBezTo>
                <a:cubicBezTo>
                  <a:pt x="870" y="200"/>
                  <a:pt x="870" y="197"/>
                  <a:pt x="871" y="196"/>
                </a:cubicBezTo>
                <a:cubicBezTo>
                  <a:pt x="873" y="195"/>
                  <a:pt x="873" y="194"/>
                  <a:pt x="872" y="193"/>
                </a:cubicBezTo>
                <a:cubicBezTo>
                  <a:pt x="870" y="193"/>
                  <a:pt x="869" y="194"/>
                  <a:pt x="869" y="194"/>
                </a:cubicBezTo>
                <a:cubicBezTo>
                  <a:pt x="870" y="191"/>
                  <a:pt x="870" y="191"/>
                  <a:pt x="870" y="191"/>
                </a:cubicBezTo>
                <a:cubicBezTo>
                  <a:pt x="865" y="192"/>
                  <a:pt x="865" y="192"/>
                  <a:pt x="865" y="192"/>
                </a:cubicBezTo>
                <a:cubicBezTo>
                  <a:pt x="865" y="192"/>
                  <a:pt x="866" y="186"/>
                  <a:pt x="862" y="186"/>
                </a:cubicBezTo>
                <a:cubicBezTo>
                  <a:pt x="859" y="186"/>
                  <a:pt x="853" y="189"/>
                  <a:pt x="853" y="189"/>
                </a:cubicBezTo>
                <a:cubicBezTo>
                  <a:pt x="853" y="189"/>
                  <a:pt x="851" y="187"/>
                  <a:pt x="850" y="187"/>
                </a:cubicBezTo>
                <a:cubicBezTo>
                  <a:pt x="848" y="187"/>
                  <a:pt x="844" y="189"/>
                  <a:pt x="844" y="189"/>
                </a:cubicBezTo>
                <a:cubicBezTo>
                  <a:pt x="844" y="189"/>
                  <a:pt x="835" y="184"/>
                  <a:pt x="831" y="185"/>
                </a:cubicBezTo>
                <a:cubicBezTo>
                  <a:pt x="828" y="186"/>
                  <a:pt x="827" y="188"/>
                  <a:pt x="827" y="188"/>
                </a:cubicBezTo>
                <a:cubicBezTo>
                  <a:pt x="827" y="188"/>
                  <a:pt x="822" y="190"/>
                  <a:pt x="824" y="192"/>
                </a:cubicBezTo>
                <a:cubicBezTo>
                  <a:pt x="825" y="194"/>
                  <a:pt x="828" y="194"/>
                  <a:pt x="827" y="196"/>
                </a:cubicBezTo>
                <a:cubicBezTo>
                  <a:pt x="826" y="197"/>
                  <a:pt x="820" y="201"/>
                  <a:pt x="820" y="201"/>
                </a:cubicBezTo>
                <a:cubicBezTo>
                  <a:pt x="817" y="202"/>
                  <a:pt x="817" y="202"/>
                  <a:pt x="817" y="202"/>
                </a:cubicBezTo>
                <a:cubicBezTo>
                  <a:pt x="820" y="204"/>
                  <a:pt x="820" y="204"/>
                  <a:pt x="820" y="204"/>
                </a:cubicBezTo>
                <a:cubicBezTo>
                  <a:pt x="820" y="204"/>
                  <a:pt x="817" y="205"/>
                  <a:pt x="817" y="207"/>
                </a:cubicBezTo>
                <a:cubicBezTo>
                  <a:pt x="817" y="209"/>
                  <a:pt x="818" y="211"/>
                  <a:pt x="817" y="213"/>
                </a:cubicBezTo>
                <a:cubicBezTo>
                  <a:pt x="815" y="215"/>
                  <a:pt x="813" y="213"/>
                  <a:pt x="811" y="215"/>
                </a:cubicBezTo>
                <a:cubicBezTo>
                  <a:pt x="808" y="216"/>
                  <a:pt x="808" y="219"/>
                  <a:pt x="808" y="219"/>
                </a:cubicBezTo>
                <a:cubicBezTo>
                  <a:pt x="808" y="219"/>
                  <a:pt x="805" y="220"/>
                  <a:pt x="804" y="221"/>
                </a:cubicBezTo>
                <a:cubicBezTo>
                  <a:pt x="803" y="222"/>
                  <a:pt x="798" y="223"/>
                  <a:pt x="799" y="225"/>
                </a:cubicBezTo>
                <a:cubicBezTo>
                  <a:pt x="799" y="227"/>
                  <a:pt x="807" y="230"/>
                  <a:pt x="807" y="232"/>
                </a:cubicBezTo>
                <a:cubicBezTo>
                  <a:pt x="807" y="233"/>
                  <a:pt x="807" y="247"/>
                  <a:pt x="799" y="251"/>
                </a:cubicBezTo>
                <a:cubicBezTo>
                  <a:pt x="792" y="255"/>
                  <a:pt x="783" y="263"/>
                  <a:pt x="779" y="263"/>
                </a:cubicBezTo>
                <a:cubicBezTo>
                  <a:pt x="775" y="263"/>
                  <a:pt x="765" y="264"/>
                  <a:pt x="764" y="266"/>
                </a:cubicBezTo>
                <a:cubicBezTo>
                  <a:pt x="764" y="267"/>
                  <a:pt x="766" y="273"/>
                  <a:pt x="766" y="274"/>
                </a:cubicBezTo>
                <a:cubicBezTo>
                  <a:pt x="766" y="275"/>
                  <a:pt x="762" y="280"/>
                  <a:pt x="761" y="283"/>
                </a:cubicBezTo>
                <a:cubicBezTo>
                  <a:pt x="760" y="286"/>
                  <a:pt x="761" y="293"/>
                  <a:pt x="761" y="293"/>
                </a:cubicBezTo>
                <a:cubicBezTo>
                  <a:pt x="761" y="293"/>
                  <a:pt x="754" y="297"/>
                  <a:pt x="753" y="298"/>
                </a:cubicBezTo>
                <a:cubicBezTo>
                  <a:pt x="753" y="299"/>
                  <a:pt x="753" y="302"/>
                  <a:pt x="753" y="302"/>
                </a:cubicBezTo>
                <a:cubicBezTo>
                  <a:pt x="750" y="306"/>
                  <a:pt x="750" y="306"/>
                  <a:pt x="750" y="306"/>
                </a:cubicBezTo>
                <a:cubicBezTo>
                  <a:pt x="750" y="306"/>
                  <a:pt x="752" y="301"/>
                  <a:pt x="749" y="300"/>
                </a:cubicBezTo>
                <a:cubicBezTo>
                  <a:pt x="747" y="300"/>
                  <a:pt x="743" y="303"/>
                  <a:pt x="744" y="305"/>
                </a:cubicBezTo>
                <a:cubicBezTo>
                  <a:pt x="745" y="308"/>
                  <a:pt x="743" y="310"/>
                  <a:pt x="743" y="310"/>
                </a:cubicBezTo>
                <a:cubicBezTo>
                  <a:pt x="743" y="310"/>
                  <a:pt x="743" y="305"/>
                  <a:pt x="742" y="304"/>
                </a:cubicBezTo>
                <a:cubicBezTo>
                  <a:pt x="740" y="303"/>
                  <a:pt x="732" y="306"/>
                  <a:pt x="732" y="306"/>
                </a:cubicBezTo>
                <a:cubicBezTo>
                  <a:pt x="732" y="306"/>
                  <a:pt x="740" y="301"/>
                  <a:pt x="739" y="298"/>
                </a:cubicBezTo>
                <a:cubicBezTo>
                  <a:pt x="738" y="296"/>
                  <a:pt x="731" y="293"/>
                  <a:pt x="731" y="293"/>
                </a:cubicBezTo>
                <a:cubicBezTo>
                  <a:pt x="731" y="293"/>
                  <a:pt x="734" y="293"/>
                  <a:pt x="734" y="291"/>
                </a:cubicBezTo>
                <a:cubicBezTo>
                  <a:pt x="734" y="290"/>
                  <a:pt x="732" y="284"/>
                  <a:pt x="732" y="284"/>
                </a:cubicBezTo>
                <a:cubicBezTo>
                  <a:pt x="736" y="281"/>
                  <a:pt x="736" y="281"/>
                  <a:pt x="736" y="281"/>
                </a:cubicBezTo>
                <a:cubicBezTo>
                  <a:pt x="736" y="278"/>
                  <a:pt x="736" y="278"/>
                  <a:pt x="736" y="278"/>
                </a:cubicBezTo>
                <a:cubicBezTo>
                  <a:pt x="740" y="276"/>
                  <a:pt x="740" y="276"/>
                  <a:pt x="740" y="276"/>
                </a:cubicBezTo>
                <a:cubicBezTo>
                  <a:pt x="740" y="271"/>
                  <a:pt x="740" y="271"/>
                  <a:pt x="740" y="271"/>
                </a:cubicBezTo>
                <a:cubicBezTo>
                  <a:pt x="740" y="271"/>
                  <a:pt x="750" y="265"/>
                  <a:pt x="745" y="262"/>
                </a:cubicBezTo>
                <a:cubicBezTo>
                  <a:pt x="740" y="260"/>
                  <a:pt x="725" y="261"/>
                  <a:pt x="725" y="261"/>
                </a:cubicBezTo>
                <a:cubicBezTo>
                  <a:pt x="720" y="262"/>
                  <a:pt x="720" y="262"/>
                  <a:pt x="720" y="262"/>
                </a:cubicBezTo>
                <a:cubicBezTo>
                  <a:pt x="720" y="262"/>
                  <a:pt x="723" y="258"/>
                  <a:pt x="721" y="257"/>
                </a:cubicBezTo>
                <a:cubicBezTo>
                  <a:pt x="719" y="256"/>
                  <a:pt x="709" y="254"/>
                  <a:pt x="709" y="254"/>
                </a:cubicBezTo>
                <a:cubicBezTo>
                  <a:pt x="709" y="254"/>
                  <a:pt x="710" y="249"/>
                  <a:pt x="706" y="246"/>
                </a:cubicBezTo>
                <a:cubicBezTo>
                  <a:pt x="702" y="243"/>
                  <a:pt x="697" y="243"/>
                  <a:pt x="697" y="243"/>
                </a:cubicBezTo>
                <a:cubicBezTo>
                  <a:pt x="697" y="243"/>
                  <a:pt x="697" y="241"/>
                  <a:pt x="691" y="240"/>
                </a:cubicBezTo>
                <a:cubicBezTo>
                  <a:pt x="686" y="240"/>
                  <a:pt x="671" y="243"/>
                  <a:pt x="671" y="243"/>
                </a:cubicBezTo>
                <a:cubicBezTo>
                  <a:pt x="671" y="243"/>
                  <a:pt x="678" y="241"/>
                  <a:pt x="678" y="238"/>
                </a:cubicBezTo>
                <a:cubicBezTo>
                  <a:pt x="678" y="236"/>
                  <a:pt x="682" y="225"/>
                  <a:pt x="682" y="225"/>
                </a:cubicBezTo>
                <a:cubicBezTo>
                  <a:pt x="682" y="225"/>
                  <a:pt x="676" y="224"/>
                  <a:pt x="675" y="224"/>
                </a:cubicBezTo>
                <a:cubicBezTo>
                  <a:pt x="675" y="224"/>
                  <a:pt x="670" y="228"/>
                  <a:pt x="670" y="228"/>
                </a:cubicBezTo>
                <a:cubicBezTo>
                  <a:pt x="672" y="224"/>
                  <a:pt x="672" y="224"/>
                  <a:pt x="672" y="224"/>
                </a:cubicBezTo>
                <a:cubicBezTo>
                  <a:pt x="671" y="221"/>
                  <a:pt x="671" y="221"/>
                  <a:pt x="671" y="221"/>
                </a:cubicBezTo>
                <a:cubicBezTo>
                  <a:pt x="671" y="221"/>
                  <a:pt x="677" y="216"/>
                  <a:pt x="679" y="212"/>
                </a:cubicBezTo>
                <a:cubicBezTo>
                  <a:pt x="682" y="207"/>
                  <a:pt x="696" y="199"/>
                  <a:pt x="696" y="199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704" y="194"/>
                  <a:pt x="704" y="194"/>
                  <a:pt x="704" y="194"/>
                </a:cubicBezTo>
                <a:cubicBezTo>
                  <a:pt x="704" y="192"/>
                  <a:pt x="704" y="192"/>
                  <a:pt x="704" y="192"/>
                </a:cubicBezTo>
                <a:cubicBezTo>
                  <a:pt x="709" y="191"/>
                  <a:pt x="709" y="191"/>
                  <a:pt x="709" y="191"/>
                </a:cubicBezTo>
                <a:cubicBezTo>
                  <a:pt x="710" y="188"/>
                  <a:pt x="710" y="188"/>
                  <a:pt x="710" y="188"/>
                </a:cubicBezTo>
                <a:cubicBezTo>
                  <a:pt x="714" y="188"/>
                  <a:pt x="714" y="188"/>
                  <a:pt x="714" y="188"/>
                </a:cubicBezTo>
                <a:cubicBezTo>
                  <a:pt x="721" y="182"/>
                  <a:pt x="721" y="182"/>
                  <a:pt x="721" y="182"/>
                </a:cubicBezTo>
                <a:cubicBezTo>
                  <a:pt x="721" y="182"/>
                  <a:pt x="737" y="183"/>
                  <a:pt x="737" y="180"/>
                </a:cubicBezTo>
                <a:cubicBezTo>
                  <a:pt x="737" y="177"/>
                  <a:pt x="733" y="174"/>
                  <a:pt x="733" y="174"/>
                </a:cubicBezTo>
                <a:cubicBezTo>
                  <a:pt x="724" y="175"/>
                  <a:pt x="724" y="175"/>
                  <a:pt x="724" y="175"/>
                </a:cubicBezTo>
                <a:cubicBezTo>
                  <a:pt x="726" y="173"/>
                  <a:pt x="726" y="173"/>
                  <a:pt x="726" y="173"/>
                </a:cubicBezTo>
                <a:cubicBezTo>
                  <a:pt x="718" y="170"/>
                  <a:pt x="718" y="170"/>
                  <a:pt x="718" y="170"/>
                </a:cubicBezTo>
                <a:cubicBezTo>
                  <a:pt x="721" y="169"/>
                  <a:pt x="721" y="169"/>
                  <a:pt x="721" y="169"/>
                </a:cubicBezTo>
                <a:cubicBezTo>
                  <a:pt x="733" y="172"/>
                  <a:pt x="733" y="172"/>
                  <a:pt x="733" y="172"/>
                </a:cubicBezTo>
                <a:cubicBezTo>
                  <a:pt x="733" y="172"/>
                  <a:pt x="737" y="177"/>
                  <a:pt x="741" y="175"/>
                </a:cubicBezTo>
                <a:cubicBezTo>
                  <a:pt x="745" y="174"/>
                  <a:pt x="749" y="167"/>
                  <a:pt x="750" y="168"/>
                </a:cubicBezTo>
                <a:cubicBezTo>
                  <a:pt x="752" y="169"/>
                  <a:pt x="756" y="171"/>
                  <a:pt x="758" y="171"/>
                </a:cubicBezTo>
                <a:cubicBezTo>
                  <a:pt x="758" y="171"/>
                  <a:pt x="767" y="167"/>
                  <a:pt x="771" y="165"/>
                </a:cubicBezTo>
                <a:cubicBezTo>
                  <a:pt x="775" y="164"/>
                  <a:pt x="782" y="160"/>
                  <a:pt x="779" y="159"/>
                </a:cubicBezTo>
                <a:cubicBezTo>
                  <a:pt x="777" y="158"/>
                  <a:pt x="765" y="158"/>
                  <a:pt x="765" y="158"/>
                </a:cubicBezTo>
                <a:cubicBezTo>
                  <a:pt x="764" y="155"/>
                  <a:pt x="764" y="155"/>
                  <a:pt x="764" y="155"/>
                </a:cubicBezTo>
                <a:cubicBezTo>
                  <a:pt x="753" y="151"/>
                  <a:pt x="753" y="151"/>
                  <a:pt x="753" y="151"/>
                </a:cubicBezTo>
                <a:cubicBezTo>
                  <a:pt x="753" y="151"/>
                  <a:pt x="764" y="149"/>
                  <a:pt x="767" y="151"/>
                </a:cubicBezTo>
                <a:cubicBezTo>
                  <a:pt x="771" y="152"/>
                  <a:pt x="773" y="157"/>
                  <a:pt x="777" y="157"/>
                </a:cubicBezTo>
                <a:cubicBezTo>
                  <a:pt x="780" y="157"/>
                  <a:pt x="796" y="149"/>
                  <a:pt x="796" y="149"/>
                </a:cubicBezTo>
                <a:cubicBezTo>
                  <a:pt x="792" y="148"/>
                  <a:pt x="792" y="148"/>
                  <a:pt x="792" y="148"/>
                </a:cubicBezTo>
                <a:cubicBezTo>
                  <a:pt x="792" y="148"/>
                  <a:pt x="795" y="145"/>
                  <a:pt x="799" y="145"/>
                </a:cubicBezTo>
                <a:cubicBezTo>
                  <a:pt x="803" y="145"/>
                  <a:pt x="804" y="148"/>
                  <a:pt x="804" y="148"/>
                </a:cubicBezTo>
                <a:cubicBezTo>
                  <a:pt x="808" y="149"/>
                  <a:pt x="808" y="149"/>
                  <a:pt x="808" y="149"/>
                </a:cubicBezTo>
                <a:cubicBezTo>
                  <a:pt x="808" y="147"/>
                  <a:pt x="808" y="147"/>
                  <a:pt x="808" y="147"/>
                </a:cubicBezTo>
                <a:cubicBezTo>
                  <a:pt x="808" y="147"/>
                  <a:pt x="811" y="150"/>
                  <a:pt x="812" y="148"/>
                </a:cubicBezTo>
                <a:cubicBezTo>
                  <a:pt x="813" y="147"/>
                  <a:pt x="810" y="143"/>
                  <a:pt x="810" y="143"/>
                </a:cubicBezTo>
                <a:cubicBezTo>
                  <a:pt x="807" y="142"/>
                  <a:pt x="807" y="142"/>
                  <a:pt x="807" y="142"/>
                </a:cubicBezTo>
                <a:cubicBezTo>
                  <a:pt x="812" y="140"/>
                  <a:pt x="812" y="140"/>
                  <a:pt x="812" y="140"/>
                </a:cubicBezTo>
                <a:cubicBezTo>
                  <a:pt x="812" y="140"/>
                  <a:pt x="815" y="149"/>
                  <a:pt x="817" y="148"/>
                </a:cubicBezTo>
                <a:cubicBezTo>
                  <a:pt x="819" y="148"/>
                  <a:pt x="843" y="141"/>
                  <a:pt x="840" y="137"/>
                </a:cubicBezTo>
                <a:cubicBezTo>
                  <a:pt x="837" y="133"/>
                  <a:pt x="835" y="130"/>
                  <a:pt x="837" y="128"/>
                </a:cubicBezTo>
                <a:cubicBezTo>
                  <a:pt x="839" y="127"/>
                  <a:pt x="850" y="126"/>
                  <a:pt x="850" y="125"/>
                </a:cubicBezTo>
                <a:cubicBezTo>
                  <a:pt x="850" y="124"/>
                  <a:pt x="848" y="119"/>
                  <a:pt x="848" y="119"/>
                </a:cubicBezTo>
                <a:cubicBezTo>
                  <a:pt x="845" y="115"/>
                  <a:pt x="845" y="115"/>
                  <a:pt x="845" y="115"/>
                </a:cubicBezTo>
                <a:cubicBezTo>
                  <a:pt x="845" y="115"/>
                  <a:pt x="832" y="112"/>
                  <a:pt x="827" y="115"/>
                </a:cubicBezTo>
                <a:cubicBezTo>
                  <a:pt x="821" y="119"/>
                  <a:pt x="826" y="122"/>
                  <a:pt x="826" y="122"/>
                </a:cubicBezTo>
                <a:cubicBezTo>
                  <a:pt x="821" y="125"/>
                  <a:pt x="821" y="125"/>
                  <a:pt x="821" y="125"/>
                </a:cubicBezTo>
                <a:cubicBezTo>
                  <a:pt x="818" y="125"/>
                  <a:pt x="818" y="125"/>
                  <a:pt x="818" y="125"/>
                </a:cubicBezTo>
                <a:cubicBezTo>
                  <a:pt x="809" y="131"/>
                  <a:pt x="809" y="131"/>
                  <a:pt x="809" y="131"/>
                </a:cubicBezTo>
                <a:cubicBezTo>
                  <a:pt x="805" y="133"/>
                  <a:pt x="805" y="133"/>
                  <a:pt x="805" y="133"/>
                </a:cubicBezTo>
                <a:cubicBezTo>
                  <a:pt x="805" y="133"/>
                  <a:pt x="803" y="136"/>
                  <a:pt x="802" y="137"/>
                </a:cubicBezTo>
                <a:cubicBezTo>
                  <a:pt x="801" y="138"/>
                  <a:pt x="797" y="138"/>
                  <a:pt x="797" y="138"/>
                </a:cubicBezTo>
                <a:cubicBezTo>
                  <a:pt x="792" y="140"/>
                  <a:pt x="792" y="140"/>
                  <a:pt x="792" y="140"/>
                </a:cubicBezTo>
                <a:cubicBezTo>
                  <a:pt x="792" y="140"/>
                  <a:pt x="790" y="133"/>
                  <a:pt x="791" y="131"/>
                </a:cubicBezTo>
                <a:cubicBezTo>
                  <a:pt x="792" y="129"/>
                  <a:pt x="799" y="130"/>
                  <a:pt x="800" y="126"/>
                </a:cubicBezTo>
                <a:cubicBezTo>
                  <a:pt x="801" y="123"/>
                  <a:pt x="798" y="120"/>
                  <a:pt x="797" y="120"/>
                </a:cubicBezTo>
                <a:cubicBezTo>
                  <a:pt x="796" y="120"/>
                  <a:pt x="785" y="125"/>
                  <a:pt x="785" y="125"/>
                </a:cubicBezTo>
                <a:cubicBezTo>
                  <a:pt x="781" y="129"/>
                  <a:pt x="781" y="129"/>
                  <a:pt x="781" y="129"/>
                </a:cubicBezTo>
                <a:cubicBezTo>
                  <a:pt x="780" y="127"/>
                  <a:pt x="780" y="127"/>
                  <a:pt x="780" y="127"/>
                </a:cubicBezTo>
                <a:cubicBezTo>
                  <a:pt x="784" y="123"/>
                  <a:pt x="784" y="123"/>
                  <a:pt x="784" y="123"/>
                </a:cubicBezTo>
                <a:cubicBezTo>
                  <a:pt x="783" y="121"/>
                  <a:pt x="783" y="121"/>
                  <a:pt x="783" y="121"/>
                </a:cubicBezTo>
                <a:cubicBezTo>
                  <a:pt x="790" y="118"/>
                  <a:pt x="790" y="118"/>
                  <a:pt x="790" y="118"/>
                </a:cubicBezTo>
                <a:cubicBezTo>
                  <a:pt x="784" y="117"/>
                  <a:pt x="784" y="117"/>
                  <a:pt x="784" y="117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78" y="117"/>
                  <a:pt x="778" y="117"/>
                  <a:pt x="778" y="117"/>
                </a:cubicBezTo>
                <a:cubicBezTo>
                  <a:pt x="775" y="116"/>
                  <a:pt x="775" y="116"/>
                  <a:pt x="775" y="116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8" y="113"/>
                  <a:pt x="788" y="111"/>
                </a:cubicBezTo>
                <a:cubicBezTo>
                  <a:pt x="787" y="108"/>
                  <a:pt x="782" y="108"/>
                  <a:pt x="784" y="105"/>
                </a:cubicBezTo>
                <a:cubicBezTo>
                  <a:pt x="787" y="101"/>
                  <a:pt x="789" y="96"/>
                  <a:pt x="786" y="96"/>
                </a:cubicBezTo>
                <a:cubicBezTo>
                  <a:pt x="780" y="94"/>
                  <a:pt x="780" y="94"/>
                  <a:pt x="780" y="94"/>
                </a:cubicBezTo>
                <a:cubicBezTo>
                  <a:pt x="776" y="95"/>
                  <a:pt x="776" y="95"/>
                  <a:pt x="776" y="95"/>
                </a:cubicBezTo>
                <a:cubicBezTo>
                  <a:pt x="776" y="95"/>
                  <a:pt x="771" y="96"/>
                  <a:pt x="771" y="97"/>
                </a:cubicBezTo>
                <a:cubicBezTo>
                  <a:pt x="770" y="98"/>
                  <a:pt x="772" y="99"/>
                  <a:pt x="771" y="100"/>
                </a:cubicBezTo>
                <a:cubicBezTo>
                  <a:pt x="769" y="100"/>
                  <a:pt x="762" y="98"/>
                  <a:pt x="760" y="100"/>
                </a:cubicBezTo>
                <a:cubicBezTo>
                  <a:pt x="759" y="102"/>
                  <a:pt x="755" y="104"/>
                  <a:pt x="757" y="105"/>
                </a:cubicBezTo>
                <a:cubicBezTo>
                  <a:pt x="759" y="106"/>
                  <a:pt x="761" y="106"/>
                  <a:pt x="761" y="106"/>
                </a:cubicBezTo>
                <a:cubicBezTo>
                  <a:pt x="761" y="106"/>
                  <a:pt x="751" y="109"/>
                  <a:pt x="751" y="112"/>
                </a:cubicBezTo>
                <a:cubicBezTo>
                  <a:pt x="752" y="114"/>
                  <a:pt x="757" y="116"/>
                  <a:pt x="757" y="116"/>
                </a:cubicBezTo>
                <a:cubicBezTo>
                  <a:pt x="761" y="115"/>
                  <a:pt x="761" y="115"/>
                  <a:pt x="761" y="115"/>
                </a:cubicBezTo>
                <a:cubicBezTo>
                  <a:pt x="761" y="115"/>
                  <a:pt x="760" y="119"/>
                  <a:pt x="762" y="119"/>
                </a:cubicBezTo>
                <a:cubicBezTo>
                  <a:pt x="763" y="118"/>
                  <a:pt x="769" y="117"/>
                  <a:pt x="767" y="119"/>
                </a:cubicBezTo>
                <a:cubicBezTo>
                  <a:pt x="764" y="120"/>
                  <a:pt x="763" y="120"/>
                  <a:pt x="763" y="120"/>
                </a:cubicBezTo>
                <a:cubicBezTo>
                  <a:pt x="760" y="119"/>
                  <a:pt x="760" y="119"/>
                  <a:pt x="760" y="119"/>
                </a:cubicBezTo>
                <a:cubicBezTo>
                  <a:pt x="759" y="121"/>
                  <a:pt x="759" y="121"/>
                  <a:pt x="759" y="121"/>
                </a:cubicBezTo>
                <a:cubicBezTo>
                  <a:pt x="759" y="121"/>
                  <a:pt x="752" y="122"/>
                  <a:pt x="754" y="123"/>
                </a:cubicBezTo>
                <a:cubicBezTo>
                  <a:pt x="757" y="124"/>
                  <a:pt x="763" y="120"/>
                  <a:pt x="761" y="122"/>
                </a:cubicBezTo>
                <a:cubicBezTo>
                  <a:pt x="760" y="125"/>
                  <a:pt x="756" y="127"/>
                  <a:pt x="753" y="128"/>
                </a:cubicBezTo>
                <a:cubicBezTo>
                  <a:pt x="751" y="129"/>
                  <a:pt x="746" y="132"/>
                  <a:pt x="746" y="132"/>
                </a:cubicBezTo>
                <a:cubicBezTo>
                  <a:pt x="746" y="132"/>
                  <a:pt x="742" y="129"/>
                  <a:pt x="741" y="131"/>
                </a:cubicBezTo>
                <a:cubicBezTo>
                  <a:pt x="740" y="132"/>
                  <a:pt x="736" y="134"/>
                  <a:pt x="736" y="136"/>
                </a:cubicBezTo>
                <a:cubicBezTo>
                  <a:pt x="736" y="138"/>
                  <a:pt x="735" y="140"/>
                  <a:pt x="735" y="140"/>
                </a:cubicBezTo>
                <a:cubicBezTo>
                  <a:pt x="734" y="138"/>
                  <a:pt x="734" y="138"/>
                  <a:pt x="734" y="138"/>
                </a:cubicBezTo>
                <a:cubicBezTo>
                  <a:pt x="734" y="138"/>
                  <a:pt x="729" y="138"/>
                  <a:pt x="729" y="136"/>
                </a:cubicBezTo>
                <a:cubicBezTo>
                  <a:pt x="730" y="135"/>
                  <a:pt x="738" y="129"/>
                  <a:pt x="738" y="129"/>
                </a:cubicBezTo>
                <a:cubicBezTo>
                  <a:pt x="733" y="129"/>
                  <a:pt x="733" y="129"/>
                  <a:pt x="733" y="129"/>
                </a:cubicBezTo>
                <a:cubicBezTo>
                  <a:pt x="733" y="129"/>
                  <a:pt x="732" y="126"/>
                  <a:pt x="730" y="126"/>
                </a:cubicBezTo>
                <a:cubicBezTo>
                  <a:pt x="729" y="126"/>
                  <a:pt x="725" y="128"/>
                  <a:pt x="725" y="128"/>
                </a:cubicBezTo>
                <a:cubicBezTo>
                  <a:pt x="725" y="128"/>
                  <a:pt x="721" y="126"/>
                  <a:pt x="720" y="128"/>
                </a:cubicBezTo>
                <a:cubicBezTo>
                  <a:pt x="720" y="129"/>
                  <a:pt x="719" y="131"/>
                  <a:pt x="720" y="131"/>
                </a:cubicBezTo>
                <a:cubicBezTo>
                  <a:pt x="721" y="131"/>
                  <a:pt x="727" y="134"/>
                  <a:pt x="725" y="135"/>
                </a:cubicBezTo>
                <a:cubicBezTo>
                  <a:pt x="723" y="135"/>
                  <a:pt x="719" y="132"/>
                  <a:pt x="719" y="132"/>
                </a:cubicBezTo>
                <a:cubicBezTo>
                  <a:pt x="716" y="130"/>
                  <a:pt x="716" y="130"/>
                  <a:pt x="716" y="130"/>
                </a:cubicBezTo>
                <a:cubicBezTo>
                  <a:pt x="716" y="134"/>
                  <a:pt x="716" y="134"/>
                  <a:pt x="716" y="134"/>
                </a:cubicBezTo>
                <a:cubicBezTo>
                  <a:pt x="716" y="134"/>
                  <a:pt x="713" y="136"/>
                  <a:pt x="711" y="136"/>
                </a:cubicBezTo>
                <a:cubicBezTo>
                  <a:pt x="709" y="135"/>
                  <a:pt x="702" y="134"/>
                  <a:pt x="700" y="134"/>
                </a:cubicBezTo>
                <a:cubicBezTo>
                  <a:pt x="698" y="134"/>
                  <a:pt x="693" y="134"/>
                  <a:pt x="691" y="134"/>
                </a:cubicBezTo>
                <a:cubicBezTo>
                  <a:pt x="688" y="134"/>
                  <a:pt x="685" y="130"/>
                  <a:pt x="685" y="130"/>
                </a:cubicBezTo>
                <a:cubicBezTo>
                  <a:pt x="677" y="131"/>
                  <a:pt x="677" y="131"/>
                  <a:pt x="677" y="131"/>
                </a:cubicBezTo>
                <a:cubicBezTo>
                  <a:pt x="677" y="131"/>
                  <a:pt x="673" y="128"/>
                  <a:pt x="672" y="128"/>
                </a:cubicBezTo>
                <a:cubicBezTo>
                  <a:pt x="670" y="127"/>
                  <a:pt x="667" y="127"/>
                  <a:pt x="664" y="129"/>
                </a:cubicBezTo>
                <a:cubicBezTo>
                  <a:pt x="662" y="130"/>
                  <a:pt x="663" y="130"/>
                  <a:pt x="660" y="130"/>
                </a:cubicBezTo>
                <a:cubicBezTo>
                  <a:pt x="657" y="130"/>
                  <a:pt x="651" y="129"/>
                  <a:pt x="650" y="131"/>
                </a:cubicBezTo>
                <a:cubicBezTo>
                  <a:pt x="648" y="133"/>
                  <a:pt x="646" y="138"/>
                  <a:pt x="646" y="138"/>
                </a:cubicBezTo>
                <a:cubicBezTo>
                  <a:pt x="644" y="142"/>
                  <a:pt x="644" y="142"/>
                  <a:pt x="644" y="142"/>
                </a:cubicBezTo>
                <a:cubicBezTo>
                  <a:pt x="640" y="143"/>
                  <a:pt x="640" y="143"/>
                  <a:pt x="640" y="143"/>
                </a:cubicBezTo>
                <a:cubicBezTo>
                  <a:pt x="639" y="147"/>
                  <a:pt x="639" y="147"/>
                  <a:pt x="639" y="147"/>
                </a:cubicBezTo>
                <a:cubicBezTo>
                  <a:pt x="636" y="140"/>
                  <a:pt x="636" y="140"/>
                  <a:pt x="636" y="140"/>
                </a:cubicBezTo>
                <a:cubicBezTo>
                  <a:pt x="636" y="140"/>
                  <a:pt x="644" y="142"/>
                  <a:pt x="642" y="138"/>
                </a:cubicBezTo>
                <a:cubicBezTo>
                  <a:pt x="640" y="134"/>
                  <a:pt x="633" y="134"/>
                  <a:pt x="633" y="134"/>
                </a:cubicBezTo>
                <a:cubicBezTo>
                  <a:pt x="634" y="132"/>
                  <a:pt x="634" y="132"/>
                  <a:pt x="634" y="132"/>
                </a:cubicBezTo>
                <a:cubicBezTo>
                  <a:pt x="634" y="132"/>
                  <a:pt x="619" y="134"/>
                  <a:pt x="611" y="134"/>
                </a:cubicBezTo>
                <a:cubicBezTo>
                  <a:pt x="604" y="134"/>
                  <a:pt x="590" y="134"/>
                  <a:pt x="593" y="132"/>
                </a:cubicBezTo>
                <a:cubicBezTo>
                  <a:pt x="595" y="131"/>
                  <a:pt x="613" y="132"/>
                  <a:pt x="609" y="127"/>
                </a:cubicBezTo>
                <a:cubicBezTo>
                  <a:pt x="604" y="122"/>
                  <a:pt x="600" y="122"/>
                  <a:pt x="595" y="122"/>
                </a:cubicBezTo>
                <a:cubicBezTo>
                  <a:pt x="590" y="123"/>
                  <a:pt x="582" y="120"/>
                  <a:pt x="581" y="119"/>
                </a:cubicBezTo>
                <a:cubicBezTo>
                  <a:pt x="580" y="119"/>
                  <a:pt x="576" y="119"/>
                  <a:pt x="576" y="119"/>
                </a:cubicBezTo>
                <a:cubicBezTo>
                  <a:pt x="576" y="119"/>
                  <a:pt x="566" y="113"/>
                  <a:pt x="562" y="113"/>
                </a:cubicBezTo>
                <a:cubicBezTo>
                  <a:pt x="558" y="113"/>
                  <a:pt x="552" y="119"/>
                  <a:pt x="552" y="119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48" y="116"/>
                  <a:pt x="548" y="116"/>
                  <a:pt x="548" y="116"/>
                </a:cubicBezTo>
                <a:cubicBezTo>
                  <a:pt x="548" y="115"/>
                  <a:pt x="548" y="115"/>
                  <a:pt x="548" y="115"/>
                </a:cubicBezTo>
                <a:cubicBezTo>
                  <a:pt x="552" y="110"/>
                  <a:pt x="552" y="110"/>
                  <a:pt x="552" y="110"/>
                </a:cubicBezTo>
                <a:cubicBezTo>
                  <a:pt x="552" y="110"/>
                  <a:pt x="544" y="114"/>
                  <a:pt x="542" y="116"/>
                </a:cubicBezTo>
                <a:cubicBezTo>
                  <a:pt x="541" y="117"/>
                  <a:pt x="537" y="122"/>
                  <a:pt x="534" y="119"/>
                </a:cubicBezTo>
                <a:cubicBezTo>
                  <a:pt x="531" y="115"/>
                  <a:pt x="536" y="112"/>
                  <a:pt x="535" y="110"/>
                </a:cubicBezTo>
                <a:cubicBezTo>
                  <a:pt x="534" y="107"/>
                  <a:pt x="530" y="105"/>
                  <a:pt x="529" y="107"/>
                </a:cubicBezTo>
                <a:cubicBezTo>
                  <a:pt x="528" y="109"/>
                  <a:pt x="531" y="110"/>
                  <a:pt x="531" y="110"/>
                </a:cubicBezTo>
                <a:cubicBezTo>
                  <a:pt x="531" y="110"/>
                  <a:pt x="527" y="110"/>
                  <a:pt x="525" y="111"/>
                </a:cubicBezTo>
                <a:cubicBezTo>
                  <a:pt x="522" y="111"/>
                  <a:pt x="519" y="114"/>
                  <a:pt x="518" y="115"/>
                </a:cubicBezTo>
                <a:cubicBezTo>
                  <a:pt x="517" y="115"/>
                  <a:pt x="513" y="114"/>
                  <a:pt x="513" y="114"/>
                </a:cubicBezTo>
                <a:cubicBezTo>
                  <a:pt x="513" y="114"/>
                  <a:pt x="503" y="116"/>
                  <a:pt x="502" y="117"/>
                </a:cubicBezTo>
                <a:cubicBezTo>
                  <a:pt x="501" y="117"/>
                  <a:pt x="496" y="120"/>
                  <a:pt x="496" y="120"/>
                </a:cubicBezTo>
                <a:cubicBezTo>
                  <a:pt x="493" y="117"/>
                  <a:pt x="493" y="117"/>
                  <a:pt x="493" y="117"/>
                </a:cubicBezTo>
                <a:cubicBezTo>
                  <a:pt x="493" y="117"/>
                  <a:pt x="486" y="121"/>
                  <a:pt x="484" y="121"/>
                </a:cubicBezTo>
                <a:cubicBezTo>
                  <a:pt x="482" y="121"/>
                  <a:pt x="478" y="124"/>
                  <a:pt x="478" y="124"/>
                </a:cubicBezTo>
                <a:cubicBezTo>
                  <a:pt x="474" y="124"/>
                  <a:pt x="474" y="124"/>
                  <a:pt x="474" y="124"/>
                </a:cubicBezTo>
                <a:cubicBezTo>
                  <a:pt x="474" y="124"/>
                  <a:pt x="477" y="120"/>
                  <a:pt x="481" y="120"/>
                </a:cubicBezTo>
                <a:cubicBezTo>
                  <a:pt x="484" y="119"/>
                  <a:pt x="491" y="116"/>
                  <a:pt x="491" y="116"/>
                </a:cubicBezTo>
                <a:cubicBezTo>
                  <a:pt x="491" y="116"/>
                  <a:pt x="497" y="117"/>
                  <a:pt x="500" y="116"/>
                </a:cubicBezTo>
                <a:cubicBezTo>
                  <a:pt x="502" y="115"/>
                  <a:pt x="515" y="112"/>
                  <a:pt x="515" y="112"/>
                </a:cubicBezTo>
                <a:cubicBezTo>
                  <a:pt x="515" y="112"/>
                  <a:pt x="517" y="111"/>
                  <a:pt x="516" y="110"/>
                </a:cubicBezTo>
                <a:cubicBezTo>
                  <a:pt x="514" y="109"/>
                  <a:pt x="510" y="111"/>
                  <a:pt x="510" y="111"/>
                </a:cubicBezTo>
                <a:cubicBezTo>
                  <a:pt x="510" y="111"/>
                  <a:pt x="506" y="111"/>
                  <a:pt x="505" y="111"/>
                </a:cubicBezTo>
                <a:cubicBezTo>
                  <a:pt x="503" y="111"/>
                  <a:pt x="502" y="113"/>
                  <a:pt x="501" y="113"/>
                </a:cubicBezTo>
                <a:cubicBezTo>
                  <a:pt x="500" y="113"/>
                  <a:pt x="496" y="113"/>
                  <a:pt x="496" y="113"/>
                </a:cubicBezTo>
                <a:cubicBezTo>
                  <a:pt x="492" y="114"/>
                  <a:pt x="492" y="114"/>
                  <a:pt x="492" y="114"/>
                </a:cubicBezTo>
                <a:cubicBezTo>
                  <a:pt x="492" y="114"/>
                  <a:pt x="489" y="114"/>
                  <a:pt x="486" y="115"/>
                </a:cubicBezTo>
                <a:cubicBezTo>
                  <a:pt x="484" y="115"/>
                  <a:pt x="482" y="118"/>
                  <a:pt x="482" y="118"/>
                </a:cubicBezTo>
                <a:cubicBezTo>
                  <a:pt x="479" y="118"/>
                  <a:pt x="479" y="118"/>
                  <a:pt x="479" y="118"/>
                </a:cubicBezTo>
                <a:cubicBezTo>
                  <a:pt x="471" y="121"/>
                  <a:pt x="471" y="121"/>
                  <a:pt x="471" y="121"/>
                </a:cubicBezTo>
                <a:cubicBezTo>
                  <a:pt x="471" y="121"/>
                  <a:pt x="468" y="122"/>
                  <a:pt x="468" y="122"/>
                </a:cubicBezTo>
                <a:cubicBezTo>
                  <a:pt x="467" y="123"/>
                  <a:pt x="467" y="126"/>
                  <a:pt x="465" y="125"/>
                </a:cubicBezTo>
                <a:cubicBezTo>
                  <a:pt x="464" y="125"/>
                  <a:pt x="463" y="121"/>
                  <a:pt x="466" y="121"/>
                </a:cubicBezTo>
                <a:cubicBezTo>
                  <a:pt x="468" y="121"/>
                  <a:pt x="474" y="119"/>
                  <a:pt x="476" y="117"/>
                </a:cubicBezTo>
                <a:cubicBezTo>
                  <a:pt x="478" y="116"/>
                  <a:pt x="469" y="115"/>
                  <a:pt x="468" y="117"/>
                </a:cubicBezTo>
                <a:cubicBezTo>
                  <a:pt x="466" y="119"/>
                  <a:pt x="460" y="120"/>
                  <a:pt x="459" y="120"/>
                </a:cubicBezTo>
                <a:cubicBezTo>
                  <a:pt x="458" y="120"/>
                  <a:pt x="458" y="125"/>
                  <a:pt x="458" y="125"/>
                </a:cubicBezTo>
                <a:cubicBezTo>
                  <a:pt x="454" y="123"/>
                  <a:pt x="454" y="123"/>
                  <a:pt x="454" y="123"/>
                </a:cubicBezTo>
                <a:cubicBezTo>
                  <a:pt x="445" y="122"/>
                  <a:pt x="445" y="122"/>
                  <a:pt x="445" y="122"/>
                </a:cubicBezTo>
                <a:cubicBezTo>
                  <a:pt x="445" y="122"/>
                  <a:pt x="440" y="120"/>
                  <a:pt x="440" y="119"/>
                </a:cubicBezTo>
                <a:cubicBezTo>
                  <a:pt x="441" y="117"/>
                  <a:pt x="442" y="116"/>
                  <a:pt x="442" y="116"/>
                </a:cubicBezTo>
                <a:cubicBezTo>
                  <a:pt x="426" y="116"/>
                  <a:pt x="426" y="116"/>
                  <a:pt x="426" y="116"/>
                </a:cubicBezTo>
                <a:cubicBezTo>
                  <a:pt x="426" y="116"/>
                  <a:pt x="426" y="111"/>
                  <a:pt x="420" y="111"/>
                </a:cubicBezTo>
                <a:cubicBezTo>
                  <a:pt x="415" y="112"/>
                  <a:pt x="408" y="114"/>
                  <a:pt x="407" y="114"/>
                </a:cubicBezTo>
                <a:cubicBezTo>
                  <a:pt x="407" y="114"/>
                  <a:pt x="401" y="111"/>
                  <a:pt x="400" y="110"/>
                </a:cubicBezTo>
                <a:cubicBezTo>
                  <a:pt x="399" y="110"/>
                  <a:pt x="389" y="110"/>
                  <a:pt x="389" y="110"/>
                </a:cubicBezTo>
                <a:cubicBezTo>
                  <a:pt x="389" y="110"/>
                  <a:pt x="385" y="108"/>
                  <a:pt x="382" y="108"/>
                </a:cubicBezTo>
                <a:cubicBezTo>
                  <a:pt x="378" y="108"/>
                  <a:pt x="363" y="108"/>
                  <a:pt x="362" y="108"/>
                </a:cubicBezTo>
                <a:cubicBezTo>
                  <a:pt x="362" y="108"/>
                  <a:pt x="363" y="105"/>
                  <a:pt x="363" y="105"/>
                </a:cubicBezTo>
                <a:cubicBezTo>
                  <a:pt x="363" y="105"/>
                  <a:pt x="355" y="104"/>
                  <a:pt x="354" y="104"/>
                </a:cubicBezTo>
                <a:cubicBezTo>
                  <a:pt x="353" y="104"/>
                  <a:pt x="346" y="105"/>
                  <a:pt x="346" y="105"/>
                </a:cubicBezTo>
                <a:cubicBezTo>
                  <a:pt x="351" y="101"/>
                  <a:pt x="351" y="101"/>
                  <a:pt x="351" y="101"/>
                </a:cubicBezTo>
                <a:cubicBezTo>
                  <a:pt x="339" y="105"/>
                  <a:pt x="339" y="105"/>
                  <a:pt x="339" y="105"/>
                </a:cubicBezTo>
                <a:cubicBezTo>
                  <a:pt x="344" y="101"/>
                  <a:pt x="344" y="101"/>
                  <a:pt x="344" y="101"/>
                </a:cubicBezTo>
                <a:cubicBezTo>
                  <a:pt x="339" y="100"/>
                  <a:pt x="339" y="100"/>
                  <a:pt x="339" y="100"/>
                </a:cubicBezTo>
                <a:cubicBezTo>
                  <a:pt x="339" y="100"/>
                  <a:pt x="333" y="105"/>
                  <a:pt x="327" y="105"/>
                </a:cubicBezTo>
                <a:cubicBezTo>
                  <a:pt x="320" y="105"/>
                  <a:pt x="311" y="104"/>
                  <a:pt x="309" y="105"/>
                </a:cubicBezTo>
                <a:cubicBezTo>
                  <a:pt x="307" y="107"/>
                  <a:pt x="301" y="108"/>
                  <a:pt x="301" y="108"/>
                </a:cubicBezTo>
                <a:cubicBezTo>
                  <a:pt x="301" y="108"/>
                  <a:pt x="291" y="108"/>
                  <a:pt x="285" y="109"/>
                </a:cubicBezTo>
                <a:cubicBezTo>
                  <a:pt x="280" y="110"/>
                  <a:pt x="267" y="119"/>
                  <a:pt x="258" y="121"/>
                </a:cubicBezTo>
                <a:cubicBezTo>
                  <a:pt x="250" y="122"/>
                  <a:pt x="239" y="123"/>
                  <a:pt x="239" y="123"/>
                </a:cubicBezTo>
                <a:cubicBezTo>
                  <a:pt x="239" y="123"/>
                  <a:pt x="226" y="127"/>
                  <a:pt x="226" y="128"/>
                </a:cubicBezTo>
                <a:cubicBezTo>
                  <a:pt x="227" y="129"/>
                  <a:pt x="231" y="131"/>
                  <a:pt x="231" y="131"/>
                </a:cubicBezTo>
                <a:cubicBezTo>
                  <a:pt x="231" y="131"/>
                  <a:pt x="234" y="136"/>
                  <a:pt x="233" y="137"/>
                </a:cubicBezTo>
                <a:cubicBezTo>
                  <a:pt x="231" y="138"/>
                  <a:pt x="230" y="139"/>
                  <a:pt x="230" y="139"/>
                </a:cubicBezTo>
                <a:cubicBezTo>
                  <a:pt x="242" y="140"/>
                  <a:pt x="242" y="140"/>
                  <a:pt x="242" y="140"/>
                </a:cubicBezTo>
                <a:cubicBezTo>
                  <a:pt x="238" y="144"/>
                  <a:pt x="238" y="144"/>
                  <a:pt x="238" y="144"/>
                </a:cubicBezTo>
                <a:cubicBezTo>
                  <a:pt x="247" y="145"/>
                  <a:pt x="247" y="145"/>
                  <a:pt x="247" y="145"/>
                </a:cubicBezTo>
                <a:cubicBezTo>
                  <a:pt x="246" y="147"/>
                  <a:pt x="246" y="147"/>
                  <a:pt x="246" y="147"/>
                </a:cubicBezTo>
                <a:cubicBezTo>
                  <a:pt x="238" y="147"/>
                  <a:pt x="238" y="147"/>
                  <a:pt x="238" y="147"/>
                </a:cubicBezTo>
                <a:cubicBezTo>
                  <a:pt x="237" y="149"/>
                  <a:pt x="237" y="149"/>
                  <a:pt x="237" y="149"/>
                </a:cubicBezTo>
                <a:cubicBezTo>
                  <a:pt x="232" y="149"/>
                  <a:pt x="232" y="149"/>
                  <a:pt x="232" y="149"/>
                </a:cubicBezTo>
                <a:cubicBezTo>
                  <a:pt x="232" y="149"/>
                  <a:pt x="225" y="150"/>
                  <a:pt x="220" y="150"/>
                </a:cubicBezTo>
                <a:cubicBezTo>
                  <a:pt x="215" y="150"/>
                  <a:pt x="216" y="148"/>
                  <a:pt x="219" y="147"/>
                </a:cubicBezTo>
                <a:cubicBezTo>
                  <a:pt x="222" y="146"/>
                  <a:pt x="213" y="145"/>
                  <a:pt x="213" y="145"/>
                </a:cubicBezTo>
                <a:cubicBezTo>
                  <a:pt x="213" y="145"/>
                  <a:pt x="203" y="145"/>
                  <a:pt x="202" y="147"/>
                </a:cubicBezTo>
                <a:cubicBezTo>
                  <a:pt x="202" y="148"/>
                  <a:pt x="203" y="149"/>
                  <a:pt x="203" y="149"/>
                </a:cubicBezTo>
                <a:cubicBezTo>
                  <a:pt x="203" y="149"/>
                  <a:pt x="195" y="150"/>
                  <a:pt x="191" y="150"/>
                </a:cubicBezTo>
                <a:cubicBezTo>
                  <a:pt x="186" y="151"/>
                  <a:pt x="172" y="154"/>
                  <a:pt x="175" y="155"/>
                </a:cubicBezTo>
                <a:cubicBezTo>
                  <a:pt x="179" y="156"/>
                  <a:pt x="183" y="157"/>
                  <a:pt x="183" y="157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6" y="165"/>
                  <a:pt x="181" y="165"/>
                  <a:pt x="184" y="165"/>
                </a:cubicBezTo>
                <a:cubicBezTo>
                  <a:pt x="187" y="165"/>
                  <a:pt x="190" y="165"/>
                  <a:pt x="190" y="165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4"/>
                  <a:pt x="198" y="164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00" y="166"/>
                  <a:pt x="207" y="162"/>
                  <a:pt x="208" y="162"/>
                </a:cubicBezTo>
                <a:cubicBezTo>
                  <a:pt x="209" y="162"/>
                  <a:pt x="211" y="164"/>
                  <a:pt x="213" y="163"/>
                </a:cubicBezTo>
                <a:cubicBezTo>
                  <a:pt x="215" y="162"/>
                  <a:pt x="219" y="159"/>
                  <a:pt x="219" y="161"/>
                </a:cubicBezTo>
                <a:cubicBezTo>
                  <a:pt x="219" y="163"/>
                  <a:pt x="217" y="165"/>
                  <a:pt x="217" y="165"/>
                </a:cubicBezTo>
                <a:cubicBezTo>
                  <a:pt x="209" y="166"/>
                  <a:pt x="209" y="166"/>
                  <a:pt x="209" y="166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10" y="170"/>
                  <a:pt x="204" y="176"/>
                  <a:pt x="200" y="176"/>
                </a:cubicBezTo>
                <a:cubicBezTo>
                  <a:pt x="197" y="176"/>
                  <a:pt x="192" y="176"/>
                  <a:pt x="192" y="176"/>
                </a:cubicBezTo>
                <a:cubicBezTo>
                  <a:pt x="190" y="174"/>
                  <a:pt x="190" y="174"/>
                  <a:pt x="190" y="174"/>
                </a:cubicBezTo>
                <a:cubicBezTo>
                  <a:pt x="188" y="175"/>
                  <a:pt x="188" y="175"/>
                  <a:pt x="188" y="175"/>
                </a:cubicBezTo>
                <a:cubicBezTo>
                  <a:pt x="188" y="177"/>
                  <a:pt x="188" y="177"/>
                  <a:pt x="188" y="177"/>
                </a:cubicBezTo>
                <a:cubicBezTo>
                  <a:pt x="188" y="177"/>
                  <a:pt x="179" y="182"/>
                  <a:pt x="177" y="180"/>
                </a:cubicBezTo>
                <a:cubicBezTo>
                  <a:pt x="174" y="178"/>
                  <a:pt x="172" y="178"/>
                  <a:pt x="172" y="178"/>
                </a:cubicBezTo>
                <a:cubicBezTo>
                  <a:pt x="159" y="185"/>
                  <a:pt x="159" y="185"/>
                  <a:pt x="159" y="185"/>
                </a:cubicBezTo>
                <a:cubicBezTo>
                  <a:pt x="157" y="188"/>
                  <a:pt x="157" y="188"/>
                  <a:pt x="157" y="188"/>
                </a:cubicBezTo>
                <a:cubicBezTo>
                  <a:pt x="156" y="185"/>
                  <a:pt x="156" y="185"/>
                  <a:pt x="156" y="185"/>
                </a:cubicBezTo>
                <a:cubicBezTo>
                  <a:pt x="156" y="185"/>
                  <a:pt x="151" y="187"/>
                  <a:pt x="148" y="188"/>
                </a:cubicBezTo>
                <a:cubicBezTo>
                  <a:pt x="145" y="189"/>
                  <a:pt x="143" y="192"/>
                  <a:pt x="143" y="192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39" y="194"/>
                  <a:pt x="139" y="194"/>
                  <a:pt x="139" y="194"/>
                </a:cubicBezTo>
                <a:cubicBezTo>
                  <a:pt x="139" y="194"/>
                  <a:pt x="136" y="193"/>
                  <a:pt x="135" y="194"/>
                </a:cubicBezTo>
                <a:cubicBezTo>
                  <a:pt x="135" y="195"/>
                  <a:pt x="135" y="197"/>
                  <a:pt x="135" y="197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41" y="196"/>
                  <a:pt x="141" y="196"/>
                  <a:pt x="141" y="196"/>
                </a:cubicBezTo>
                <a:cubicBezTo>
                  <a:pt x="138" y="198"/>
                  <a:pt x="138" y="198"/>
                  <a:pt x="138" y="198"/>
                </a:cubicBezTo>
                <a:cubicBezTo>
                  <a:pt x="138" y="200"/>
                  <a:pt x="138" y="200"/>
                  <a:pt x="138" y="200"/>
                </a:cubicBezTo>
                <a:cubicBezTo>
                  <a:pt x="136" y="201"/>
                  <a:pt x="136" y="201"/>
                  <a:pt x="136" y="201"/>
                </a:cubicBezTo>
                <a:cubicBezTo>
                  <a:pt x="136" y="201"/>
                  <a:pt x="146" y="201"/>
                  <a:pt x="144" y="203"/>
                </a:cubicBezTo>
                <a:cubicBezTo>
                  <a:pt x="142" y="205"/>
                  <a:pt x="138" y="205"/>
                  <a:pt x="138" y="205"/>
                </a:cubicBezTo>
                <a:cubicBezTo>
                  <a:pt x="134" y="205"/>
                  <a:pt x="134" y="205"/>
                  <a:pt x="134" y="205"/>
                </a:cubicBezTo>
                <a:cubicBezTo>
                  <a:pt x="136" y="204"/>
                  <a:pt x="136" y="204"/>
                  <a:pt x="136" y="204"/>
                </a:cubicBezTo>
                <a:cubicBezTo>
                  <a:pt x="134" y="203"/>
                  <a:pt x="134" y="203"/>
                  <a:pt x="134" y="203"/>
                </a:cubicBezTo>
                <a:cubicBezTo>
                  <a:pt x="134" y="203"/>
                  <a:pt x="128" y="205"/>
                  <a:pt x="128" y="206"/>
                </a:cubicBezTo>
                <a:cubicBezTo>
                  <a:pt x="128" y="206"/>
                  <a:pt x="130" y="207"/>
                  <a:pt x="130" y="207"/>
                </a:cubicBezTo>
                <a:cubicBezTo>
                  <a:pt x="130" y="207"/>
                  <a:pt x="127" y="213"/>
                  <a:pt x="128" y="213"/>
                </a:cubicBezTo>
                <a:cubicBezTo>
                  <a:pt x="129" y="213"/>
                  <a:pt x="138" y="212"/>
                  <a:pt x="138" y="212"/>
                </a:cubicBezTo>
                <a:cubicBezTo>
                  <a:pt x="145" y="209"/>
                  <a:pt x="145" y="209"/>
                  <a:pt x="145" y="209"/>
                </a:cubicBezTo>
                <a:cubicBezTo>
                  <a:pt x="154" y="205"/>
                  <a:pt x="154" y="205"/>
                  <a:pt x="154" y="205"/>
                </a:cubicBezTo>
                <a:cubicBezTo>
                  <a:pt x="154" y="205"/>
                  <a:pt x="145" y="209"/>
                  <a:pt x="144" y="211"/>
                </a:cubicBezTo>
                <a:cubicBezTo>
                  <a:pt x="143" y="212"/>
                  <a:pt x="143" y="216"/>
                  <a:pt x="142" y="216"/>
                </a:cubicBezTo>
                <a:cubicBezTo>
                  <a:pt x="140" y="217"/>
                  <a:pt x="138" y="215"/>
                  <a:pt x="137" y="217"/>
                </a:cubicBezTo>
                <a:cubicBezTo>
                  <a:pt x="135" y="219"/>
                  <a:pt x="135" y="221"/>
                  <a:pt x="133" y="222"/>
                </a:cubicBezTo>
                <a:cubicBezTo>
                  <a:pt x="132" y="223"/>
                  <a:pt x="129" y="225"/>
                  <a:pt x="129" y="225"/>
                </a:cubicBezTo>
                <a:cubicBezTo>
                  <a:pt x="137" y="224"/>
                  <a:pt x="137" y="224"/>
                  <a:pt x="137" y="224"/>
                </a:cubicBezTo>
                <a:cubicBezTo>
                  <a:pt x="135" y="227"/>
                  <a:pt x="135" y="227"/>
                  <a:pt x="135" y="227"/>
                </a:cubicBezTo>
                <a:cubicBezTo>
                  <a:pt x="135" y="227"/>
                  <a:pt x="142" y="220"/>
                  <a:pt x="145" y="221"/>
                </a:cubicBezTo>
                <a:cubicBezTo>
                  <a:pt x="149" y="221"/>
                  <a:pt x="147" y="223"/>
                  <a:pt x="147" y="223"/>
                </a:cubicBezTo>
                <a:cubicBezTo>
                  <a:pt x="150" y="222"/>
                  <a:pt x="150" y="222"/>
                  <a:pt x="150" y="222"/>
                </a:cubicBezTo>
                <a:cubicBezTo>
                  <a:pt x="150" y="222"/>
                  <a:pt x="148" y="227"/>
                  <a:pt x="150" y="227"/>
                </a:cubicBezTo>
                <a:cubicBezTo>
                  <a:pt x="153" y="227"/>
                  <a:pt x="157" y="223"/>
                  <a:pt x="157" y="223"/>
                </a:cubicBezTo>
                <a:cubicBezTo>
                  <a:pt x="163" y="220"/>
                  <a:pt x="163" y="220"/>
                  <a:pt x="163" y="220"/>
                </a:cubicBezTo>
                <a:cubicBezTo>
                  <a:pt x="164" y="222"/>
                  <a:pt x="164" y="222"/>
                  <a:pt x="164" y="222"/>
                </a:cubicBezTo>
                <a:cubicBezTo>
                  <a:pt x="160" y="222"/>
                  <a:pt x="160" y="222"/>
                  <a:pt x="160" y="222"/>
                </a:cubicBezTo>
                <a:cubicBezTo>
                  <a:pt x="160" y="222"/>
                  <a:pt x="157" y="225"/>
                  <a:pt x="159" y="225"/>
                </a:cubicBezTo>
                <a:cubicBezTo>
                  <a:pt x="162" y="225"/>
                  <a:pt x="171" y="222"/>
                  <a:pt x="171" y="222"/>
                </a:cubicBezTo>
                <a:cubicBezTo>
                  <a:pt x="177" y="220"/>
                  <a:pt x="177" y="220"/>
                  <a:pt x="177" y="220"/>
                </a:cubicBezTo>
                <a:cubicBezTo>
                  <a:pt x="171" y="223"/>
                  <a:pt x="171" y="223"/>
                  <a:pt x="171" y="223"/>
                </a:cubicBezTo>
                <a:cubicBezTo>
                  <a:pt x="171" y="225"/>
                  <a:pt x="171" y="225"/>
                  <a:pt x="171" y="225"/>
                </a:cubicBezTo>
                <a:cubicBezTo>
                  <a:pt x="171" y="225"/>
                  <a:pt x="167" y="226"/>
                  <a:pt x="164" y="226"/>
                </a:cubicBezTo>
                <a:cubicBezTo>
                  <a:pt x="162" y="227"/>
                  <a:pt x="160" y="230"/>
                  <a:pt x="160" y="23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51" y="235"/>
                  <a:pt x="151" y="235"/>
                  <a:pt x="151" y="235"/>
                </a:cubicBezTo>
                <a:cubicBezTo>
                  <a:pt x="151" y="237"/>
                  <a:pt x="151" y="237"/>
                  <a:pt x="151" y="237"/>
                </a:cubicBezTo>
                <a:cubicBezTo>
                  <a:pt x="146" y="237"/>
                  <a:pt x="146" y="237"/>
                  <a:pt x="146" y="237"/>
                </a:cubicBezTo>
                <a:cubicBezTo>
                  <a:pt x="146" y="237"/>
                  <a:pt x="136" y="239"/>
                  <a:pt x="135" y="240"/>
                </a:cubicBezTo>
                <a:cubicBezTo>
                  <a:pt x="134" y="242"/>
                  <a:pt x="135" y="245"/>
                  <a:pt x="133" y="245"/>
                </a:cubicBezTo>
                <a:cubicBezTo>
                  <a:pt x="131" y="245"/>
                  <a:pt x="126" y="245"/>
                  <a:pt x="122" y="245"/>
                </a:cubicBezTo>
                <a:cubicBezTo>
                  <a:pt x="119" y="246"/>
                  <a:pt x="108" y="254"/>
                  <a:pt x="108" y="254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3" y="257"/>
                  <a:pt x="103" y="257"/>
                  <a:pt x="103" y="257"/>
                </a:cubicBezTo>
                <a:cubicBezTo>
                  <a:pt x="103" y="254"/>
                  <a:pt x="103" y="254"/>
                  <a:pt x="103" y="254"/>
                </a:cubicBezTo>
                <a:cubicBezTo>
                  <a:pt x="103" y="254"/>
                  <a:pt x="96" y="253"/>
                  <a:pt x="94" y="255"/>
                </a:cubicBezTo>
                <a:cubicBezTo>
                  <a:pt x="91" y="256"/>
                  <a:pt x="86" y="258"/>
                  <a:pt x="86" y="258"/>
                </a:cubicBezTo>
                <a:cubicBezTo>
                  <a:pt x="84" y="258"/>
                  <a:pt x="84" y="258"/>
                  <a:pt x="84" y="258"/>
                </a:cubicBezTo>
                <a:cubicBezTo>
                  <a:pt x="85" y="259"/>
                  <a:pt x="85" y="259"/>
                  <a:pt x="85" y="259"/>
                </a:cubicBezTo>
                <a:cubicBezTo>
                  <a:pt x="81" y="260"/>
                  <a:pt x="81" y="260"/>
                  <a:pt x="81" y="260"/>
                </a:cubicBezTo>
                <a:cubicBezTo>
                  <a:pt x="79" y="261"/>
                  <a:pt x="79" y="261"/>
                  <a:pt x="79" y="261"/>
                </a:cubicBezTo>
                <a:cubicBezTo>
                  <a:pt x="76" y="261"/>
                  <a:pt x="76" y="261"/>
                  <a:pt x="76" y="261"/>
                </a:cubicBezTo>
                <a:cubicBezTo>
                  <a:pt x="72" y="264"/>
                  <a:pt x="72" y="264"/>
                  <a:pt x="72" y="264"/>
                </a:cubicBezTo>
                <a:cubicBezTo>
                  <a:pt x="73" y="265"/>
                  <a:pt x="73" y="265"/>
                  <a:pt x="73" y="265"/>
                </a:cubicBezTo>
                <a:cubicBezTo>
                  <a:pt x="75" y="263"/>
                  <a:pt x="75" y="263"/>
                  <a:pt x="75" y="263"/>
                </a:cubicBezTo>
                <a:cubicBezTo>
                  <a:pt x="78" y="264"/>
                  <a:pt x="78" y="264"/>
                  <a:pt x="78" y="264"/>
                </a:cubicBezTo>
                <a:cubicBezTo>
                  <a:pt x="81" y="262"/>
                  <a:pt x="81" y="262"/>
                  <a:pt x="81" y="262"/>
                </a:cubicBezTo>
                <a:cubicBezTo>
                  <a:pt x="81" y="263"/>
                  <a:pt x="81" y="263"/>
                  <a:pt x="81" y="263"/>
                </a:cubicBezTo>
                <a:cubicBezTo>
                  <a:pt x="81" y="263"/>
                  <a:pt x="86" y="263"/>
                  <a:pt x="87" y="262"/>
                </a:cubicBezTo>
                <a:cubicBezTo>
                  <a:pt x="89" y="260"/>
                  <a:pt x="92" y="257"/>
                  <a:pt x="94" y="257"/>
                </a:cubicBezTo>
                <a:cubicBezTo>
                  <a:pt x="96" y="256"/>
                  <a:pt x="94" y="260"/>
                  <a:pt x="97" y="260"/>
                </a:cubicBezTo>
                <a:cubicBezTo>
                  <a:pt x="100" y="260"/>
                  <a:pt x="108" y="256"/>
                  <a:pt x="108" y="256"/>
                </a:cubicBezTo>
                <a:cubicBezTo>
                  <a:pt x="112" y="258"/>
                  <a:pt x="112" y="258"/>
                  <a:pt x="112" y="258"/>
                </a:cubicBezTo>
                <a:cubicBezTo>
                  <a:pt x="115" y="255"/>
                  <a:pt x="115" y="255"/>
                  <a:pt x="115" y="255"/>
                </a:cubicBezTo>
                <a:cubicBezTo>
                  <a:pt x="115" y="255"/>
                  <a:pt x="122" y="255"/>
                  <a:pt x="125" y="253"/>
                </a:cubicBezTo>
                <a:cubicBezTo>
                  <a:pt x="127" y="251"/>
                  <a:pt x="130" y="248"/>
                  <a:pt x="131" y="248"/>
                </a:cubicBezTo>
                <a:cubicBezTo>
                  <a:pt x="133" y="248"/>
                  <a:pt x="136" y="248"/>
                  <a:pt x="136" y="248"/>
                </a:cubicBezTo>
                <a:cubicBezTo>
                  <a:pt x="137" y="246"/>
                  <a:pt x="137" y="246"/>
                  <a:pt x="137" y="246"/>
                </a:cubicBezTo>
                <a:cubicBezTo>
                  <a:pt x="142" y="246"/>
                  <a:pt x="142" y="246"/>
                  <a:pt x="142" y="246"/>
                </a:cubicBezTo>
                <a:cubicBezTo>
                  <a:pt x="143" y="245"/>
                  <a:pt x="143" y="245"/>
                  <a:pt x="143" y="245"/>
                </a:cubicBezTo>
                <a:cubicBezTo>
                  <a:pt x="143" y="245"/>
                  <a:pt x="150" y="243"/>
                  <a:pt x="153" y="242"/>
                </a:cubicBezTo>
                <a:cubicBezTo>
                  <a:pt x="156" y="240"/>
                  <a:pt x="159" y="238"/>
                  <a:pt x="159" y="238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176" y="232"/>
                  <a:pt x="176" y="232"/>
                  <a:pt x="176" y="232"/>
                </a:cubicBezTo>
                <a:cubicBezTo>
                  <a:pt x="176" y="232"/>
                  <a:pt x="185" y="232"/>
                  <a:pt x="187" y="230"/>
                </a:cubicBezTo>
                <a:cubicBezTo>
                  <a:pt x="188" y="229"/>
                  <a:pt x="191" y="226"/>
                  <a:pt x="191" y="226"/>
                </a:cubicBezTo>
                <a:cubicBezTo>
                  <a:pt x="191" y="226"/>
                  <a:pt x="200" y="225"/>
                  <a:pt x="200" y="223"/>
                </a:cubicBezTo>
                <a:cubicBezTo>
                  <a:pt x="201" y="221"/>
                  <a:pt x="198" y="221"/>
                  <a:pt x="198" y="221"/>
                </a:cubicBezTo>
                <a:cubicBezTo>
                  <a:pt x="198" y="221"/>
                  <a:pt x="203" y="218"/>
                  <a:pt x="205" y="217"/>
                </a:cubicBezTo>
                <a:cubicBezTo>
                  <a:pt x="207" y="216"/>
                  <a:pt x="212" y="214"/>
                  <a:pt x="212" y="214"/>
                </a:cubicBezTo>
                <a:cubicBezTo>
                  <a:pt x="223" y="210"/>
                  <a:pt x="223" y="210"/>
                  <a:pt x="223" y="210"/>
                </a:cubicBezTo>
                <a:cubicBezTo>
                  <a:pt x="222" y="208"/>
                  <a:pt x="222" y="208"/>
                  <a:pt x="222" y="208"/>
                </a:cubicBezTo>
                <a:cubicBezTo>
                  <a:pt x="222" y="208"/>
                  <a:pt x="227" y="209"/>
                  <a:pt x="228" y="208"/>
                </a:cubicBezTo>
                <a:cubicBezTo>
                  <a:pt x="230" y="207"/>
                  <a:pt x="236" y="204"/>
                  <a:pt x="236" y="204"/>
                </a:cubicBezTo>
                <a:cubicBezTo>
                  <a:pt x="236" y="204"/>
                  <a:pt x="249" y="199"/>
                  <a:pt x="250" y="198"/>
                </a:cubicBezTo>
                <a:cubicBezTo>
                  <a:pt x="252" y="197"/>
                  <a:pt x="258" y="202"/>
                  <a:pt x="258" y="202"/>
                </a:cubicBezTo>
                <a:cubicBezTo>
                  <a:pt x="253" y="202"/>
                  <a:pt x="253" y="202"/>
                  <a:pt x="253" y="202"/>
                </a:cubicBezTo>
                <a:cubicBezTo>
                  <a:pt x="250" y="200"/>
                  <a:pt x="250" y="200"/>
                  <a:pt x="250" y="200"/>
                </a:cubicBezTo>
                <a:cubicBezTo>
                  <a:pt x="246" y="203"/>
                  <a:pt x="246" y="203"/>
                  <a:pt x="246" y="203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241" y="203"/>
                  <a:pt x="236" y="208"/>
                  <a:pt x="234" y="209"/>
                </a:cubicBezTo>
                <a:cubicBezTo>
                  <a:pt x="232" y="209"/>
                  <a:pt x="224" y="211"/>
                  <a:pt x="225" y="212"/>
                </a:cubicBezTo>
                <a:cubicBezTo>
                  <a:pt x="226" y="214"/>
                  <a:pt x="230" y="214"/>
                  <a:pt x="230" y="214"/>
                </a:cubicBezTo>
                <a:cubicBezTo>
                  <a:pt x="230" y="214"/>
                  <a:pt x="226" y="216"/>
                  <a:pt x="225" y="216"/>
                </a:cubicBezTo>
                <a:cubicBezTo>
                  <a:pt x="224" y="216"/>
                  <a:pt x="218" y="216"/>
                  <a:pt x="218" y="217"/>
                </a:cubicBezTo>
                <a:cubicBezTo>
                  <a:pt x="218" y="218"/>
                  <a:pt x="219" y="221"/>
                  <a:pt x="223" y="219"/>
                </a:cubicBezTo>
                <a:cubicBezTo>
                  <a:pt x="227" y="217"/>
                  <a:pt x="236" y="212"/>
                  <a:pt x="240" y="212"/>
                </a:cubicBezTo>
                <a:cubicBezTo>
                  <a:pt x="244" y="211"/>
                  <a:pt x="250" y="213"/>
                  <a:pt x="253" y="211"/>
                </a:cubicBezTo>
                <a:cubicBezTo>
                  <a:pt x="256" y="210"/>
                  <a:pt x="261" y="205"/>
                  <a:pt x="261" y="205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203"/>
                  <a:pt x="272" y="199"/>
                  <a:pt x="274" y="199"/>
                </a:cubicBezTo>
                <a:cubicBezTo>
                  <a:pt x="276" y="199"/>
                  <a:pt x="277" y="201"/>
                  <a:pt x="277" y="201"/>
                </a:cubicBezTo>
                <a:cubicBezTo>
                  <a:pt x="285" y="199"/>
                  <a:pt x="285" y="199"/>
                  <a:pt x="285" y="199"/>
                </a:cubicBezTo>
                <a:cubicBezTo>
                  <a:pt x="280" y="203"/>
                  <a:pt x="280" y="203"/>
                  <a:pt x="280" y="203"/>
                </a:cubicBezTo>
                <a:cubicBezTo>
                  <a:pt x="282" y="205"/>
                  <a:pt x="282" y="205"/>
                  <a:pt x="282" y="205"/>
                </a:cubicBezTo>
                <a:cubicBezTo>
                  <a:pt x="282" y="205"/>
                  <a:pt x="282" y="207"/>
                  <a:pt x="282" y="207"/>
                </a:cubicBezTo>
                <a:cubicBezTo>
                  <a:pt x="283" y="207"/>
                  <a:pt x="292" y="202"/>
                  <a:pt x="292" y="202"/>
                </a:cubicBezTo>
                <a:cubicBezTo>
                  <a:pt x="292" y="202"/>
                  <a:pt x="284" y="208"/>
                  <a:pt x="286" y="209"/>
                </a:cubicBezTo>
                <a:cubicBezTo>
                  <a:pt x="288" y="210"/>
                  <a:pt x="294" y="210"/>
                  <a:pt x="294" y="210"/>
                </a:cubicBezTo>
                <a:cubicBezTo>
                  <a:pt x="308" y="212"/>
                  <a:pt x="308" y="212"/>
                  <a:pt x="308" y="212"/>
                </a:cubicBezTo>
                <a:cubicBezTo>
                  <a:pt x="312" y="209"/>
                  <a:pt x="312" y="209"/>
                  <a:pt x="312" y="209"/>
                </a:cubicBezTo>
                <a:cubicBezTo>
                  <a:pt x="312" y="209"/>
                  <a:pt x="310" y="214"/>
                  <a:pt x="312" y="214"/>
                </a:cubicBezTo>
                <a:cubicBezTo>
                  <a:pt x="314" y="214"/>
                  <a:pt x="321" y="214"/>
                  <a:pt x="321" y="214"/>
                </a:cubicBezTo>
                <a:cubicBezTo>
                  <a:pt x="326" y="212"/>
                  <a:pt x="326" y="212"/>
                  <a:pt x="326" y="212"/>
                </a:cubicBezTo>
                <a:cubicBezTo>
                  <a:pt x="326" y="212"/>
                  <a:pt x="317" y="215"/>
                  <a:pt x="318" y="217"/>
                </a:cubicBezTo>
                <a:cubicBezTo>
                  <a:pt x="319" y="219"/>
                  <a:pt x="322" y="220"/>
                  <a:pt x="322" y="220"/>
                </a:cubicBezTo>
                <a:cubicBezTo>
                  <a:pt x="322" y="220"/>
                  <a:pt x="322" y="228"/>
                  <a:pt x="324" y="228"/>
                </a:cubicBezTo>
                <a:cubicBezTo>
                  <a:pt x="327" y="228"/>
                  <a:pt x="333" y="227"/>
                  <a:pt x="333" y="227"/>
                </a:cubicBezTo>
                <a:cubicBezTo>
                  <a:pt x="332" y="223"/>
                  <a:pt x="332" y="223"/>
                  <a:pt x="332" y="223"/>
                </a:cubicBezTo>
                <a:cubicBezTo>
                  <a:pt x="335" y="222"/>
                  <a:pt x="335" y="222"/>
                  <a:pt x="335" y="222"/>
                </a:cubicBezTo>
                <a:cubicBezTo>
                  <a:pt x="337" y="224"/>
                  <a:pt x="337" y="224"/>
                  <a:pt x="337" y="224"/>
                </a:cubicBezTo>
                <a:cubicBezTo>
                  <a:pt x="341" y="223"/>
                  <a:pt x="341" y="223"/>
                  <a:pt x="341" y="223"/>
                </a:cubicBezTo>
                <a:cubicBezTo>
                  <a:pt x="341" y="223"/>
                  <a:pt x="337" y="228"/>
                  <a:pt x="339" y="228"/>
                </a:cubicBezTo>
                <a:cubicBezTo>
                  <a:pt x="341" y="229"/>
                  <a:pt x="345" y="223"/>
                  <a:pt x="345" y="223"/>
                </a:cubicBezTo>
                <a:cubicBezTo>
                  <a:pt x="349" y="217"/>
                  <a:pt x="349" y="217"/>
                  <a:pt x="349" y="217"/>
                </a:cubicBezTo>
                <a:cubicBezTo>
                  <a:pt x="346" y="226"/>
                  <a:pt x="346" y="226"/>
                  <a:pt x="346" y="226"/>
                </a:cubicBezTo>
                <a:cubicBezTo>
                  <a:pt x="346" y="229"/>
                  <a:pt x="346" y="229"/>
                  <a:pt x="346" y="229"/>
                </a:cubicBezTo>
                <a:cubicBezTo>
                  <a:pt x="351" y="227"/>
                  <a:pt x="351" y="227"/>
                  <a:pt x="351" y="227"/>
                </a:cubicBezTo>
                <a:cubicBezTo>
                  <a:pt x="348" y="231"/>
                  <a:pt x="348" y="231"/>
                  <a:pt x="348" y="231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49" y="233"/>
                  <a:pt x="349" y="233"/>
                  <a:pt x="349" y="233"/>
                </a:cubicBezTo>
                <a:cubicBezTo>
                  <a:pt x="349" y="236"/>
                  <a:pt x="349" y="236"/>
                  <a:pt x="349" y="236"/>
                </a:cubicBezTo>
                <a:cubicBezTo>
                  <a:pt x="345" y="238"/>
                  <a:pt x="345" y="238"/>
                  <a:pt x="345" y="238"/>
                </a:cubicBezTo>
                <a:cubicBezTo>
                  <a:pt x="342" y="240"/>
                  <a:pt x="342" y="240"/>
                  <a:pt x="342" y="240"/>
                </a:cubicBezTo>
                <a:cubicBezTo>
                  <a:pt x="347" y="243"/>
                  <a:pt x="347" y="243"/>
                  <a:pt x="347" y="243"/>
                </a:cubicBezTo>
                <a:cubicBezTo>
                  <a:pt x="346" y="247"/>
                  <a:pt x="346" y="247"/>
                  <a:pt x="346" y="247"/>
                </a:cubicBezTo>
                <a:cubicBezTo>
                  <a:pt x="344" y="250"/>
                  <a:pt x="344" y="250"/>
                  <a:pt x="344" y="250"/>
                </a:cubicBezTo>
                <a:cubicBezTo>
                  <a:pt x="346" y="251"/>
                  <a:pt x="346" y="251"/>
                  <a:pt x="346" y="251"/>
                </a:cubicBezTo>
                <a:cubicBezTo>
                  <a:pt x="343" y="254"/>
                  <a:pt x="343" y="254"/>
                  <a:pt x="343" y="254"/>
                </a:cubicBezTo>
                <a:cubicBezTo>
                  <a:pt x="347" y="254"/>
                  <a:pt x="347" y="254"/>
                  <a:pt x="347" y="254"/>
                </a:cubicBezTo>
                <a:cubicBezTo>
                  <a:pt x="353" y="252"/>
                  <a:pt x="353" y="252"/>
                  <a:pt x="353" y="252"/>
                </a:cubicBezTo>
                <a:cubicBezTo>
                  <a:pt x="348" y="257"/>
                  <a:pt x="348" y="257"/>
                  <a:pt x="348" y="257"/>
                </a:cubicBezTo>
                <a:cubicBezTo>
                  <a:pt x="346" y="259"/>
                  <a:pt x="346" y="259"/>
                  <a:pt x="346" y="259"/>
                </a:cubicBezTo>
                <a:cubicBezTo>
                  <a:pt x="349" y="260"/>
                  <a:pt x="349" y="260"/>
                  <a:pt x="349" y="260"/>
                </a:cubicBezTo>
                <a:cubicBezTo>
                  <a:pt x="342" y="263"/>
                  <a:pt x="342" y="263"/>
                  <a:pt x="342" y="263"/>
                </a:cubicBezTo>
                <a:cubicBezTo>
                  <a:pt x="340" y="265"/>
                  <a:pt x="340" y="265"/>
                  <a:pt x="340" y="265"/>
                </a:cubicBezTo>
                <a:cubicBezTo>
                  <a:pt x="342" y="266"/>
                  <a:pt x="342" y="266"/>
                  <a:pt x="342" y="266"/>
                </a:cubicBezTo>
                <a:cubicBezTo>
                  <a:pt x="342" y="266"/>
                  <a:pt x="342" y="266"/>
                  <a:pt x="342" y="267"/>
                </a:cubicBezTo>
                <a:cubicBezTo>
                  <a:pt x="341" y="268"/>
                  <a:pt x="341" y="269"/>
                  <a:pt x="341" y="270"/>
                </a:cubicBezTo>
                <a:cubicBezTo>
                  <a:pt x="341" y="272"/>
                  <a:pt x="340" y="275"/>
                  <a:pt x="340" y="275"/>
                </a:cubicBezTo>
                <a:cubicBezTo>
                  <a:pt x="338" y="276"/>
                  <a:pt x="338" y="276"/>
                  <a:pt x="338" y="276"/>
                </a:cubicBezTo>
                <a:cubicBezTo>
                  <a:pt x="338" y="276"/>
                  <a:pt x="340" y="277"/>
                  <a:pt x="340" y="278"/>
                </a:cubicBezTo>
                <a:cubicBezTo>
                  <a:pt x="340" y="280"/>
                  <a:pt x="342" y="280"/>
                  <a:pt x="342" y="280"/>
                </a:cubicBezTo>
                <a:cubicBezTo>
                  <a:pt x="342" y="280"/>
                  <a:pt x="352" y="272"/>
                  <a:pt x="352" y="274"/>
                </a:cubicBezTo>
                <a:cubicBezTo>
                  <a:pt x="352" y="276"/>
                  <a:pt x="349" y="276"/>
                  <a:pt x="348" y="277"/>
                </a:cubicBezTo>
                <a:cubicBezTo>
                  <a:pt x="348" y="278"/>
                  <a:pt x="349" y="280"/>
                  <a:pt x="349" y="280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45" y="282"/>
                  <a:pt x="345" y="282"/>
                  <a:pt x="345" y="282"/>
                </a:cubicBezTo>
                <a:cubicBezTo>
                  <a:pt x="345" y="282"/>
                  <a:pt x="340" y="287"/>
                  <a:pt x="342" y="287"/>
                </a:cubicBezTo>
                <a:cubicBezTo>
                  <a:pt x="344" y="288"/>
                  <a:pt x="345" y="289"/>
                  <a:pt x="345" y="289"/>
                </a:cubicBezTo>
                <a:cubicBezTo>
                  <a:pt x="345" y="289"/>
                  <a:pt x="343" y="293"/>
                  <a:pt x="344" y="293"/>
                </a:cubicBezTo>
                <a:cubicBezTo>
                  <a:pt x="346" y="292"/>
                  <a:pt x="354" y="286"/>
                  <a:pt x="354" y="286"/>
                </a:cubicBezTo>
                <a:cubicBezTo>
                  <a:pt x="354" y="288"/>
                  <a:pt x="354" y="288"/>
                  <a:pt x="354" y="288"/>
                </a:cubicBezTo>
                <a:cubicBezTo>
                  <a:pt x="350" y="290"/>
                  <a:pt x="350" y="290"/>
                  <a:pt x="350" y="290"/>
                </a:cubicBezTo>
                <a:cubicBezTo>
                  <a:pt x="353" y="292"/>
                  <a:pt x="353" y="292"/>
                  <a:pt x="353" y="292"/>
                </a:cubicBezTo>
                <a:cubicBezTo>
                  <a:pt x="353" y="292"/>
                  <a:pt x="352" y="296"/>
                  <a:pt x="351" y="295"/>
                </a:cubicBezTo>
                <a:cubicBezTo>
                  <a:pt x="349" y="295"/>
                  <a:pt x="349" y="293"/>
                  <a:pt x="349" y="293"/>
                </a:cubicBezTo>
                <a:cubicBezTo>
                  <a:pt x="349" y="293"/>
                  <a:pt x="342" y="295"/>
                  <a:pt x="340" y="296"/>
                </a:cubicBezTo>
                <a:cubicBezTo>
                  <a:pt x="339" y="298"/>
                  <a:pt x="338" y="299"/>
                  <a:pt x="338" y="299"/>
                </a:cubicBezTo>
                <a:cubicBezTo>
                  <a:pt x="338" y="299"/>
                  <a:pt x="342" y="298"/>
                  <a:pt x="343" y="298"/>
                </a:cubicBezTo>
                <a:cubicBezTo>
                  <a:pt x="344" y="298"/>
                  <a:pt x="348" y="298"/>
                  <a:pt x="348" y="298"/>
                </a:cubicBezTo>
                <a:cubicBezTo>
                  <a:pt x="348" y="298"/>
                  <a:pt x="341" y="300"/>
                  <a:pt x="339" y="301"/>
                </a:cubicBezTo>
                <a:cubicBezTo>
                  <a:pt x="338" y="301"/>
                  <a:pt x="339" y="303"/>
                  <a:pt x="339" y="303"/>
                </a:cubicBezTo>
                <a:cubicBezTo>
                  <a:pt x="339" y="303"/>
                  <a:pt x="332" y="301"/>
                  <a:pt x="334" y="303"/>
                </a:cubicBezTo>
                <a:cubicBezTo>
                  <a:pt x="336" y="306"/>
                  <a:pt x="338" y="307"/>
                  <a:pt x="338" y="307"/>
                </a:cubicBezTo>
                <a:cubicBezTo>
                  <a:pt x="344" y="305"/>
                  <a:pt x="344" y="305"/>
                  <a:pt x="344" y="305"/>
                </a:cubicBezTo>
                <a:cubicBezTo>
                  <a:pt x="346" y="308"/>
                  <a:pt x="346" y="308"/>
                  <a:pt x="346" y="308"/>
                </a:cubicBezTo>
                <a:cubicBezTo>
                  <a:pt x="351" y="305"/>
                  <a:pt x="351" y="305"/>
                  <a:pt x="351" y="305"/>
                </a:cubicBezTo>
                <a:cubicBezTo>
                  <a:pt x="351" y="305"/>
                  <a:pt x="345" y="312"/>
                  <a:pt x="347" y="312"/>
                </a:cubicBezTo>
                <a:cubicBezTo>
                  <a:pt x="349" y="312"/>
                  <a:pt x="355" y="307"/>
                  <a:pt x="355" y="307"/>
                </a:cubicBezTo>
                <a:cubicBezTo>
                  <a:pt x="355" y="307"/>
                  <a:pt x="350" y="313"/>
                  <a:pt x="351" y="313"/>
                </a:cubicBezTo>
                <a:cubicBezTo>
                  <a:pt x="351" y="313"/>
                  <a:pt x="355" y="312"/>
                  <a:pt x="355" y="312"/>
                </a:cubicBezTo>
                <a:cubicBezTo>
                  <a:pt x="355" y="312"/>
                  <a:pt x="347" y="318"/>
                  <a:pt x="350" y="319"/>
                </a:cubicBezTo>
                <a:cubicBezTo>
                  <a:pt x="352" y="319"/>
                  <a:pt x="358" y="315"/>
                  <a:pt x="358" y="315"/>
                </a:cubicBezTo>
                <a:cubicBezTo>
                  <a:pt x="358" y="315"/>
                  <a:pt x="353" y="320"/>
                  <a:pt x="354" y="321"/>
                </a:cubicBezTo>
                <a:cubicBezTo>
                  <a:pt x="355" y="321"/>
                  <a:pt x="359" y="322"/>
                  <a:pt x="359" y="323"/>
                </a:cubicBezTo>
                <a:cubicBezTo>
                  <a:pt x="359" y="323"/>
                  <a:pt x="358" y="327"/>
                  <a:pt x="358" y="329"/>
                </a:cubicBezTo>
                <a:cubicBezTo>
                  <a:pt x="358" y="329"/>
                  <a:pt x="358" y="329"/>
                  <a:pt x="358" y="329"/>
                </a:cubicBezTo>
                <a:cubicBezTo>
                  <a:pt x="358" y="331"/>
                  <a:pt x="357" y="332"/>
                  <a:pt x="357" y="333"/>
                </a:cubicBezTo>
                <a:cubicBezTo>
                  <a:pt x="356" y="334"/>
                  <a:pt x="356" y="339"/>
                  <a:pt x="356" y="339"/>
                </a:cubicBezTo>
                <a:cubicBezTo>
                  <a:pt x="351" y="341"/>
                  <a:pt x="351" y="341"/>
                  <a:pt x="351" y="341"/>
                </a:cubicBezTo>
                <a:cubicBezTo>
                  <a:pt x="351" y="344"/>
                  <a:pt x="351" y="344"/>
                  <a:pt x="351" y="344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4" y="346"/>
                  <a:pt x="344" y="346"/>
                  <a:pt x="344" y="346"/>
                </a:cubicBezTo>
                <a:cubicBezTo>
                  <a:pt x="344" y="346"/>
                  <a:pt x="346" y="342"/>
                  <a:pt x="347" y="341"/>
                </a:cubicBezTo>
                <a:cubicBezTo>
                  <a:pt x="348" y="341"/>
                  <a:pt x="352" y="338"/>
                  <a:pt x="350" y="338"/>
                </a:cubicBezTo>
                <a:cubicBezTo>
                  <a:pt x="348" y="338"/>
                  <a:pt x="346" y="338"/>
                  <a:pt x="344" y="338"/>
                </a:cubicBezTo>
                <a:cubicBezTo>
                  <a:pt x="342" y="338"/>
                  <a:pt x="340" y="334"/>
                  <a:pt x="338" y="335"/>
                </a:cubicBezTo>
                <a:cubicBezTo>
                  <a:pt x="336" y="336"/>
                  <a:pt x="335" y="334"/>
                  <a:pt x="334" y="338"/>
                </a:cubicBezTo>
                <a:cubicBezTo>
                  <a:pt x="334" y="343"/>
                  <a:pt x="334" y="345"/>
                  <a:pt x="333" y="346"/>
                </a:cubicBezTo>
                <a:cubicBezTo>
                  <a:pt x="333" y="346"/>
                  <a:pt x="331" y="349"/>
                  <a:pt x="331" y="349"/>
                </a:cubicBezTo>
                <a:cubicBezTo>
                  <a:pt x="335" y="350"/>
                  <a:pt x="335" y="350"/>
                  <a:pt x="335" y="350"/>
                </a:cubicBezTo>
                <a:cubicBezTo>
                  <a:pt x="331" y="351"/>
                  <a:pt x="331" y="351"/>
                  <a:pt x="331" y="351"/>
                </a:cubicBezTo>
                <a:cubicBezTo>
                  <a:pt x="331" y="353"/>
                  <a:pt x="331" y="353"/>
                  <a:pt x="331" y="353"/>
                </a:cubicBezTo>
                <a:cubicBezTo>
                  <a:pt x="329" y="357"/>
                  <a:pt x="329" y="357"/>
                  <a:pt x="329" y="357"/>
                </a:cubicBezTo>
                <a:cubicBezTo>
                  <a:pt x="329" y="357"/>
                  <a:pt x="333" y="358"/>
                  <a:pt x="333" y="359"/>
                </a:cubicBezTo>
                <a:cubicBezTo>
                  <a:pt x="333" y="360"/>
                  <a:pt x="326" y="359"/>
                  <a:pt x="326" y="359"/>
                </a:cubicBezTo>
                <a:cubicBezTo>
                  <a:pt x="326" y="359"/>
                  <a:pt x="318" y="371"/>
                  <a:pt x="316" y="374"/>
                </a:cubicBezTo>
                <a:cubicBezTo>
                  <a:pt x="314" y="376"/>
                  <a:pt x="304" y="388"/>
                  <a:pt x="304" y="388"/>
                </a:cubicBezTo>
                <a:cubicBezTo>
                  <a:pt x="305" y="391"/>
                  <a:pt x="305" y="391"/>
                  <a:pt x="305" y="391"/>
                </a:cubicBezTo>
                <a:cubicBezTo>
                  <a:pt x="305" y="391"/>
                  <a:pt x="302" y="392"/>
                  <a:pt x="300" y="394"/>
                </a:cubicBezTo>
                <a:cubicBezTo>
                  <a:pt x="297" y="397"/>
                  <a:pt x="297" y="400"/>
                  <a:pt x="297" y="400"/>
                </a:cubicBezTo>
                <a:cubicBezTo>
                  <a:pt x="295" y="403"/>
                  <a:pt x="295" y="403"/>
                  <a:pt x="295" y="403"/>
                </a:cubicBezTo>
                <a:cubicBezTo>
                  <a:pt x="294" y="410"/>
                  <a:pt x="294" y="410"/>
                  <a:pt x="294" y="410"/>
                </a:cubicBezTo>
                <a:cubicBezTo>
                  <a:pt x="294" y="410"/>
                  <a:pt x="289" y="417"/>
                  <a:pt x="288" y="418"/>
                </a:cubicBezTo>
                <a:cubicBezTo>
                  <a:pt x="286" y="419"/>
                  <a:pt x="282" y="422"/>
                  <a:pt x="282" y="424"/>
                </a:cubicBezTo>
                <a:cubicBezTo>
                  <a:pt x="283" y="427"/>
                  <a:pt x="286" y="428"/>
                  <a:pt x="286" y="430"/>
                </a:cubicBezTo>
                <a:cubicBezTo>
                  <a:pt x="285" y="432"/>
                  <a:pt x="281" y="437"/>
                  <a:pt x="281" y="440"/>
                </a:cubicBezTo>
                <a:cubicBezTo>
                  <a:pt x="281" y="442"/>
                  <a:pt x="283" y="451"/>
                  <a:pt x="283" y="451"/>
                </a:cubicBezTo>
                <a:cubicBezTo>
                  <a:pt x="287" y="449"/>
                  <a:pt x="287" y="449"/>
                  <a:pt x="287" y="449"/>
                </a:cubicBezTo>
                <a:cubicBezTo>
                  <a:pt x="296" y="450"/>
                  <a:pt x="296" y="450"/>
                  <a:pt x="296" y="450"/>
                </a:cubicBezTo>
                <a:cubicBezTo>
                  <a:pt x="296" y="450"/>
                  <a:pt x="288" y="450"/>
                  <a:pt x="288" y="451"/>
                </a:cubicBezTo>
                <a:cubicBezTo>
                  <a:pt x="287" y="452"/>
                  <a:pt x="287" y="455"/>
                  <a:pt x="287" y="455"/>
                </a:cubicBezTo>
                <a:cubicBezTo>
                  <a:pt x="287" y="455"/>
                  <a:pt x="285" y="452"/>
                  <a:pt x="284" y="453"/>
                </a:cubicBezTo>
                <a:cubicBezTo>
                  <a:pt x="283" y="454"/>
                  <a:pt x="281" y="458"/>
                  <a:pt x="282" y="460"/>
                </a:cubicBezTo>
                <a:cubicBezTo>
                  <a:pt x="283" y="462"/>
                  <a:pt x="286" y="462"/>
                  <a:pt x="286" y="462"/>
                </a:cubicBezTo>
                <a:cubicBezTo>
                  <a:pt x="286" y="462"/>
                  <a:pt x="286" y="466"/>
                  <a:pt x="285" y="466"/>
                </a:cubicBezTo>
                <a:cubicBezTo>
                  <a:pt x="284" y="466"/>
                  <a:pt x="282" y="469"/>
                  <a:pt x="282" y="470"/>
                </a:cubicBezTo>
                <a:cubicBezTo>
                  <a:pt x="282" y="472"/>
                  <a:pt x="285" y="475"/>
                  <a:pt x="285" y="475"/>
                </a:cubicBezTo>
                <a:cubicBezTo>
                  <a:pt x="285" y="475"/>
                  <a:pt x="289" y="482"/>
                  <a:pt x="289" y="483"/>
                </a:cubicBezTo>
                <a:cubicBezTo>
                  <a:pt x="289" y="485"/>
                  <a:pt x="284" y="489"/>
                  <a:pt x="287" y="490"/>
                </a:cubicBezTo>
                <a:cubicBezTo>
                  <a:pt x="289" y="491"/>
                  <a:pt x="294" y="491"/>
                  <a:pt x="294" y="491"/>
                </a:cubicBezTo>
                <a:cubicBezTo>
                  <a:pt x="294" y="491"/>
                  <a:pt x="295" y="495"/>
                  <a:pt x="297" y="495"/>
                </a:cubicBezTo>
                <a:cubicBezTo>
                  <a:pt x="300" y="495"/>
                  <a:pt x="303" y="494"/>
                  <a:pt x="303" y="494"/>
                </a:cubicBezTo>
                <a:cubicBezTo>
                  <a:pt x="304" y="498"/>
                  <a:pt x="304" y="498"/>
                  <a:pt x="304" y="498"/>
                </a:cubicBezTo>
                <a:cubicBezTo>
                  <a:pt x="304" y="498"/>
                  <a:pt x="311" y="500"/>
                  <a:pt x="311" y="504"/>
                </a:cubicBezTo>
                <a:cubicBezTo>
                  <a:pt x="311" y="505"/>
                  <a:pt x="310" y="508"/>
                  <a:pt x="310" y="511"/>
                </a:cubicBezTo>
                <a:cubicBezTo>
                  <a:pt x="309" y="513"/>
                  <a:pt x="309" y="514"/>
                  <a:pt x="309" y="515"/>
                </a:cubicBezTo>
                <a:cubicBezTo>
                  <a:pt x="309" y="518"/>
                  <a:pt x="312" y="522"/>
                  <a:pt x="312" y="522"/>
                </a:cubicBezTo>
                <a:cubicBezTo>
                  <a:pt x="309" y="523"/>
                  <a:pt x="309" y="523"/>
                  <a:pt x="309" y="523"/>
                </a:cubicBezTo>
                <a:cubicBezTo>
                  <a:pt x="311" y="526"/>
                  <a:pt x="311" y="526"/>
                  <a:pt x="311" y="526"/>
                </a:cubicBezTo>
                <a:cubicBezTo>
                  <a:pt x="309" y="528"/>
                  <a:pt x="309" y="528"/>
                  <a:pt x="309" y="528"/>
                </a:cubicBezTo>
                <a:cubicBezTo>
                  <a:pt x="312" y="531"/>
                  <a:pt x="312" y="531"/>
                  <a:pt x="312" y="531"/>
                </a:cubicBezTo>
                <a:cubicBezTo>
                  <a:pt x="310" y="535"/>
                  <a:pt x="310" y="535"/>
                  <a:pt x="310" y="535"/>
                </a:cubicBezTo>
                <a:cubicBezTo>
                  <a:pt x="312" y="536"/>
                  <a:pt x="312" y="536"/>
                  <a:pt x="312" y="536"/>
                </a:cubicBezTo>
                <a:cubicBezTo>
                  <a:pt x="312" y="536"/>
                  <a:pt x="311" y="544"/>
                  <a:pt x="313" y="546"/>
                </a:cubicBezTo>
                <a:cubicBezTo>
                  <a:pt x="315" y="548"/>
                  <a:pt x="318" y="547"/>
                  <a:pt x="318" y="547"/>
                </a:cubicBezTo>
                <a:cubicBezTo>
                  <a:pt x="318" y="547"/>
                  <a:pt x="323" y="556"/>
                  <a:pt x="323" y="558"/>
                </a:cubicBezTo>
                <a:cubicBezTo>
                  <a:pt x="323" y="559"/>
                  <a:pt x="319" y="565"/>
                  <a:pt x="319" y="565"/>
                </a:cubicBezTo>
                <a:cubicBezTo>
                  <a:pt x="321" y="566"/>
                  <a:pt x="321" y="566"/>
                  <a:pt x="321" y="566"/>
                </a:cubicBezTo>
                <a:cubicBezTo>
                  <a:pt x="319" y="568"/>
                  <a:pt x="319" y="568"/>
                  <a:pt x="319" y="568"/>
                </a:cubicBezTo>
                <a:cubicBezTo>
                  <a:pt x="317" y="565"/>
                  <a:pt x="317" y="565"/>
                  <a:pt x="317" y="565"/>
                </a:cubicBezTo>
                <a:cubicBezTo>
                  <a:pt x="310" y="565"/>
                  <a:pt x="310" y="565"/>
                  <a:pt x="310" y="565"/>
                </a:cubicBezTo>
                <a:cubicBezTo>
                  <a:pt x="314" y="569"/>
                  <a:pt x="314" y="569"/>
                  <a:pt x="314" y="569"/>
                </a:cubicBezTo>
                <a:cubicBezTo>
                  <a:pt x="315" y="572"/>
                  <a:pt x="315" y="572"/>
                  <a:pt x="315" y="572"/>
                </a:cubicBezTo>
                <a:cubicBezTo>
                  <a:pt x="318" y="572"/>
                  <a:pt x="318" y="572"/>
                  <a:pt x="318" y="572"/>
                </a:cubicBezTo>
                <a:cubicBezTo>
                  <a:pt x="318" y="572"/>
                  <a:pt x="321" y="577"/>
                  <a:pt x="322" y="577"/>
                </a:cubicBezTo>
                <a:cubicBezTo>
                  <a:pt x="323" y="576"/>
                  <a:pt x="327" y="574"/>
                  <a:pt x="327" y="574"/>
                </a:cubicBezTo>
                <a:cubicBezTo>
                  <a:pt x="327" y="574"/>
                  <a:pt x="326" y="579"/>
                  <a:pt x="328" y="581"/>
                </a:cubicBezTo>
                <a:cubicBezTo>
                  <a:pt x="329" y="583"/>
                  <a:pt x="332" y="585"/>
                  <a:pt x="332" y="587"/>
                </a:cubicBezTo>
                <a:cubicBezTo>
                  <a:pt x="332" y="589"/>
                  <a:pt x="329" y="594"/>
                  <a:pt x="330" y="596"/>
                </a:cubicBezTo>
                <a:cubicBezTo>
                  <a:pt x="331" y="599"/>
                  <a:pt x="336" y="603"/>
                  <a:pt x="339" y="606"/>
                </a:cubicBezTo>
                <a:cubicBezTo>
                  <a:pt x="341" y="610"/>
                  <a:pt x="345" y="614"/>
                  <a:pt x="345" y="614"/>
                </a:cubicBezTo>
                <a:cubicBezTo>
                  <a:pt x="345" y="614"/>
                  <a:pt x="343" y="620"/>
                  <a:pt x="346" y="620"/>
                </a:cubicBezTo>
                <a:cubicBezTo>
                  <a:pt x="349" y="620"/>
                  <a:pt x="353" y="616"/>
                  <a:pt x="353" y="616"/>
                </a:cubicBezTo>
                <a:cubicBezTo>
                  <a:pt x="352" y="613"/>
                  <a:pt x="352" y="613"/>
                  <a:pt x="352" y="613"/>
                </a:cubicBezTo>
                <a:cubicBezTo>
                  <a:pt x="352" y="613"/>
                  <a:pt x="350" y="606"/>
                  <a:pt x="349" y="605"/>
                </a:cubicBezTo>
                <a:cubicBezTo>
                  <a:pt x="347" y="604"/>
                  <a:pt x="345" y="605"/>
                  <a:pt x="345" y="605"/>
                </a:cubicBezTo>
                <a:cubicBezTo>
                  <a:pt x="342" y="601"/>
                  <a:pt x="342" y="601"/>
                  <a:pt x="342" y="601"/>
                </a:cubicBezTo>
                <a:cubicBezTo>
                  <a:pt x="342" y="601"/>
                  <a:pt x="343" y="599"/>
                  <a:pt x="343" y="597"/>
                </a:cubicBezTo>
                <a:cubicBezTo>
                  <a:pt x="342" y="595"/>
                  <a:pt x="343" y="591"/>
                  <a:pt x="343" y="591"/>
                </a:cubicBezTo>
                <a:cubicBezTo>
                  <a:pt x="340" y="587"/>
                  <a:pt x="340" y="587"/>
                  <a:pt x="340" y="587"/>
                </a:cubicBezTo>
                <a:cubicBezTo>
                  <a:pt x="340" y="587"/>
                  <a:pt x="342" y="582"/>
                  <a:pt x="341" y="579"/>
                </a:cubicBezTo>
                <a:cubicBezTo>
                  <a:pt x="341" y="577"/>
                  <a:pt x="336" y="577"/>
                  <a:pt x="336" y="577"/>
                </a:cubicBezTo>
                <a:cubicBezTo>
                  <a:pt x="336" y="570"/>
                  <a:pt x="336" y="570"/>
                  <a:pt x="336" y="570"/>
                </a:cubicBezTo>
                <a:cubicBezTo>
                  <a:pt x="333" y="566"/>
                  <a:pt x="333" y="566"/>
                  <a:pt x="333" y="566"/>
                </a:cubicBezTo>
                <a:cubicBezTo>
                  <a:pt x="333" y="558"/>
                  <a:pt x="333" y="558"/>
                  <a:pt x="333" y="558"/>
                </a:cubicBezTo>
                <a:cubicBezTo>
                  <a:pt x="333" y="558"/>
                  <a:pt x="330" y="554"/>
                  <a:pt x="329" y="552"/>
                </a:cubicBezTo>
                <a:cubicBezTo>
                  <a:pt x="328" y="551"/>
                  <a:pt x="327" y="546"/>
                  <a:pt x="327" y="546"/>
                </a:cubicBezTo>
                <a:cubicBezTo>
                  <a:pt x="327" y="546"/>
                  <a:pt x="322" y="538"/>
                  <a:pt x="323" y="537"/>
                </a:cubicBezTo>
                <a:cubicBezTo>
                  <a:pt x="323" y="536"/>
                  <a:pt x="325" y="533"/>
                  <a:pt x="324" y="530"/>
                </a:cubicBezTo>
                <a:cubicBezTo>
                  <a:pt x="324" y="528"/>
                  <a:pt x="327" y="524"/>
                  <a:pt x="327" y="52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19"/>
                  <a:pt x="331" y="523"/>
                  <a:pt x="332" y="523"/>
                </a:cubicBezTo>
                <a:cubicBezTo>
                  <a:pt x="334" y="523"/>
                  <a:pt x="337" y="522"/>
                  <a:pt x="337" y="522"/>
                </a:cubicBezTo>
                <a:cubicBezTo>
                  <a:pt x="337" y="522"/>
                  <a:pt x="336" y="525"/>
                  <a:pt x="338" y="526"/>
                </a:cubicBezTo>
                <a:cubicBezTo>
                  <a:pt x="339" y="526"/>
                  <a:pt x="341" y="526"/>
                  <a:pt x="341" y="526"/>
                </a:cubicBezTo>
                <a:cubicBezTo>
                  <a:pt x="341" y="526"/>
                  <a:pt x="341" y="529"/>
                  <a:pt x="341" y="532"/>
                </a:cubicBezTo>
                <a:cubicBezTo>
                  <a:pt x="341" y="536"/>
                  <a:pt x="342" y="548"/>
                  <a:pt x="342" y="548"/>
                </a:cubicBezTo>
                <a:cubicBezTo>
                  <a:pt x="342" y="548"/>
                  <a:pt x="347" y="564"/>
                  <a:pt x="348" y="564"/>
                </a:cubicBezTo>
                <a:cubicBezTo>
                  <a:pt x="350" y="564"/>
                  <a:pt x="354" y="564"/>
                  <a:pt x="354" y="564"/>
                </a:cubicBezTo>
                <a:cubicBezTo>
                  <a:pt x="354" y="564"/>
                  <a:pt x="350" y="566"/>
                  <a:pt x="352" y="570"/>
                </a:cubicBezTo>
                <a:cubicBezTo>
                  <a:pt x="354" y="573"/>
                  <a:pt x="358" y="573"/>
                  <a:pt x="358" y="573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63" y="577"/>
                  <a:pt x="363" y="577"/>
                  <a:pt x="363" y="577"/>
                </a:cubicBezTo>
                <a:cubicBezTo>
                  <a:pt x="363" y="583"/>
                  <a:pt x="363" y="583"/>
                  <a:pt x="363" y="583"/>
                </a:cubicBezTo>
                <a:cubicBezTo>
                  <a:pt x="363" y="583"/>
                  <a:pt x="357" y="585"/>
                  <a:pt x="359" y="588"/>
                </a:cubicBezTo>
                <a:cubicBezTo>
                  <a:pt x="361" y="592"/>
                  <a:pt x="362" y="589"/>
                  <a:pt x="362" y="589"/>
                </a:cubicBezTo>
                <a:cubicBezTo>
                  <a:pt x="362" y="589"/>
                  <a:pt x="364" y="593"/>
                  <a:pt x="365" y="593"/>
                </a:cubicBezTo>
                <a:cubicBezTo>
                  <a:pt x="367" y="594"/>
                  <a:pt x="370" y="594"/>
                  <a:pt x="370" y="595"/>
                </a:cubicBezTo>
                <a:cubicBezTo>
                  <a:pt x="370" y="595"/>
                  <a:pt x="370" y="598"/>
                  <a:pt x="370" y="598"/>
                </a:cubicBezTo>
                <a:cubicBezTo>
                  <a:pt x="370" y="598"/>
                  <a:pt x="367" y="602"/>
                  <a:pt x="369" y="602"/>
                </a:cubicBezTo>
                <a:cubicBezTo>
                  <a:pt x="372" y="602"/>
                  <a:pt x="374" y="602"/>
                  <a:pt x="374" y="602"/>
                </a:cubicBezTo>
                <a:cubicBezTo>
                  <a:pt x="374" y="606"/>
                  <a:pt x="374" y="606"/>
                  <a:pt x="374" y="606"/>
                </a:cubicBezTo>
                <a:cubicBezTo>
                  <a:pt x="374" y="606"/>
                  <a:pt x="379" y="611"/>
                  <a:pt x="381" y="614"/>
                </a:cubicBezTo>
                <a:cubicBezTo>
                  <a:pt x="383" y="617"/>
                  <a:pt x="387" y="623"/>
                  <a:pt x="387" y="625"/>
                </a:cubicBezTo>
                <a:cubicBezTo>
                  <a:pt x="387" y="627"/>
                  <a:pt x="386" y="628"/>
                  <a:pt x="386" y="631"/>
                </a:cubicBezTo>
                <a:cubicBezTo>
                  <a:pt x="387" y="633"/>
                  <a:pt x="390" y="635"/>
                  <a:pt x="389" y="637"/>
                </a:cubicBezTo>
                <a:cubicBezTo>
                  <a:pt x="389" y="639"/>
                  <a:pt x="385" y="641"/>
                  <a:pt x="385" y="642"/>
                </a:cubicBezTo>
                <a:cubicBezTo>
                  <a:pt x="385" y="644"/>
                  <a:pt x="387" y="645"/>
                  <a:pt x="387" y="645"/>
                </a:cubicBezTo>
                <a:cubicBezTo>
                  <a:pt x="387" y="645"/>
                  <a:pt x="382" y="645"/>
                  <a:pt x="382" y="648"/>
                </a:cubicBezTo>
                <a:cubicBezTo>
                  <a:pt x="382" y="652"/>
                  <a:pt x="382" y="660"/>
                  <a:pt x="387" y="661"/>
                </a:cubicBezTo>
                <a:cubicBezTo>
                  <a:pt x="392" y="661"/>
                  <a:pt x="396" y="662"/>
                  <a:pt x="397" y="665"/>
                </a:cubicBezTo>
                <a:cubicBezTo>
                  <a:pt x="399" y="668"/>
                  <a:pt x="400" y="673"/>
                  <a:pt x="404" y="674"/>
                </a:cubicBezTo>
                <a:cubicBezTo>
                  <a:pt x="407" y="674"/>
                  <a:pt x="413" y="673"/>
                  <a:pt x="415" y="675"/>
                </a:cubicBezTo>
                <a:cubicBezTo>
                  <a:pt x="417" y="677"/>
                  <a:pt x="419" y="683"/>
                  <a:pt x="425" y="686"/>
                </a:cubicBezTo>
                <a:cubicBezTo>
                  <a:pt x="432" y="688"/>
                  <a:pt x="441" y="688"/>
                  <a:pt x="442" y="690"/>
                </a:cubicBezTo>
                <a:cubicBezTo>
                  <a:pt x="444" y="692"/>
                  <a:pt x="445" y="695"/>
                  <a:pt x="447" y="695"/>
                </a:cubicBezTo>
                <a:cubicBezTo>
                  <a:pt x="449" y="695"/>
                  <a:pt x="450" y="698"/>
                  <a:pt x="450" y="698"/>
                </a:cubicBezTo>
                <a:cubicBezTo>
                  <a:pt x="450" y="698"/>
                  <a:pt x="459" y="697"/>
                  <a:pt x="460" y="698"/>
                </a:cubicBezTo>
                <a:cubicBezTo>
                  <a:pt x="460" y="699"/>
                  <a:pt x="462" y="703"/>
                  <a:pt x="465" y="702"/>
                </a:cubicBezTo>
                <a:cubicBezTo>
                  <a:pt x="468" y="701"/>
                  <a:pt x="482" y="693"/>
                  <a:pt x="485" y="694"/>
                </a:cubicBezTo>
                <a:cubicBezTo>
                  <a:pt x="487" y="695"/>
                  <a:pt x="501" y="707"/>
                  <a:pt x="502" y="708"/>
                </a:cubicBezTo>
                <a:cubicBezTo>
                  <a:pt x="503" y="709"/>
                  <a:pt x="503" y="712"/>
                  <a:pt x="504" y="714"/>
                </a:cubicBezTo>
                <a:cubicBezTo>
                  <a:pt x="505" y="715"/>
                  <a:pt x="505" y="716"/>
                  <a:pt x="507" y="717"/>
                </a:cubicBezTo>
                <a:cubicBezTo>
                  <a:pt x="511" y="718"/>
                  <a:pt x="512" y="720"/>
                  <a:pt x="514" y="721"/>
                </a:cubicBezTo>
                <a:cubicBezTo>
                  <a:pt x="516" y="722"/>
                  <a:pt x="521" y="721"/>
                  <a:pt x="521" y="721"/>
                </a:cubicBezTo>
                <a:cubicBezTo>
                  <a:pt x="521" y="721"/>
                  <a:pt x="522" y="722"/>
                  <a:pt x="523" y="723"/>
                </a:cubicBezTo>
                <a:cubicBezTo>
                  <a:pt x="525" y="724"/>
                  <a:pt x="527" y="725"/>
                  <a:pt x="527" y="726"/>
                </a:cubicBezTo>
                <a:cubicBezTo>
                  <a:pt x="529" y="726"/>
                  <a:pt x="533" y="726"/>
                  <a:pt x="533" y="726"/>
                </a:cubicBezTo>
                <a:cubicBezTo>
                  <a:pt x="537" y="729"/>
                  <a:pt x="537" y="729"/>
                  <a:pt x="537" y="729"/>
                </a:cubicBezTo>
                <a:cubicBezTo>
                  <a:pt x="541" y="728"/>
                  <a:pt x="541" y="728"/>
                  <a:pt x="541" y="728"/>
                </a:cubicBezTo>
                <a:cubicBezTo>
                  <a:pt x="544" y="730"/>
                  <a:pt x="544" y="730"/>
                  <a:pt x="544" y="730"/>
                </a:cubicBezTo>
                <a:cubicBezTo>
                  <a:pt x="546" y="726"/>
                  <a:pt x="546" y="726"/>
                  <a:pt x="546" y="726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51" y="728"/>
                  <a:pt x="551" y="728"/>
                  <a:pt x="551" y="728"/>
                </a:cubicBezTo>
                <a:cubicBezTo>
                  <a:pt x="553" y="730"/>
                  <a:pt x="552" y="732"/>
                  <a:pt x="552" y="732"/>
                </a:cubicBezTo>
                <a:cubicBezTo>
                  <a:pt x="548" y="732"/>
                  <a:pt x="548" y="732"/>
                  <a:pt x="548" y="732"/>
                </a:cubicBezTo>
                <a:cubicBezTo>
                  <a:pt x="555" y="739"/>
                  <a:pt x="555" y="739"/>
                  <a:pt x="555" y="739"/>
                </a:cubicBezTo>
                <a:cubicBezTo>
                  <a:pt x="555" y="739"/>
                  <a:pt x="556" y="745"/>
                  <a:pt x="558" y="747"/>
                </a:cubicBezTo>
                <a:cubicBezTo>
                  <a:pt x="560" y="748"/>
                  <a:pt x="564" y="751"/>
                  <a:pt x="565" y="752"/>
                </a:cubicBezTo>
                <a:cubicBezTo>
                  <a:pt x="565" y="752"/>
                  <a:pt x="565" y="752"/>
                  <a:pt x="565" y="752"/>
                </a:cubicBezTo>
                <a:cubicBezTo>
                  <a:pt x="563" y="755"/>
                  <a:pt x="563" y="755"/>
                  <a:pt x="563" y="755"/>
                </a:cubicBezTo>
                <a:cubicBezTo>
                  <a:pt x="563" y="755"/>
                  <a:pt x="566" y="757"/>
                  <a:pt x="565" y="758"/>
                </a:cubicBezTo>
                <a:cubicBezTo>
                  <a:pt x="564" y="759"/>
                  <a:pt x="561" y="761"/>
                  <a:pt x="563" y="764"/>
                </a:cubicBezTo>
                <a:cubicBezTo>
                  <a:pt x="564" y="767"/>
                  <a:pt x="568" y="767"/>
                  <a:pt x="568" y="767"/>
                </a:cubicBezTo>
                <a:cubicBezTo>
                  <a:pt x="568" y="767"/>
                  <a:pt x="571" y="771"/>
                  <a:pt x="572" y="769"/>
                </a:cubicBezTo>
                <a:cubicBezTo>
                  <a:pt x="572" y="768"/>
                  <a:pt x="571" y="766"/>
                  <a:pt x="571" y="766"/>
                </a:cubicBezTo>
                <a:cubicBezTo>
                  <a:pt x="571" y="766"/>
                  <a:pt x="566" y="762"/>
                  <a:pt x="568" y="762"/>
                </a:cubicBezTo>
                <a:cubicBezTo>
                  <a:pt x="569" y="762"/>
                  <a:pt x="575" y="766"/>
                  <a:pt x="575" y="766"/>
                </a:cubicBezTo>
                <a:cubicBezTo>
                  <a:pt x="575" y="766"/>
                  <a:pt x="574" y="770"/>
                  <a:pt x="575" y="770"/>
                </a:cubicBezTo>
                <a:cubicBezTo>
                  <a:pt x="576" y="770"/>
                  <a:pt x="581" y="771"/>
                  <a:pt x="581" y="771"/>
                </a:cubicBezTo>
                <a:cubicBezTo>
                  <a:pt x="583" y="777"/>
                  <a:pt x="583" y="777"/>
                  <a:pt x="583" y="777"/>
                </a:cubicBezTo>
                <a:cubicBezTo>
                  <a:pt x="583" y="777"/>
                  <a:pt x="581" y="778"/>
                  <a:pt x="583" y="780"/>
                </a:cubicBezTo>
                <a:cubicBezTo>
                  <a:pt x="585" y="782"/>
                  <a:pt x="588" y="783"/>
                  <a:pt x="588" y="783"/>
                </a:cubicBezTo>
                <a:cubicBezTo>
                  <a:pt x="586" y="779"/>
                  <a:pt x="586" y="779"/>
                  <a:pt x="586" y="779"/>
                </a:cubicBezTo>
                <a:cubicBezTo>
                  <a:pt x="591" y="784"/>
                  <a:pt x="591" y="784"/>
                  <a:pt x="591" y="784"/>
                </a:cubicBezTo>
                <a:cubicBezTo>
                  <a:pt x="597" y="783"/>
                  <a:pt x="597" y="783"/>
                  <a:pt x="597" y="783"/>
                </a:cubicBezTo>
                <a:cubicBezTo>
                  <a:pt x="598" y="786"/>
                  <a:pt x="598" y="786"/>
                  <a:pt x="598" y="786"/>
                </a:cubicBezTo>
                <a:cubicBezTo>
                  <a:pt x="602" y="785"/>
                  <a:pt x="602" y="785"/>
                  <a:pt x="602" y="785"/>
                </a:cubicBezTo>
                <a:cubicBezTo>
                  <a:pt x="602" y="785"/>
                  <a:pt x="601" y="790"/>
                  <a:pt x="603" y="791"/>
                </a:cubicBezTo>
                <a:cubicBezTo>
                  <a:pt x="605" y="792"/>
                  <a:pt x="607" y="790"/>
                  <a:pt x="607" y="790"/>
                </a:cubicBezTo>
                <a:cubicBezTo>
                  <a:pt x="607" y="787"/>
                  <a:pt x="607" y="787"/>
                  <a:pt x="607" y="787"/>
                </a:cubicBezTo>
                <a:cubicBezTo>
                  <a:pt x="609" y="787"/>
                  <a:pt x="609" y="787"/>
                  <a:pt x="609" y="787"/>
                </a:cubicBezTo>
                <a:cubicBezTo>
                  <a:pt x="609" y="787"/>
                  <a:pt x="610" y="798"/>
                  <a:pt x="613" y="797"/>
                </a:cubicBezTo>
                <a:cubicBezTo>
                  <a:pt x="616" y="795"/>
                  <a:pt x="619" y="793"/>
                  <a:pt x="619" y="793"/>
                </a:cubicBezTo>
                <a:cubicBezTo>
                  <a:pt x="619" y="793"/>
                  <a:pt x="611" y="788"/>
                  <a:pt x="613" y="786"/>
                </a:cubicBezTo>
                <a:cubicBezTo>
                  <a:pt x="616" y="784"/>
                  <a:pt x="618" y="783"/>
                  <a:pt x="620" y="782"/>
                </a:cubicBezTo>
                <a:cubicBezTo>
                  <a:pt x="622" y="780"/>
                  <a:pt x="624" y="776"/>
                  <a:pt x="626" y="776"/>
                </a:cubicBezTo>
                <a:cubicBezTo>
                  <a:pt x="628" y="777"/>
                  <a:pt x="631" y="778"/>
                  <a:pt x="633" y="778"/>
                </a:cubicBezTo>
                <a:cubicBezTo>
                  <a:pt x="634" y="779"/>
                  <a:pt x="636" y="782"/>
                  <a:pt x="636" y="782"/>
                </a:cubicBezTo>
                <a:cubicBezTo>
                  <a:pt x="637" y="782"/>
                  <a:pt x="637" y="782"/>
                  <a:pt x="637" y="782"/>
                </a:cubicBezTo>
                <a:cubicBezTo>
                  <a:pt x="642" y="786"/>
                  <a:pt x="642" y="786"/>
                  <a:pt x="642" y="786"/>
                </a:cubicBezTo>
                <a:cubicBezTo>
                  <a:pt x="637" y="784"/>
                  <a:pt x="637" y="784"/>
                  <a:pt x="637" y="784"/>
                </a:cubicBezTo>
                <a:cubicBezTo>
                  <a:pt x="637" y="784"/>
                  <a:pt x="637" y="790"/>
                  <a:pt x="637" y="791"/>
                </a:cubicBezTo>
                <a:cubicBezTo>
                  <a:pt x="637" y="792"/>
                  <a:pt x="639" y="795"/>
                  <a:pt x="640" y="795"/>
                </a:cubicBezTo>
                <a:cubicBezTo>
                  <a:pt x="641" y="799"/>
                  <a:pt x="641" y="799"/>
                  <a:pt x="641" y="799"/>
                </a:cubicBezTo>
                <a:cubicBezTo>
                  <a:pt x="641" y="800"/>
                  <a:pt x="641" y="800"/>
                  <a:pt x="641" y="800"/>
                </a:cubicBezTo>
                <a:cubicBezTo>
                  <a:pt x="641" y="800"/>
                  <a:pt x="643" y="801"/>
                  <a:pt x="644" y="804"/>
                </a:cubicBezTo>
                <a:cubicBezTo>
                  <a:pt x="645" y="806"/>
                  <a:pt x="642" y="806"/>
                  <a:pt x="642" y="806"/>
                </a:cubicBezTo>
                <a:cubicBezTo>
                  <a:pt x="644" y="809"/>
                  <a:pt x="644" y="809"/>
                  <a:pt x="644" y="809"/>
                </a:cubicBezTo>
                <a:cubicBezTo>
                  <a:pt x="645" y="814"/>
                  <a:pt x="645" y="814"/>
                  <a:pt x="645" y="814"/>
                </a:cubicBezTo>
                <a:cubicBezTo>
                  <a:pt x="642" y="815"/>
                  <a:pt x="642" y="815"/>
                  <a:pt x="642" y="815"/>
                </a:cubicBezTo>
                <a:cubicBezTo>
                  <a:pt x="644" y="817"/>
                  <a:pt x="644" y="817"/>
                  <a:pt x="644" y="817"/>
                </a:cubicBezTo>
                <a:cubicBezTo>
                  <a:pt x="644" y="826"/>
                  <a:pt x="644" y="826"/>
                  <a:pt x="644" y="826"/>
                </a:cubicBezTo>
                <a:cubicBezTo>
                  <a:pt x="644" y="826"/>
                  <a:pt x="641" y="828"/>
                  <a:pt x="641" y="831"/>
                </a:cubicBezTo>
                <a:cubicBezTo>
                  <a:pt x="641" y="833"/>
                  <a:pt x="645" y="833"/>
                  <a:pt x="645" y="836"/>
                </a:cubicBezTo>
                <a:cubicBezTo>
                  <a:pt x="645" y="840"/>
                  <a:pt x="640" y="843"/>
                  <a:pt x="640" y="843"/>
                </a:cubicBezTo>
                <a:cubicBezTo>
                  <a:pt x="641" y="845"/>
                  <a:pt x="641" y="845"/>
                  <a:pt x="641" y="845"/>
                </a:cubicBezTo>
                <a:cubicBezTo>
                  <a:pt x="637" y="848"/>
                  <a:pt x="637" y="848"/>
                  <a:pt x="637" y="848"/>
                </a:cubicBezTo>
                <a:cubicBezTo>
                  <a:pt x="637" y="848"/>
                  <a:pt x="633" y="848"/>
                  <a:pt x="631" y="850"/>
                </a:cubicBezTo>
                <a:cubicBezTo>
                  <a:pt x="630" y="852"/>
                  <a:pt x="631" y="857"/>
                  <a:pt x="631" y="857"/>
                </a:cubicBezTo>
                <a:cubicBezTo>
                  <a:pt x="631" y="857"/>
                  <a:pt x="626" y="855"/>
                  <a:pt x="626" y="858"/>
                </a:cubicBezTo>
                <a:cubicBezTo>
                  <a:pt x="626" y="859"/>
                  <a:pt x="626" y="859"/>
                  <a:pt x="626" y="859"/>
                </a:cubicBezTo>
                <a:cubicBezTo>
                  <a:pt x="626" y="862"/>
                  <a:pt x="627" y="862"/>
                  <a:pt x="627" y="864"/>
                </a:cubicBezTo>
                <a:cubicBezTo>
                  <a:pt x="626" y="866"/>
                  <a:pt x="620" y="867"/>
                  <a:pt x="620" y="867"/>
                </a:cubicBezTo>
                <a:cubicBezTo>
                  <a:pt x="619" y="865"/>
                  <a:pt x="619" y="865"/>
                  <a:pt x="619" y="865"/>
                </a:cubicBezTo>
                <a:cubicBezTo>
                  <a:pt x="619" y="865"/>
                  <a:pt x="615" y="867"/>
                  <a:pt x="615" y="869"/>
                </a:cubicBezTo>
                <a:cubicBezTo>
                  <a:pt x="614" y="871"/>
                  <a:pt x="616" y="873"/>
                  <a:pt x="616" y="876"/>
                </a:cubicBezTo>
                <a:cubicBezTo>
                  <a:pt x="616" y="878"/>
                  <a:pt x="613" y="878"/>
                  <a:pt x="612" y="880"/>
                </a:cubicBezTo>
                <a:cubicBezTo>
                  <a:pt x="611" y="881"/>
                  <a:pt x="614" y="884"/>
                  <a:pt x="614" y="884"/>
                </a:cubicBezTo>
                <a:cubicBezTo>
                  <a:pt x="611" y="884"/>
                  <a:pt x="611" y="884"/>
                  <a:pt x="611" y="884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06" y="890"/>
                  <a:pt x="606" y="890"/>
                  <a:pt x="606" y="890"/>
                </a:cubicBezTo>
                <a:cubicBezTo>
                  <a:pt x="609" y="892"/>
                  <a:pt x="609" y="892"/>
                  <a:pt x="609" y="892"/>
                </a:cubicBezTo>
                <a:cubicBezTo>
                  <a:pt x="607" y="896"/>
                  <a:pt x="607" y="896"/>
                  <a:pt x="607" y="896"/>
                </a:cubicBezTo>
                <a:cubicBezTo>
                  <a:pt x="607" y="896"/>
                  <a:pt x="609" y="896"/>
                  <a:pt x="609" y="899"/>
                </a:cubicBezTo>
                <a:cubicBezTo>
                  <a:pt x="609" y="901"/>
                  <a:pt x="606" y="902"/>
                  <a:pt x="606" y="902"/>
                </a:cubicBezTo>
                <a:cubicBezTo>
                  <a:pt x="608" y="903"/>
                  <a:pt x="608" y="903"/>
                  <a:pt x="608" y="903"/>
                </a:cubicBezTo>
                <a:cubicBezTo>
                  <a:pt x="608" y="903"/>
                  <a:pt x="605" y="906"/>
                  <a:pt x="610" y="907"/>
                </a:cubicBezTo>
                <a:cubicBezTo>
                  <a:pt x="615" y="909"/>
                  <a:pt x="616" y="904"/>
                  <a:pt x="616" y="904"/>
                </a:cubicBezTo>
                <a:cubicBezTo>
                  <a:pt x="619" y="905"/>
                  <a:pt x="619" y="905"/>
                  <a:pt x="619" y="905"/>
                </a:cubicBezTo>
                <a:cubicBezTo>
                  <a:pt x="621" y="907"/>
                  <a:pt x="619" y="911"/>
                  <a:pt x="618" y="913"/>
                </a:cubicBezTo>
                <a:cubicBezTo>
                  <a:pt x="618" y="916"/>
                  <a:pt x="613" y="916"/>
                  <a:pt x="613" y="916"/>
                </a:cubicBezTo>
                <a:cubicBezTo>
                  <a:pt x="613" y="916"/>
                  <a:pt x="608" y="922"/>
                  <a:pt x="606" y="924"/>
                </a:cubicBezTo>
                <a:cubicBezTo>
                  <a:pt x="604" y="925"/>
                  <a:pt x="604" y="927"/>
                  <a:pt x="604" y="930"/>
                </a:cubicBezTo>
                <a:cubicBezTo>
                  <a:pt x="604" y="933"/>
                  <a:pt x="607" y="932"/>
                  <a:pt x="607" y="932"/>
                </a:cubicBezTo>
                <a:cubicBezTo>
                  <a:pt x="606" y="936"/>
                  <a:pt x="606" y="936"/>
                  <a:pt x="606" y="936"/>
                </a:cubicBezTo>
                <a:cubicBezTo>
                  <a:pt x="606" y="936"/>
                  <a:pt x="609" y="938"/>
                  <a:pt x="610" y="940"/>
                </a:cubicBezTo>
                <a:cubicBezTo>
                  <a:pt x="610" y="943"/>
                  <a:pt x="606" y="943"/>
                  <a:pt x="606" y="946"/>
                </a:cubicBezTo>
                <a:cubicBezTo>
                  <a:pt x="606" y="949"/>
                  <a:pt x="613" y="949"/>
                  <a:pt x="615" y="951"/>
                </a:cubicBezTo>
                <a:cubicBezTo>
                  <a:pt x="616" y="952"/>
                  <a:pt x="621" y="958"/>
                  <a:pt x="622" y="959"/>
                </a:cubicBezTo>
                <a:cubicBezTo>
                  <a:pt x="622" y="960"/>
                  <a:pt x="625" y="964"/>
                  <a:pt x="625" y="966"/>
                </a:cubicBezTo>
                <a:cubicBezTo>
                  <a:pt x="625" y="967"/>
                  <a:pt x="630" y="972"/>
                  <a:pt x="630" y="974"/>
                </a:cubicBezTo>
                <a:cubicBezTo>
                  <a:pt x="631" y="975"/>
                  <a:pt x="638" y="986"/>
                  <a:pt x="638" y="986"/>
                </a:cubicBezTo>
                <a:cubicBezTo>
                  <a:pt x="639" y="991"/>
                  <a:pt x="639" y="991"/>
                  <a:pt x="639" y="991"/>
                </a:cubicBezTo>
                <a:cubicBezTo>
                  <a:pt x="639" y="991"/>
                  <a:pt x="645" y="1003"/>
                  <a:pt x="645" y="1004"/>
                </a:cubicBezTo>
                <a:cubicBezTo>
                  <a:pt x="645" y="1006"/>
                  <a:pt x="647" y="1006"/>
                  <a:pt x="649" y="1007"/>
                </a:cubicBezTo>
                <a:cubicBezTo>
                  <a:pt x="650" y="1008"/>
                  <a:pt x="650" y="1010"/>
                  <a:pt x="650" y="1012"/>
                </a:cubicBezTo>
                <a:cubicBezTo>
                  <a:pt x="650" y="1015"/>
                  <a:pt x="657" y="1023"/>
                  <a:pt x="660" y="1026"/>
                </a:cubicBezTo>
                <a:cubicBezTo>
                  <a:pt x="662" y="1030"/>
                  <a:pt x="660" y="1035"/>
                  <a:pt x="660" y="1036"/>
                </a:cubicBezTo>
                <a:cubicBezTo>
                  <a:pt x="660" y="1038"/>
                  <a:pt x="665" y="1043"/>
                  <a:pt x="668" y="1045"/>
                </a:cubicBezTo>
                <a:cubicBezTo>
                  <a:pt x="670" y="1046"/>
                  <a:pt x="672" y="1050"/>
                  <a:pt x="673" y="1052"/>
                </a:cubicBezTo>
                <a:cubicBezTo>
                  <a:pt x="675" y="1053"/>
                  <a:pt x="685" y="1057"/>
                  <a:pt x="688" y="1059"/>
                </a:cubicBezTo>
                <a:cubicBezTo>
                  <a:pt x="691" y="1060"/>
                  <a:pt x="696" y="1062"/>
                  <a:pt x="701" y="1065"/>
                </a:cubicBezTo>
                <a:cubicBezTo>
                  <a:pt x="705" y="1069"/>
                  <a:pt x="712" y="1073"/>
                  <a:pt x="712" y="1073"/>
                </a:cubicBezTo>
                <a:cubicBezTo>
                  <a:pt x="713" y="1076"/>
                  <a:pt x="713" y="1076"/>
                  <a:pt x="713" y="1076"/>
                </a:cubicBezTo>
                <a:cubicBezTo>
                  <a:pt x="713" y="1076"/>
                  <a:pt x="716" y="1078"/>
                  <a:pt x="717" y="1079"/>
                </a:cubicBezTo>
                <a:cubicBezTo>
                  <a:pt x="718" y="1081"/>
                  <a:pt x="724" y="1084"/>
                  <a:pt x="724" y="1084"/>
                </a:cubicBezTo>
                <a:cubicBezTo>
                  <a:pt x="724" y="1085"/>
                  <a:pt x="724" y="1085"/>
                  <a:pt x="724" y="1085"/>
                </a:cubicBezTo>
                <a:cubicBezTo>
                  <a:pt x="724" y="1090"/>
                  <a:pt x="724" y="1090"/>
                  <a:pt x="724" y="1090"/>
                </a:cubicBezTo>
                <a:cubicBezTo>
                  <a:pt x="724" y="1090"/>
                  <a:pt x="727" y="1096"/>
                  <a:pt x="728" y="1100"/>
                </a:cubicBezTo>
                <a:cubicBezTo>
                  <a:pt x="729" y="1104"/>
                  <a:pt x="729" y="1110"/>
                  <a:pt x="729" y="1113"/>
                </a:cubicBezTo>
                <a:cubicBezTo>
                  <a:pt x="729" y="1116"/>
                  <a:pt x="731" y="1118"/>
                  <a:pt x="731" y="1123"/>
                </a:cubicBezTo>
                <a:cubicBezTo>
                  <a:pt x="731" y="1128"/>
                  <a:pt x="731" y="1136"/>
                  <a:pt x="731" y="1136"/>
                </a:cubicBezTo>
                <a:cubicBezTo>
                  <a:pt x="728" y="1137"/>
                  <a:pt x="728" y="1137"/>
                  <a:pt x="728" y="1137"/>
                </a:cubicBezTo>
                <a:cubicBezTo>
                  <a:pt x="729" y="1142"/>
                  <a:pt x="729" y="1142"/>
                  <a:pt x="729" y="1142"/>
                </a:cubicBezTo>
                <a:cubicBezTo>
                  <a:pt x="732" y="1143"/>
                  <a:pt x="732" y="1143"/>
                  <a:pt x="732" y="1143"/>
                </a:cubicBezTo>
                <a:cubicBezTo>
                  <a:pt x="731" y="1156"/>
                  <a:pt x="731" y="1156"/>
                  <a:pt x="731" y="1156"/>
                </a:cubicBezTo>
                <a:cubicBezTo>
                  <a:pt x="734" y="1162"/>
                  <a:pt x="734" y="1162"/>
                  <a:pt x="734" y="1162"/>
                </a:cubicBezTo>
                <a:cubicBezTo>
                  <a:pt x="731" y="1165"/>
                  <a:pt x="731" y="1165"/>
                  <a:pt x="731" y="1165"/>
                </a:cubicBezTo>
                <a:cubicBezTo>
                  <a:pt x="733" y="1174"/>
                  <a:pt x="733" y="1174"/>
                  <a:pt x="733" y="1174"/>
                </a:cubicBezTo>
                <a:cubicBezTo>
                  <a:pt x="733" y="1174"/>
                  <a:pt x="734" y="1174"/>
                  <a:pt x="735" y="1178"/>
                </a:cubicBezTo>
                <a:cubicBezTo>
                  <a:pt x="735" y="1181"/>
                  <a:pt x="733" y="1182"/>
                  <a:pt x="733" y="1182"/>
                </a:cubicBezTo>
                <a:cubicBezTo>
                  <a:pt x="732" y="1186"/>
                  <a:pt x="732" y="1186"/>
                  <a:pt x="732" y="1186"/>
                </a:cubicBezTo>
                <a:cubicBezTo>
                  <a:pt x="734" y="1188"/>
                  <a:pt x="734" y="1188"/>
                  <a:pt x="734" y="1188"/>
                </a:cubicBezTo>
                <a:cubicBezTo>
                  <a:pt x="734" y="1188"/>
                  <a:pt x="732" y="1189"/>
                  <a:pt x="731" y="1192"/>
                </a:cubicBezTo>
                <a:cubicBezTo>
                  <a:pt x="730" y="1195"/>
                  <a:pt x="732" y="1195"/>
                  <a:pt x="732" y="1195"/>
                </a:cubicBezTo>
                <a:cubicBezTo>
                  <a:pt x="732" y="1195"/>
                  <a:pt x="733" y="1196"/>
                  <a:pt x="733" y="1199"/>
                </a:cubicBezTo>
                <a:cubicBezTo>
                  <a:pt x="733" y="1201"/>
                  <a:pt x="731" y="1200"/>
                  <a:pt x="731" y="1205"/>
                </a:cubicBezTo>
                <a:cubicBezTo>
                  <a:pt x="731" y="1209"/>
                  <a:pt x="734" y="1209"/>
                  <a:pt x="735" y="1211"/>
                </a:cubicBezTo>
                <a:cubicBezTo>
                  <a:pt x="736" y="1212"/>
                  <a:pt x="735" y="1218"/>
                  <a:pt x="735" y="1218"/>
                </a:cubicBezTo>
                <a:cubicBezTo>
                  <a:pt x="735" y="1218"/>
                  <a:pt x="733" y="1217"/>
                  <a:pt x="732" y="1218"/>
                </a:cubicBezTo>
                <a:cubicBezTo>
                  <a:pt x="731" y="1218"/>
                  <a:pt x="732" y="1221"/>
                  <a:pt x="734" y="1226"/>
                </a:cubicBezTo>
                <a:cubicBezTo>
                  <a:pt x="735" y="1230"/>
                  <a:pt x="738" y="1236"/>
                  <a:pt x="738" y="1236"/>
                </a:cubicBezTo>
                <a:cubicBezTo>
                  <a:pt x="738" y="1236"/>
                  <a:pt x="738" y="1239"/>
                  <a:pt x="740" y="1240"/>
                </a:cubicBezTo>
                <a:cubicBezTo>
                  <a:pt x="741" y="1242"/>
                  <a:pt x="740" y="1248"/>
                  <a:pt x="740" y="1248"/>
                </a:cubicBezTo>
                <a:cubicBezTo>
                  <a:pt x="740" y="1252"/>
                  <a:pt x="740" y="1252"/>
                  <a:pt x="740" y="1252"/>
                </a:cubicBezTo>
                <a:cubicBezTo>
                  <a:pt x="743" y="1255"/>
                  <a:pt x="743" y="1255"/>
                  <a:pt x="743" y="1255"/>
                </a:cubicBezTo>
                <a:cubicBezTo>
                  <a:pt x="743" y="1255"/>
                  <a:pt x="741" y="1261"/>
                  <a:pt x="741" y="1264"/>
                </a:cubicBezTo>
                <a:cubicBezTo>
                  <a:pt x="741" y="1267"/>
                  <a:pt x="741" y="1273"/>
                  <a:pt x="741" y="1273"/>
                </a:cubicBezTo>
                <a:cubicBezTo>
                  <a:pt x="738" y="1278"/>
                  <a:pt x="738" y="1278"/>
                  <a:pt x="738" y="1278"/>
                </a:cubicBezTo>
                <a:cubicBezTo>
                  <a:pt x="740" y="1280"/>
                  <a:pt x="740" y="1280"/>
                  <a:pt x="740" y="1280"/>
                </a:cubicBezTo>
                <a:cubicBezTo>
                  <a:pt x="740" y="1280"/>
                  <a:pt x="739" y="1283"/>
                  <a:pt x="739" y="1285"/>
                </a:cubicBezTo>
                <a:cubicBezTo>
                  <a:pt x="739" y="1287"/>
                  <a:pt x="738" y="1296"/>
                  <a:pt x="738" y="1296"/>
                </a:cubicBezTo>
                <a:cubicBezTo>
                  <a:pt x="736" y="1296"/>
                  <a:pt x="736" y="1296"/>
                  <a:pt x="736" y="1296"/>
                </a:cubicBezTo>
                <a:cubicBezTo>
                  <a:pt x="736" y="1299"/>
                  <a:pt x="736" y="1299"/>
                  <a:pt x="736" y="1299"/>
                </a:cubicBezTo>
                <a:cubicBezTo>
                  <a:pt x="739" y="1306"/>
                  <a:pt x="739" y="1306"/>
                  <a:pt x="739" y="1306"/>
                </a:cubicBezTo>
                <a:cubicBezTo>
                  <a:pt x="739" y="1306"/>
                  <a:pt x="739" y="1310"/>
                  <a:pt x="739" y="1312"/>
                </a:cubicBezTo>
                <a:cubicBezTo>
                  <a:pt x="739" y="1314"/>
                  <a:pt x="744" y="1315"/>
                  <a:pt x="745" y="1319"/>
                </a:cubicBezTo>
                <a:cubicBezTo>
                  <a:pt x="746" y="1322"/>
                  <a:pt x="744" y="1330"/>
                  <a:pt x="744" y="1330"/>
                </a:cubicBezTo>
                <a:cubicBezTo>
                  <a:pt x="746" y="1331"/>
                  <a:pt x="746" y="1331"/>
                  <a:pt x="746" y="1331"/>
                </a:cubicBezTo>
                <a:cubicBezTo>
                  <a:pt x="746" y="1331"/>
                  <a:pt x="746" y="1337"/>
                  <a:pt x="746" y="1340"/>
                </a:cubicBezTo>
                <a:cubicBezTo>
                  <a:pt x="746" y="1342"/>
                  <a:pt x="752" y="1344"/>
                  <a:pt x="752" y="1344"/>
                </a:cubicBezTo>
                <a:cubicBezTo>
                  <a:pt x="751" y="1347"/>
                  <a:pt x="751" y="1347"/>
                  <a:pt x="751" y="1347"/>
                </a:cubicBezTo>
                <a:cubicBezTo>
                  <a:pt x="757" y="1347"/>
                  <a:pt x="757" y="1347"/>
                  <a:pt x="757" y="1347"/>
                </a:cubicBezTo>
                <a:cubicBezTo>
                  <a:pt x="757" y="1343"/>
                  <a:pt x="757" y="1343"/>
                  <a:pt x="757" y="1343"/>
                </a:cubicBezTo>
                <a:cubicBezTo>
                  <a:pt x="757" y="1343"/>
                  <a:pt x="759" y="1345"/>
                  <a:pt x="761" y="1345"/>
                </a:cubicBezTo>
                <a:cubicBezTo>
                  <a:pt x="763" y="1345"/>
                  <a:pt x="763" y="1342"/>
                  <a:pt x="763" y="1342"/>
                </a:cubicBezTo>
                <a:cubicBezTo>
                  <a:pt x="764" y="1345"/>
                  <a:pt x="764" y="1345"/>
                  <a:pt x="764" y="1345"/>
                </a:cubicBezTo>
                <a:cubicBezTo>
                  <a:pt x="764" y="1345"/>
                  <a:pt x="760" y="1347"/>
                  <a:pt x="760" y="1349"/>
                </a:cubicBezTo>
                <a:cubicBezTo>
                  <a:pt x="759" y="1352"/>
                  <a:pt x="763" y="1349"/>
                  <a:pt x="764" y="1350"/>
                </a:cubicBezTo>
                <a:cubicBezTo>
                  <a:pt x="766" y="1351"/>
                  <a:pt x="765" y="1353"/>
                  <a:pt x="765" y="1353"/>
                </a:cubicBezTo>
                <a:cubicBezTo>
                  <a:pt x="761" y="1353"/>
                  <a:pt x="761" y="1353"/>
                  <a:pt x="761" y="1353"/>
                </a:cubicBezTo>
                <a:cubicBezTo>
                  <a:pt x="764" y="1356"/>
                  <a:pt x="764" y="1356"/>
                  <a:pt x="764" y="1356"/>
                </a:cubicBezTo>
                <a:cubicBezTo>
                  <a:pt x="762" y="1357"/>
                  <a:pt x="762" y="1357"/>
                  <a:pt x="762" y="1357"/>
                </a:cubicBezTo>
                <a:cubicBezTo>
                  <a:pt x="765" y="1361"/>
                  <a:pt x="765" y="1361"/>
                  <a:pt x="765" y="1361"/>
                </a:cubicBezTo>
                <a:cubicBezTo>
                  <a:pt x="765" y="1361"/>
                  <a:pt x="763" y="1363"/>
                  <a:pt x="762" y="1365"/>
                </a:cubicBezTo>
                <a:cubicBezTo>
                  <a:pt x="760" y="1367"/>
                  <a:pt x="768" y="1369"/>
                  <a:pt x="768" y="1369"/>
                </a:cubicBezTo>
                <a:cubicBezTo>
                  <a:pt x="768" y="1369"/>
                  <a:pt x="767" y="1370"/>
                  <a:pt x="766" y="1371"/>
                </a:cubicBezTo>
                <a:cubicBezTo>
                  <a:pt x="765" y="1371"/>
                  <a:pt x="766" y="1374"/>
                  <a:pt x="768" y="1375"/>
                </a:cubicBezTo>
                <a:cubicBezTo>
                  <a:pt x="770" y="1376"/>
                  <a:pt x="773" y="1375"/>
                  <a:pt x="773" y="1375"/>
                </a:cubicBezTo>
                <a:cubicBezTo>
                  <a:pt x="774" y="1380"/>
                  <a:pt x="774" y="1380"/>
                  <a:pt x="774" y="1380"/>
                </a:cubicBezTo>
                <a:cubicBezTo>
                  <a:pt x="774" y="1380"/>
                  <a:pt x="770" y="1383"/>
                  <a:pt x="769" y="1384"/>
                </a:cubicBezTo>
                <a:cubicBezTo>
                  <a:pt x="768" y="1386"/>
                  <a:pt x="772" y="1386"/>
                  <a:pt x="772" y="1386"/>
                </a:cubicBezTo>
                <a:cubicBezTo>
                  <a:pt x="772" y="1386"/>
                  <a:pt x="777" y="1387"/>
                  <a:pt x="777" y="1388"/>
                </a:cubicBezTo>
                <a:cubicBezTo>
                  <a:pt x="777" y="1390"/>
                  <a:pt x="773" y="1388"/>
                  <a:pt x="771" y="1387"/>
                </a:cubicBezTo>
                <a:cubicBezTo>
                  <a:pt x="769" y="1386"/>
                  <a:pt x="769" y="1390"/>
                  <a:pt x="769" y="1390"/>
                </a:cubicBezTo>
                <a:cubicBezTo>
                  <a:pt x="773" y="1390"/>
                  <a:pt x="773" y="1390"/>
                  <a:pt x="773" y="1390"/>
                </a:cubicBezTo>
                <a:cubicBezTo>
                  <a:pt x="770" y="1392"/>
                  <a:pt x="770" y="1392"/>
                  <a:pt x="770" y="1392"/>
                </a:cubicBezTo>
                <a:cubicBezTo>
                  <a:pt x="770" y="1395"/>
                  <a:pt x="770" y="1395"/>
                  <a:pt x="770" y="1395"/>
                </a:cubicBezTo>
                <a:cubicBezTo>
                  <a:pt x="770" y="1395"/>
                  <a:pt x="774" y="1394"/>
                  <a:pt x="772" y="1398"/>
                </a:cubicBezTo>
                <a:cubicBezTo>
                  <a:pt x="771" y="1403"/>
                  <a:pt x="769" y="1396"/>
                  <a:pt x="769" y="1396"/>
                </a:cubicBezTo>
                <a:cubicBezTo>
                  <a:pt x="764" y="1396"/>
                  <a:pt x="764" y="1396"/>
                  <a:pt x="764" y="1396"/>
                </a:cubicBezTo>
                <a:cubicBezTo>
                  <a:pt x="767" y="1395"/>
                  <a:pt x="767" y="1395"/>
                  <a:pt x="767" y="1395"/>
                </a:cubicBezTo>
                <a:cubicBezTo>
                  <a:pt x="767" y="1395"/>
                  <a:pt x="763" y="1391"/>
                  <a:pt x="763" y="1391"/>
                </a:cubicBezTo>
                <a:cubicBezTo>
                  <a:pt x="762" y="1392"/>
                  <a:pt x="763" y="1394"/>
                  <a:pt x="763" y="1394"/>
                </a:cubicBezTo>
                <a:cubicBezTo>
                  <a:pt x="761" y="1392"/>
                  <a:pt x="761" y="1392"/>
                  <a:pt x="761" y="1392"/>
                </a:cubicBezTo>
                <a:cubicBezTo>
                  <a:pt x="756" y="1394"/>
                  <a:pt x="756" y="1394"/>
                  <a:pt x="756" y="1394"/>
                </a:cubicBezTo>
                <a:cubicBezTo>
                  <a:pt x="761" y="1395"/>
                  <a:pt x="761" y="1395"/>
                  <a:pt x="761" y="1395"/>
                </a:cubicBezTo>
                <a:cubicBezTo>
                  <a:pt x="761" y="1395"/>
                  <a:pt x="760" y="1395"/>
                  <a:pt x="759" y="1397"/>
                </a:cubicBezTo>
                <a:cubicBezTo>
                  <a:pt x="758" y="1398"/>
                  <a:pt x="755" y="1399"/>
                  <a:pt x="755" y="1401"/>
                </a:cubicBezTo>
                <a:cubicBezTo>
                  <a:pt x="754" y="1403"/>
                  <a:pt x="759" y="1404"/>
                  <a:pt x="759" y="1404"/>
                </a:cubicBezTo>
                <a:cubicBezTo>
                  <a:pt x="760" y="1403"/>
                  <a:pt x="758" y="1401"/>
                  <a:pt x="758" y="1401"/>
                </a:cubicBezTo>
                <a:cubicBezTo>
                  <a:pt x="761" y="1401"/>
                  <a:pt x="761" y="1401"/>
                  <a:pt x="761" y="1401"/>
                </a:cubicBezTo>
                <a:cubicBezTo>
                  <a:pt x="761" y="1401"/>
                  <a:pt x="762" y="1402"/>
                  <a:pt x="763" y="1403"/>
                </a:cubicBezTo>
                <a:cubicBezTo>
                  <a:pt x="764" y="1404"/>
                  <a:pt x="769" y="1403"/>
                  <a:pt x="769" y="1403"/>
                </a:cubicBezTo>
                <a:cubicBezTo>
                  <a:pt x="769" y="1403"/>
                  <a:pt x="772" y="1404"/>
                  <a:pt x="773" y="1406"/>
                </a:cubicBezTo>
                <a:cubicBezTo>
                  <a:pt x="774" y="1408"/>
                  <a:pt x="770" y="1409"/>
                  <a:pt x="770" y="1409"/>
                </a:cubicBezTo>
                <a:cubicBezTo>
                  <a:pt x="772" y="1411"/>
                  <a:pt x="772" y="1411"/>
                  <a:pt x="772" y="1411"/>
                </a:cubicBezTo>
                <a:cubicBezTo>
                  <a:pt x="774" y="1411"/>
                  <a:pt x="774" y="1411"/>
                  <a:pt x="774" y="1411"/>
                </a:cubicBezTo>
                <a:cubicBezTo>
                  <a:pt x="774" y="1413"/>
                  <a:pt x="774" y="1413"/>
                  <a:pt x="774" y="1413"/>
                </a:cubicBezTo>
                <a:cubicBezTo>
                  <a:pt x="777" y="1414"/>
                  <a:pt x="777" y="1414"/>
                  <a:pt x="777" y="1414"/>
                </a:cubicBezTo>
                <a:cubicBezTo>
                  <a:pt x="778" y="1411"/>
                  <a:pt x="778" y="1411"/>
                  <a:pt x="778" y="1411"/>
                </a:cubicBezTo>
                <a:cubicBezTo>
                  <a:pt x="780" y="1414"/>
                  <a:pt x="780" y="1414"/>
                  <a:pt x="780" y="1414"/>
                </a:cubicBezTo>
                <a:cubicBezTo>
                  <a:pt x="780" y="1414"/>
                  <a:pt x="784" y="1414"/>
                  <a:pt x="783" y="1417"/>
                </a:cubicBezTo>
                <a:cubicBezTo>
                  <a:pt x="782" y="1420"/>
                  <a:pt x="778" y="1417"/>
                  <a:pt x="776" y="1416"/>
                </a:cubicBezTo>
                <a:cubicBezTo>
                  <a:pt x="774" y="1416"/>
                  <a:pt x="776" y="1419"/>
                  <a:pt x="776" y="1419"/>
                </a:cubicBezTo>
                <a:cubicBezTo>
                  <a:pt x="776" y="1419"/>
                  <a:pt x="780" y="1420"/>
                  <a:pt x="780" y="1423"/>
                </a:cubicBezTo>
                <a:cubicBezTo>
                  <a:pt x="781" y="1426"/>
                  <a:pt x="777" y="1425"/>
                  <a:pt x="777" y="1425"/>
                </a:cubicBezTo>
                <a:cubicBezTo>
                  <a:pt x="779" y="1428"/>
                  <a:pt x="779" y="1428"/>
                  <a:pt x="779" y="1428"/>
                </a:cubicBezTo>
                <a:cubicBezTo>
                  <a:pt x="781" y="1433"/>
                  <a:pt x="781" y="1433"/>
                  <a:pt x="781" y="1433"/>
                </a:cubicBezTo>
                <a:cubicBezTo>
                  <a:pt x="783" y="1427"/>
                  <a:pt x="783" y="1427"/>
                  <a:pt x="783" y="1427"/>
                </a:cubicBezTo>
                <a:cubicBezTo>
                  <a:pt x="783" y="1431"/>
                  <a:pt x="783" y="1431"/>
                  <a:pt x="783" y="1431"/>
                </a:cubicBezTo>
                <a:cubicBezTo>
                  <a:pt x="786" y="1434"/>
                  <a:pt x="786" y="1434"/>
                  <a:pt x="786" y="1434"/>
                </a:cubicBezTo>
                <a:cubicBezTo>
                  <a:pt x="782" y="1434"/>
                  <a:pt x="782" y="1434"/>
                  <a:pt x="782" y="1434"/>
                </a:cubicBezTo>
                <a:cubicBezTo>
                  <a:pt x="783" y="1437"/>
                  <a:pt x="783" y="1437"/>
                  <a:pt x="783" y="1437"/>
                </a:cubicBezTo>
                <a:cubicBezTo>
                  <a:pt x="786" y="1437"/>
                  <a:pt x="786" y="1437"/>
                  <a:pt x="786" y="1437"/>
                </a:cubicBezTo>
                <a:cubicBezTo>
                  <a:pt x="784" y="1439"/>
                  <a:pt x="784" y="1439"/>
                  <a:pt x="784" y="1439"/>
                </a:cubicBezTo>
                <a:cubicBezTo>
                  <a:pt x="789" y="1440"/>
                  <a:pt x="789" y="1440"/>
                  <a:pt x="789" y="1440"/>
                </a:cubicBezTo>
                <a:cubicBezTo>
                  <a:pt x="786" y="1442"/>
                  <a:pt x="786" y="1442"/>
                  <a:pt x="786" y="1442"/>
                </a:cubicBezTo>
                <a:cubicBezTo>
                  <a:pt x="790" y="1443"/>
                  <a:pt x="790" y="1443"/>
                  <a:pt x="790" y="1443"/>
                </a:cubicBezTo>
                <a:cubicBezTo>
                  <a:pt x="789" y="1445"/>
                  <a:pt x="789" y="1445"/>
                  <a:pt x="789" y="1445"/>
                </a:cubicBezTo>
                <a:cubicBezTo>
                  <a:pt x="791" y="1446"/>
                  <a:pt x="791" y="1446"/>
                  <a:pt x="791" y="1446"/>
                </a:cubicBezTo>
                <a:cubicBezTo>
                  <a:pt x="791" y="1446"/>
                  <a:pt x="792" y="1441"/>
                  <a:pt x="793" y="1444"/>
                </a:cubicBezTo>
                <a:cubicBezTo>
                  <a:pt x="795" y="1446"/>
                  <a:pt x="793" y="1447"/>
                  <a:pt x="791" y="1448"/>
                </a:cubicBezTo>
                <a:cubicBezTo>
                  <a:pt x="790" y="1449"/>
                  <a:pt x="791" y="1450"/>
                  <a:pt x="791" y="1450"/>
                </a:cubicBezTo>
                <a:cubicBezTo>
                  <a:pt x="796" y="1451"/>
                  <a:pt x="796" y="1451"/>
                  <a:pt x="796" y="1451"/>
                </a:cubicBezTo>
                <a:cubicBezTo>
                  <a:pt x="796" y="1451"/>
                  <a:pt x="796" y="1453"/>
                  <a:pt x="797" y="1454"/>
                </a:cubicBezTo>
                <a:cubicBezTo>
                  <a:pt x="798" y="1455"/>
                  <a:pt x="802" y="1457"/>
                  <a:pt x="802" y="1457"/>
                </a:cubicBezTo>
                <a:cubicBezTo>
                  <a:pt x="801" y="1452"/>
                  <a:pt x="801" y="1452"/>
                  <a:pt x="801" y="1452"/>
                </a:cubicBezTo>
                <a:cubicBezTo>
                  <a:pt x="801" y="1452"/>
                  <a:pt x="806" y="1454"/>
                  <a:pt x="809" y="1456"/>
                </a:cubicBezTo>
                <a:cubicBezTo>
                  <a:pt x="812" y="1458"/>
                  <a:pt x="809" y="1460"/>
                  <a:pt x="809" y="1460"/>
                </a:cubicBezTo>
                <a:cubicBezTo>
                  <a:pt x="812" y="1462"/>
                  <a:pt x="812" y="1462"/>
                  <a:pt x="812" y="1462"/>
                </a:cubicBezTo>
                <a:cubicBezTo>
                  <a:pt x="812" y="1464"/>
                  <a:pt x="812" y="1464"/>
                  <a:pt x="812" y="1464"/>
                </a:cubicBezTo>
                <a:cubicBezTo>
                  <a:pt x="820" y="1464"/>
                  <a:pt x="820" y="1464"/>
                  <a:pt x="820" y="1464"/>
                </a:cubicBezTo>
                <a:cubicBezTo>
                  <a:pt x="821" y="1466"/>
                  <a:pt x="821" y="1466"/>
                  <a:pt x="821" y="1466"/>
                </a:cubicBezTo>
                <a:cubicBezTo>
                  <a:pt x="816" y="1466"/>
                  <a:pt x="816" y="1466"/>
                  <a:pt x="816" y="1466"/>
                </a:cubicBezTo>
                <a:cubicBezTo>
                  <a:pt x="815" y="1468"/>
                  <a:pt x="815" y="1468"/>
                  <a:pt x="815" y="1468"/>
                </a:cubicBezTo>
                <a:cubicBezTo>
                  <a:pt x="812" y="1468"/>
                  <a:pt x="812" y="1468"/>
                  <a:pt x="812" y="1468"/>
                </a:cubicBezTo>
                <a:cubicBezTo>
                  <a:pt x="810" y="1470"/>
                  <a:pt x="810" y="1470"/>
                  <a:pt x="810" y="1470"/>
                </a:cubicBezTo>
                <a:cubicBezTo>
                  <a:pt x="814" y="1471"/>
                  <a:pt x="814" y="1471"/>
                  <a:pt x="814" y="1471"/>
                </a:cubicBezTo>
                <a:cubicBezTo>
                  <a:pt x="813" y="1473"/>
                  <a:pt x="813" y="1473"/>
                  <a:pt x="813" y="1473"/>
                </a:cubicBezTo>
                <a:cubicBezTo>
                  <a:pt x="816" y="1473"/>
                  <a:pt x="816" y="1473"/>
                  <a:pt x="816" y="1473"/>
                </a:cubicBezTo>
                <a:cubicBezTo>
                  <a:pt x="817" y="1470"/>
                  <a:pt x="817" y="1470"/>
                  <a:pt x="817" y="1470"/>
                </a:cubicBezTo>
                <a:cubicBezTo>
                  <a:pt x="820" y="1471"/>
                  <a:pt x="820" y="1471"/>
                  <a:pt x="820" y="1471"/>
                </a:cubicBezTo>
                <a:cubicBezTo>
                  <a:pt x="820" y="1471"/>
                  <a:pt x="824" y="1466"/>
                  <a:pt x="826" y="1467"/>
                </a:cubicBezTo>
                <a:cubicBezTo>
                  <a:pt x="828" y="1469"/>
                  <a:pt x="822" y="1474"/>
                  <a:pt x="822" y="1474"/>
                </a:cubicBezTo>
                <a:cubicBezTo>
                  <a:pt x="822" y="1474"/>
                  <a:pt x="821" y="1473"/>
                  <a:pt x="819" y="1473"/>
                </a:cubicBezTo>
                <a:cubicBezTo>
                  <a:pt x="817" y="1473"/>
                  <a:pt x="818" y="1475"/>
                  <a:pt x="818" y="1475"/>
                </a:cubicBezTo>
                <a:cubicBezTo>
                  <a:pt x="816" y="1475"/>
                  <a:pt x="816" y="1475"/>
                  <a:pt x="816" y="1475"/>
                </a:cubicBezTo>
                <a:cubicBezTo>
                  <a:pt x="814" y="1475"/>
                  <a:pt x="812" y="1477"/>
                  <a:pt x="812" y="1477"/>
                </a:cubicBezTo>
                <a:cubicBezTo>
                  <a:pt x="813" y="1478"/>
                  <a:pt x="813" y="1478"/>
                  <a:pt x="813" y="1478"/>
                </a:cubicBezTo>
                <a:cubicBezTo>
                  <a:pt x="814" y="1482"/>
                  <a:pt x="814" y="1482"/>
                  <a:pt x="814" y="1482"/>
                </a:cubicBezTo>
                <a:cubicBezTo>
                  <a:pt x="818" y="1480"/>
                  <a:pt x="818" y="1480"/>
                  <a:pt x="818" y="1480"/>
                </a:cubicBezTo>
                <a:cubicBezTo>
                  <a:pt x="818" y="1480"/>
                  <a:pt x="819" y="1482"/>
                  <a:pt x="820" y="1482"/>
                </a:cubicBezTo>
                <a:cubicBezTo>
                  <a:pt x="821" y="1482"/>
                  <a:pt x="822" y="1478"/>
                  <a:pt x="823" y="1477"/>
                </a:cubicBezTo>
                <a:cubicBezTo>
                  <a:pt x="825" y="1476"/>
                  <a:pt x="825" y="1478"/>
                  <a:pt x="825" y="1478"/>
                </a:cubicBezTo>
                <a:cubicBezTo>
                  <a:pt x="825" y="1478"/>
                  <a:pt x="828" y="1478"/>
                  <a:pt x="831" y="1478"/>
                </a:cubicBezTo>
                <a:cubicBezTo>
                  <a:pt x="834" y="1477"/>
                  <a:pt x="828" y="1472"/>
                  <a:pt x="828" y="1472"/>
                </a:cubicBezTo>
                <a:cubicBezTo>
                  <a:pt x="828" y="1467"/>
                  <a:pt x="828" y="1467"/>
                  <a:pt x="828" y="1467"/>
                </a:cubicBezTo>
                <a:cubicBezTo>
                  <a:pt x="833" y="1467"/>
                  <a:pt x="833" y="1467"/>
                  <a:pt x="833" y="1467"/>
                </a:cubicBezTo>
                <a:cubicBezTo>
                  <a:pt x="833" y="1464"/>
                  <a:pt x="833" y="1464"/>
                  <a:pt x="833" y="1464"/>
                </a:cubicBezTo>
                <a:cubicBezTo>
                  <a:pt x="836" y="1465"/>
                  <a:pt x="836" y="1465"/>
                  <a:pt x="836" y="1465"/>
                </a:cubicBezTo>
                <a:cubicBezTo>
                  <a:pt x="837" y="1462"/>
                  <a:pt x="837" y="1462"/>
                  <a:pt x="837" y="1462"/>
                </a:cubicBezTo>
                <a:cubicBezTo>
                  <a:pt x="837" y="1464"/>
                  <a:pt x="837" y="1464"/>
                  <a:pt x="837" y="1464"/>
                </a:cubicBezTo>
                <a:cubicBezTo>
                  <a:pt x="838" y="1461"/>
                  <a:pt x="838" y="1461"/>
                  <a:pt x="838" y="1461"/>
                </a:cubicBezTo>
                <a:cubicBezTo>
                  <a:pt x="839" y="1459"/>
                  <a:pt x="845" y="1463"/>
                  <a:pt x="845" y="1463"/>
                </a:cubicBezTo>
                <a:cubicBezTo>
                  <a:pt x="840" y="1455"/>
                  <a:pt x="840" y="1455"/>
                  <a:pt x="840" y="1455"/>
                </a:cubicBezTo>
                <a:cubicBezTo>
                  <a:pt x="837" y="1456"/>
                  <a:pt x="837" y="1456"/>
                  <a:pt x="837" y="1456"/>
                </a:cubicBezTo>
                <a:cubicBezTo>
                  <a:pt x="837" y="1454"/>
                  <a:pt x="837" y="1454"/>
                  <a:pt x="837" y="1454"/>
                </a:cubicBezTo>
                <a:cubicBezTo>
                  <a:pt x="832" y="1450"/>
                  <a:pt x="832" y="1450"/>
                  <a:pt x="832" y="1450"/>
                </a:cubicBezTo>
                <a:cubicBezTo>
                  <a:pt x="833" y="1445"/>
                  <a:pt x="833" y="1445"/>
                  <a:pt x="833" y="1445"/>
                </a:cubicBezTo>
                <a:cubicBezTo>
                  <a:pt x="831" y="1444"/>
                  <a:pt x="831" y="1444"/>
                  <a:pt x="831" y="1444"/>
                </a:cubicBezTo>
                <a:cubicBezTo>
                  <a:pt x="832" y="1442"/>
                  <a:pt x="832" y="1442"/>
                  <a:pt x="832" y="1442"/>
                </a:cubicBezTo>
                <a:cubicBezTo>
                  <a:pt x="832" y="1442"/>
                  <a:pt x="834" y="1442"/>
                  <a:pt x="834" y="1440"/>
                </a:cubicBezTo>
                <a:cubicBezTo>
                  <a:pt x="835" y="1438"/>
                  <a:pt x="829" y="1438"/>
                  <a:pt x="829" y="1438"/>
                </a:cubicBezTo>
                <a:cubicBezTo>
                  <a:pt x="831" y="1437"/>
                  <a:pt x="831" y="1437"/>
                  <a:pt x="831" y="1437"/>
                </a:cubicBezTo>
                <a:cubicBezTo>
                  <a:pt x="831" y="1435"/>
                  <a:pt x="831" y="1435"/>
                  <a:pt x="831" y="1435"/>
                </a:cubicBezTo>
                <a:cubicBezTo>
                  <a:pt x="834" y="1438"/>
                  <a:pt x="834" y="1438"/>
                  <a:pt x="834" y="1438"/>
                </a:cubicBezTo>
                <a:cubicBezTo>
                  <a:pt x="834" y="1438"/>
                  <a:pt x="837" y="1440"/>
                  <a:pt x="839" y="1438"/>
                </a:cubicBezTo>
                <a:cubicBezTo>
                  <a:pt x="841" y="1435"/>
                  <a:pt x="837" y="1430"/>
                  <a:pt x="837" y="1427"/>
                </a:cubicBezTo>
                <a:cubicBezTo>
                  <a:pt x="838" y="1424"/>
                  <a:pt x="847" y="1418"/>
                  <a:pt x="847" y="1416"/>
                </a:cubicBezTo>
                <a:cubicBezTo>
                  <a:pt x="848" y="1414"/>
                  <a:pt x="843" y="1414"/>
                  <a:pt x="843" y="1414"/>
                </a:cubicBezTo>
                <a:cubicBezTo>
                  <a:pt x="846" y="1414"/>
                  <a:pt x="846" y="1414"/>
                  <a:pt x="846" y="1414"/>
                </a:cubicBezTo>
                <a:cubicBezTo>
                  <a:pt x="846" y="1414"/>
                  <a:pt x="846" y="1410"/>
                  <a:pt x="845" y="1408"/>
                </a:cubicBezTo>
                <a:cubicBezTo>
                  <a:pt x="843" y="1405"/>
                  <a:pt x="841" y="1406"/>
                  <a:pt x="841" y="1406"/>
                </a:cubicBezTo>
                <a:cubicBezTo>
                  <a:pt x="838" y="1405"/>
                  <a:pt x="838" y="1405"/>
                  <a:pt x="838" y="1405"/>
                </a:cubicBezTo>
                <a:cubicBezTo>
                  <a:pt x="835" y="1405"/>
                  <a:pt x="835" y="1405"/>
                  <a:pt x="835" y="1405"/>
                </a:cubicBezTo>
                <a:cubicBezTo>
                  <a:pt x="835" y="1405"/>
                  <a:pt x="827" y="1401"/>
                  <a:pt x="825" y="1395"/>
                </a:cubicBezTo>
                <a:cubicBezTo>
                  <a:pt x="822" y="1390"/>
                  <a:pt x="826" y="1389"/>
                  <a:pt x="826" y="1389"/>
                </a:cubicBezTo>
                <a:cubicBezTo>
                  <a:pt x="827" y="1385"/>
                  <a:pt x="827" y="1385"/>
                  <a:pt x="827" y="1385"/>
                </a:cubicBezTo>
                <a:cubicBezTo>
                  <a:pt x="829" y="1385"/>
                  <a:pt x="829" y="1385"/>
                  <a:pt x="829" y="1385"/>
                </a:cubicBezTo>
                <a:cubicBezTo>
                  <a:pt x="830" y="1383"/>
                  <a:pt x="830" y="1383"/>
                  <a:pt x="830" y="1383"/>
                </a:cubicBezTo>
                <a:cubicBezTo>
                  <a:pt x="838" y="1382"/>
                  <a:pt x="838" y="1382"/>
                  <a:pt x="838" y="1382"/>
                </a:cubicBezTo>
                <a:cubicBezTo>
                  <a:pt x="836" y="1381"/>
                  <a:pt x="836" y="1381"/>
                  <a:pt x="836" y="1381"/>
                </a:cubicBezTo>
                <a:cubicBezTo>
                  <a:pt x="836" y="1378"/>
                  <a:pt x="836" y="1378"/>
                  <a:pt x="836" y="1378"/>
                </a:cubicBezTo>
                <a:cubicBezTo>
                  <a:pt x="838" y="1378"/>
                  <a:pt x="838" y="1378"/>
                  <a:pt x="838" y="1378"/>
                </a:cubicBezTo>
                <a:cubicBezTo>
                  <a:pt x="838" y="1378"/>
                  <a:pt x="839" y="1374"/>
                  <a:pt x="837" y="1372"/>
                </a:cubicBezTo>
                <a:cubicBezTo>
                  <a:pt x="836" y="1371"/>
                  <a:pt x="834" y="1368"/>
                  <a:pt x="835" y="1364"/>
                </a:cubicBezTo>
                <a:cubicBezTo>
                  <a:pt x="836" y="1361"/>
                  <a:pt x="841" y="1361"/>
                  <a:pt x="841" y="1361"/>
                </a:cubicBezTo>
                <a:cubicBezTo>
                  <a:pt x="841" y="1360"/>
                  <a:pt x="841" y="1360"/>
                  <a:pt x="841" y="1360"/>
                </a:cubicBezTo>
                <a:cubicBezTo>
                  <a:pt x="841" y="1360"/>
                  <a:pt x="837" y="1360"/>
                  <a:pt x="835" y="1359"/>
                </a:cubicBezTo>
                <a:cubicBezTo>
                  <a:pt x="834" y="1358"/>
                  <a:pt x="836" y="1356"/>
                  <a:pt x="837" y="1356"/>
                </a:cubicBezTo>
                <a:cubicBezTo>
                  <a:pt x="839" y="1355"/>
                  <a:pt x="842" y="1359"/>
                  <a:pt x="843" y="1359"/>
                </a:cubicBezTo>
                <a:cubicBezTo>
                  <a:pt x="845" y="1359"/>
                  <a:pt x="847" y="1358"/>
                  <a:pt x="847" y="1356"/>
                </a:cubicBezTo>
                <a:cubicBezTo>
                  <a:pt x="847" y="1354"/>
                  <a:pt x="844" y="1349"/>
                  <a:pt x="842" y="1350"/>
                </a:cubicBezTo>
                <a:cubicBezTo>
                  <a:pt x="839" y="1351"/>
                  <a:pt x="843" y="1353"/>
                  <a:pt x="841" y="1354"/>
                </a:cubicBezTo>
                <a:cubicBezTo>
                  <a:pt x="838" y="1356"/>
                  <a:pt x="835" y="1352"/>
                  <a:pt x="835" y="1352"/>
                </a:cubicBezTo>
                <a:cubicBezTo>
                  <a:pt x="835" y="1352"/>
                  <a:pt x="830" y="1352"/>
                  <a:pt x="830" y="1351"/>
                </a:cubicBezTo>
                <a:cubicBezTo>
                  <a:pt x="829" y="1350"/>
                  <a:pt x="830" y="1344"/>
                  <a:pt x="830" y="1343"/>
                </a:cubicBezTo>
                <a:cubicBezTo>
                  <a:pt x="830" y="1343"/>
                  <a:pt x="826" y="1339"/>
                  <a:pt x="827" y="1336"/>
                </a:cubicBezTo>
                <a:cubicBezTo>
                  <a:pt x="828" y="1333"/>
                  <a:pt x="831" y="1336"/>
                  <a:pt x="834" y="1337"/>
                </a:cubicBezTo>
                <a:cubicBezTo>
                  <a:pt x="837" y="1338"/>
                  <a:pt x="841" y="1341"/>
                  <a:pt x="843" y="1341"/>
                </a:cubicBezTo>
                <a:cubicBezTo>
                  <a:pt x="844" y="1341"/>
                  <a:pt x="851" y="1337"/>
                  <a:pt x="853" y="1336"/>
                </a:cubicBezTo>
                <a:cubicBezTo>
                  <a:pt x="855" y="1334"/>
                  <a:pt x="848" y="1331"/>
                  <a:pt x="848" y="1331"/>
                </a:cubicBezTo>
                <a:cubicBezTo>
                  <a:pt x="848" y="1327"/>
                  <a:pt x="848" y="1327"/>
                  <a:pt x="848" y="1327"/>
                </a:cubicBezTo>
                <a:cubicBezTo>
                  <a:pt x="848" y="1327"/>
                  <a:pt x="849" y="1324"/>
                  <a:pt x="850" y="1322"/>
                </a:cubicBezTo>
                <a:cubicBezTo>
                  <a:pt x="850" y="1319"/>
                  <a:pt x="846" y="1319"/>
                  <a:pt x="846" y="1319"/>
                </a:cubicBezTo>
                <a:cubicBezTo>
                  <a:pt x="845" y="1316"/>
                  <a:pt x="845" y="1316"/>
                  <a:pt x="845" y="1316"/>
                </a:cubicBezTo>
                <a:cubicBezTo>
                  <a:pt x="845" y="1316"/>
                  <a:pt x="844" y="1315"/>
                  <a:pt x="845" y="1313"/>
                </a:cubicBezTo>
                <a:cubicBezTo>
                  <a:pt x="846" y="1311"/>
                  <a:pt x="849" y="1319"/>
                  <a:pt x="849" y="1319"/>
                </a:cubicBezTo>
                <a:cubicBezTo>
                  <a:pt x="850" y="1318"/>
                  <a:pt x="850" y="1318"/>
                  <a:pt x="850" y="1318"/>
                </a:cubicBezTo>
                <a:cubicBezTo>
                  <a:pt x="849" y="1315"/>
                  <a:pt x="849" y="1315"/>
                  <a:pt x="849" y="1315"/>
                </a:cubicBezTo>
                <a:cubicBezTo>
                  <a:pt x="861" y="1317"/>
                  <a:pt x="861" y="1317"/>
                  <a:pt x="861" y="1317"/>
                </a:cubicBezTo>
                <a:cubicBezTo>
                  <a:pt x="861" y="1316"/>
                  <a:pt x="861" y="1316"/>
                  <a:pt x="861" y="1316"/>
                </a:cubicBezTo>
                <a:cubicBezTo>
                  <a:pt x="861" y="1316"/>
                  <a:pt x="864" y="1314"/>
                  <a:pt x="870" y="1313"/>
                </a:cubicBezTo>
                <a:cubicBezTo>
                  <a:pt x="876" y="1313"/>
                  <a:pt x="887" y="1307"/>
                  <a:pt x="887" y="1307"/>
                </a:cubicBezTo>
                <a:cubicBezTo>
                  <a:pt x="886" y="1302"/>
                  <a:pt x="886" y="1302"/>
                  <a:pt x="886" y="1302"/>
                </a:cubicBezTo>
                <a:cubicBezTo>
                  <a:pt x="889" y="1300"/>
                  <a:pt x="889" y="1300"/>
                  <a:pt x="889" y="1300"/>
                </a:cubicBezTo>
                <a:cubicBezTo>
                  <a:pt x="891" y="1293"/>
                  <a:pt x="891" y="1293"/>
                  <a:pt x="891" y="1293"/>
                </a:cubicBezTo>
                <a:cubicBezTo>
                  <a:pt x="889" y="1290"/>
                  <a:pt x="889" y="1290"/>
                  <a:pt x="889" y="1290"/>
                </a:cubicBezTo>
                <a:cubicBezTo>
                  <a:pt x="889" y="1286"/>
                  <a:pt x="889" y="1286"/>
                  <a:pt x="889" y="1286"/>
                </a:cubicBezTo>
                <a:cubicBezTo>
                  <a:pt x="889" y="1286"/>
                  <a:pt x="887" y="1284"/>
                  <a:pt x="885" y="1283"/>
                </a:cubicBezTo>
                <a:cubicBezTo>
                  <a:pt x="884" y="1283"/>
                  <a:pt x="882" y="1284"/>
                  <a:pt x="881" y="1283"/>
                </a:cubicBezTo>
                <a:cubicBezTo>
                  <a:pt x="879" y="1282"/>
                  <a:pt x="882" y="1281"/>
                  <a:pt x="883" y="1280"/>
                </a:cubicBezTo>
                <a:cubicBezTo>
                  <a:pt x="884" y="1278"/>
                  <a:pt x="883" y="1277"/>
                  <a:pt x="883" y="1275"/>
                </a:cubicBezTo>
                <a:cubicBezTo>
                  <a:pt x="883" y="1272"/>
                  <a:pt x="876" y="1271"/>
                  <a:pt x="871" y="1269"/>
                </a:cubicBezTo>
                <a:cubicBezTo>
                  <a:pt x="866" y="1266"/>
                  <a:pt x="866" y="1264"/>
                  <a:pt x="868" y="1261"/>
                </a:cubicBezTo>
                <a:cubicBezTo>
                  <a:pt x="868" y="1261"/>
                  <a:pt x="868" y="1261"/>
                  <a:pt x="869" y="1261"/>
                </a:cubicBezTo>
                <a:cubicBezTo>
                  <a:pt x="864" y="1256"/>
                  <a:pt x="864" y="1256"/>
                  <a:pt x="864" y="1256"/>
                </a:cubicBezTo>
                <a:cubicBezTo>
                  <a:pt x="869" y="1261"/>
                  <a:pt x="869" y="1261"/>
                  <a:pt x="869" y="1261"/>
                </a:cubicBezTo>
                <a:cubicBezTo>
                  <a:pt x="870" y="1260"/>
                  <a:pt x="873" y="1263"/>
                  <a:pt x="874" y="1265"/>
                </a:cubicBezTo>
                <a:cubicBezTo>
                  <a:pt x="874" y="1265"/>
                  <a:pt x="874" y="1265"/>
                  <a:pt x="874" y="1265"/>
                </a:cubicBezTo>
                <a:cubicBezTo>
                  <a:pt x="875" y="1265"/>
                  <a:pt x="875" y="1266"/>
                  <a:pt x="875" y="1266"/>
                </a:cubicBezTo>
                <a:cubicBezTo>
                  <a:pt x="881" y="1266"/>
                  <a:pt x="881" y="1266"/>
                  <a:pt x="881" y="1266"/>
                </a:cubicBezTo>
                <a:cubicBezTo>
                  <a:pt x="883" y="1268"/>
                  <a:pt x="883" y="1268"/>
                  <a:pt x="883" y="1268"/>
                </a:cubicBezTo>
                <a:cubicBezTo>
                  <a:pt x="883" y="1268"/>
                  <a:pt x="889" y="1268"/>
                  <a:pt x="895" y="1269"/>
                </a:cubicBezTo>
                <a:cubicBezTo>
                  <a:pt x="902" y="1270"/>
                  <a:pt x="906" y="1270"/>
                  <a:pt x="910" y="1267"/>
                </a:cubicBezTo>
                <a:cubicBezTo>
                  <a:pt x="913" y="1265"/>
                  <a:pt x="914" y="1258"/>
                  <a:pt x="914" y="1257"/>
                </a:cubicBezTo>
                <a:cubicBezTo>
                  <a:pt x="914" y="1256"/>
                  <a:pt x="914" y="1256"/>
                  <a:pt x="914" y="1256"/>
                </a:cubicBezTo>
                <a:cubicBezTo>
                  <a:pt x="914" y="1256"/>
                  <a:pt x="919" y="1251"/>
                  <a:pt x="920" y="1249"/>
                </a:cubicBezTo>
                <a:cubicBezTo>
                  <a:pt x="921" y="1247"/>
                  <a:pt x="920" y="1243"/>
                  <a:pt x="920" y="1243"/>
                </a:cubicBezTo>
                <a:cubicBezTo>
                  <a:pt x="922" y="1239"/>
                  <a:pt x="922" y="1239"/>
                  <a:pt x="922" y="1239"/>
                </a:cubicBezTo>
                <a:cubicBezTo>
                  <a:pt x="922" y="1239"/>
                  <a:pt x="920" y="1237"/>
                  <a:pt x="920" y="1235"/>
                </a:cubicBezTo>
                <a:cubicBezTo>
                  <a:pt x="920" y="1233"/>
                  <a:pt x="922" y="1233"/>
                  <a:pt x="922" y="1233"/>
                </a:cubicBezTo>
                <a:cubicBezTo>
                  <a:pt x="923" y="1230"/>
                  <a:pt x="923" y="1230"/>
                  <a:pt x="923" y="1230"/>
                </a:cubicBezTo>
                <a:cubicBezTo>
                  <a:pt x="923" y="1230"/>
                  <a:pt x="925" y="1229"/>
                  <a:pt x="926" y="1228"/>
                </a:cubicBezTo>
                <a:cubicBezTo>
                  <a:pt x="927" y="1228"/>
                  <a:pt x="927" y="1225"/>
                  <a:pt x="927" y="1223"/>
                </a:cubicBezTo>
                <a:cubicBezTo>
                  <a:pt x="927" y="1221"/>
                  <a:pt x="930" y="1218"/>
                  <a:pt x="932" y="1217"/>
                </a:cubicBezTo>
                <a:cubicBezTo>
                  <a:pt x="934" y="1217"/>
                  <a:pt x="934" y="1222"/>
                  <a:pt x="934" y="1222"/>
                </a:cubicBezTo>
                <a:cubicBezTo>
                  <a:pt x="934" y="1222"/>
                  <a:pt x="932" y="1224"/>
                  <a:pt x="932" y="1224"/>
                </a:cubicBezTo>
                <a:cubicBezTo>
                  <a:pt x="931" y="1225"/>
                  <a:pt x="931" y="1227"/>
                  <a:pt x="931" y="1227"/>
                </a:cubicBezTo>
                <a:cubicBezTo>
                  <a:pt x="930" y="1228"/>
                  <a:pt x="930" y="1228"/>
                  <a:pt x="930" y="1228"/>
                </a:cubicBezTo>
                <a:cubicBezTo>
                  <a:pt x="930" y="1230"/>
                  <a:pt x="930" y="1230"/>
                  <a:pt x="930" y="1230"/>
                </a:cubicBezTo>
                <a:cubicBezTo>
                  <a:pt x="926" y="1234"/>
                  <a:pt x="926" y="1234"/>
                  <a:pt x="926" y="1234"/>
                </a:cubicBezTo>
                <a:cubicBezTo>
                  <a:pt x="922" y="1237"/>
                  <a:pt x="922" y="1237"/>
                  <a:pt x="922" y="1237"/>
                </a:cubicBezTo>
                <a:cubicBezTo>
                  <a:pt x="922" y="1237"/>
                  <a:pt x="923" y="1238"/>
                  <a:pt x="925" y="1238"/>
                </a:cubicBezTo>
                <a:cubicBezTo>
                  <a:pt x="926" y="1237"/>
                  <a:pt x="926" y="1235"/>
                  <a:pt x="927" y="1234"/>
                </a:cubicBezTo>
                <a:cubicBezTo>
                  <a:pt x="928" y="1233"/>
                  <a:pt x="929" y="1234"/>
                  <a:pt x="930" y="1234"/>
                </a:cubicBezTo>
                <a:cubicBezTo>
                  <a:pt x="931" y="1232"/>
                  <a:pt x="935" y="1225"/>
                  <a:pt x="936" y="1220"/>
                </a:cubicBezTo>
                <a:cubicBezTo>
                  <a:pt x="937" y="1215"/>
                  <a:pt x="940" y="1210"/>
                  <a:pt x="940" y="1207"/>
                </a:cubicBezTo>
                <a:cubicBezTo>
                  <a:pt x="941" y="1204"/>
                  <a:pt x="947" y="1201"/>
                  <a:pt x="948" y="1200"/>
                </a:cubicBezTo>
                <a:cubicBezTo>
                  <a:pt x="948" y="1199"/>
                  <a:pt x="946" y="1197"/>
                  <a:pt x="946" y="1197"/>
                </a:cubicBezTo>
                <a:cubicBezTo>
                  <a:pt x="949" y="1195"/>
                  <a:pt x="949" y="1195"/>
                  <a:pt x="949" y="1195"/>
                </a:cubicBezTo>
                <a:cubicBezTo>
                  <a:pt x="948" y="1190"/>
                  <a:pt x="948" y="1190"/>
                  <a:pt x="948" y="1190"/>
                </a:cubicBezTo>
                <a:cubicBezTo>
                  <a:pt x="949" y="1187"/>
                  <a:pt x="949" y="1187"/>
                  <a:pt x="949" y="1187"/>
                </a:cubicBezTo>
                <a:cubicBezTo>
                  <a:pt x="947" y="1186"/>
                  <a:pt x="947" y="1186"/>
                  <a:pt x="947" y="1186"/>
                </a:cubicBezTo>
                <a:cubicBezTo>
                  <a:pt x="947" y="1186"/>
                  <a:pt x="949" y="1184"/>
                  <a:pt x="949" y="1182"/>
                </a:cubicBezTo>
                <a:cubicBezTo>
                  <a:pt x="949" y="1181"/>
                  <a:pt x="946" y="1179"/>
                  <a:pt x="946" y="1179"/>
                </a:cubicBezTo>
                <a:cubicBezTo>
                  <a:pt x="945" y="1175"/>
                  <a:pt x="945" y="1175"/>
                  <a:pt x="945" y="1175"/>
                </a:cubicBezTo>
                <a:cubicBezTo>
                  <a:pt x="943" y="1172"/>
                  <a:pt x="943" y="1172"/>
                  <a:pt x="943" y="1172"/>
                </a:cubicBezTo>
                <a:cubicBezTo>
                  <a:pt x="946" y="1173"/>
                  <a:pt x="946" y="1173"/>
                  <a:pt x="946" y="1173"/>
                </a:cubicBezTo>
                <a:cubicBezTo>
                  <a:pt x="946" y="1169"/>
                  <a:pt x="946" y="1169"/>
                  <a:pt x="946" y="1169"/>
                </a:cubicBezTo>
                <a:cubicBezTo>
                  <a:pt x="944" y="1168"/>
                  <a:pt x="944" y="1168"/>
                  <a:pt x="944" y="1168"/>
                </a:cubicBezTo>
                <a:cubicBezTo>
                  <a:pt x="944" y="1168"/>
                  <a:pt x="947" y="1167"/>
                  <a:pt x="947" y="1166"/>
                </a:cubicBezTo>
                <a:cubicBezTo>
                  <a:pt x="947" y="1165"/>
                  <a:pt x="943" y="1163"/>
                  <a:pt x="943" y="1163"/>
                </a:cubicBezTo>
                <a:cubicBezTo>
                  <a:pt x="947" y="1161"/>
                  <a:pt x="947" y="1161"/>
                  <a:pt x="947" y="1161"/>
                </a:cubicBezTo>
                <a:cubicBezTo>
                  <a:pt x="947" y="1161"/>
                  <a:pt x="949" y="1164"/>
                  <a:pt x="951" y="1164"/>
                </a:cubicBezTo>
                <a:cubicBezTo>
                  <a:pt x="952" y="1163"/>
                  <a:pt x="951" y="1161"/>
                  <a:pt x="951" y="1161"/>
                </a:cubicBezTo>
                <a:cubicBezTo>
                  <a:pt x="951" y="1161"/>
                  <a:pt x="951" y="1158"/>
                  <a:pt x="953" y="1156"/>
                </a:cubicBezTo>
                <a:cubicBezTo>
                  <a:pt x="954" y="1154"/>
                  <a:pt x="957" y="1155"/>
                  <a:pt x="958" y="1154"/>
                </a:cubicBezTo>
                <a:cubicBezTo>
                  <a:pt x="959" y="1153"/>
                  <a:pt x="959" y="1152"/>
                  <a:pt x="959" y="1150"/>
                </a:cubicBezTo>
                <a:cubicBezTo>
                  <a:pt x="960" y="1149"/>
                  <a:pt x="964" y="1148"/>
                  <a:pt x="964" y="1148"/>
                </a:cubicBezTo>
                <a:cubicBezTo>
                  <a:pt x="964" y="1147"/>
                  <a:pt x="964" y="1147"/>
                  <a:pt x="964" y="1147"/>
                </a:cubicBezTo>
                <a:cubicBezTo>
                  <a:pt x="964" y="1147"/>
                  <a:pt x="966" y="1147"/>
                  <a:pt x="967" y="1147"/>
                </a:cubicBezTo>
                <a:cubicBezTo>
                  <a:pt x="968" y="1147"/>
                  <a:pt x="967" y="1144"/>
                  <a:pt x="969" y="1144"/>
                </a:cubicBezTo>
                <a:cubicBezTo>
                  <a:pt x="970" y="1144"/>
                  <a:pt x="974" y="1144"/>
                  <a:pt x="974" y="1144"/>
                </a:cubicBezTo>
                <a:cubicBezTo>
                  <a:pt x="975" y="1147"/>
                  <a:pt x="975" y="1147"/>
                  <a:pt x="975" y="1147"/>
                </a:cubicBezTo>
                <a:cubicBezTo>
                  <a:pt x="977" y="1146"/>
                  <a:pt x="977" y="1146"/>
                  <a:pt x="977" y="1146"/>
                </a:cubicBezTo>
                <a:cubicBezTo>
                  <a:pt x="974" y="1143"/>
                  <a:pt x="974" y="1143"/>
                  <a:pt x="974" y="1143"/>
                </a:cubicBezTo>
                <a:cubicBezTo>
                  <a:pt x="974" y="1143"/>
                  <a:pt x="976" y="1142"/>
                  <a:pt x="977" y="1141"/>
                </a:cubicBezTo>
                <a:cubicBezTo>
                  <a:pt x="978" y="1140"/>
                  <a:pt x="982" y="1140"/>
                  <a:pt x="982" y="1140"/>
                </a:cubicBezTo>
                <a:cubicBezTo>
                  <a:pt x="980" y="1138"/>
                  <a:pt x="980" y="1138"/>
                  <a:pt x="980" y="1138"/>
                </a:cubicBezTo>
                <a:cubicBezTo>
                  <a:pt x="980" y="1138"/>
                  <a:pt x="983" y="1136"/>
                  <a:pt x="984" y="1136"/>
                </a:cubicBezTo>
                <a:cubicBezTo>
                  <a:pt x="985" y="1136"/>
                  <a:pt x="984" y="1139"/>
                  <a:pt x="985" y="1139"/>
                </a:cubicBezTo>
                <a:cubicBezTo>
                  <a:pt x="985" y="1139"/>
                  <a:pt x="986" y="1135"/>
                  <a:pt x="986" y="1135"/>
                </a:cubicBezTo>
                <a:cubicBezTo>
                  <a:pt x="992" y="1137"/>
                  <a:pt x="992" y="1137"/>
                  <a:pt x="992" y="1137"/>
                </a:cubicBezTo>
                <a:cubicBezTo>
                  <a:pt x="992" y="1137"/>
                  <a:pt x="993" y="1132"/>
                  <a:pt x="995" y="1132"/>
                </a:cubicBezTo>
                <a:cubicBezTo>
                  <a:pt x="997" y="1132"/>
                  <a:pt x="997" y="1137"/>
                  <a:pt x="997" y="1137"/>
                </a:cubicBezTo>
                <a:cubicBezTo>
                  <a:pt x="1006" y="1135"/>
                  <a:pt x="1006" y="1135"/>
                  <a:pt x="1006" y="1135"/>
                </a:cubicBezTo>
                <a:cubicBezTo>
                  <a:pt x="1007" y="1133"/>
                  <a:pt x="1007" y="1133"/>
                  <a:pt x="1007" y="1133"/>
                </a:cubicBezTo>
                <a:cubicBezTo>
                  <a:pt x="1006" y="1132"/>
                  <a:pt x="1006" y="1132"/>
                  <a:pt x="1006" y="1132"/>
                </a:cubicBezTo>
                <a:cubicBezTo>
                  <a:pt x="1006" y="1132"/>
                  <a:pt x="1007" y="1130"/>
                  <a:pt x="1008" y="1128"/>
                </a:cubicBezTo>
                <a:cubicBezTo>
                  <a:pt x="1010" y="1126"/>
                  <a:pt x="1016" y="1125"/>
                  <a:pt x="1016" y="1125"/>
                </a:cubicBezTo>
                <a:cubicBezTo>
                  <a:pt x="1016" y="1125"/>
                  <a:pt x="1015" y="1122"/>
                  <a:pt x="1015" y="1122"/>
                </a:cubicBezTo>
                <a:cubicBezTo>
                  <a:pt x="1015" y="1121"/>
                  <a:pt x="1016" y="1112"/>
                  <a:pt x="1016" y="1112"/>
                </a:cubicBezTo>
                <a:cubicBezTo>
                  <a:pt x="1019" y="1108"/>
                  <a:pt x="1019" y="1108"/>
                  <a:pt x="1019" y="1108"/>
                </a:cubicBezTo>
                <a:cubicBezTo>
                  <a:pt x="1019" y="1105"/>
                  <a:pt x="1019" y="1105"/>
                  <a:pt x="1019" y="1105"/>
                </a:cubicBezTo>
                <a:cubicBezTo>
                  <a:pt x="1022" y="1104"/>
                  <a:pt x="1022" y="1104"/>
                  <a:pt x="1022" y="1104"/>
                </a:cubicBezTo>
                <a:cubicBezTo>
                  <a:pt x="1022" y="1100"/>
                  <a:pt x="1022" y="1100"/>
                  <a:pt x="1022" y="1100"/>
                </a:cubicBezTo>
                <a:cubicBezTo>
                  <a:pt x="1022" y="1100"/>
                  <a:pt x="1024" y="1099"/>
                  <a:pt x="1025" y="1099"/>
                </a:cubicBezTo>
                <a:cubicBezTo>
                  <a:pt x="1026" y="1099"/>
                  <a:pt x="1026" y="1093"/>
                  <a:pt x="1026" y="1093"/>
                </a:cubicBezTo>
                <a:cubicBezTo>
                  <a:pt x="1026" y="1093"/>
                  <a:pt x="1024" y="1087"/>
                  <a:pt x="1024" y="1084"/>
                </a:cubicBezTo>
                <a:cubicBezTo>
                  <a:pt x="1023" y="1081"/>
                  <a:pt x="1027" y="1079"/>
                  <a:pt x="1029" y="1077"/>
                </a:cubicBezTo>
                <a:cubicBezTo>
                  <a:pt x="1030" y="1076"/>
                  <a:pt x="1028" y="1072"/>
                  <a:pt x="1028" y="1072"/>
                </a:cubicBezTo>
                <a:cubicBezTo>
                  <a:pt x="1029" y="1064"/>
                  <a:pt x="1029" y="1064"/>
                  <a:pt x="1029" y="1064"/>
                </a:cubicBezTo>
                <a:cubicBezTo>
                  <a:pt x="1029" y="1064"/>
                  <a:pt x="1031" y="1057"/>
                  <a:pt x="1030" y="1055"/>
                </a:cubicBezTo>
                <a:cubicBezTo>
                  <a:pt x="1030" y="1053"/>
                  <a:pt x="1028" y="1041"/>
                  <a:pt x="1028" y="1041"/>
                </a:cubicBezTo>
                <a:cubicBezTo>
                  <a:pt x="1029" y="1036"/>
                  <a:pt x="1029" y="1036"/>
                  <a:pt x="1029" y="1036"/>
                </a:cubicBezTo>
                <a:cubicBezTo>
                  <a:pt x="1029" y="1036"/>
                  <a:pt x="1027" y="1029"/>
                  <a:pt x="1027" y="1028"/>
                </a:cubicBezTo>
                <a:cubicBezTo>
                  <a:pt x="1028" y="1026"/>
                  <a:pt x="1030" y="1024"/>
                  <a:pt x="1030" y="1024"/>
                </a:cubicBezTo>
                <a:cubicBezTo>
                  <a:pt x="1029" y="1021"/>
                  <a:pt x="1029" y="1021"/>
                  <a:pt x="1029" y="1021"/>
                </a:cubicBezTo>
                <a:cubicBezTo>
                  <a:pt x="1029" y="1021"/>
                  <a:pt x="1030" y="1019"/>
                  <a:pt x="1031" y="1019"/>
                </a:cubicBezTo>
                <a:cubicBezTo>
                  <a:pt x="1032" y="1019"/>
                  <a:pt x="1034" y="1023"/>
                  <a:pt x="1034" y="1023"/>
                </a:cubicBezTo>
                <a:cubicBezTo>
                  <a:pt x="1034" y="1023"/>
                  <a:pt x="1038" y="1019"/>
                  <a:pt x="1040" y="1017"/>
                </a:cubicBezTo>
                <a:cubicBezTo>
                  <a:pt x="1041" y="1015"/>
                  <a:pt x="1042" y="1006"/>
                  <a:pt x="1042" y="1006"/>
                </a:cubicBezTo>
                <a:cubicBezTo>
                  <a:pt x="1042" y="1006"/>
                  <a:pt x="1044" y="1005"/>
                  <a:pt x="1045" y="1004"/>
                </a:cubicBezTo>
                <a:cubicBezTo>
                  <a:pt x="1046" y="1003"/>
                  <a:pt x="1047" y="998"/>
                  <a:pt x="1047" y="998"/>
                </a:cubicBezTo>
                <a:cubicBezTo>
                  <a:pt x="1047" y="998"/>
                  <a:pt x="1050" y="997"/>
                  <a:pt x="1051" y="997"/>
                </a:cubicBezTo>
                <a:cubicBezTo>
                  <a:pt x="1053" y="997"/>
                  <a:pt x="1053" y="992"/>
                  <a:pt x="1053" y="992"/>
                </a:cubicBezTo>
                <a:cubicBezTo>
                  <a:pt x="1053" y="992"/>
                  <a:pt x="1056" y="991"/>
                  <a:pt x="1058" y="988"/>
                </a:cubicBezTo>
                <a:cubicBezTo>
                  <a:pt x="1061" y="984"/>
                  <a:pt x="1064" y="974"/>
                  <a:pt x="1064" y="974"/>
                </a:cubicBezTo>
                <a:cubicBezTo>
                  <a:pt x="1064" y="974"/>
                  <a:pt x="1067" y="971"/>
                  <a:pt x="1067" y="970"/>
                </a:cubicBezTo>
                <a:cubicBezTo>
                  <a:pt x="1067" y="969"/>
                  <a:pt x="1066" y="965"/>
                  <a:pt x="1066" y="965"/>
                </a:cubicBezTo>
                <a:cubicBezTo>
                  <a:pt x="1066" y="965"/>
                  <a:pt x="1067" y="961"/>
                  <a:pt x="1067" y="957"/>
                </a:cubicBezTo>
                <a:close/>
                <a:moveTo>
                  <a:pt x="660" y="375"/>
                </a:moveTo>
                <a:cubicBezTo>
                  <a:pt x="657" y="375"/>
                  <a:pt x="661" y="371"/>
                  <a:pt x="659" y="371"/>
                </a:cubicBezTo>
                <a:cubicBezTo>
                  <a:pt x="658" y="370"/>
                  <a:pt x="656" y="373"/>
                  <a:pt x="656" y="373"/>
                </a:cubicBezTo>
                <a:cubicBezTo>
                  <a:pt x="655" y="373"/>
                  <a:pt x="655" y="373"/>
                  <a:pt x="655" y="373"/>
                </a:cubicBezTo>
                <a:cubicBezTo>
                  <a:pt x="654" y="375"/>
                  <a:pt x="654" y="375"/>
                  <a:pt x="654" y="375"/>
                </a:cubicBezTo>
                <a:cubicBezTo>
                  <a:pt x="652" y="375"/>
                  <a:pt x="652" y="375"/>
                  <a:pt x="652" y="375"/>
                </a:cubicBezTo>
                <a:cubicBezTo>
                  <a:pt x="652" y="375"/>
                  <a:pt x="652" y="377"/>
                  <a:pt x="651" y="378"/>
                </a:cubicBezTo>
                <a:cubicBezTo>
                  <a:pt x="650" y="380"/>
                  <a:pt x="648" y="380"/>
                  <a:pt x="647" y="382"/>
                </a:cubicBezTo>
                <a:cubicBezTo>
                  <a:pt x="646" y="383"/>
                  <a:pt x="648" y="384"/>
                  <a:pt x="648" y="384"/>
                </a:cubicBezTo>
                <a:cubicBezTo>
                  <a:pt x="648" y="384"/>
                  <a:pt x="647" y="384"/>
                  <a:pt x="644" y="387"/>
                </a:cubicBezTo>
                <a:cubicBezTo>
                  <a:pt x="641" y="390"/>
                  <a:pt x="645" y="390"/>
                  <a:pt x="645" y="392"/>
                </a:cubicBezTo>
                <a:cubicBezTo>
                  <a:pt x="645" y="393"/>
                  <a:pt x="644" y="394"/>
                  <a:pt x="644" y="394"/>
                </a:cubicBezTo>
                <a:cubicBezTo>
                  <a:pt x="644" y="394"/>
                  <a:pt x="645" y="395"/>
                  <a:pt x="640" y="401"/>
                </a:cubicBezTo>
                <a:cubicBezTo>
                  <a:pt x="636" y="408"/>
                  <a:pt x="626" y="410"/>
                  <a:pt x="626" y="410"/>
                </a:cubicBezTo>
                <a:cubicBezTo>
                  <a:pt x="627" y="406"/>
                  <a:pt x="627" y="406"/>
                  <a:pt x="627" y="406"/>
                </a:cubicBezTo>
                <a:cubicBezTo>
                  <a:pt x="627" y="406"/>
                  <a:pt x="626" y="404"/>
                  <a:pt x="626" y="404"/>
                </a:cubicBezTo>
                <a:cubicBezTo>
                  <a:pt x="625" y="403"/>
                  <a:pt x="629" y="398"/>
                  <a:pt x="629" y="397"/>
                </a:cubicBezTo>
                <a:cubicBezTo>
                  <a:pt x="630" y="396"/>
                  <a:pt x="628" y="395"/>
                  <a:pt x="629" y="393"/>
                </a:cubicBezTo>
                <a:cubicBezTo>
                  <a:pt x="629" y="390"/>
                  <a:pt x="634" y="386"/>
                  <a:pt x="634" y="386"/>
                </a:cubicBezTo>
                <a:cubicBezTo>
                  <a:pt x="634" y="384"/>
                  <a:pt x="634" y="384"/>
                  <a:pt x="634" y="384"/>
                </a:cubicBezTo>
                <a:cubicBezTo>
                  <a:pt x="634" y="384"/>
                  <a:pt x="638" y="381"/>
                  <a:pt x="639" y="380"/>
                </a:cubicBezTo>
                <a:cubicBezTo>
                  <a:pt x="639" y="379"/>
                  <a:pt x="646" y="372"/>
                  <a:pt x="646" y="372"/>
                </a:cubicBezTo>
                <a:cubicBezTo>
                  <a:pt x="642" y="374"/>
                  <a:pt x="642" y="374"/>
                  <a:pt x="642" y="374"/>
                </a:cubicBezTo>
                <a:cubicBezTo>
                  <a:pt x="642" y="374"/>
                  <a:pt x="637" y="378"/>
                  <a:pt x="636" y="377"/>
                </a:cubicBezTo>
                <a:cubicBezTo>
                  <a:pt x="635" y="375"/>
                  <a:pt x="644" y="370"/>
                  <a:pt x="645" y="369"/>
                </a:cubicBezTo>
                <a:cubicBezTo>
                  <a:pt x="646" y="367"/>
                  <a:pt x="651" y="363"/>
                  <a:pt x="651" y="363"/>
                </a:cubicBezTo>
                <a:cubicBezTo>
                  <a:pt x="653" y="364"/>
                  <a:pt x="653" y="364"/>
                  <a:pt x="653" y="364"/>
                </a:cubicBezTo>
                <a:cubicBezTo>
                  <a:pt x="655" y="363"/>
                  <a:pt x="655" y="363"/>
                  <a:pt x="655" y="363"/>
                </a:cubicBezTo>
                <a:cubicBezTo>
                  <a:pt x="655" y="363"/>
                  <a:pt x="654" y="365"/>
                  <a:pt x="656" y="364"/>
                </a:cubicBezTo>
                <a:cubicBezTo>
                  <a:pt x="658" y="364"/>
                  <a:pt x="657" y="361"/>
                  <a:pt x="657" y="361"/>
                </a:cubicBezTo>
                <a:cubicBezTo>
                  <a:pt x="660" y="362"/>
                  <a:pt x="660" y="362"/>
                  <a:pt x="660" y="362"/>
                </a:cubicBezTo>
                <a:cubicBezTo>
                  <a:pt x="660" y="362"/>
                  <a:pt x="665" y="360"/>
                  <a:pt x="667" y="361"/>
                </a:cubicBezTo>
                <a:cubicBezTo>
                  <a:pt x="669" y="361"/>
                  <a:pt x="670" y="364"/>
                  <a:pt x="670" y="364"/>
                </a:cubicBezTo>
                <a:cubicBezTo>
                  <a:pt x="667" y="365"/>
                  <a:pt x="667" y="365"/>
                  <a:pt x="667" y="365"/>
                </a:cubicBezTo>
                <a:cubicBezTo>
                  <a:pt x="667" y="369"/>
                  <a:pt x="667" y="369"/>
                  <a:pt x="667" y="369"/>
                </a:cubicBezTo>
                <a:cubicBezTo>
                  <a:pt x="667" y="369"/>
                  <a:pt x="665" y="368"/>
                  <a:pt x="663" y="368"/>
                </a:cubicBezTo>
                <a:cubicBezTo>
                  <a:pt x="662" y="368"/>
                  <a:pt x="662" y="372"/>
                  <a:pt x="662" y="372"/>
                </a:cubicBezTo>
                <a:cubicBezTo>
                  <a:pt x="662" y="372"/>
                  <a:pt x="663" y="375"/>
                  <a:pt x="660" y="375"/>
                </a:cubicBezTo>
                <a:close/>
                <a:moveTo>
                  <a:pt x="691" y="406"/>
                </a:moveTo>
                <a:cubicBezTo>
                  <a:pt x="689" y="407"/>
                  <a:pt x="688" y="407"/>
                  <a:pt x="684" y="408"/>
                </a:cubicBezTo>
                <a:cubicBezTo>
                  <a:pt x="679" y="409"/>
                  <a:pt x="678" y="411"/>
                  <a:pt x="676" y="411"/>
                </a:cubicBezTo>
                <a:cubicBezTo>
                  <a:pt x="675" y="412"/>
                  <a:pt x="672" y="411"/>
                  <a:pt x="672" y="411"/>
                </a:cubicBezTo>
                <a:cubicBezTo>
                  <a:pt x="672" y="411"/>
                  <a:pt x="672" y="413"/>
                  <a:pt x="670" y="413"/>
                </a:cubicBezTo>
                <a:cubicBezTo>
                  <a:pt x="667" y="413"/>
                  <a:pt x="667" y="411"/>
                  <a:pt x="667" y="411"/>
                </a:cubicBezTo>
                <a:cubicBezTo>
                  <a:pt x="667" y="411"/>
                  <a:pt x="662" y="410"/>
                  <a:pt x="662" y="409"/>
                </a:cubicBezTo>
                <a:cubicBezTo>
                  <a:pt x="662" y="409"/>
                  <a:pt x="665" y="407"/>
                  <a:pt x="667" y="406"/>
                </a:cubicBezTo>
                <a:cubicBezTo>
                  <a:pt x="669" y="405"/>
                  <a:pt x="671" y="405"/>
                  <a:pt x="671" y="405"/>
                </a:cubicBezTo>
                <a:cubicBezTo>
                  <a:pt x="671" y="405"/>
                  <a:pt x="672" y="406"/>
                  <a:pt x="672" y="406"/>
                </a:cubicBezTo>
                <a:cubicBezTo>
                  <a:pt x="672" y="406"/>
                  <a:pt x="675" y="403"/>
                  <a:pt x="677" y="402"/>
                </a:cubicBezTo>
                <a:cubicBezTo>
                  <a:pt x="679" y="402"/>
                  <a:pt x="680" y="403"/>
                  <a:pt x="680" y="403"/>
                </a:cubicBezTo>
                <a:cubicBezTo>
                  <a:pt x="680" y="403"/>
                  <a:pt x="681" y="398"/>
                  <a:pt x="687" y="398"/>
                </a:cubicBezTo>
                <a:cubicBezTo>
                  <a:pt x="692" y="398"/>
                  <a:pt x="695" y="399"/>
                  <a:pt x="695" y="399"/>
                </a:cubicBezTo>
                <a:cubicBezTo>
                  <a:pt x="699" y="396"/>
                  <a:pt x="699" y="396"/>
                  <a:pt x="699" y="396"/>
                </a:cubicBezTo>
                <a:cubicBezTo>
                  <a:pt x="708" y="397"/>
                  <a:pt x="708" y="397"/>
                  <a:pt x="708" y="397"/>
                </a:cubicBezTo>
                <a:cubicBezTo>
                  <a:pt x="709" y="397"/>
                  <a:pt x="709" y="397"/>
                  <a:pt x="709" y="397"/>
                </a:cubicBezTo>
                <a:cubicBezTo>
                  <a:pt x="709" y="397"/>
                  <a:pt x="693" y="405"/>
                  <a:pt x="691" y="406"/>
                </a:cubicBezTo>
                <a:close/>
                <a:moveTo>
                  <a:pt x="721" y="384"/>
                </a:moveTo>
                <a:cubicBezTo>
                  <a:pt x="722" y="384"/>
                  <a:pt x="725" y="383"/>
                  <a:pt x="725" y="383"/>
                </a:cubicBezTo>
                <a:cubicBezTo>
                  <a:pt x="725" y="383"/>
                  <a:pt x="731" y="385"/>
                  <a:pt x="732" y="385"/>
                </a:cubicBezTo>
                <a:cubicBezTo>
                  <a:pt x="733" y="385"/>
                  <a:pt x="733" y="381"/>
                  <a:pt x="733" y="381"/>
                </a:cubicBezTo>
                <a:cubicBezTo>
                  <a:pt x="733" y="381"/>
                  <a:pt x="734" y="379"/>
                  <a:pt x="736" y="380"/>
                </a:cubicBezTo>
                <a:cubicBezTo>
                  <a:pt x="737" y="380"/>
                  <a:pt x="737" y="380"/>
                  <a:pt x="737" y="381"/>
                </a:cubicBezTo>
                <a:cubicBezTo>
                  <a:pt x="739" y="382"/>
                  <a:pt x="739" y="383"/>
                  <a:pt x="739" y="383"/>
                </a:cubicBezTo>
                <a:cubicBezTo>
                  <a:pt x="739" y="383"/>
                  <a:pt x="739" y="385"/>
                  <a:pt x="737" y="386"/>
                </a:cubicBezTo>
                <a:cubicBezTo>
                  <a:pt x="736" y="387"/>
                  <a:pt x="736" y="389"/>
                  <a:pt x="736" y="389"/>
                </a:cubicBezTo>
                <a:cubicBezTo>
                  <a:pt x="733" y="389"/>
                  <a:pt x="733" y="389"/>
                  <a:pt x="733" y="389"/>
                </a:cubicBezTo>
                <a:cubicBezTo>
                  <a:pt x="733" y="389"/>
                  <a:pt x="733" y="390"/>
                  <a:pt x="731" y="391"/>
                </a:cubicBezTo>
                <a:cubicBezTo>
                  <a:pt x="728" y="392"/>
                  <a:pt x="727" y="390"/>
                  <a:pt x="727" y="390"/>
                </a:cubicBezTo>
                <a:cubicBezTo>
                  <a:pt x="727" y="390"/>
                  <a:pt x="726" y="392"/>
                  <a:pt x="723" y="392"/>
                </a:cubicBezTo>
                <a:cubicBezTo>
                  <a:pt x="720" y="392"/>
                  <a:pt x="719" y="390"/>
                  <a:pt x="718" y="390"/>
                </a:cubicBezTo>
                <a:cubicBezTo>
                  <a:pt x="716" y="389"/>
                  <a:pt x="714" y="391"/>
                  <a:pt x="710" y="392"/>
                </a:cubicBezTo>
                <a:cubicBezTo>
                  <a:pt x="710" y="392"/>
                  <a:pt x="709" y="392"/>
                  <a:pt x="709" y="392"/>
                </a:cubicBezTo>
                <a:cubicBezTo>
                  <a:pt x="705" y="393"/>
                  <a:pt x="704" y="393"/>
                  <a:pt x="704" y="392"/>
                </a:cubicBezTo>
                <a:cubicBezTo>
                  <a:pt x="704" y="389"/>
                  <a:pt x="711" y="385"/>
                  <a:pt x="713" y="385"/>
                </a:cubicBezTo>
                <a:cubicBezTo>
                  <a:pt x="716" y="385"/>
                  <a:pt x="720" y="384"/>
                  <a:pt x="721" y="384"/>
                </a:cubicBezTo>
                <a:close/>
                <a:moveTo>
                  <a:pt x="683" y="359"/>
                </a:moveTo>
                <a:cubicBezTo>
                  <a:pt x="684" y="359"/>
                  <a:pt x="685" y="359"/>
                  <a:pt x="688" y="359"/>
                </a:cubicBezTo>
                <a:cubicBezTo>
                  <a:pt x="690" y="360"/>
                  <a:pt x="692" y="359"/>
                  <a:pt x="692" y="359"/>
                </a:cubicBezTo>
                <a:cubicBezTo>
                  <a:pt x="694" y="359"/>
                  <a:pt x="698" y="362"/>
                  <a:pt x="700" y="362"/>
                </a:cubicBezTo>
                <a:cubicBezTo>
                  <a:pt x="702" y="362"/>
                  <a:pt x="704" y="362"/>
                  <a:pt x="704" y="362"/>
                </a:cubicBezTo>
                <a:cubicBezTo>
                  <a:pt x="709" y="362"/>
                  <a:pt x="708" y="365"/>
                  <a:pt x="708" y="366"/>
                </a:cubicBezTo>
                <a:cubicBezTo>
                  <a:pt x="708" y="368"/>
                  <a:pt x="710" y="366"/>
                  <a:pt x="710" y="368"/>
                </a:cubicBezTo>
                <a:cubicBezTo>
                  <a:pt x="710" y="370"/>
                  <a:pt x="710" y="371"/>
                  <a:pt x="709" y="372"/>
                </a:cubicBezTo>
                <a:cubicBezTo>
                  <a:pt x="708" y="373"/>
                  <a:pt x="711" y="375"/>
                  <a:pt x="711" y="375"/>
                </a:cubicBezTo>
                <a:cubicBezTo>
                  <a:pt x="708" y="374"/>
                  <a:pt x="708" y="374"/>
                  <a:pt x="708" y="374"/>
                </a:cubicBezTo>
                <a:cubicBezTo>
                  <a:pt x="708" y="374"/>
                  <a:pt x="708" y="376"/>
                  <a:pt x="707" y="378"/>
                </a:cubicBezTo>
                <a:cubicBezTo>
                  <a:pt x="705" y="379"/>
                  <a:pt x="705" y="378"/>
                  <a:pt x="701" y="376"/>
                </a:cubicBezTo>
                <a:cubicBezTo>
                  <a:pt x="697" y="374"/>
                  <a:pt x="698" y="370"/>
                  <a:pt x="698" y="370"/>
                </a:cubicBezTo>
                <a:cubicBezTo>
                  <a:pt x="696" y="369"/>
                  <a:pt x="696" y="369"/>
                  <a:pt x="696" y="369"/>
                </a:cubicBezTo>
                <a:cubicBezTo>
                  <a:pt x="696" y="371"/>
                  <a:pt x="696" y="371"/>
                  <a:pt x="696" y="371"/>
                </a:cubicBezTo>
                <a:cubicBezTo>
                  <a:pt x="696" y="371"/>
                  <a:pt x="698" y="374"/>
                  <a:pt x="696" y="377"/>
                </a:cubicBezTo>
                <a:cubicBezTo>
                  <a:pt x="695" y="380"/>
                  <a:pt x="691" y="381"/>
                  <a:pt x="689" y="383"/>
                </a:cubicBezTo>
                <a:cubicBezTo>
                  <a:pt x="687" y="386"/>
                  <a:pt x="687" y="389"/>
                  <a:pt x="685" y="391"/>
                </a:cubicBezTo>
                <a:cubicBezTo>
                  <a:pt x="684" y="392"/>
                  <a:pt x="680" y="394"/>
                  <a:pt x="679" y="393"/>
                </a:cubicBezTo>
                <a:cubicBezTo>
                  <a:pt x="679" y="393"/>
                  <a:pt x="678" y="393"/>
                  <a:pt x="678" y="393"/>
                </a:cubicBezTo>
                <a:cubicBezTo>
                  <a:pt x="677" y="391"/>
                  <a:pt x="680" y="385"/>
                  <a:pt x="680" y="384"/>
                </a:cubicBezTo>
                <a:cubicBezTo>
                  <a:pt x="679" y="382"/>
                  <a:pt x="676" y="383"/>
                  <a:pt x="675" y="384"/>
                </a:cubicBezTo>
                <a:cubicBezTo>
                  <a:pt x="674" y="386"/>
                  <a:pt x="668" y="389"/>
                  <a:pt x="667" y="387"/>
                </a:cubicBezTo>
                <a:cubicBezTo>
                  <a:pt x="667" y="385"/>
                  <a:pt x="672" y="382"/>
                  <a:pt x="673" y="381"/>
                </a:cubicBezTo>
                <a:cubicBezTo>
                  <a:pt x="673" y="380"/>
                  <a:pt x="676" y="380"/>
                  <a:pt x="678" y="378"/>
                </a:cubicBezTo>
                <a:cubicBezTo>
                  <a:pt x="680" y="377"/>
                  <a:pt x="678" y="372"/>
                  <a:pt x="678" y="372"/>
                </a:cubicBezTo>
                <a:cubicBezTo>
                  <a:pt x="678" y="372"/>
                  <a:pt x="678" y="373"/>
                  <a:pt x="680" y="370"/>
                </a:cubicBezTo>
                <a:cubicBezTo>
                  <a:pt x="682" y="366"/>
                  <a:pt x="678" y="368"/>
                  <a:pt x="676" y="366"/>
                </a:cubicBezTo>
                <a:cubicBezTo>
                  <a:pt x="674" y="365"/>
                  <a:pt x="674" y="364"/>
                  <a:pt x="674" y="364"/>
                </a:cubicBezTo>
                <a:cubicBezTo>
                  <a:pt x="674" y="364"/>
                  <a:pt x="673" y="365"/>
                  <a:pt x="672" y="364"/>
                </a:cubicBezTo>
                <a:cubicBezTo>
                  <a:pt x="671" y="363"/>
                  <a:pt x="672" y="361"/>
                  <a:pt x="672" y="361"/>
                </a:cubicBezTo>
                <a:cubicBezTo>
                  <a:pt x="677" y="362"/>
                  <a:pt x="677" y="362"/>
                  <a:pt x="677" y="362"/>
                </a:cubicBezTo>
                <a:cubicBezTo>
                  <a:pt x="677" y="362"/>
                  <a:pt x="678" y="361"/>
                  <a:pt x="678" y="359"/>
                </a:cubicBezTo>
                <a:cubicBezTo>
                  <a:pt x="677" y="359"/>
                  <a:pt x="678" y="359"/>
                  <a:pt x="679" y="359"/>
                </a:cubicBezTo>
                <a:cubicBezTo>
                  <a:pt x="681" y="359"/>
                  <a:pt x="682" y="359"/>
                  <a:pt x="683" y="359"/>
                </a:cubicBezTo>
                <a:close/>
                <a:moveTo>
                  <a:pt x="630" y="343"/>
                </a:moveTo>
                <a:cubicBezTo>
                  <a:pt x="632" y="342"/>
                  <a:pt x="635" y="341"/>
                  <a:pt x="639" y="340"/>
                </a:cubicBezTo>
                <a:cubicBezTo>
                  <a:pt x="640" y="340"/>
                  <a:pt x="641" y="339"/>
                  <a:pt x="642" y="339"/>
                </a:cubicBezTo>
                <a:cubicBezTo>
                  <a:pt x="644" y="337"/>
                  <a:pt x="646" y="334"/>
                  <a:pt x="646" y="334"/>
                </a:cubicBezTo>
                <a:cubicBezTo>
                  <a:pt x="646" y="333"/>
                  <a:pt x="650" y="335"/>
                  <a:pt x="650" y="335"/>
                </a:cubicBezTo>
                <a:cubicBezTo>
                  <a:pt x="652" y="333"/>
                  <a:pt x="652" y="333"/>
                  <a:pt x="652" y="333"/>
                </a:cubicBezTo>
                <a:cubicBezTo>
                  <a:pt x="652" y="333"/>
                  <a:pt x="653" y="331"/>
                  <a:pt x="654" y="330"/>
                </a:cubicBezTo>
                <a:cubicBezTo>
                  <a:pt x="654" y="330"/>
                  <a:pt x="655" y="332"/>
                  <a:pt x="655" y="332"/>
                </a:cubicBezTo>
                <a:cubicBezTo>
                  <a:pt x="659" y="332"/>
                  <a:pt x="659" y="332"/>
                  <a:pt x="659" y="332"/>
                </a:cubicBezTo>
                <a:cubicBezTo>
                  <a:pt x="659" y="332"/>
                  <a:pt x="657" y="330"/>
                  <a:pt x="659" y="328"/>
                </a:cubicBezTo>
                <a:cubicBezTo>
                  <a:pt x="661" y="327"/>
                  <a:pt x="663" y="330"/>
                  <a:pt x="663" y="330"/>
                </a:cubicBezTo>
                <a:cubicBezTo>
                  <a:pt x="667" y="330"/>
                  <a:pt x="667" y="330"/>
                  <a:pt x="667" y="330"/>
                </a:cubicBezTo>
                <a:cubicBezTo>
                  <a:pt x="667" y="331"/>
                  <a:pt x="667" y="331"/>
                  <a:pt x="667" y="331"/>
                </a:cubicBezTo>
                <a:cubicBezTo>
                  <a:pt x="667" y="331"/>
                  <a:pt x="672" y="331"/>
                  <a:pt x="673" y="332"/>
                </a:cubicBezTo>
                <a:cubicBezTo>
                  <a:pt x="674" y="333"/>
                  <a:pt x="671" y="338"/>
                  <a:pt x="671" y="338"/>
                </a:cubicBezTo>
                <a:cubicBezTo>
                  <a:pt x="673" y="340"/>
                  <a:pt x="673" y="340"/>
                  <a:pt x="673" y="340"/>
                </a:cubicBezTo>
                <a:cubicBezTo>
                  <a:pt x="671" y="343"/>
                  <a:pt x="671" y="343"/>
                  <a:pt x="671" y="343"/>
                </a:cubicBezTo>
                <a:cubicBezTo>
                  <a:pt x="671" y="343"/>
                  <a:pt x="680" y="338"/>
                  <a:pt x="682" y="340"/>
                </a:cubicBezTo>
                <a:cubicBezTo>
                  <a:pt x="684" y="341"/>
                  <a:pt x="678" y="343"/>
                  <a:pt x="678" y="344"/>
                </a:cubicBezTo>
                <a:cubicBezTo>
                  <a:pt x="678" y="345"/>
                  <a:pt x="681" y="346"/>
                  <a:pt x="681" y="347"/>
                </a:cubicBezTo>
                <a:cubicBezTo>
                  <a:pt x="681" y="348"/>
                  <a:pt x="678" y="349"/>
                  <a:pt x="678" y="350"/>
                </a:cubicBezTo>
                <a:cubicBezTo>
                  <a:pt x="678" y="351"/>
                  <a:pt x="680" y="351"/>
                  <a:pt x="680" y="352"/>
                </a:cubicBezTo>
                <a:cubicBezTo>
                  <a:pt x="679" y="354"/>
                  <a:pt x="678" y="354"/>
                  <a:pt x="678" y="354"/>
                </a:cubicBezTo>
                <a:cubicBezTo>
                  <a:pt x="677" y="355"/>
                  <a:pt x="677" y="355"/>
                  <a:pt x="677" y="355"/>
                </a:cubicBezTo>
                <a:cubicBezTo>
                  <a:pt x="677" y="357"/>
                  <a:pt x="677" y="357"/>
                  <a:pt x="677" y="357"/>
                </a:cubicBezTo>
                <a:cubicBezTo>
                  <a:pt x="674" y="356"/>
                  <a:pt x="674" y="356"/>
                  <a:pt x="674" y="356"/>
                </a:cubicBezTo>
                <a:cubicBezTo>
                  <a:pt x="673" y="353"/>
                  <a:pt x="673" y="353"/>
                  <a:pt x="673" y="353"/>
                </a:cubicBezTo>
                <a:cubicBezTo>
                  <a:pt x="672" y="353"/>
                  <a:pt x="672" y="353"/>
                  <a:pt x="672" y="353"/>
                </a:cubicBezTo>
                <a:cubicBezTo>
                  <a:pt x="669" y="354"/>
                  <a:pt x="669" y="354"/>
                  <a:pt x="669" y="354"/>
                </a:cubicBezTo>
                <a:cubicBezTo>
                  <a:pt x="662" y="354"/>
                  <a:pt x="662" y="354"/>
                  <a:pt x="662" y="354"/>
                </a:cubicBezTo>
                <a:cubicBezTo>
                  <a:pt x="662" y="354"/>
                  <a:pt x="659" y="356"/>
                  <a:pt x="655" y="356"/>
                </a:cubicBezTo>
                <a:cubicBezTo>
                  <a:pt x="650" y="355"/>
                  <a:pt x="651" y="352"/>
                  <a:pt x="650" y="351"/>
                </a:cubicBezTo>
                <a:cubicBezTo>
                  <a:pt x="650" y="350"/>
                  <a:pt x="645" y="352"/>
                  <a:pt x="645" y="351"/>
                </a:cubicBezTo>
                <a:cubicBezTo>
                  <a:pt x="653" y="346"/>
                  <a:pt x="653" y="346"/>
                  <a:pt x="653" y="346"/>
                </a:cubicBezTo>
                <a:cubicBezTo>
                  <a:pt x="653" y="346"/>
                  <a:pt x="651" y="345"/>
                  <a:pt x="650" y="345"/>
                </a:cubicBezTo>
                <a:cubicBezTo>
                  <a:pt x="649" y="345"/>
                  <a:pt x="646" y="348"/>
                  <a:pt x="645" y="348"/>
                </a:cubicBezTo>
                <a:cubicBezTo>
                  <a:pt x="644" y="348"/>
                  <a:pt x="639" y="351"/>
                  <a:pt x="636" y="352"/>
                </a:cubicBezTo>
                <a:cubicBezTo>
                  <a:pt x="634" y="353"/>
                  <a:pt x="630" y="352"/>
                  <a:pt x="630" y="352"/>
                </a:cubicBezTo>
                <a:cubicBezTo>
                  <a:pt x="629" y="354"/>
                  <a:pt x="629" y="354"/>
                  <a:pt x="629" y="354"/>
                </a:cubicBezTo>
                <a:cubicBezTo>
                  <a:pt x="629" y="354"/>
                  <a:pt x="624" y="355"/>
                  <a:pt x="622" y="354"/>
                </a:cubicBezTo>
                <a:cubicBezTo>
                  <a:pt x="620" y="354"/>
                  <a:pt x="625" y="351"/>
                  <a:pt x="625" y="351"/>
                </a:cubicBezTo>
                <a:cubicBezTo>
                  <a:pt x="625" y="351"/>
                  <a:pt x="623" y="351"/>
                  <a:pt x="619" y="352"/>
                </a:cubicBezTo>
                <a:cubicBezTo>
                  <a:pt x="615" y="352"/>
                  <a:pt x="615" y="354"/>
                  <a:pt x="611" y="353"/>
                </a:cubicBezTo>
                <a:cubicBezTo>
                  <a:pt x="608" y="352"/>
                  <a:pt x="627" y="345"/>
                  <a:pt x="630" y="343"/>
                </a:cubicBezTo>
                <a:close/>
                <a:moveTo>
                  <a:pt x="599" y="275"/>
                </a:moveTo>
                <a:cubicBezTo>
                  <a:pt x="601" y="275"/>
                  <a:pt x="601" y="276"/>
                  <a:pt x="602" y="276"/>
                </a:cubicBezTo>
                <a:cubicBezTo>
                  <a:pt x="603" y="276"/>
                  <a:pt x="605" y="276"/>
                  <a:pt x="607" y="279"/>
                </a:cubicBezTo>
                <a:cubicBezTo>
                  <a:pt x="608" y="283"/>
                  <a:pt x="604" y="286"/>
                  <a:pt x="604" y="286"/>
                </a:cubicBezTo>
                <a:cubicBezTo>
                  <a:pt x="604" y="286"/>
                  <a:pt x="603" y="292"/>
                  <a:pt x="604" y="294"/>
                </a:cubicBezTo>
                <a:cubicBezTo>
                  <a:pt x="604" y="296"/>
                  <a:pt x="603" y="298"/>
                  <a:pt x="602" y="299"/>
                </a:cubicBezTo>
                <a:cubicBezTo>
                  <a:pt x="601" y="300"/>
                  <a:pt x="603" y="300"/>
                  <a:pt x="604" y="303"/>
                </a:cubicBezTo>
                <a:cubicBezTo>
                  <a:pt x="604" y="305"/>
                  <a:pt x="599" y="311"/>
                  <a:pt x="599" y="311"/>
                </a:cubicBezTo>
                <a:cubicBezTo>
                  <a:pt x="596" y="310"/>
                  <a:pt x="596" y="310"/>
                  <a:pt x="596" y="310"/>
                </a:cubicBezTo>
                <a:cubicBezTo>
                  <a:pt x="596" y="310"/>
                  <a:pt x="596" y="314"/>
                  <a:pt x="592" y="313"/>
                </a:cubicBezTo>
                <a:cubicBezTo>
                  <a:pt x="589" y="312"/>
                  <a:pt x="600" y="302"/>
                  <a:pt x="600" y="300"/>
                </a:cubicBezTo>
                <a:cubicBezTo>
                  <a:pt x="600" y="297"/>
                  <a:pt x="596" y="301"/>
                  <a:pt x="596" y="301"/>
                </a:cubicBezTo>
                <a:cubicBezTo>
                  <a:pt x="599" y="297"/>
                  <a:pt x="599" y="297"/>
                  <a:pt x="599" y="297"/>
                </a:cubicBezTo>
                <a:cubicBezTo>
                  <a:pt x="599" y="297"/>
                  <a:pt x="599" y="294"/>
                  <a:pt x="597" y="294"/>
                </a:cubicBezTo>
                <a:cubicBezTo>
                  <a:pt x="595" y="293"/>
                  <a:pt x="596" y="297"/>
                  <a:pt x="593" y="297"/>
                </a:cubicBezTo>
                <a:cubicBezTo>
                  <a:pt x="591" y="297"/>
                  <a:pt x="593" y="291"/>
                  <a:pt x="593" y="291"/>
                </a:cubicBezTo>
                <a:cubicBezTo>
                  <a:pt x="593" y="291"/>
                  <a:pt x="591" y="289"/>
                  <a:pt x="591" y="288"/>
                </a:cubicBezTo>
                <a:cubicBezTo>
                  <a:pt x="591" y="286"/>
                  <a:pt x="596" y="286"/>
                  <a:pt x="596" y="284"/>
                </a:cubicBezTo>
                <a:cubicBezTo>
                  <a:pt x="596" y="283"/>
                  <a:pt x="592" y="285"/>
                  <a:pt x="591" y="283"/>
                </a:cubicBezTo>
                <a:cubicBezTo>
                  <a:pt x="591" y="283"/>
                  <a:pt x="597" y="276"/>
                  <a:pt x="599" y="275"/>
                </a:cubicBezTo>
                <a:close/>
                <a:moveTo>
                  <a:pt x="581" y="181"/>
                </a:moveTo>
                <a:cubicBezTo>
                  <a:pt x="585" y="181"/>
                  <a:pt x="593" y="182"/>
                  <a:pt x="592" y="183"/>
                </a:cubicBezTo>
                <a:cubicBezTo>
                  <a:pt x="591" y="184"/>
                  <a:pt x="587" y="186"/>
                  <a:pt x="587" y="185"/>
                </a:cubicBezTo>
                <a:cubicBezTo>
                  <a:pt x="587" y="185"/>
                  <a:pt x="585" y="182"/>
                  <a:pt x="584" y="183"/>
                </a:cubicBezTo>
                <a:cubicBezTo>
                  <a:pt x="583" y="185"/>
                  <a:pt x="583" y="186"/>
                  <a:pt x="583" y="186"/>
                </a:cubicBezTo>
                <a:cubicBezTo>
                  <a:pt x="583" y="186"/>
                  <a:pt x="580" y="184"/>
                  <a:pt x="579" y="185"/>
                </a:cubicBezTo>
                <a:cubicBezTo>
                  <a:pt x="578" y="185"/>
                  <a:pt x="578" y="187"/>
                  <a:pt x="578" y="187"/>
                </a:cubicBezTo>
                <a:cubicBezTo>
                  <a:pt x="575" y="187"/>
                  <a:pt x="575" y="187"/>
                  <a:pt x="575" y="187"/>
                </a:cubicBezTo>
                <a:cubicBezTo>
                  <a:pt x="575" y="187"/>
                  <a:pt x="572" y="186"/>
                  <a:pt x="569" y="188"/>
                </a:cubicBezTo>
                <a:cubicBezTo>
                  <a:pt x="566" y="190"/>
                  <a:pt x="560" y="194"/>
                  <a:pt x="557" y="195"/>
                </a:cubicBezTo>
                <a:cubicBezTo>
                  <a:pt x="554" y="196"/>
                  <a:pt x="550" y="197"/>
                  <a:pt x="550" y="197"/>
                </a:cubicBezTo>
                <a:cubicBezTo>
                  <a:pt x="550" y="197"/>
                  <a:pt x="544" y="195"/>
                  <a:pt x="542" y="197"/>
                </a:cubicBezTo>
                <a:cubicBezTo>
                  <a:pt x="540" y="199"/>
                  <a:pt x="539" y="201"/>
                  <a:pt x="539" y="201"/>
                </a:cubicBezTo>
                <a:cubicBezTo>
                  <a:pt x="533" y="201"/>
                  <a:pt x="533" y="201"/>
                  <a:pt x="533" y="201"/>
                </a:cubicBezTo>
                <a:cubicBezTo>
                  <a:pt x="532" y="202"/>
                  <a:pt x="532" y="202"/>
                  <a:pt x="532" y="202"/>
                </a:cubicBezTo>
                <a:cubicBezTo>
                  <a:pt x="532" y="202"/>
                  <a:pt x="529" y="202"/>
                  <a:pt x="527" y="202"/>
                </a:cubicBezTo>
                <a:cubicBezTo>
                  <a:pt x="526" y="202"/>
                  <a:pt x="522" y="203"/>
                  <a:pt x="520" y="203"/>
                </a:cubicBezTo>
                <a:cubicBezTo>
                  <a:pt x="519" y="203"/>
                  <a:pt x="517" y="201"/>
                  <a:pt x="516" y="201"/>
                </a:cubicBezTo>
                <a:cubicBezTo>
                  <a:pt x="515" y="201"/>
                  <a:pt x="512" y="201"/>
                  <a:pt x="512" y="200"/>
                </a:cubicBezTo>
                <a:cubicBezTo>
                  <a:pt x="512" y="199"/>
                  <a:pt x="516" y="199"/>
                  <a:pt x="516" y="199"/>
                </a:cubicBezTo>
                <a:cubicBezTo>
                  <a:pt x="516" y="199"/>
                  <a:pt x="518" y="197"/>
                  <a:pt x="519" y="197"/>
                </a:cubicBezTo>
                <a:cubicBezTo>
                  <a:pt x="519" y="197"/>
                  <a:pt x="521" y="199"/>
                  <a:pt x="523" y="199"/>
                </a:cubicBezTo>
                <a:cubicBezTo>
                  <a:pt x="525" y="199"/>
                  <a:pt x="525" y="197"/>
                  <a:pt x="525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7"/>
                  <a:pt x="530" y="193"/>
                  <a:pt x="532" y="193"/>
                </a:cubicBezTo>
                <a:cubicBezTo>
                  <a:pt x="534" y="193"/>
                  <a:pt x="534" y="195"/>
                  <a:pt x="538" y="193"/>
                </a:cubicBezTo>
                <a:cubicBezTo>
                  <a:pt x="542" y="192"/>
                  <a:pt x="539" y="187"/>
                  <a:pt x="539" y="187"/>
                </a:cubicBezTo>
                <a:cubicBezTo>
                  <a:pt x="539" y="187"/>
                  <a:pt x="534" y="184"/>
                  <a:pt x="537" y="183"/>
                </a:cubicBezTo>
                <a:cubicBezTo>
                  <a:pt x="538" y="183"/>
                  <a:pt x="540" y="185"/>
                  <a:pt x="540" y="185"/>
                </a:cubicBezTo>
                <a:cubicBezTo>
                  <a:pt x="542" y="185"/>
                  <a:pt x="542" y="185"/>
                  <a:pt x="542" y="185"/>
                </a:cubicBezTo>
                <a:cubicBezTo>
                  <a:pt x="544" y="187"/>
                  <a:pt x="544" y="187"/>
                  <a:pt x="544" y="187"/>
                </a:cubicBezTo>
                <a:cubicBezTo>
                  <a:pt x="544" y="187"/>
                  <a:pt x="547" y="187"/>
                  <a:pt x="548" y="188"/>
                </a:cubicBezTo>
                <a:cubicBezTo>
                  <a:pt x="549" y="188"/>
                  <a:pt x="546" y="192"/>
                  <a:pt x="551" y="191"/>
                </a:cubicBezTo>
                <a:cubicBezTo>
                  <a:pt x="556" y="191"/>
                  <a:pt x="556" y="190"/>
                  <a:pt x="556" y="190"/>
                </a:cubicBezTo>
                <a:cubicBezTo>
                  <a:pt x="558" y="190"/>
                  <a:pt x="558" y="190"/>
                  <a:pt x="558" y="190"/>
                </a:cubicBezTo>
                <a:cubicBezTo>
                  <a:pt x="558" y="190"/>
                  <a:pt x="567" y="187"/>
                  <a:pt x="570" y="185"/>
                </a:cubicBezTo>
                <a:cubicBezTo>
                  <a:pt x="573" y="183"/>
                  <a:pt x="577" y="182"/>
                  <a:pt x="581" y="181"/>
                </a:cubicBezTo>
                <a:close/>
                <a:moveTo>
                  <a:pt x="511" y="147"/>
                </a:moveTo>
                <a:cubicBezTo>
                  <a:pt x="513" y="146"/>
                  <a:pt x="515" y="147"/>
                  <a:pt x="518" y="147"/>
                </a:cubicBezTo>
                <a:cubicBezTo>
                  <a:pt x="520" y="147"/>
                  <a:pt x="519" y="145"/>
                  <a:pt x="519" y="145"/>
                </a:cubicBezTo>
                <a:cubicBezTo>
                  <a:pt x="534" y="144"/>
                  <a:pt x="534" y="144"/>
                  <a:pt x="534" y="144"/>
                </a:cubicBezTo>
                <a:cubicBezTo>
                  <a:pt x="534" y="144"/>
                  <a:pt x="541" y="142"/>
                  <a:pt x="544" y="142"/>
                </a:cubicBezTo>
                <a:cubicBezTo>
                  <a:pt x="547" y="141"/>
                  <a:pt x="549" y="143"/>
                  <a:pt x="549" y="143"/>
                </a:cubicBezTo>
                <a:cubicBezTo>
                  <a:pt x="549" y="143"/>
                  <a:pt x="549" y="142"/>
                  <a:pt x="551" y="141"/>
                </a:cubicBezTo>
                <a:cubicBezTo>
                  <a:pt x="552" y="140"/>
                  <a:pt x="557" y="142"/>
                  <a:pt x="557" y="142"/>
                </a:cubicBezTo>
                <a:cubicBezTo>
                  <a:pt x="557" y="142"/>
                  <a:pt x="552" y="144"/>
                  <a:pt x="550" y="144"/>
                </a:cubicBezTo>
                <a:cubicBezTo>
                  <a:pt x="549" y="145"/>
                  <a:pt x="542" y="146"/>
                  <a:pt x="542" y="146"/>
                </a:cubicBezTo>
                <a:cubicBezTo>
                  <a:pt x="541" y="147"/>
                  <a:pt x="541" y="147"/>
                  <a:pt x="541" y="147"/>
                </a:cubicBezTo>
                <a:cubicBezTo>
                  <a:pt x="545" y="147"/>
                  <a:pt x="545" y="147"/>
                  <a:pt x="545" y="147"/>
                </a:cubicBezTo>
                <a:cubicBezTo>
                  <a:pt x="545" y="147"/>
                  <a:pt x="547" y="148"/>
                  <a:pt x="548" y="148"/>
                </a:cubicBezTo>
                <a:cubicBezTo>
                  <a:pt x="549" y="148"/>
                  <a:pt x="554" y="147"/>
                  <a:pt x="557" y="147"/>
                </a:cubicBezTo>
                <a:cubicBezTo>
                  <a:pt x="560" y="147"/>
                  <a:pt x="556" y="145"/>
                  <a:pt x="556" y="145"/>
                </a:cubicBezTo>
                <a:cubicBezTo>
                  <a:pt x="564" y="145"/>
                  <a:pt x="564" y="145"/>
                  <a:pt x="564" y="145"/>
                </a:cubicBezTo>
                <a:cubicBezTo>
                  <a:pt x="564" y="145"/>
                  <a:pt x="563" y="148"/>
                  <a:pt x="559" y="149"/>
                </a:cubicBezTo>
                <a:cubicBezTo>
                  <a:pt x="555" y="150"/>
                  <a:pt x="552" y="152"/>
                  <a:pt x="552" y="152"/>
                </a:cubicBezTo>
                <a:cubicBezTo>
                  <a:pt x="552" y="152"/>
                  <a:pt x="552" y="154"/>
                  <a:pt x="550" y="154"/>
                </a:cubicBezTo>
                <a:cubicBezTo>
                  <a:pt x="549" y="155"/>
                  <a:pt x="544" y="153"/>
                  <a:pt x="544" y="153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39" y="154"/>
                  <a:pt x="539" y="154"/>
                  <a:pt x="539" y="154"/>
                </a:cubicBezTo>
                <a:cubicBezTo>
                  <a:pt x="539" y="154"/>
                  <a:pt x="537" y="153"/>
                  <a:pt x="536" y="154"/>
                </a:cubicBezTo>
                <a:cubicBezTo>
                  <a:pt x="535" y="156"/>
                  <a:pt x="537" y="157"/>
                  <a:pt x="537" y="157"/>
                </a:cubicBezTo>
                <a:cubicBezTo>
                  <a:pt x="533" y="158"/>
                  <a:pt x="533" y="158"/>
                  <a:pt x="533" y="158"/>
                </a:cubicBezTo>
                <a:cubicBezTo>
                  <a:pt x="533" y="158"/>
                  <a:pt x="530" y="160"/>
                  <a:pt x="529" y="160"/>
                </a:cubicBezTo>
                <a:cubicBezTo>
                  <a:pt x="528" y="160"/>
                  <a:pt x="519" y="163"/>
                  <a:pt x="517" y="162"/>
                </a:cubicBezTo>
                <a:cubicBezTo>
                  <a:pt x="515" y="161"/>
                  <a:pt x="523" y="160"/>
                  <a:pt x="526" y="159"/>
                </a:cubicBezTo>
                <a:cubicBezTo>
                  <a:pt x="529" y="158"/>
                  <a:pt x="534" y="155"/>
                  <a:pt x="531" y="154"/>
                </a:cubicBezTo>
                <a:cubicBezTo>
                  <a:pt x="528" y="154"/>
                  <a:pt x="518" y="160"/>
                  <a:pt x="515" y="160"/>
                </a:cubicBezTo>
                <a:cubicBezTo>
                  <a:pt x="512" y="161"/>
                  <a:pt x="507" y="160"/>
                  <a:pt x="505" y="159"/>
                </a:cubicBezTo>
                <a:cubicBezTo>
                  <a:pt x="503" y="158"/>
                  <a:pt x="511" y="158"/>
                  <a:pt x="513" y="157"/>
                </a:cubicBezTo>
                <a:cubicBezTo>
                  <a:pt x="514" y="156"/>
                  <a:pt x="520" y="153"/>
                  <a:pt x="520" y="153"/>
                </a:cubicBezTo>
                <a:cubicBezTo>
                  <a:pt x="520" y="153"/>
                  <a:pt x="519" y="152"/>
                  <a:pt x="520" y="151"/>
                </a:cubicBezTo>
                <a:cubicBezTo>
                  <a:pt x="522" y="151"/>
                  <a:pt x="525" y="152"/>
                  <a:pt x="530" y="151"/>
                </a:cubicBezTo>
                <a:cubicBezTo>
                  <a:pt x="535" y="150"/>
                  <a:pt x="530" y="147"/>
                  <a:pt x="526" y="147"/>
                </a:cubicBezTo>
                <a:cubicBezTo>
                  <a:pt x="522" y="147"/>
                  <a:pt x="521" y="149"/>
                  <a:pt x="519" y="150"/>
                </a:cubicBezTo>
                <a:cubicBezTo>
                  <a:pt x="517" y="151"/>
                  <a:pt x="517" y="149"/>
                  <a:pt x="517" y="149"/>
                </a:cubicBezTo>
                <a:cubicBezTo>
                  <a:pt x="514" y="150"/>
                  <a:pt x="514" y="150"/>
                  <a:pt x="514" y="150"/>
                </a:cubicBezTo>
                <a:cubicBezTo>
                  <a:pt x="510" y="149"/>
                  <a:pt x="510" y="149"/>
                  <a:pt x="510" y="149"/>
                </a:cubicBezTo>
                <a:cubicBezTo>
                  <a:pt x="510" y="149"/>
                  <a:pt x="505" y="151"/>
                  <a:pt x="503" y="151"/>
                </a:cubicBezTo>
                <a:cubicBezTo>
                  <a:pt x="501" y="150"/>
                  <a:pt x="509" y="148"/>
                  <a:pt x="511" y="147"/>
                </a:cubicBezTo>
                <a:close/>
                <a:moveTo>
                  <a:pt x="573" y="754"/>
                </a:moveTo>
                <a:cubicBezTo>
                  <a:pt x="573" y="754"/>
                  <a:pt x="569" y="752"/>
                  <a:pt x="568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1"/>
                  <a:pt x="564" y="750"/>
                  <a:pt x="565" y="749"/>
                </a:cubicBezTo>
                <a:cubicBezTo>
                  <a:pt x="566" y="749"/>
                  <a:pt x="569" y="750"/>
                  <a:pt x="568" y="748"/>
                </a:cubicBezTo>
                <a:cubicBezTo>
                  <a:pt x="567" y="747"/>
                  <a:pt x="567" y="747"/>
                  <a:pt x="567" y="747"/>
                </a:cubicBezTo>
                <a:cubicBezTo>
                  <a:pt x="567" y="747"/>
                  <a:pt x="564" y="748"/>
                  <a:pt x="564" y="747"/>
                </a:cubicBezTo>
                <a:cubicBezTo>
                  <a:pt x="564" y="747"/>
                  <a:pt x="563" y="741"/>
                  <a:pt x="564" y="741"/>
                </a:cubicBezTo>
                <a:cubicBezTo>
                  <a:pt x="566" y="742"/>
                  <a:pt x="573" y="747"/>
                  <a:pt x="574" y="749"/>
                </a:cubicBezTo>
                <a:cubicBezTo>
                  <a:pt x="574" y="750"/>
                  <a:pt x="575" y="752"/>
                  <a:pt x="575" y="753"/>
                </a:cubicBezTo>
                <a:cubicBezTo>
                  <a:pt x="575" y="753"/>
                  <a:pt x="575" y="753"/>
                  <a:pt x="575" y="753"/>
                </a:cubicBezTo>
                <a:cubicBezTo>
                  <a:pt x="573" y="753"/>
                  <a:pt x="573" y="754"/>
                  <a:pt x="573" y="754"/>
                </a:cubicBezTo>
                <a:close/>
                <a:moveTo>
                  <a:pt x="737" y="1064"/>
                </a:moveTo>
                <a:cubicBezTo>
                  <a:pt x="736" y="1063"/>
                  <a:pt x="736" y="1063"/>
                  <a:pt x="736" y="1063"/>
                </a:cubicBezTo>
                <a:cubicBezTo>
                  <a:pt x="734" y="1061"/>
                  <a:pt x="734" y="1061"/>
                  <a:pt x="734" y="1061"/>
                </a:cubicBezTo>
                <a:cubicBezTo>
                  <a:pt x="734" y="1061"/>
                  <a:pt x="732" y="1060"/>
                  <a:pt x="730" y="1059"/>
                </a:cubicBezTo>
                <a:cubicBezTo>
                  <a:pt x="729" y="1058"/>
                  <a:pt x="728" y="1056"/>
                  <a:pt x="728" y="1056"/>
                </a:cubicBezTo>
                <a:cubicBezTo>
                  <a:pt x="728" y="1056"/>
                  <a:pt x="725" y="1057"/>
                  <a:pt x="724" y="1056"/>
                </a:cubicBezTo>
                <a:cubicBezTo>
                  <a:pt x="725" y="1053"/>
                  <a:pt x="725" y="1053"/>
                  <a:pt x="725" y="1053"/>
                </a:cubicBezTo>
                <a:cubicBezTo>
                  <a:pt x="725" y="1053"/>
                  <a:pt x="725" y="1049"/>
                  <a:pt x="726" y="1049"/>
                </a:cubicBezTo>
                <a:cubicBezTo>
                  <a:pt x="726" y="1048"/>
                  <a:pt x="729" y="1051"/>
                  <a:pt x="731" y="1052"/>
                </a:cubicBezTo>
                <a:cubicBezTo>
                  <a:pt x="732" y="1053"/>
                  <a:pt x="733" y="1054"/>
                  <a:pt x="733" y="1054"/>
                </a:cubicBezTo>
                <a:cubicBezTo>
                  <a:pt x="736" y="1057"/>
                  <a:pt x="736" y="1057"/>
                  <a:pt x="736" y="1057"/>
                </a:cubicBezTo>
                <a:cubicBezTo>
                  <a:pt x="736" y="1059"/>
                  <a:pt x="736" y="1059"/>
                  <a:pt x="736" y="1059"/>
                </a:cubicBezTo>
                <a:cubicBezTo>
                  <a:pt x="739" y="1061"/>
                  <a:pt x="739" y="1061"/>
                  <a:pt x="739" y="1061"/>
                </a:cubicBezTo>
                <a:cubicBezTo>
                  <a:pt x="737" y="1064"/>
                  <a:pt x="737" y="1064"/>
                  <a:pt x="737" y="1064"/>
                </a:cubicBezTo>
                <a:cubicBezTo>
                  <a:pt x="737" y="1064"/>
                  <a:pt x="737" y="1064"/>
                  <a:pt x="737" y="1064"/>
                </a:cubicBezTo>
                <a:close/>
                <a:moveTo>
                  <a:pt x="718" y="743"/>
                </a:moveTo>
                <a:cubicBezTo>
                  <a:pt x="718" y="744"/>
                  <a:pt x="719" y="747"/>
                  <a:pt x="719" y="747"/>
                </a:cubicBezTo>
                <a:cubicBezTo>
                  <a:pt x="723" y="747"/>
                  <a:pt x="723" y="747"/>
                  <a:pt x="723" y="747"/>
                </a:cubicBezTo>
                <a:cubicBezTo>
                  <a:pt x="723" y="747"/>
                  <a:pt x="724" y="741"/>
                  <a:pt x="722" y="740"/>
                </a:cubicBezTo>
                <a:cubicBezTo>
                  <a:pt x="719" y="740"/>
                  <a:pt x="718" y="741"/>
                  <a:pt x="718" y="743"/>
                </a:cubicBezTo>
                <a:close/>
                <a:moveTo>
                  <a:pt x="614" y="912"/>
                </a:moveTo>
                <a:cubicBezTo>
                  <a:pt x="617" y="911"/>
                  <a:pt x="618" y="907"/>
                  <a:pt x="616" y="907"/>
                </a:cubicBezTo>
                <a:cubicBezTo>
                  <a:pt x="614" y="908"/>
                  <a:pt x="613" y="912"/>
                  <a:pt x="614" y="912"/>
                </a:cubicBezTo>
                <a:close/>
                <a:moveTo>
                  <a:pt x="757" y="1376"/>
                </a:moveTo>
                <a:cubicBezTo>
                  <a:pt x="754" y="1376"/>
                  <a:pt x="754" y="1376"/>
                  <a:pt x="754" y="1376"/>
                </a:cubicBezTo>
                <a:cubicBezTo>
                  <a:pt x="755" y="1379"/>
                  <a:pt x="755" y="1379"/>
                  <a:pt x="755" y="1379"/>
                </a:cubicBezTo>
                <a:cubicBezTo>
                  <a:pt x="757" y="1376"/>
                  <a:pt x="757" y="1376"/>
                  <a:pt x="757" y="1376"/>
                </a:cubicBezTo>
                <a:cubicBezTo>
                  <a:pt x="757" y="1376"/>
                  <a:pt x="757" y="1376"/>
                  <a:pt x="757" y="1376"/>
                </a:cubicBezTo>
                <a:close/>
                <a:moveTo>
                  <a:pt x="759" y="1370"/>
                </a:moveTo>
                <a:cubicBezTo>
                  <a:pt x="756" y="1372"/>
                  <a:pt x="757" y="1374"/>
                  <a:pt x="759" y="1374"/>
                </a:cubicBezTo>
                <a:cubicBezTo>
                  <a:pt x="762" y="1373"/>
                  <a:pt x="762" y="1368"/>
                  <a:pt x="759" y="1370"/>
                </a:cubicBezTo>
                <a:close/>
                <a:moveTo>
                  <a:pt x="801" y="1470"/>
                </a:moveTo>
                <a:cubicBezTo>
                  <a:pt x="796" y="1467"/>
                  <a:pt x="796" y="1467"/>
                  <a:pt x="796" y="1467"/>
                </a:cubicBezTo>
                <a:cubicBezTo>
                  <a:pt x="800" y="1471"/>
                  <a:pt x="800" y="1471"/>
                  <a:pt x="800" y="1471"/>
                </a:cubicBezTo>
                <a:cubicBezTo>
                  <a:pt x="806" y="1472"/>
                  <a:pt x="806" y="1472"/>
                  <a:pt x="806" y="1472"/>
                </a:cubicBezTo>
                <a:cubicBezTo>
                  <a:pt x="808" y="1473"/>
                  <a:pt x="808" y="1473"/>
                  <a:pt x="808" y="1473"/>
                </a:cubicBezTo>
                <a:cubicBezTo>
                  <a:pt x="806" y="1470"/>
                  <a:pt x="806" y="1470"/>
                  <a:pt x="806" y="1470"/>
                </a:cubicBezTo>
                <a:cubicBezTo>
                  <a:pt x="801" y="1470"/>
                  <a:pt x="801" y="1470"/>
                  <a:pt x="801" y="1470"/>
                </a:cubicBezTo>
                <a:cubicBezTo>
                  <a:pt x="801" y="1470"/>
                  <a:pt x="801" y="1470"/>
                  <a:pt x="801" y="1470"/>
                </a:cubicBezTo>
                <a:close/>
                <a:moveTo>
                  <a:pt x="763" y="1385"/>
                </a:moveTo>
                <a:cubicBezTo>
                  <a:pt x="763" y="1388"/>
                  <a:pt x="763" y="1388"/>
                  <a:pt x="763" y="1388"/>
                </a:cubicBezTo>
                <a:cubicBezTo>
                  <a:pt x="767" y="1390"/>
                  <a:pt x="767" y="1390"/>
                  <a:pt x="767" y="1390"/>
                </a:cubicBezTo>
                <a:cubicBezTo>
                  <a:pt x="767" y="1387"/>
                  <a:pt x="767" y="1387"/>
                  <a:pt x="767" y="1387"/>
                </a:cubicBezTo>
                <a:cubicBezTo>
                  <a:pt x="765" y="1383"/>
                  <a:pt x="765" y="1383"/>
                  <a:pt x="765" y="1383"/>
                </a:cubicBezTo>
                <a:cubicBezTo>
                  <a:pt x="760" y="1383"/>
                  <a:pt x="760" y="1383"/>
                  <a:pt x="760" y="1383"/>
                </a:cubicBezTo>
                <a:cubicBezTo>
                  <a:pt x="763" y="1385"/>
                  <a:pt x="763" y="1385"/>
                  <a:pt x="763" y="1385"/>
                </a:cubicBezTo>
                <a:cubicBezTo>
                  <a:pt x="763" y="1385"/>
                  <a:pt x="763" y="1385"/>
                  <a:pt x="763" y="1385"/>
                </a:cubicBezTo>
                <a:close/>
                <a:moveTo>
                  <a:pt x="758" y="1379"/>
                </a:moveTo>
                <a:cubicBezTo>
                  <a:pt x="759" y="1381"/>
                  <a:pt x="759" y="1381"/>
                  <a:pt x="759" y="1381"/>
                </a:cubicBezTo>
                <a:cubicBezTo>
                  <a:pt x="763" y="1381"/>
                  <a:pt x="763" y="1381"/>
                  <a:pt x="763" y="1381"/>
                </a:cubicBezTo>
                <a:cubicBezTo>
                  <a:pt x="765" y="1378"/>
                  <a:pt x="765" y="1378"/>
                  <a:pt x="765" y="1378"/>
                </a:cubicBezTo>
                <a:cubicBezTo>
                  <a:pt x="761" y="1379"/>
                  <a:pt x="761" y="1379"/>
                  <a:pt x="761" y="1379"/>
                </a:cubicBezTo>
                <a:cubicBezTo>
                  <a:pt x="758" y="1379"/>
                  <a:pt x="758" y="1379"/>
                  <a:pt x="758" y="1379"/>
                </a:cubicBezTo>
                <a:cubicBezTo>
                  <a:pt x="758" y="1379"/>
                  <a:pt x="758" y="1379"/>
                  <a:pt x="758" y="1379"/>
                </a:cubicBezTo>
                <a:close/>
                <a:moveTo>
                  <a:pt x="776" y="1436"/>
                </a:moveTo>
                <a:cubicBezTo>
                  <a:pt x="777" y="1436"/>
                  <a:pt x="777" y="1434"/>
                  <a:pt x="777" y="1434"/>
                </a:cubicBezTo>
                <a:cubicBezTo>
                  <a:pt x="782" y="1438"/>
                  <a:pt x="782" y="1438"/>
                  <a:pt x="782" y="1438"/>
                </a:cubicBezTo>
                <a:cubicBezTo>
                  <a:pt x="782" y="1435"/>
                  <a:pt x="782" y="1435"/>
                  <a:pt x="782" y="1435"/>
                </a:cubicBezTo>
                <a:cubicBezTo>
                  <a:pt x="778" y="1430"/>
                  <a:pt x="778" y="1430"/>
                  <a:pt x="778" y="1430"/>
                </a:cubicBezTo>
                <a:cubicBezTo>
                  <a:pt x="778" y="1430"/>
                  <a:pt x="774" y="1425"/>
                  <a:pt x="774" y="1423"/>
                </a:cubicBezTo>
                <a:cubicBezTo>
                  <a:pt x="774" y="1420"/>
                  <a:pt x="772" y="1418"/>
                  <a:pt x="770" y="1417"/>
                </a:cubicBezTo>
                <a:cubicBezTo>
                  <a:pt x="768" y="1416"/>
                  <a:pt x="768" y="1418"/>
                  <a:pt x="768" y="1418"/>
                </a:cubicBezTo>
                <a:cubicBezTo>
                  <a:pt x="765" y="1417"/>
                  <a:pt x="765" y="1417"/>
                  <a:pt x="765" y="1417"/>
                </a:cubicBezTo>
                <a:cubicBezTo>
                  <a:pt x="765" y="1417"/>
                  <a:pt x="762" y="1423"/>
                  <a:pt x="764" y="1423"/>
                </a:cubicBezTo>
                <a:cubicBezTo>
                  <a:pt x="766" y="1423"/>
                  <a:pt x="770" y="1423"/>
                  <a:pt x="770" y="1423"/>
                </a:cubicBezTo>
                <a:cubicBezTo>
                  <a:pt x="767" y="1428"/>
                  <a:pt x="767" y="1428"/>
                  <a:pt x="767" y="1428"/>
                </a:cubicBezTo>
                <a:cubicBezTo>
                  <a:pt x="769" y="1428"/>
                  <a:pt x="769" y="1428"/>
                  <a:pt x="769" y="1428"/>
                </a:cubicBezTo>
                <a:cubicBezTo>
                  <a:pt x="772" y="1426"/>
                  <a:pt x="772" y="1426"/>
                  <a:pt x="772" y="1426"/>
                </a:cubicBezTo>
                <a:cubicBezTo>
                  <a:pt x="772" y="1429"/>
                  <a:pt x="772" y="1429"/>
                  <a:pt x="772" y="1429"/>
                </a:cubicBezTo>
                <a:cubicBezTo>
                  <a:pt x="772" y="1429"/>
                  <a:pt x="775" y="1437"/>
                  <a:pt x="776" y="1436"/>
                </a:cubicBezTo>
                <a:close/>
                <a:moveTo>
                  <a:pt x="775" y="1442"/>
                </a:moveTo>
                <a:cubicBezTo>
                  <a:pt x="777" y="1442"/>
                  <a:pt x="777" y="1442"/>
                  <a:pt x="777" y="1442"/>
                </a:cubicBezTo>
                <a:cubicBezTo>
                  <a:pt x="778" y="1446"/>
                  <a:pt x="778" y="1446"/>
                  <a:pt x="778" y="1446"/>
                </a:cubicBezTo>
                <a:cubicBezTo>
                  <a:pt x="780" y="1442"/>
                  <a:pt x="780" y="1442"/>
                  <a:pt x="780" y="1442"/>
                </a:cubicBezTo>
                <a:cubicBezTo>
                  <a:pt x="780" y="1439"/>
                  <a:pt x="780" y="1439"/>
                  <a:pt x="780" y="1439"/>
                </a:cubicBezTo>
                <a:cubicBezTo>
                  <a:pt x="776" y="1438"/>
                  <a:pt x="776" y="1438"/>
                  <a:pt x="776" y="1438"/>
                </a:cubicBezTo>
                <a:cubicBezTo>
                  <a:pt x="775" y="1442"/>
                  <a:pt x="775" y="1442"/>
                  <a:pt x="775" y="1442"/>
                </a:cubicBezTo>
                <a:cubicBezTo>
                  <a:pt x="775" y="1442"/>
                  <a:pt x="775" y="1442"/>
                  <a:pt x="775" y="1442"/>
                </a:cubicBezTo>
                <a:close/>
                <a:moveTo>
                  <a:pt x="786" y="1457"/>
                </a:moveTo>
                <a:cubicBezTo>
                  <a:pt x="791" y="1462"/>
                  <a:pt x="791" y="1462"/>
                  <a:pt x="791" y="1462"/>
                </a:cubicBezTo>
                <a:cubicBezTo>
                  <a:pt x="792" y="1460"/>
                  <a:pt x="792" y="1460"/>
                  <a:pt x="792" y="1460"/>
                </a:cubicBezTo>
                <a:cubicBezTo>
                  <a:pt x="788" y="1455"/>
                  <a:pt x="788" y="1455"/>
                  <a:pt x="788" y="1455"/>
                </a:cubicBezTo>
                <a:cubicBezTo>
                  <a:pt x="786" y="1457"/>
                  <a:pt x="786" y="1457"/>
                  <a:pt x="786" y="1457"/>
                </a:cubicBezTo>
                <a:cubicBezTo>
                  <a:pt x="786" y="1457"/>
                  <a:pt x="786" y="1457"/>
                  <a:pt x="786" y="1457"/>
                </a:cubicBezTo>
                <a:close/>
                <a:moveTo>
                  <a:pt x="801" y="1459"/>
                </a:moveTo>
                <a:cubicBezTo>
                  <a:pt x="798" y="1456"/>
                  <a:pt x="798" y="1456"/>
                  <a:pt x="798" y="1456"/>
                </a:cubicBezTo>
                <a:cubicBezTo>
                  <a:pt x="797" y="1461"/>
                  <a:pt x="797" y="1461"/>
                  <a:pt x="797" y="1461"/>
                </a:cubicBezTo>
                <a:cubicBezTo>
                  <a:pt x="794" y="1462"/>
                  <a:pt x="794" y="1462"/>
                  <a:pt x="794" y="1462"/>
                </a:cubicBezTo>
                <a:cubicBezTo>
                  <a:pt x="800" y="1464"/>
                  <a:pt x="800" y="1464"/>
                  <a:pt x="800" y="1464"/>
                </a:cubicBezTo>
                <a:cubicBezTo>
                  <a:pt x="801" y="1459"/>
                  <a:pt x="801" y="1459"/>
                  <a:pt x="801" y="1459"/>
                </a:cubicBezTo>
                <a:cubicBezTo>
                  <a:pt x="801" y="1459"/>
                  <a:pt x="801" y="1459"/>
                  <a:pt x="801" y="1459"/>
                </a:cubicBezTo>
                <a:close/>
                <a:moveTo>
                  <a:pt x="795" y="1456"/>
                </a:moveTo>
                <a:cubicBezTo>
                  <a:pt x="794" y="1455"/>
                  <a:pt x="794" y="1455"/>
                  <a:pt x="794" y="1455"/>
                </a:cubicBezTo>
                <a:cubicBezTo>
                  <a:pt x="793" y="1457"/>
                  <a:pt x="793" y="1457"/>
                  <a:pt x="793" y="1457"/>
                </a:cubicBezTo>
                <a:cubicBezTo>
                  <a:pt x="794" y="1459"/>
                  <a:pt x="794" y="1459"/>
                  <a:pt x="794" y="1459"/>
                </a:cubicBezTo>
                <a:cubicBezTo>
                  <a:pt x="795" y="1456"/>
                  <a:pt x="795" y="1456"/>
                  <a:pt x="795" y="1456"/>
                </a:cubicBezTo>
                <a:cubicBezTo>
                  <a:pt x="795" y="1456"/>
                  <a:pt x="795" y="1456"/>
                  <a:pt x="795" y="1456"/>
                </a:cubicBezTo>
                <a:close/>
                <a:moveTo>
                  <a:pt x="2034" y="29"/>
                </a:moveTo>
                <a:cubicBezTo>
                  <a:pt x="2034" y="31"/>
                  <a:pt x="2047" y="32"/>
                  <a:pt x="2047" y="32"/>
                </a:cubicBezTo>
                <a:cubicBezTo>
                  <a:pt x="2054" y="31"/>
                  <a:pt x="2054" y="31"/>
                  <a:pt x="2054" y="31"/>
                </a:cubicBezTo>
                <a:cubicBezTo>
                  <a:pt x="2062" y="34"/>
                  <a:pt x="2062" y="34"/>
                  <a:pt x="2062" y="34"/>
                </a:cubicBezTo>
                <a:cubicBezTo>
                  <a:pt x="2071" y="34"/>
                  <a:pt x="2071" y="34"/>
                  <a:pt x="2071" y="34"/>
                </a:cubicBezTo>
                <a:cubicBezTo>
                  <a:pt x="2070" y="30"/>
                  <a:pt x="2066" y="25"/>
                  <a:pt x="2062" y="25"/>
                </a:cubicBezTo>
                <a:cubicBezTo>
                  <a:pt x="2059" y="26"/>
                  <a:pt x="2055" y="28"/>
                  <a:pt x="2055" y="28"/>
                </a:cubicBezTo>
                <a:cubicBezTo>
                  <a:pt x="2052" y="25"/>
                  <a:pt x="2052" y="25"/>
                  <a:pt x="2052" y="25"/>
                </a:cubicBezTo>
                <a:cubicBezTo>
                  <a:pt x="2052" y="25"/>
                  <a:pt x="2034" y="28"/>
                  <a:pt x="2034" y="29"/>
                </a:cubicBezTo>
                <a:close/>
                <a:moveTo>
                  <a:pt x="2026" y="30"/>
                </a:moveTo>
                <a:cubicBezTo>
                  <a:pt x="2028" y="28"/>
                  <a:pt x="2028" y="28"/>
                  <a:pt x="2028" y="28"/>
                </a:cubicBezTo>
                <a:cubicBezTo>
                  <a:pt x="2015" y="28"/>
                  <a:pt x="2015" y="28"/>
                  <a:pt x="2015" y="28"/>
                </a:cubicBezTo>
                <a:cubicBezTo>
                  <a:pt x="2026" y="30"/>
                  <a:pt x="2026" y="30"/>
                  <a:pt x="2026" y="30"/>
                </a:cubicBezTo>
                <a:cubicBezTo>
                  <a:pt x="2026" y="30"/>
                  <a:pt x="2026" y="30"/>
                  <a:pt x="2026" y="30"/>
                </a:cubicBezTo>
                <a:close/>
                <a:moveTo>
                  <a:pt x="2021" y="26"/>
                </a:moveTo>
                <a:cubicBezTo>
                  <a:pt x="2021" y="26"/>
                  <a:pt x="2032" y="27"/>
                  <a:pt x="2035" y="26"/>
                </a:cubicBezTo>
                <a:cubicBezTo>
                  <a:pt x="2037" y="25"/>
                  <a:pt x="2046" y="26"/>
                  <a:pt x="2044" y="23"/>
                </a:cubicBezTo>
                <a:cubicBezTo>
                  <a:pt x="2043" y="19"/>
                  <a:pt x="2027" y="15"/>
                  <a:pt x="2027" y="15"/>
                </a:cubicBezTo>
                <a:cubicBezTo>
                  <a:pt x="2027" y="15"/>
                  <a:pt x="2016" y="13"/>
                  <a:pt x="2015" y="17"/>
                </a:cubicBezTo>
                <a:cubicBezTo>
                  <a:pt x="2015" y="21"/>
                  <a:pt x="2021" y="26"/>
                  <a:pt x="2021" y="26"/>
                </a:cubicBezTo>
                <a:close/>
                <a:moveTo>
                  <a:pt x="2092" y="40"/>
                </a:moveTo>
                <a:cubicBezTo>
                  <a:pt x="2114" y="39"/>
                  <a:pt x="2114" y="39"/>
                  <a:pt x="2114" y="39"/>
                </a:cubicBezTo>
                <a:cubicBezTo>
                  <a:pt x="2108" y="36"/>
                  <a:pt x="2108" y="36"/>
                  <a:pt x="2108" y="36"/>
                </a:cubicBezTo>
                <a:cubicBezTo>
                  <a:pt x="2108" y="36"/>
                  <a:pt x="2101" y="31"/>
                  <a:pt x="2098" y="31"/>
                </a:cubicBezTo>
                <a:cubicBezTo>
                  <a:pt x="2096" y="31"/>
                  <a:pt x="2093" y="34"/>
                  <a:pt x="2093" y="34"/>
                </a:cubicBezTo>
                <a:cubicBezTo>
                  <a:pt x="2093" y="34"/>
                  <a:pt x="2091" y="28"/>
                  <a:pt x="2087" y="28"/>
                </a:cubicBezTo>
                <a:cubicBezTo>
                  <a:pt x="2082" y="28"/>
                  <a:pt x="2080" y="42"/>
                  <a:pt x="2080" y="42"/>
                </a:cubicBezTo>
                <a:cubicBezTo>
                  <a:pt x="2083" y="44"/>
                  <a:pt x="2083" y="44"/>
                  <a:pt x="2083" y="44"/>
                </a:cubicBezTo>
                <a:cubicBezTo>
                  <a:pt x="2087" y="43"/>
                  <a:pt x="2092" y="40"/>
                  <a:pt x="2092" y="40"/>
                </a:cubicBezTo>
                <a:close/>
                <a:moveTo>
                  <a:pt x="2377" y="71"/>
                </a:moveTo>
                <a:cubicBezTo>
                  <a:pt x="2379" y="67"/>
                  <a:pt x="2379" y="67"/>
                  <a:pt x="2379" y="67"/>
                </a:cubicBezTo>
                <a:cubicBezTo>
                  <a:pt x="2379" y="67"/>
                  <a:pt x="2384" y="67"/>
                  <a:pt x="2386" y="67"/>
                </a:cubicBezTo>
                <a:cubicBezTo>
                  <a:pt x="2388" y="67"/>
                  <a:pt x="2395" y="67"/>
                  <a:pt x="2395" y="67"/>
                </a:cubicBezTo>
                <a:cubicBezTo>
                  <a:pt x="2386" y="62"/>
                  <a:pt x="2386" y="62"/>
                  <a:pt x="2386" y="62"/>
                </a:cubicBezTo>
                <a:cubicBezTo>
                  <a:pt x="2388" y="59"/>
                  <a:pt x="2388" y="59"/>
                  <a:pt x="2388" y="59"/>
                </a:cubicBezTo>
                <a:cubicBezTo>
                  <a:pt x="2375" y="57"/>
                  <a:pt x="2375" y="57"/>
                  <a:pt x="2375" y="57"/>
                </a:cubicBezTo>
                <a:cubicBezTo>
                  <a:pt x="2377" y="61"/>
                  <a:pt x="2377" y="61"/>
                  <a:pt x="2377" y="61"/>
                </a:cubicBezTo>
                <a:cubicBezTo>
                  <a:pt x="2377" y="61"/>
                  <a:pt x="2352" y="52"/>
                  <a:pt x="2352" y="59"/>
                </a:cubicBezTo>
                <a:cubicBezTo>
                  <a:pt x="2352" y="65"/>
                  <a:pt x="2377" y="71"/>
                  <a:pt x="2377" y="71"/>
                </a:cubicBezTo>
                <a:close/>
                <a:moveTo>
                  <a:pt x="2349" y="62"/>
                </a:moveTo>
                <a:cubicBezTo>
                  <a:pt x="2341" y="59"/>
                  <a:pt x="2341" y="59"/>
                  <a:pt x="2341" y="59"/>
                </a:cubicBezTo>
                <a:cubicBezTo>
                  <a:pt x="2344" y="64"/>
                  <a:pt x="2344" y="64"/>
                  <a:pt x="2344" y="64"/>
                </a:cubicBezTo>
                <a:cubicBezTo>
                  <a:pt x="2349" y="62"/>
                  <a:pt x="2349" y="62"/>
                  <a:pt x="2349" y="62"/>
                </a:cubicBezTo>
                <a:cubicBezTo>
                  <a:pt x="2349" y="62"/>
                  <a:pt x="2349" y="62"/>
                  <a:pt x="2349" y="62"/>
                </a:cubicBezTo>
                <a:close/>
                <a:moveTo>
                  <a:pt x="2195" y="73"/>
                </a:moveTo>
                <a:cubicBezTo>
                  <a:pt x="2201" y="74"/>
                  <a:pt x="2201" y="74"/>
                  <a:pt x="2201" y="74"/>
                </a:cubicBezTo>
                <a:cubicBezTo>
                  <a:pt x="2206" y="75"/>
                  <a:pt x="2210" y="72"/>
                  <a:pt x="2203" y="71"/>
                </a:cubicBezTo>
                <a:cubicBezTo>
                  <a:pt x="2197" y="70"/>
                  <a:pt x="2195" y="73"/>
                  <a:pt x="2195" y="73"/>
                </a:cubicBezTo>
                <a:close/>
                <a:moveTo>
                  <a:pt x="1988" y="85"/>
                </a:moveTo>
                <a:cubicBezTo>
                  <a:pt x="1983" y="81"/>
                  <a:pt x="1984" y="86"/>
                  <a:pt x="1984" y="86"/>
                </a:cubicBezTo>
                <a:cubicBezTo>
                  <a:pt x="1989" y="88"/>
                  <a:pt x="1993" y="88"/>
                  <a:pt x="1988" y="85"/>
                </a:cubicBezTo>
                <a:close/>
                <a:moveTo>
                  <a:pt x="1718" y="483"/>
                </a:moveTo>
                <a:cubicBezTo>
                  <a:pt x="1719" y="486"/>
                  <a:pt x="1724" y="489"/>
                  <a:pt x="1726" y="489"/>
                </a:cubicBezTo>
                <a:cubicBezTo>
                  <a:pt x="1727" y="488"/>
                  <a:pt x="1731" y="485"/>
                  <a:pt x="1731" y="485"/>
                </a:cubicBezTo>
                <a:cubicBezTo>
                  <a:pt x="1731" y="485"/>
                  <a:pt x="1734" y="486"/>
                  <a:pt x="1735" y="485"/>
                </a:cubicBezTo>
                <a:cubicBezTo>
                  <a:pt x="1736" y="484"/>
                  <a:pt x="1734" y="482"/>
                  <a:pt x="1734" y="482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3" y="480"/>
                  <a:pt x="1733" y="480"/>
                  <a:pt x="1733" y="480"/>
                </a:cubicBezTo>
                <a:cubicBezTo>
                  <a:pt x="1733" y="480"/>
                  <a:pt x="1728" y="479"/>
                  <a:pt x="1726" y="480"/>
                </a:cubicBezTo>
                <a:cubicBezTo>
                  <a:pt x="1724" y="480"/>
                  <a:pt x="1725" y="482"/>
                  <a:pt x="1725" y="482"/>
                </a:cubicBezTo>
                <a:cubicBezTo>
                  <a:pt x="1725" y="482"/>
                  <a:pt x="1718" y="481"/>
                  <a:pt x="1718" y="483"/>
                </a:cubicBezTo>
                <a:close/>
                <a:moveTo>
                  <a:pt x="1649" y="430"/>
                </a:moveTo>
                <a:cubicBezTo>
                  <a:pt x="1652" y="430"/>
                  <a:pt x="1652" y="430"/>
                  <a:pt x="1652" y="430"/>
                </a:cubicBezTo>
                <a:cubicBezTo>
                  <a:pt x="1653" y="428"/>
                  <a:pt x="1653" y="428"/>
                  <a:pt x="1653" y="428"/>
                </a:cubicBezTo>
                <a:cubicBezTo>
                  <a:pt x="1648" y="428"/>
                  <a:pt x="1648" y="428"/>
                  <a:pt x="1648" y="428"/>
                </a:cubicBezTo>
                <a:cubicBezTo>
                  <a:pt x="1649" y="430"/>
                  <a:pt x="1649" y="430"/>
                  <a:pt x="1649" y="430"/>
                </a:cubicBezTo>
                <a:cubicBezTo>
                  <a:pt x="1649" y="430"/>
                  <a:pt x="1649" y="430"/>
                  <a:pt x="1649" y="430"/>
                </a:cubicBezTo>
                <a:close/>
                <a:moveTo>
                  <a:pt x="1654" y="426"/>
                </a:moveTo>
                <a:cubicBezTo>
                  <a:pt x="1655" y="428"/>
                  <a:pt x="1657" y="429"/>
                  <a:pt x="1657" y="426"/>
                </a:cubicBezTo>
                <a:cubicBezTo>
                  <a:pt x="1656" y="422"/>
                  <a:pt x="1654" y="426"/>
                  <a:pt x="1654" y="426"/>
                </a:cubicBezTo>
                <a:close/>
                <a:moveTo>
                  <a:pt x="1924" y="84"/>
                </a:moveTo>
                <a:cubicBezTo>
                  <a:pt x="1931" y="82"/>
                  <a:pt x="1929" y="80"/>
                  <a:pt x="1927" y="79"/>
                </a:cubicBezTo>
                <a:cubicBezTo>
                  <a:pt x="1926" y="78"/>
                  <a:pt x="1919" y="79"/>
                  <a:pt x="1919" y="79"/>
                </a:cubicBezTo>
                <a:cubicBezTo>
                  <a:pt x="1919" y="79"/>
                  <a:pt x="1921" y="85"/>
                  <a:pt x="1924" y="84"/>
                </a:cubicBezTo>
                <a:close/>
                <a:moveTo>
                  <a:pt x="1982" y="89"/>
                </a:moveTo>
                <a:cubicBezTo>
                  <a:pt x="1978" y="88"/>
                  <a:pt x="1978" y="88"/>
                  <a:pt x="1978" y="88"/>
                </a:cubicBezTo>
                <a:cubicBezTo>
                  <a:pt x="1974" y="90"/>
                  <a:pt x="1974" y="90"/>
                  <a:pt x="1974" y="90"/>
                </a:cubicBezTo>
                <a:cubicBezTo>
                  <a:pt x="1980" y="92"/>
                  <a:pt x="1980" y="92"/>
                  <a:pt x="1980" y="92"/>
                </a:cubicBezTo>
                <a:cubicBezTo>
                  <a:pt x="1982" y="89"/>
                  <a:pt x="1982" y="89"/>
                  <a:pt x="1982" y="89"/>
                </a:cubicBezTo>
                <a:cubicBezTo>
                  <a:pt x="1982" y="89"/>
                  <a:pt x="1982" y="89"/>
                  <a:pt x="1982" y="89"/>
                </a:cubicBezTo>
                <a:close/>
                <a:moveTo>
                  <a:pt x="1662" y="423"/>
                </a:moveTo>
                <a:cubicBezTo>
                  <a:pt x="1658" y="423"/>
                  <a:pt x="1658" y="423"/>
                  <a:pt x="1658" y="423"/>
                </a:cubicBezTo>
                <a:cubicBezTo>
                  <a:pt x="1658" y="427"/>
                  <a:pt x="1658" y="427"/>
                  <a:pt x="1658" y="427"/>
                </a:cubicBezTo>
                <a:cubicBezTo>
                  <a:pt x="1659" y="425"/>
                  <a:pt x="1659" y="425"/>
                  <a:pt x="1659" y="425"/>
                </a:cubicBezTo>
                <a:cubicBezTo>
                  <a:pt x="1662" y="423"/>
                  <a:pt x="1662" y="423"/>
                  <a:pt x="1662" y="423"/>
                </a:cubicBezTo>
                <a:cubicBezTo>
                  <a:pt x="1662" y="423"/>
                  <a:pt x="1662" y="423"/>
                  <a:pt x="1662" y="423"/>
                </a:cubicBezTo>
                <a:close/>
                <a:moveTo>
                  <a:pt x="2399" y="65"/>
                </a:moveTo>
                <a:cubicBezTo>
                  <a:pt x="2407" y="66"/>
                  <a:pt x="2407" y="66"/>
                  <a:pt x="2407" y="66"/>
                </a:cubicBezTo>
                <a:cubicBezTo>
                  <a:pt x="2409" y="64"/>
                  <a:pt x="2408" y="62"/>
                  <a:pt x="2405" y="62"/>
                </a:cubicBezTo>
                <a:cubicBezTo>
                  <a:pt x="2401" y="62"/>
                  <a:pt x="2388" y="59"/>
                  <a:pt x="2390" y="61"/>
                </a:cubicBezTo>
                <a:cubicBezTo>
                  <a:pt x="2392" y="64"/>
                  <a:pt x="2399" y="65"/>
                  <a:pt x="2399" y="65"/>
                </a:cubicBezTo>
                <a:close/>
                <a:moveTo>
                  <a:pt x="2652" y="116"/>
                </a:moveTo>
                <a:cubicBezTo>
                  <a:pt x="2654" y="114"/>
                  <a:pt x="2639" y="112"/>
                  <a:pt x="2639" y="112"/>
                </a:cubicBezTo>
                <a:cubicBezTo>
                  <a:pt x="2639" y="113"/>
                  <a:pt x="2651" y="118"/>
                  <a:pt x="2652" y="116"/>
                </a:cubicBezTo>
                <a:close/>
                <a:moveTo>
                  <a:pt x="2390" y="73"/>
                </a:moveTo>
                <a:cubicBezTo>
                  <a:pt x="2385" y="78"/>
                  <a:pt x="2397" y="78"/>
                  <a:pt x="2398" y="76"/>
                </a:cubicBezTo>
                <a:cubicBezTo>
                  <a:pt x="2400" y="74"/>
                  <a:pt x="2392" y="71"/>
                  <a:pt x="2390" y="73"/>
                </a:cubicBezTo>
                <a:close/>
                <a:moveTo>
                  <a:pt x="2760" y="352"/>
                </a:moveTo>
                <a:cubicBezTo>
                  <a:pt x="2761" y="348"/>
                  <a:pt x="2761" y="348"/>
                  <a:pt x="2761" y="348"/>
                </a:cubicBezTo>
                <a:cubicBezTo>
                  <a:pt x="2759" y="352"/>
                  <a:pt x="2759" y="352"/>
                  <a:pt x="2759" y="352"/>
                </a:cubicBezTo>
                <a:cubicBezTo>
                  <a:pt x="2760" y="352"/>
                  <a:pt x="2760" y="352"/>
                  <a:pt x="2760" y="352"/>
                </a:cubicBezTo>
                <a:cubicBezTo>
                  <a:pt x="2760" y="352"/>
                  <a:pt x="2760" y="352"/>
                  <a:pt x="2760" y="352"/>
                </a:cubicBezTo>
                <a:close/>
                <a:moveTo>
                  <a:pt x="2760" y="339"/>
                </a:moveTo>
                <a:cubicBezTo>
                  <a:pt x="2763" y="339"/>
                  <a:pt x="2763" y="339"/>
                  <a:pt x="2763" y="339"/>
                </a:cubicBezTo>
                <a:cubicBezTo>
                  <a:pt x="2760" y="336"/>
                  <a:pt x="2760" y="336"/>
                  <a:pt x="2760" y="336"/>
                </a:cubicBezTo>
                <a:cubicBezTo>
                  <a:pt x="2760" y="339"/>
                  <a:pt x="2760" y="339"/>
                  <a:pt x="2760" y="339"/>
                </a:cubicBezTo>
                <a:cubicBezTo>
                  <a:pt x="2760" y="339"/>
                  <a:pt x="2760" y="339"/>
                  <a:pt x="2760" y="339"/>
                </a:cubicBezTo>
                <a:close/>
                <a:moveTo>
                  <a:pt x="2495" y="653"/>
                </a:moveTo>
                <a:cubicBezTo>
                  <a:pt x="2492" y="651"/>
                  <a:pt x="2482" y="652"/>
                  <a:pt x="2482" y="652"/>
                </a:cubicBezTo>
                <a:cubicBezTo>
                  <a:pt x="2481" y="655"/>
                  <a:pt x="2481" y="655"/>
                  <a:pt x="2481" y="655"/>
                </a:cubicBezTo>
                <a:cubicBezTo>
                  <a:pt x="2479" y="653"/>
                  <a:pt x="2479" y="653"/>
                  <a:pt x="2479" y="653"/>
                </a:cubicBezTo>
                <a:cubicBezTo>
                  <a:pt x="2478" y="657"/>
                  <a:pt x="2478" y="657"/>
                  <a:pt x="2478" y="657"/>
                </a:cubicBezTo>
                <a:cubicBezTo>
                  <a:pt x="2478" y="657"/>
                  <a:pt x="2471" y="662"/>
                  <a:pt x="2475" y="667"/>
                </a:cubicBezTo>
                <a:cubicBezTo>
                  <a:pt x="2479" y="672"/>
                  <a:pt x="2482" y="672"/>
                  <a:pt x="2482" y="672"/>
                </a:cubicBezTo>
                <a:cubicBezTo>
                  <a:pt x="2494" y="671"/>
                  <a:pt x="2493" y="668"/>
                  <a:pt x="2493" y="666"/>
                </a:cubicBezTo>
                <a:cubicBezTo>
                  <a:pt x="2494" y="665"/>
                  <a:pt x="2493" y="662"/>
                  <a:pt x="2493" y="662"/>
                </a:cubicBezTo>
                <a:cubicBezTo>
                  <a:pt x="2493" y="662"/>
                  <a:pt x="2498" y="655"/>
                  <a:pt x="2495" y="653"/>
                </a:cubicBezTo>
                <a:close/>
                <a:moveTo>
                  <a:pt x="2505" y="689"/>
                </a:moveTo>
                <a:cubicBezTo>
                  <a:pt x="2502" y="689"/>
                  <a:pt x="2504" y="692"/>
                  <a:pt x="2504" y="692"/>
                </a:cubicBezTo>
                <a:cubicBezTo>
                  <a:pt x="2507" y="692"/>
                  <a:pt x="2509" y="689"/>
                  <a:pt x="2505" y="689"/>
                </a:cubicBezTo>
                <a:close/>
                <a:moveTo>
                  <a:pt x="2726" y="469"/>
                </a:moveTo>
                <a:cubicBezTo>
                  <a:pt x="2726" y="466"/>
                  <a:pt x="2726" y="460"/>
                  <a:pt x="2725" y="458"/>
                </a:cubicBezTo>
                <a:cubicBezTo>
                  <a:pt x="2724" y="455"/>
                  <a:pt x="2719" y="452"/>
                  <a:pt x="2719" y="448"/>
                </a:cubicBezTo>
                <a:cubicBezTo>
                  <a:pt x="2720" y="445"/>
                  <a:pt x="2723" y="446"/>
                  <a:pt x="2723" y="446"/>
                </a:cubicBezTo>
                <a:cubicBezTo>
                  <a:pt x="2723" y="440"/>
                  <a:pt x="2723" y="440"/>
                  <a:pt x="2723" y="440"/>
                </a:cubicBezTo>
                <a:cubicBezTo>
                  <a:pt x="2721" y="439"/>
                  <a:pt x="2721" y="439"/>
                  <a:pt x="2721" y="439"/>
                </a:cubicBezTo>
                <a:cubicBezTo>
                  <a:pt x="2723" y="437"/>
                  <a:pt x="2723" y="437"/>
                  <a:pt x="2723" y="437"/>
                </a:cubicBezTo>
                <a:cubicBezTo>
                  <a:pt x="2723" y="437"/>
                  <a:pt x="2722" y="434"/>
                  <a:pt x="2721" y="432"/>
                </a:cubicBezTo>
                <a:cubicBezTo>
                  <a:pt x="2720" y="429"/>
                  <a:pt x="2717" y="428"/>
                  <a:pt x="2717" y="428"/>
                </a:cubicBezTo>
                <a:cubicBezTo>
                  <a:pt x="2717" y="425"/>
                  <a:pt x="2717" y="425"/>
                  <a:pt x="2717" y="425"/>
                </a:cubicBezTo>
                <a:cubicBezTo>
                  <a:pt x="2717" y="425"/>
                  <a:pt x="2714" y="424"/>
                  <a:pt x="2712" y="422"/>
                </a:cubicBezTo>
                <a:cubicBezTo>
                  <a:pt x="2710" y="421"/>
                  <a:pt x="2707" y="417"/>
                  <a:pt x="2707" y="415"/>
                </a:cubicBezTo>
                <a:cubicBezTo>
                  <a:pt x="2707" y="414"/>
                  <a:pt x="2706" y="413"/>
                  <a:pt x="2706" y="413"/>
                </a:cubicBezTo>
                <a:cubicBezTo>
                  <a:pt x="2706" y="413"/>
                  <a:pt x="2701" y="409"/>
                  <a:pt x="2701" y="412"/>
                </a:cubicBezTo>
                <a:cubicBezTo>
                  <a:pt x="2700" y="414"/>
                  <a:pt x="2702" y="415"/>
                  <a:pt x="2702" y="415"/>
                </a:cubicBezTo>
                <a:cubicBezTo>
                  <a:pt x="2704" y="414"/>
                  <a:pt x="2704" y="414"/>
                  <a:pt x="2704" y="414"/>
                </a:cubicBezTo>
                <a:cubicBezTo>
                  <a:pt x="2704" y="414"/>
                  <a:pt x="2706" y="418"/>
                  <a:pt x="2705" y="418"/>
                </a:cubicBezTo>
                <a:cubicBezTo>
                  <a:pt x="2704" y="418"/>
                  <a:pt x="2703" y="416"/>
                  <a:pt x="2703" y="416"/>
                </a:cubicBezTo>
                <a:cubicBezTo>
                  <a:pt x="2701" y="418"/>
                  <a:pt x="2701" y="418"/>
                  <a:pt x="2701" y="418"/>
                </a:cubicBezTo>
                <a:cubicBezTo>
                  <a:pt x="2698" y="414"/>
                  <a:pt x="2698" y="414"/>
                  <a:pt x="2698" y="414"/>
                </a:cubicBezTo>
                <a:cubicBezTo>
                  <a:pt x="2696" y="414"/>
                  <a:pt x="2696" y="414"/>
                  <a:pt x="2696" y="414"/>
                </a:cubicBezTo>
                <a:cubicBezTo>
                  <a:pt x="2699" y="419"/>
                  <a:pt x="2699" y="419"/>
                  <a:pt x="2699" y="419"/>
                </a:cubicBezTo>
                <a:cubicBezTo>
                  <a:pt x="2696" y="420"/>
                  <a:pt x="2696" y="420"/>
                  <a:pt x="2696" y="420"/>
                </a:cubicBezTo>
                <a:cubicBezTo>
                  <a:pt x="2700" y="426"/>
                  <a:pt x="2700" y="426"/>
                  <a:pt x="2700" y="426"/>
                </a:cubicBezTo>
                <a:cubicBezTo>
                  <a:pt x="2699" y="428"/>
                  <a:pt x="2699" y="428"/>
                  <a:pt x="2699" y="428"/>
                </a:cubicBezTo>
                <a:cubicBezTo>
                  <a:pt x="2699" y="428"/>
                  <a:pt x="2706" y="432"/>
                  <a:pt x="2706" y="435"/>
                </a:cubicBezTo>
                <a:cubicBezTo>
                  <a:pt x="2705" y="438"/>
                  <a:pt x="2704" y="442"/>
                  <a:pt x="2704" y="442"/>
                </a:cubicBezTo>
                <a:cubicBezTo>
                  <a:pt x="2704" y="446"/>
                  <a:pt x="2704" y="446"/>
                  <a:pt x="2704" y="446"/>
                </a:cubicBezTo>
                <a:cubicBezTo>
                  <a:pt x="2704" y="446"/>
                  <a:pt x="2708" y="449"/>
                  <a:pt x="2706" y="450"/>
                </a:cubicBezTo>
                <a:cubicBezTo>
                  <a:pt x="2704" y="452"/>
                  <a:pt x="2702" y="451"/>
                  <a:pt x="2702" y="451"/>
                </a:cubicBezTo>
                <a:cubicBezTo>
                  <a:pt x="2702" y="451"/>
                  <a:pt x="2704" y="457"/>
                  <a:pt x="2701" y="459"/>
                </a:cubicBezTo>
                <a:cubicBezTo>
                  <a:pt x="2699" y="460"/>
                  <a:pt x="2694" y="461"/>
                  <a:pt x="2694" y="461"/>
                </a:cubicBezTo>
                <a:cubicBezTo>
                  <a:pt x="2694" y="463"/>
                  <a:pt x="2694" y="463"/>
                  <a:pt x="2694" y="463"/>
                </a:cubicBezTo>
                <a:cubicBezTo>
                  <a:pt x="2694" y="463"/>
                  <a:pt x="2692" y="464"/>
                  <a:pt x="2690" y="462"/>
                </a:cubicBezTo>
                <a:cubicBezTo>
                  <a:pt x="2688" y="460"/>
                  <a:pt x="2689" y="458"/>
                  <a:pt x="2689" y="458"/>
                </a:cubicBezTo>
                <a:cubicBezTo>
                  <a:pt x="2689" y="455"/>
                  <a:pt x="2689" y="455"/>
                  <a:pt x="2689" y="455"/>
                </a:cubicBezTo>
                <a:cubicBezTo>
                  <a:pt x="2689" y="455"/>
                  <a:pt x="2684" y="456"/>
                  <a:pt x="2685" y="459"/>
                </a:cubicBezTo>
                <a:cubicBezTo>
                  <a:pt x="2686" y="461"/>
                  <a:pt x="2688" y="464"/>
                  <a:pt x="2688" y="465"/>
                </a:cubicBezTo>
                <a:cubicBezTo>
                  <a:pt x="2688" y="466"/>
                  <a:pt x="2685" y="470"/>
                  <a:pt x="2685" y="472"/>
                </a:cubicBezTo>
                <a:cubicBezTo>
                  <a:pt x="2686" y="474"/>
                  <a:pt x="2689" y="477"/>
                  <a:pt x="2687" y="477"/>
                </a:cubicBezTo>
                <a:cubicBezTo>
                  <a:pt x="2685" y="478"/>
                  <a:pt x="2679" y="475"/>
                  <a:pt x="2678" y="475"/>
                </a:cubicBezTo>
                <a:cubicBezTo>
                  <a:pt x="2676" y="475"/>
                  <a:pt x="2667" y="479"/>
                  <a:pt x="2667" y="479"/>
                </a:cubicBezTo>
                <a:cubicBezTo>
                  <a:pt x="2666" y="479"/>
                  <a:pt x="2663" y="479"/>
                  <a:pt x="2663" y="479"/>
                </a:cubicBezTo>
                <a:cubicBezTo>
                  <a:pt x="2661" y="477"/>
                  <a:pt x="2661" y="477"/>
                  <a:pt x="2661" y="477"/>
                </a:cubicBezTo>
                <a:cubicBezTo>
                  <a:pt x="2657" y="481"/>
                  <a:pt x="2657" y="481"/>
                  <a:pt x="2657" y="481"/>
                </a:cubicBezTo>
                <a:cubicBezTo>
                  <a:pt x="2657" y="481"/>
                  <a:pt x="2651" y="490"/>
                  <a:pt x="2650" y="490"/>
                </a:cubicBezTo>
                <a:cubicBezTo>
                  <a:pt x="2649" y="490"/>
                  <a:pt x="2646" y="490"/>
                  <a:pt x="2646" y="490"/>
                </a:cubicBezTo>
                <a:cubicBezTo>
                  <a:pt x="2646" y="490"/>
                  <a:pt x="2647" y="495"/>
                  <a:pt x="2649" y="495"/>
                </a:cubicBezTo>
                <a:cubicBezTo>
                  <a:pt x="2650" y="495"/>
                  <a:pt x="2653" y="494"/>
                  <a:pt x="2653" y="494"/>
                </a:cubicBezTo>
                <a:cubicBezTo>
                  <a:pt x="2653" y="494"/>
                  <a:pt x="2657" y="497"/>
                  <a:pt x="2658" y="496"/>
                </a:cubicBezTo>
                <a:cubicBezTo>
                  <a:pt x="2659" y="496"/>
                  <a:pt x="2659" y="491"/>
                  <a:pt x="2659" y="491"/>
                </a:cubicBezTo>
                <a:cubicBezTo>
                  <a:pt x="2662" y="493"/>
                  <a:pt x="2662" y="493"/>
                  <a:pt x="2662" y="493"/>
                </a:cubicBezTo>
                <a:cubicBezTo>
                  <a:pt x="2662" y="493"/>
                  <a:pt x="2669" y="490"/>
                  <a:pt x="2670" y="489"/>
                </a:cubicBezTo>
                <a:cubicBezTo>
                  <a:pt x="2671" y="488"/>
                  <a:pt x="2674" y="490"/>
                  <a:pt x="2676" y="490"/>
                </a:cubicBezTo>
                <a:cubicBezTo>
                  <a:pt x="2678" y="490"/>
                  <a:pt x="2674" y="487"/>
                  <a:pt x="2678" y="487"/>
                </a:cubicBezTo>
                <a:cubicBezTo>
                  <a:pt x="2681" y="487"/>
                  <a:pt x="2682" y="488"/>
                  <a:pt x="2682" y="488"/>
                </a:cubicBezTo>
                <a:cubicBezTo>
                  <a:pt x="2682" y="488"/>
                  <a:pt x="2687" y="486"/>
                  <a:pt x="2687" y="487"/>
                </a:cubicBezTo>
                <a:cubicBezTo>
                  <a:pt x="2688" y="489"/>
                  <a:pt x="2685" y="493"/>
                  <a:pt x="2685" y="493"/>
                </a:cubicBezTo>
                <a:cubicBezTo>
                  <a:pt x="2685" y="493"/>
                  <a:pt x="2690" y="501"/>
                  <a:pt x="2694" y="501"/>
                </a:cubicBezTo>
                <a:cubicBezTo>
                  <a:pt x="2698" y="501"/>
                  <a:pt x="2698" y="493"/>
                  <a:pt x="2698" y="493"/>
                </a:cubicBezTo>
                <a:cubicBezTo>
                  <a:pt x="2702" y="492"/>
                  <a:pt x="2702" y="492"/>
                  <a:pt x="2702" y="492"/>
                </a:cubicBezTo>
                <a:cubicBezTo>
                  <a:pt x="2702" y="492"/>
                  <a:pt x="2699" y="488"/>
                  <a:pt x="2698" y="488"/>
                </a:cubicBezTo>
                <a:cubicBezTo>
                  <a:pt x="2697" y="488"/>
                  <a:pt x="2696" y="486"/>
                  <a:pt x="2696" y="486"/>
                </a:cubicBezTo>
                <a:cubicBezTo>
                  <a:pt x="2698" y="483"/>
                  <a:pt x="2698" y="483"/>
                  <a:pt x="2698" y="483"/>
                </a:cubicBezTo>
                <a:cubicBezTo>
                  <a:pt x="2700" y="483"/>
                  <a:pt x="2698" y="486"/>
                  <a:pt x="2701" y="486"/>
                </a:cubicBezTo>
                <a:cubicBezTo>
                  <a:pt x="2703" y="486"/>
                  <a:pt x="2703" y="489"/>
                  <a:pt x="2703" y="489"/>
                </a:cubicBezTo>
                <a:cubicBezTo>
                  <a:pt x="2706" y="487"/>
                  <a:pt x="2706" y="487"/>
                  <a:pt x="2706" y="487"/>
                </a:cubicBezTo>
                <a:cubicBezTo>
                  <a:pt x="2706" y="487"/>
                  <a:pt x="2709" y="488"/>
                  <a:pt x="2712" y="488"/>
                </a:cubicBezTo>
                <a:cubicBezTo>
                  <a:pt x="2715" y="487"/>
                  <a:pt x="2711" y="482"/>
                  <a:pt x="2715" y="483"/>
                </a:cubicBezTo>
                <a:cubicBezTo>
                  <a:pt x="2719" y="483"/>
                  <a:pt x="2717" y="489"/>
                  <a:pt x="2719" y="488"/>
                </a:cubicBezTo>
                <a:cubicBezTo>
                  <a:pt x="2721" y="487"/>
                  <a:pt x="2717" y="482"/>
                  <a:pt x="2719" y="481"/>
                </a:cubicBezTo>
                <a:cubicBezTo>
                  <a:pt x="2721" y="480"/>
                  <a:pt x="2722" y="480"/>
                  <a:pt x="2722" y="480"/>
                </a:cubicBezTo>
                <a:cubicBezTo>
                  <a:pt x="2722" y="480"/>
                  <a:pt x="2722" y="474"/>
                  <a:pt x="2725" y="476"/>
                </a:cubicBezTo>
                <a:cubicBezTo>
                  <a:pt x="2727" y="479"/>
                  <a:pt x="2723" y="484"/>
                  <a:pt x="2728" y="484"/>
                </a:cubicBezTo>
                <a:cubicBezTo>
                  <a:pt x="2732" y="483"/>
                  <a:pt x="2730" y="477"/>
                  <a:pt x="2730" y="477"/>
                </a:cubicBezTo>
                <a:cubicBezTo>
                  <a:pt x="2732" y="475"/>
                  <a:pt x="2732" y="475"/>
                  <a:pt x="2732" y="475"/>
                </a:cubicBezTo>
                <a:cubicBezTo>
                  <a:pt x="2732" y="475"/>
                  <a:pt x="2726" y="472"/>
                  <a:pt x="2726" y="469"/>
                </a:cubicBezTo>
                <a:close/>
                <a:moveTo>
                  <a:pt x="2763" y="327"/>
                </a:moveTo>
                <a:cubicBezTo>
                  <a:pt x="2766" y="324"/>
                  <a:pt x="2766" y="324"/>
                  <a:pt x="2766" y="324"/>
                </a:cubicBezTo>
                <a:cubicBezTo>
                  <a:pt x="2762" y="321"/>
                  <a:pt x="2762" y="321"/>
                  <a:pt x="2762" y="321"/>
                </a:cubicBezTo>
                <a:cubicBezTo>
                  <a:pt x="2763" y="327"/>
                  <a:pt x="2763" y="327"/>
                  <a:pt x="2763" y="327"/>
                </a:cubicBezTo>
                <a:cubicBezTo>
                  <a:pt x="2763" y="327"/>
                  <a:pt x="2763" y="327"/>
                  <a:pt x="2763" y="327"/>
                </a:cubicBezTo>
                <a:close/>
                <a:moveTo>
                  <a:pt x="2749" y="365"/>
                </a:moveTo>
                <a:cubicBezTo>
                  <a:pt x="2752" y="366"/>
                  <a:pt x="2754" y="361"/>
                  <a:pt x="2752" y="360"/>
                </a:cubicBezTo>
                <a:cubicBezTo>
                  <a:pt x="2750" y="360"/>
                  <a:pt x="2748" y="365"/>
                  <a:pt x="2749" y="365"/>
                </a:cubicBezTo>
                <a:close/>
                <a:moveTo>
                  <a:pt x="2448" y="70"/>
                </a:moveTo>
                <a:cubicBezTo>
                  <a:pt x="2454" y="67"/>
                  <a:pt x="2434" y="67"/>
                  <a:pt x="2434" y="67"/>
                </a:cubicBezTo>
                <a:cubicBezTo>
                  <a:pt x="2434" y="67"/>
                  <a:pt x="2430" y="63"/>
                  <a:pt x="2428" y="63"/>
                </a:cubicBezTo>
                <a:cubicBezTo>
                  <a:pt x="2426" y="63"/>
                  <a:pt x="2421" y="64"/>
                  <a:pt x="2421" y="64"/>
                </a:cubicBezTo>
                <a:cubicBezTo>
                  <a:pt x="2416" y="63"/>
                  <a:pt x="2416" y="63"/>
                  <a:pt x="2416" y="63"/>
                </a:cubicBezTo>
                <a:cubicBezTo>
                  <a:pt x="2421" y="67"/>
                  <a:pt x="2421" y="67"/>
                  <a:pt x="2421" y="67"/>
                </a:cubicBezTo>
                <a:cubicBezTo>
                  <a:pt x="2421" y="67"/>
                  <a:pt x="2442" y="72"/>
                  <a:pt x="2448" y="70"/>
                </a:cubicBezTo>
                <a:close/>
                <a:moveTo>
                  <a:pt x="1662" y="443"/>
                </a:moveTo>
                <a:cubicBezTo>
                  <a:pt x="1662" y="442"/>
                  <a:pt x="1661" y="447"/>
                  <a:pt x="1662" y="449"/>
                </a:cubicBezTo>
                <a:cubicBezTo>
                  <a:pt x="1663" y="451"/>
                  <a:pt x="1665" y="447"/>
                  <a:pt x="1665" y="446"/>
                </a:cubicBezTo>
                <a:cubicBezTo>
                  <a:pt x="1666" y="445"/>
                  <a:pt x="1663" y="444"/>
                  <a:pt x="1662" y="443"/>
                </a:cubicBezTo>
                <a:close/>
                <a:moveTo>
                  <a:pt x="2509" y="683"/>
                </a:moveTo>
                <a:cubicBezTo>
                  <a:pt x="2508" y="685"/>
                  <a:pt x="2512" y="687"/>
                  <a:pt x="2512" y="687"/>
                </a:cubicBezTo>
                <a:cubicBezTo>
                  <a:pt x="2514" y="686"/>
                  <a:pt x="2514" y="686"/>
                  <a:pt x="2514" y="686"/>
                </a:cubicBezTo>
                <a:cubicBezTo>
                  <a:pt x="2514" y="686"/>
                  <a:pt x="2511" y="682"/>
                  <a:pt x="2509" y="683"/>
                </a:cubicBezTo>
                <a:close/>
                <a:moveTo>
                  <a:pt x="2398" y="82"/>
                </a:moveTo>
                <a:cubicBezTo>
                  <a:pt x="2408" y="80"/>
                  <a:pt x="2408" y="80"/>
                  <a:pt x="2408" y="80"/>
                </a:cubicBezTo>
                <a:cubicBezTo>
                  <a:pt x="2424" y="83"/>
                  <a:pt x="2424" y="83"/>
                  <a:pt x="2424" y="83"/>
                </a:cubicBezTo>
                <a:cubicBezTo>
                  <a:pt x="2424" y="83"/>
                  <a:pt x="2419" y="77"/>
                  <a:pt x="2416" y="77"/>
                </a:cubicBezTo>
                <a:cubicBezTo>
                  <a:pt x="2412" y="76"/>
                  <a:pt x="2401" y="77"/>
                  <a:pt x="2401" y="77"/>
                </a:cubicBezTo>
                <a:cubicBezTo>
                  <a:pt x="2398" y="82"/>
                  <a:pt x="2398" y="82"/>
                  <a:pt x="2398" y="82"/>
                </a:cubicBezTo>
                <a:cubicBezTo>
                  <a:pt x="2398" y="82"/>
                  <a:pt x="2398" y="82"/>
                  <a:pt x="2398" y="82"/>
                </a:cubicBezTo>
                <a:close/>
                <a:moveTo>
                  <a:pt x="2744" y="227"/>
                </a:moveTo>
                <a:cubicBezTo>
                  <a:pt x="2749" y="222"/>
                  <a:pt x="2749" y="222"/>
                  <a:pt x="2749" y="222"/>
                </a:cubicBezTo>
                <a:cubicBezTo>
                  <a:pt x="2747" y="219"/>
                  <a:pt x="2747" y="219"/>
                  <a:pt x="2747" y="219"/>
                </a:cubicBezTo>
                <a:cubicBezTo>
                  <a:pt x="2742" y="222"/>
                  <a:pt x="2742" y="222"/>
                  <a:pt x="2742" y="222"/>
                </a:cubicBezTo>
                <a:cubicBezTo>
                  <a:pt x="2744" y="227"/>
                  <a:pt x="2744" y="227"/>
                  <a:pt x="2744" y="227"/>
                </a:cubicBezTo>
                <a:cubicBezTo>
                  <a:pt x="2744" y="227"/>
                  <a:pt x="2744" y="227"/>
                  <a:pt x="2744" y="227"/>
                </a:cubicBezTo>
                <a:close/>
                <a:moveTo>
                  <a:pt x="2706" y="105"/>
                </a:moveTo>
                <a:cubicBezTo>
                  <a:pt x="2709" y="104"/>
                  <a:pt x="2713" y="104"/>
                  <a:pt x="2718" y="104"/>
                </a:cubicBezTo>
                <a:cubicBezTo>
                  <a:pt x="2724" y="104"/>
                  <a:pt x="2724" y="101"/>
                  <a:pt x="2721" y="100"/>
                </a:cubicBezTo>
                <a:cubicBezTo>
                  <a:pt x="2717" y="100"/>
                  <a:pt x="2710" y="97"/>
                  <a:pt x="2708" y="97"/>
                </a:cubicBezTo>
                <a:cubicBezTo>
                  <a:pt x="2705" y="97"/>
                  <a:pt x="2699" y="97"/>
                  <a:pt x="2699" y="102"/>
                </a:cubicBezTo>
                <a:cubicBezTo>
                  <a:pt x="2699" y="107"/>
                  <a:pt x="2704" y="106"/>
                  <a:pt x="2706" y="105"/>
                </a:cubicBezTo>
                <a:close/>
                <a:moveTo>
                  <a:pt x="2761" y="318"/>
                </a:moveTo>
                <a:cubicBezTo>
                  <a:pt x="2764" y="317"/>
                  <a:pt x="2764" y="317"/>
                  <a:pt x="2764" y="317"/>
                </a:cubicBezTo>
                <a:cubicBezTo>
                  <a:pt x="2766" y="315"/>
                  <a:pt x="2766" y="315"/>
                  <a:pt x="2766" y="315"/>
                </a:cubicBezTo>
                <a:cubicBezTo>
                  <a:pt x="2764" y="311"/>
                  <a:pt x="2764" y="311"/>
                  <a:pt x="2764" y="311"/>
                </a:cubicBezTo>
                <a:cubicBezTo>
                  <a:pt x="2766" y="310"/>
                  <a:pt x="2766" y="310"/>
                  <a:pt x="2766" y="310"/>
                </a:cubicBezTo>
                <a:cubicBezTo>
                  <a:pt x="2764" y="308"/>
                  <a:pt x="2764" y="308"/>
                  <a:pt x="2764" y="308"/>
                </a:cubicBezTo>
                <a:cubicBezTo>
                  <a:pt x="2762" y="310"/>
                  <a:pt x="2762" y="310"/>
                  <a:pt x="2762" y="310"/>
                </a:cubicBezTo>
                <a:cubicBezTo>
                  <a:pt x="2764" y="313"/>
                  <a:pt x="2764" y="313"/>
                  <a:pt x="2764" y="313"/>
                </a:cubicBezTo>
                <a:cubicBezTo>
                  <a:pt x="2761" y="313"/>
                  <a:pt x="2761" y="313"/>
                  <a:pt x="2761" y="313"/>
                </a:cubicBezTo>
                <a:cubicBezTo>
                  <a:pt x="2761" y="318"/>
                  <a:pt x="2761" y="318"/>
                  <a:pt x="2761" y="318"/>
                </a:cubicBezTo>
                <a:cubicBezTo>
                  <a:pt x="2761" y="318"/>
                  <a:pt x="2761" y="318"/>
                  <a:pt x="2761" y="318"/>
                </a:cubicBezTo>
                <a:close/>
                <a:moveTo>
                  <a:pt x="2587" y="592"/>
                </a:moveTo>
                <a:cubicBezTo>
                  <a:pt x="2583" y="597"/>
                  <a:pt x="2583" y="597"/>
                  <a:pt x="2583" y="597"/>
                </a:cubicBezTo>
                <a:cubicBezTo>
                  <a:pt x="2583" y="597"/>
                  <a:pt x="2575" y="614"/>
                  <a:pt x="2577" y="616"/>
                </a:cubicBezTo>
                <a:cubicBezTo>
                  <a:pt x="2579" y="619"/>
                  <a:pt x="2582" y="623"/>
                  <a:pt x="2582" y="623"/>
                </a:cubicBezTo>
                <a:cubicBezTo>
                  <a:pt x="2582" y="623"/>
                  <a:pt x="2585" y="630"/>
                  <a:pt x="2588" y="630"/>
                </a:cubicBezTo>
                <a:cubicBezTo>
                  <a:pt x="2588" y="623"/>
                  <a:pt x="2588" y="623"/>
                  <a:pt x="2588" y="623"/>
                </a:cubicBezTo>
                <a:cubicBezTo>
                  <a:pt x="2588" y="623"/>
                  <a:pt x="2591" y="622"/>
                  <a:pt x="2591" y="617"/>
                </a:cubicBezTo>
                <a:cubicBezTo>
                  <a:pt x="2591" y="613"/>
                  <a:pt x="2591" y="607"/>
                  <a:pt x="2591" y="607"/>
                </a:cubicBezTo>
                <a:cubicBezTo>
                  <a:pt x="2591" y="607"/>
                  <a:pt x="2593" y="604"/>
                  <a:pt x="2593" y="601"/>
                </a:cubicBezTo>
                <a:cubicBezTo>
                  <a:pt x="2593" y="599"/>
                  <a:pt x="2593" y="596"/>
                  <a:pt x="2593" y="596"/>
                </a:cubicBezTo>
                <a:cubicBezTo>
                  <a:pt x="2587" y="592"/>
                  <a:pt x="2587" y="592"/>
                  <a:pt x="2587" y="592"/>
                </a:cubicBezTo>
                <a:cubicBezTo>
                  <a:pt x="2587" y="592"/>
                  <a:pt x="2587" y="592"/>
                  <a:pt x="2587" y="592"/>
                </a:cubicBezTo>
                <a:close/>
                <a:moveTo>
                  <a:pt x="2647" y="509"/>
                </a:moveTo>
                <a:cubicBezTo>
                  <a:pt x="2645" y="515"/>
                  <a:pt x="2645" y="515"/>
                  <a:pt x="2645" y="515"/>
                </a:cubicBezTo>
                <a:cubicBezTo>
                  <a:pt x="2647" y="514"/>
                  <a:pt x="2647" y="514"/>
                  <a:pt x="2647" y="514"/>
                </a:cubicBezTo>
                <a:cubicBezTo>
                  <a:pt x="2647" y="509"/>
                  <a:pt x="2647" y="509"/>
                  <a:pt x="2647" y="509"/>
                </a:cubicBezTo>
                <a:cubicBezTo>
                  <a:pt x="2647" y="509"/>
                  <a:pt x="2647" y="509"/>
                  <a:pt x="2647" y="509"/>
                </a:cubicBezTo>
                <a:close/>
                <a:moveTo>
                  <a:pt x="2674" y="501"/>
                </a:moveTo>
                <a:cubicBezTo>
                  <a:pt x="2678" y="499"/>
                  <a:pt x="2682" y="505"/>
                  <a:pt x="2682" y="505"/>
                </a:cubicBezTo>
                <a:cubicBezTo>
                  <a:pt x="2682" y="505"/>
                  <a:pt x="2683" y="500"/>
                  <a:pt x="2684" y="498"/>
                </a:cubicBezTo>
                <a:cubicBezTo>
                  <a:pt x="2684" y="495"/>
                  <a:pt x="2682" y="493"/>
                  <a:pt x="2682" y="493"/>
                </a:cubicBezTo>
                <a:cubicBezTo>
                  <a:pt x="2679" y="494"/>
                  <a:pt x="2679" y="494"/>
                  <a:pt x="2679" y="494"/>
                </a:cubicBezTo>
                <a:cubicBezTo>
                  <a:pt x="2679" y="494"/>
                  <a:pt x="2676" y="491"/>
                  <a:pt x="2674" y="491"/>
                </a:cubicBezTo>
                <a:cubicBezTo>
                  <a:pt x="2670" y="492"/>
                  <a:pt x="2671" y="496"/>
                  <a:pt x="2671" y="496"/>
                </a:cubicBezTo>
                <a:cubicBezTo>
                  <a:pt x="2671" y="496"/>
                  <a:pt x="2668" y="495"/>
                  <a:pt x="2666" y="495"/>
                </a:cubicBezTo>
                <a:cubicBezTo>
                  <a:pt x="2663" y="495"/>
                  <a:pt x="2665" y="500"/>
                  <a:pt x="2665" y="500"/>
                </a:cubicBezTo>
                <a:cubicBezTo>
                  <a:pt x="2662" y="502"/>
                  <a:pt x="2662" y="502"/>
                  <a:pt x="2662" y="502"/>
                </a:cubicBezTo>
                <a:cubicBezTo>
                  <a:pt x="2662" y="502"/>
                  <a:pt x="2665" y="504"/>
                  <a:pt x="2666" y="505"/>
                </a:cubicBezTo>
                <a:cubicBezTo>
                  <a:pt x="2668" y="507"/>
                  <a:pt x="2672" y="510"/>
                  <a:pt x="2672" y="510"/>
                </a:cubicBezTo>
                <a:cubicBezTo>
                  <a:pt x="2672" y="510"/>
                  <a:pt x="2671" y="503"/>
                  <a:pt x="2674" y="501"/>
                </a:cubicBezTo>
                <a:close/>
                <a:moveTo>
                  <a:pt x="2653" y="564"/>
                </a:moveTo>
                <a:cubicBezTo>
                  <a:pt x="2651" y="564"/>
                  <a:pt x="2652" y="565"/>
                  <a:pt x="2652" y="565"/>
                </a:cubicBezTo>
                <a:cubicBezTo>
                  <a:pt x="2655" y="567"/>
                  <a:pt x="2656" y="565"/>
                  <a:pt x="2653" y="564"/>
                </a:cubicBezTo>
                <a:close/>
                <a:moveTo>
                  <a:pt x="2656" y="560"/>
                </a:moveTo>
                <a:cubicBezTo>
                  <a:pt x="2656" y="560"/>
                  <a:pt x="2659" y="560"/>
                  <a:pt x="2657" y="557"/>
                </a:cubicBezTo>
                <a:cubicBezTo>
                  <a:pt x="2656" y="555"/>
                  <a:pt x="2652" y="558"/>
                  <a:pt x="2652" y="560"/>
                </a:cubicBezTo>
                <a:cubicBezTo>
                  <a:pt x="2653" y="561"/>
                  <a:pt x="2653" y="561"/>
                  <a:pt x="2653" y="561"/>
                </a:cubicBezTo>
                <a:cubicBezTo>
                  <a:pt x="2656" y="562"/>
                  <a:pt x="2656" y="560"/>
                  <a:pt x="2656" y="560"/>
                </a:cubicBezTo>
                <a:close/>
                <a:moveTo>
                  <a:pt x="1844" y="312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1"/>
                  <a:pt x="1844" y="311"/>
                  <a:pt x="1844" y="311"/>
                </a:cubicBezTo>
                <a:cubicBezTo>
                  <a:pt x="1844" y="312"/>
                  <a:pt x="1844" y="312"/>
                  <a:pt x="1844" y="312"/>
                </a:cubicBezTo>
                <a:close/>
                <a:moveTo>
                  <a:pt x="2657" y="534"/>
                </a:moveTo>
                <a:cubicBezTo>
                  <a:pt x="2657" y="535"/>
                  <a:pt x="2654" y="536"/>
                  <a:pt x="2654" y="536"/>
                </a:cubicBezTo>
                <a:cubicBezTo>
                  <a:pt x="2658" y="538"/>
                  <a:pt x="2658" y="538"/>
                  <a:pt x="2658" y="538"/>
                </a:cubicBezTo>
                <a:cubicBezTo>
                  <a:pt x="2658" y="538"/>
                  <a:pt x="2657" y="533"/>
                  <a:pt x="2657" y="534"/>
                </a:cubicBezTo>
                <a:close/>
                <a:moveTo>
                  <a:pt x="2661" y="530"/>
                </a:moveTo>
                <a:cubicBezTo>
                  <a:pt x="2661" y="531"/>
                  <a:pt x="2661" y="533"/>
                  <a:pt x="2661" y="533"/>
                </a:cubicBezTo>
                <a:cubicBezTo>
                  <a:pt x="2662" y="537"/>
                  <a:pt x="2662" y="537"/>
                  <a:pt x="2662" y="537"/>
                </a:cubicBezTo>
                <a:cubicBezTo>
                  <a:pt x="2663" y="535"/>
                  <a:pt x="2663" y="535"/>
                  <a:pt x="2663" y="535"/>
                </a:cubicBezTo>
                <a:cubicBezTo>
                  <a:pt x="2663" y="535"/>
                  <a:pt x="2661" y="529"/>
                  <a:pt x="2661" y="530"/>
                </a:cubicBezTo>
                <a:close/>
                <a:moveTo>
                  <a:pt x="2221" y="785"/>
                </a:moveTo>
                <a:cubicBezTo>
                  <a:pt x="2218" y="786"/>
                  <a:pt x="2218" y="786"/>
                  <a:pt x="2218" y="786"/>
                </a:cubicBezTo>
                <a:cubicBezTo>
                  <a:pt x="2219" y="781"/>
                  <a:pt x="2219" y="781"/>
                  <a:pt x="2219" y="781"/>
                </a:cubicBezTo>
                <a:cubicBezTo>
                  <a:pt x="2219" y="781"/>
                  <a:pt x="2216" y="778"/>
                  <a:pt x="2212" y="774"/>
                </a:cubicBezTo>
                <a:cubicBezTo>
                  <a:pt x="2209" y="769"/>
                  <a:pt x="2207" y="768"/>
                  <a:pt x="2203" y="770"/>
                </a:cubicBezTo>
                <a:cubicBezTo>
                  <a:pt x="2203" y="774"/>
                  <a:pt x="2203" y="774"/>
                  <a:pt x="2203" y="774"/>
                </a:cubicBezTo>
                <a:cubicBezTo>
                  <a:pt x="2201" y="774"/>
                  <a:pt x="2201" y="774"/>
                  <a:pt x="2201" y="774"/>
                </a:cubicBezTo>
                <a:cubicBezTo>
                  <a:pt x="2205" y="780"/>
                  <a:pt x="2205" y="780"/>
                  <a:pt x="2205" y="780"/>
                </a:cubicBezTo>
                <a:cubicBezTo>
                  <a:pt x="2205" y="780"/>
                  <a:pt x="2204" y="787"/>
                  <a:pt x="2202" y="788"/>
                </a:cubicBezTo>
                <a:cubicBezTo>
                  <a:pt x="2199" y="790"/>
                  <a:pt x="2200" y="801"/>
                  <a:pt x="2203" y="808"/>
                </a:cubicBezTo>
                <a:cubicBezTo>
                  <a:pt x="2207" y="815"/>
                  <a:pt x="2215" y="810"/>
                  <a:pt x="2221" y="807"/>
                </a:cubicBezTo>
                <a:cubicBezTo>
                  <a:pt x="2228" y="804"/>
                  <a:pt x="2221" y="793"/>
                  <a:pt x="2221" y="793"/>
                </a:cubicBezTo>
                <a:cubicBezTo>
                  <a:pt x="2221" y="785"/>
                  <a:pt x="2221" y="785"/>
                  <a:pt x="2221" y="785"/>
                </a:cubicBezTo>
                <a:cubicBezTo>
                  <a:pt x="2221" y="785"/>
                  <a:pt x="2221" y="785"/>
                  <a:pt x="2221" y="785"/>
                </a:cubicBezTo>
                <a:close/>
                <a:moveTo>
                  <a:pt x="2326" y="756"/>
                </a:moveTo>
                <a:cubicBezTo>
                  <a:pt x="2323" y="756"/>
                  <a:pt x="2326" y="763"/>
                  <a:pt x="2326" y="763"/>
                </a:cubicBezTo>
                <a:cubicBezTo>
                  <a:pt x="2326" y="763"/>
                  <a:pt x="2329" y="756"/>
                  <a:pt x="2326" y="756"/>
                </a:cubicBezTo>
                <a:close/>
                <a:moveTo>
                  <a:pt x="2514" y="690"/>
                </a:moveTo>
                <a:cubicBezTo>
                  <a:pt x="2516" y="692"/>
                  <a:pt x="2518" y="689"/>
                  <a:pt x="2517" y="688"/>
                </a:cubicBezTo>
                <a:cubicBezTo>
                  <a:pt x="2516" y="687"/>
                  <a:pt x="2513" y="690"/>
                  <a:pt x="2514" y="690"/>
                </a:cubicBezTo>
                <a:close/>
                <a:moveTo>
                  <a:pt x="2340" y="795"/>
                </a:moveTo>
                <a:cubicBezTo>
                  <a:pt x="2338" y="795"/>
                  <a:pt x="2339" y="802"/>
                  <a:pt x="2342" y="802"/>
                </a:cubicBezTo>
                <a:cubicBezTo>
                  <a:pt x="2342" y="802"/>
                  <a:pt x="2341" y="795"/>
                  <a:pt x="2340" y="795"/>
                </a:cubicBezTo>
                <a:close/>
                <a:moveTo>
                  <a:pt x="2566" y="260"/>
                </a:moveTo>
                <a:cubicBezTo>
                  <a:pt x="2565" y="262"/>
                  <a:pt x="2567" y="268"/>
                  <a:pt x="2572" y="268"/>
                </a:cubicBezTo>
                <a:cubicBezTo>
                  <a:pt x="2575" y="269"/>
                  <a:pt x="2567" y="259"/>
                  <a:pt x="2566" y="260"/>
                </a:cubicBezTo>
                <a:close/>
                <a:moveTo>
                  <a:pt x="2328" y="722"/>
                </a:moveTo>
                <a:cubicBezTo>
                  <a:pt x="2324" y="723"/>
                  <a:pt x="2325" y="735"/>
                  <a:pt x="2325" y="735"/>
                </a:cubicBezTo>
                <a:cubicBezTo>
                  <a:pt x="2325" y="749"/>
                  <a:pt x="2325" y="749"/>
                  <a:pt x="2325" y="749"/>
                </a:cubicBezTo>
                <a:cubicBezTo>
                  <a:pt x="2328" y="745"/>
                  <a:pt x="2328" y="745"/>
                  <a:pt x="2328" y="745"/>
                </a:cubicBezTo>
                <a:cubicBezTo>
                  <a:pt x="2328" y="731"/>
                  <a:pt x="2328" y="731"/>
                  <a:pt x="2328" y="731"/>
                </a:cubicBezTo>
                <a:cubicBezTo>
                  <a:pt x="2328" y="731"/>
                  <a:pt x="2331" y="722"/>
                  <a:pt x="2328" y="722"/>
                </a:cubicBezTo>
                <a:close/>
                <a:moveTo>
                  <a:pt x="2736" y="373"/>
                </a:moveTo>
                <a:cubicBezTo>
                  <a:pt x="2743" y="369"/>
                  <a:pt x="2743" y="369"/>
                  <a:pt x="2743" y="369"/>
                </a:cubicBezTo>
                <a:cubicBezTo>
                  <a:pt x="2741" y="366"/>
                  <a:pt x="2741" y="366"/>
                  <a:pt x="2741" y="366"/>
                </a:cubicBezTo>
                <a:cubicBezTo>
                  <a:pt x="2741" y="368"/>
                  <a:pt x="2741" y="368"/>
                  <a:pt x="2741" y="368"/>
                </a:cubicBezTo>
                <a:cubicBezTo>
                  <a:pt x="2735" y="368"/>
                  <a:pt x="2735" y="368"/>
                  <a:pt x="2735" y="368"/>
                </a:cubicBezTo>
                <a:cubicBezTo>
                  <a:pt x="2732" y="377"/>
                  <a:pt x="2732" y="377"/>
                  <a:pt x="2732" y="377"/>
                </a:cubicBezTo>
                <a:cubicBezTo>
                  <a:pt x="2734" y="378"/>
                  <a:pt x="2734" y="378"/>
                  <a:pt x="2734" y="378"/>
                </a:cubicBezTo>
                <a:cubicBezTo>
                  <a:pt x="2736" y="373"/>
                  <a:pt x="2736" y="373"/>
                  <a:pt x="2736" y="373"/>
                </a:cubicBezTo>
                <a:cubicBezTo>
                  <a:pt x="2736" y="373"/>
                  <a:pt x="2736" y="373"/>
                  <a:pt x="2736" y="373"/>
                </a:cubicBezTo>
                <a:close/>
                <a:moveTo>
                  <a:pt x="2624" y="279"/>
                </a:moveTo>
                <a:cubicBezTo>
                  <a:pt x="2623" y="280"/>
                  <a:pt x="2620" y="276"/>
                  <a:pt x="2620" y="280"/>
                </a:cubicBezTo>
                <a:cubicBezTo>
                  <a:pt x="2619" y="283"/>
                  <a:pt x="2625" y="289"/>
                  <a:pt x="2625" y="289"/>
                </a:cubicBezTo>
                <a:cubicBezTo>
                  <a:pt x="2625" y="289"/>
                  <a:pt x="2626" y="293"/>
                  <a:pt x="2628" y="294"/>
                </a:cubicBezTo>
                <a:cubicBezTo>
                  <a:pt x="2629" y="296"/>
                  <a:pt x="2639" y="302"/>
                  <a:pt x="2642" y="305"/>
                </a:cubicBezTo>
                <a:cubicBezTo>
                  <a:pt x="2644" y="308"/>
                  <a:pt x="2644" y="312"/>
                  <a:pt x="2646" y="315"/>
                </a:cubicBezTo>
                <a:cubicBezTo>
                  <a:pt x="2649" y="317"/>
                  <a:pt x="2656" y="329"/>
                  <a:pt x="2656" y="329"/>
                </a:cubicBezTo>
                <a:cubicBezTo>
                  <a:pt x="2656" y="329"/>
                  <a:pt x="2657" y="334"/>
                  <a:pt x="2659" y="334"/>
                </a:cubicBezTo>
                <a:cubicBezTo>
                  <a:pt x="2660" y="334"/>
                  <a:pt x="2663" y="336"/>
                  <a:pt x="2664" y="338"/>
                </a:cubicBezTo>
                <a:cubicBezTo>
                  <a:pt x="2666" y="340"/>
                  <a:pt x="2666" y="344"/>
                  <a:pt x="2666" y="344"/>
                </a:cubicBezTo>
                <a:cubicBezTo>
                  <a:pt x="2672" y="349"/>
                  <a:pt x="2672" y="349"/>
                  <a:pt x="2672" y="349"/>
                </a:cubicBezTo>
                <a:cubicBezTo>
                  <a:pt x="2674" y="356"/>
                  <a:pt x="2674" y="356"/>
                  <a:pt x="2674" y="356"/>
                </a:cubicBezTo>
                <a:cubicBezTo>
                  <a:pt x="2679" y="362"/>
                  <a:pt x="2679" y="362"/>
                  <a:pt x="2679" y="362"/>
                </a:cubicBezTo>
                <a:cubicBezTo>
                  <a:pt x="2679" y="362"/>
                  <a:pt x="2676" y="354"/>
                  <a:pt x="2678" y="353"/>
                </a:cubicBezTo>
                <a:cubicBezTo>
                  <a:pt x="2680" y="353"/>
                  <a:pt x="2681" y="355"/>
                  <a:pt x="2681" y="355"/>
                </a:cubicBezTo>
                <a:cubicBezTo>
                  <a:pt x="2685" y="355"/>
                  <a:pt x="2685" y="355"/>
                  <a:pt x="2685" y="355"/>
                </a:cubicBezTo>
                <a:cubicBezTo>
                  <a:pt x="2690" y="360"/>
                  <a:pt x="2690" y="360"/>
                  <a:pt x="2690" y="360"/>
                </a:cubicBezTo>
                <a:cubicBezTo>
                  <a:pt x="2690" y="357"/>
                  <a:pt x="2690" y="357"/>
                  <a:pt x="2690" y="357"/>
                </a:cubicBezTo>
                <a:cubicBezTo>
                  <a:pt x="2686" y="352"/>
                  <a:pt x="2686" y="352"/>
                  <a:pt x="2686" y="352"/>
                </a:cubicBezTo>
                <a:cubicBezTo>
                  <a:pt x="2682" y="352"/>
                  <a:pt x="2682" y="352"/>
                  <a:pt x="2682" y="352"/>
                </a:cubicBezTo>
                <a:cubicBezTo>
                  <a:pt x="2678" y="347"/>
                  <a:pt x="2678" y="347"/>
                  <a:pt x="2678" y="347"/>
                </a:cubicBezTo>
                <a:cubicBezTo>
                  <a:pt x="2678" y="347"/>
                  <a:pt x="2673" y="346"/>
                  <a:pt x="2670" y="342"/>
                </a:cubicBezTo>
                <a:cubicBezTo>
                  <a:pt x="2668" y="338"/>
                  <a:pt x="2666" y="330"/>
                  <a:pt x="2666" y="330"/>
                </a:cubicBezTo>
                <a:cubicBezTo>
                  <a:pt x="2666" y="330"/>
                  <a:pt x="2661" y="327"/>
                  <a:pt x="2664" y="325"/>
                </a:cubicBezTo>
                <a:cubicBezTo>
                  <a:pt x="2666" y="324"/>
                  <a:pt x="2682" y="332"/>
                  <a:pt x="2682" y="332"/>
                </a:cubicBezTo>
                <a:cubicBezTo>
                  <a:pt x="2672" y="324"/>
                  <a:pt x="2672" y="324"/>
                  <a:pt x="2672" y="324"/>
                </a:cubicBezTo>
                <a:cubicBezTo>
                  <a:pt x="2672" y="324"/>
                  <a:pt x="2668" y="318"/>
                  <a:pt x="2666" y="316"/>
                </a:cubicBezTo>
                <a:cubicBezTo>
                  <a:pt x="2664" y="315"/>
                  <a:pt x="2661" y="313"/>
                  <a:pt x="2661" y="313"/>
                </a:cubicBezTo>
                <a:cubicBezTo>
                  <a:pt x="2650" y="301"/>
                  <a:pt x="2650" y="301"/>
                  <a:pt x="2650" y="301"/>
                </a:cubicBezTo>
                <a:cubicBezTo>
                  <a:pt x="2646" y="301"/>
                  <a:pt x="2646" y="301"/>
                  <a:pt x="2646" y="301"/>
                </a:cubicBezTo>
                <a:cubicBezTo>
                  <a:pt x="2645" y="297"/>
                  <a:pt x="2645" y="297"/>
                  <a:pt x="2645" y="297"/>
                </a:cubicBezTo>
                <a:cubicBezTo>
                  <a:pt x="2645" y="297"/>
                  <a:pt x="2643" y="298"/>
                  <a:pt x="2640" y="295"/>
                </a:cubicBezTo>
                <a:cubicBezTo>
                  <a:pt x="2638" y="292"/>
                  <a:pt x="2638" y="289"/>
                  <a:pt x="2638" y="289"/>
                </a:cubicBezTo>
                <a:cubicBezTo>
                  <a:pt x="2634" y="284"/>
                  <a:pt x="2634" y="284"/>
                  <a:pt x="2634" y="284"/>
                </a:cubicBezTo>
                <a:cubicBezTo>
                  <a:pt x="2631" y="284"/>
                  <a:pt x="2631" y="284"/>
                  <a:pt x="2631" y="284"/>
                </a:cubicBezTo>
                <a:cubicBezTo>
                  <a:pt x="2629" y="280"/>
                  <a:pt x="2629" y="280"/>
                  <a:pt x="2629" y="280"/>
                </a:cubicBezTo>
                <a:cubicBezTo>
                  <a:pt x="2624" y="276"/>
                  <a:pt x="2624" y="276"/>
                  <a:pt x="2624" y="276"/>
                </a:cubicBezTo>
                <a:cubicBezTo>
                  <a:pt x="2622" y="273"/>
                  <a:pt x="2622" y="273"/>
                  <a:pt x="2622" y="273"/>
                </a:cubicBezTo>
                <a:cubicBezTo>
                  <a:pt x="2622" y="273"/>
                  <a:pt x="2618" y="270"/>
                  <a:pt x="2617" y="271"/>
                </a:cubicBezTo>
                <a:cubicBezTo>
                  <a:pt x="2615" y="272"/>
                  <a:pt x="2625" y="279"/>
                  <a:pt x="2624" y="279"/>
                </a:cubicBezTo>
                <a:close/>
                <a:moveTo>
                  <a:pt x="2611" y="605"/>
                </a:moveTo>
                <a:cubicBezTo>
                  <a:pt x="2613" y="606"/>
                  <a:pt x="2615" y="602"/>
                  <a:pt x="2612" y="602"/>
                </a:cubicBezTo>
                <a:cubicBezTo>
                  <a:pt x="2609" y="601"/>
                  <a:pt x="2611" y="605"/>
                  <a:pt x="2611" y="605"/>
                </a:cubicBezTo>
                <a:close/>
                <a:moveTo>
                  <a:pt x="2633" y="581"/>
                </a:moveTo>
                <a:cubicBezTo>
                  <a:pt x="2633" y="582"/>
                  <a:pt x="2636" y="582"/>
                  <a:pt x="2636" y="582"/>
                </a:cubicBezTo>
                <a:cubicBezTo>
                  <a:pt x="2637" y="580"/>
                  <a:pt x="2633" y="579"/>
                  <a:pt x="2633" y="581"/>
                </a:cubicBezTo>
                <a:close/>
                <a:moveTo>
                  <a:pt x="2628" y="600"/>
                </a:moveTo>
                <a:cubicBezTo>
                  <a:pt x="2629" y="598"/>
                  <a:pt x="2626" y="598"/>
                  <a:pt x="2626" y="598"/>
                </a:cubicBezTo>
                <a:cubicBezTo>
                  <a:pt x="2624" y="595"/>
                  <a:pt x="2624" y="595"/>
                  <a:pt x="2624" y="595"/>
                </a:cubicBezTo>
                <a:cubicBezTo>
                  <a:pt x="2624" y="597"/>
                  <a:pt x="2624" y="597"/>
                  <a:pt x="2624" y="597"/>
                </a:cubicBezTo>
                <a:cubicBezTo>
                  <a:pt x="2623" y="600"/>
                  <a:pt x="2626" y="601"/>
                  <a:pt x="2628" y="600"/>
                </a:cubicBezTo>
                <a:close/>
                <a:moveTo>
                  <a:pt x="2620" y="603"/>
                </a:moveTo>
                <a:cubicBezTo>
                  <a:pt x="2616" y="601"/>
                  <a:pt x="2616" y="601"/>
                  <a:pt x="2616" y="601"/>
                </a:cubicBezTo>
                <a:cubicBezTo>
                  <a:pt x="2616" y="601"/>
                  <a:pt x="2615" y="604"/>
                  <a:pt x="2615" y="604"/>
                </a:cubicBezTo>
                <a:cubicBezTo>
                  <a:pt x="2616" y="604"/>
                  <a:pt x="2620" y="603"/>
                  <a:pt x="2620" y="603"/>
                </a:cubicBezTo>
                <a:close/>
                <a:moveTo>
                  <a:pt x="2609" y="500"/>
                </a:moveTo>
                <a:cubicBezTo>
                  <a:pt x="2604" y="502"/>
                  <a:pt x="2606" y="504"/>
                  <a:pt x="2609" y="504"/>
                </a:cubicBezTo>
                <a:cubicBezTo>
                  <a:pt x="2613" y="504"/>
                  <a:pt x="2614" y="499"/>
                  <a:pt x="2609" y="500"/>
                </a:cubicBezTo>
                <a:close/>
                <a:moveTo>
                  <a:pt x="2361" y="681"/>
                </a:moveTo>
                <a:cubicBezTo>
                  <a:pt x="2363" y="680"/>
                  <a:pt x="2366" y="686"/>
                  <a:pt x="2366" y="686"/>
                </a:cubicBezTo>
                <a:cubicBezTo>
                  <a:pt x="2366" y="690"/>
                  <a:pt x="2366" y="690"/>
                  <a:pt x="2366" y="690"/>
                </a:cubicBezTo>
                <a:cubicBezTo>
                  <a:pt x="2366" y="690"/>
                  <a:pt x="2370" y="690"/>
                  <a:pt x="2370" y="694"/>
                </a:cubicBezTo>
                <a:cubicBezTo>
                  <a:pt x="2370" y="697"/>
                  <a:pt x="2372" y="700"/>
                  <a:pt x="2372" y="703"/>
                </a:cubicBezTo>
                <a:cubicBezTo>
                  <a:pt x="2373" y="705"/>
                  <a:pt x="2373" y="712"/>
                  <a:pt x="2373" y="712"/>
                </a:cubicBezTo>
                <a:cubicBezTo>
                  <a:pt x="2373" y="712"/>
                  <a:pt x="2374" y="715"/>
                  <a:pt x="2375" y="717"/>
                </a:cubicBezTo>
                <a:cubicBezTo>
                  <a:pt x="2377" y="719"/>
                  <a:pt x="2377" y="721"/>
                  <a:pt x="2377" y="721"/>
                </a:cubicBezTo>
                <a:cubicBezTo>
                  <a:pt x="2383" y="734"/>
                  <a:pt x="2383" y="734"/>
                  <a:pt x="2383" y="734"/>
                </a:cubicBezTo>
                <a:cubicBezTo>
                  <a:pt x="2385" y="740"/>
                  <a:pt x="2385" y="740"/>
                  <a:pt x="2385" y="740"/>
                </a:cubicBezTo>
                <a:cubicBezTo>
                  <a:pt x="2385" y="740"/>
                  <a:pt x="2382" y="740"/>
                  <a:pt x="2382" y="741"/>
                </a:cubicBezTo>
                <a:cubicBezTo>
                  <a:pt x="2382" y="743"/>
                  <a:pt x="2380" y="749"/>
                  <a:pt x="2380" y="749"/>
                </a:cubicBezTo>
                <a:cubicBezTo>
                  <a:pt x="2387" y="746"/>
                  <a:pt x="2387" y="746"/>
                  <a:pt x="2387" y="746"/>
                </a:cubicBezTo>
                <a:cubicBezTo>
                  <a:pt x="2385" y="754"/>
                  <a:pt x="2385" y="754"/>
                  <a:pt x="2385" y="754"/>
                </a:cubicBezTo>
                <a:cubicBezTo>
                  <a:pt x="2385" y="754"/>
                  <a:pt x="2384" y="757"/>
                  <a:pt x="2384" y="759"/>
                </a:cubicBezTo>
                <a:cubicBezTo>
                  <a:pt x="2384" y="762"/>
                  <a:pt x="2386" y="766"/>
                  <a:pt x="2386" y="766"/>
                </a:cubicBezTo>
                <a:cubicBezTo>
                  <a:pt x="2386" y="766"/>
                  <a:pt x="2383" y="773"/>
                  <a:pt x="2383" y="776"/>
                </a:cubicBezTo>
                <a:cubicBezTo>
                  <a:pt x="2383" y="779"/>
                  <a:pt x="2383" y="789"/>
                  <a:pt x="2383" y="789"/>
                </a:cubicBezTo>
                <a:cubicBezTo>
                  <a:pt x="2383" y="789"/>
                  <a:pt x="2385" y="791"/>
                  <a:pt x="2385" y="789"/>
                </a:cubicBezTo>
                <a:cubicBezTo>
                  <a:pt x="2386" y="787"/>
                  <a:pt x="2386" y="782"/>
                  <a:pt x="2387" y="784"/>
                </a:cubicBezTo>
                <a:cubicBezTo>
                  <a:pt x="2387" y="786"/>
                  <a:pt x="2385" y="786"/>
                  <a:pt x="2388" y="787"/>
                </a:cubicBezTo>
                <a:cubicBezTo>
                  <a:pt x="2391" y="787"/>
                  <a:pt x="2393" y="793"/>
                  <a:pt x="2393" y="793"/>
                </a:cubicBezTo>
                <a:cubicBezTo>
                  <a:pt x="2398" y="798"/>
                  <a:pt x="2398" y="798"/>
                  <a:pt x="2398" y="798"/>
                </a:cubicBezTo>
                <a:cubicBezTo>
                  <a:pt x="2398" y="798"/>
                  <a:pt x="2397" y="800"/>
                  <a:pt x="2399" y="803"/>
                </a:cubicBezTo>
                <a:cubicBezTo>
                  <a:pt x="2400" y="805"/>
                  <a:pt x="2402" y="807"/>
                  <a:pt x="2402" y="808"/>
                </a:cubicBezTo>
                <a:cubicBezTo>
                  <a:pt x="2403" y="808"/>
                  <a:pt x="2403" y="808"/>
                  <a:pt x="2403" y="808"/>
                </a:cubicBezTo>
                <a:cubicBezTo>
                  <a:pt x="2404" y="821"/>
                  <a:pt x="2404" y="821"/>
                  <a:pt x="2404" y="821"/>
                </a:cubicBezTo>
                <a:cubicBezTo>
                  <a:pt x="2404" y="821"/>
                  <a:pt x="2410" y="818"/>
                  <a:pt x="2410" y="822"/>
                </a:cubicBezTo>
                <a:cubicBezTo>
                  <a:pt x="2410" y="826"/>
                  <a:pt x="2408" y="831"/>
                  <a:pt x="2411" y="834"/>
                </a:cubicBezTo>
                <a:cubicBezTo>
                  <a:pt x="2413" y="836"/>
                  <a:pt x="2415" y="834"/>
                  <a:pt x="2415" y="834"/>
                </a:cubicBezTo>
                <a:cubicBezTo>
                  <a:pt x="2415" y="834"/>
                  <a:pt x="2414" y="842"/>
                  <a:pt x="2416" y="844"/>
                </a:cubicBezTo>
                <a:cubicBezTo>
                  <a:pt x="2418" y="846"/>
                  <a:pt x="2426" y="851"/>
                  <a:pt x="2426" y="851"/>
                </a:cubicBezTo>
                <a:cubicBezTo>
                  <a:pt x="2426" y="851"/>
                  <a:pt x="2427" y="855"/>
                  <a:pt x="2428" y="856"/>
                </a:cubicBezTo>
                <a:cubicBezTo>
                  <a:pt x="2429" y="856"/>
                  <a:pt x="2434" y="858"/>
                  <a:pt x="2434" y="858"/>
                </a:cubicBezTo>
                <a:cubicBezTo>
                  <a:pt x="2438" y="863"/>
                  <a:pt x="2438" y="863"/>
                  <a:pt x="2438" y="863"/>
                </a:cubicBezTo>
                <a:cubicBezTo>
                  <a:pt x="2445" y="862"/>
                  <a:pt x="2445" y="862"/>
                  <a:pt x="2445" y="862"/>
                </a:cubicBezTo>
                <a:cubicBezTo>
                  <a:pt x="2445" y="862"/>
                  <a:pt x="2446" y="858"/>
                  <a:pt x="2445" y="854"/>
                </a:cubicBezTo>
                <a:cubicBezTo>
                  <a:pt x="2445" y="851"/>
                  <a:pt x="2439" y="847"/>
                  <a:pt x="2438" y="845"/>
                </a:cubicBezTo>
                <a:cubicBezTo>
                  <a:pt x="2438" y="844"/>
                  <a:pt x="2439" y="842"/>
                  <a:pt x="2438" y="840"/>
                </a:cubicBezTo>
                <a:cubicBezTo>
                  <a:pt x="2436" y="838"/>
                  <a:pt x="2438" y="838"/>
                  <a:pt x="2438" y="835"/>
                </a:cubicBezTo>
                <a:cubicBezTo>
                  <a:pt x="2438" y="832"/>
                  <a:pt x="2438" y="824"/>
                  <a:pt x="2437" y="820"/>
                </a:cubicBezTo>
                <a:cubicBezTo>
                  <a:pt x="2437" y="815"/>
                  <a:pt x="2428" y="812"/>
                  <a:pt x="2426" y="810"/>
                </a:cubicBezTo>
                <a:cubicBezTo>
                  <a:pt x="2426" y="809"/>
                  <a:pt x="2425" y="809"/>
                  <a:pt x="2424" y="808"/>
                </a:cubicBezTo>
                <a:cubicBezTo>
                  <a:pt x="2424" y="808"/>
                  <a:pt x="2424" y="808"/>
                  <a:pt x="2424" y="808"/>
                </a:cubicBezTo>
                <a:cubicBezTo>
                  <a:pt x="2422" y="807"/>
                  <a:pt x="2420" y="805"/>
                  <a:pt x="2420" y="805"/>
                </a:cubicBezTo>
                <a:cubicBezTo>
                  <a:pt x="2420" y="805"/>
                  <a:pt x="2419" y="800"/>
                  <a:pt x="2418" y="798"/>
                </a:cubicBezTo>
                <a:cubicBezTo>
                  <a:pt x="2418" y="796"/>
                  <a:pt x="2412" y="800"/>
                  <a:pt x="2410" y="799"/>
                </a:cubicBezTo>
                <a:cubicBezTo>
                  <a:pt x="2409" y="799"/>
                  <a:pt x="2407" y="791"/>
                  <a:pt x="2406" y="791"/>
                </a:cubicBezTo>
                <a:cubicBezTo>
                  <a:pt x="2405" y="792"/>
                  <a:pt x="2406" y="795"/>
                  <a:pt x="2405" y="795"/>
                </a:cubicBezTo>
                <a:cubicBezTo>
                  <a:pt x="2404" y="795"/>
                  <a:pt x="2401" y="790"/>
                  <a:pt x="2402" y="789"/>
                </a:cubicBezTo>
                <a:cubicBezTo>
                  <a:pt x="2404" y="787"/>
                  <a:pt x="2403" y="790"/>
                  <a:pt x="2405" y="789"/>
                </a:cubicBezTo>
                <a:cubicBezTo>
                  <a:pt x="2407" y="789"/>
                  <a:pt x="2403" y="782"/>
                  <a:pt x="2403" y="781"/>
                </a:cubicBezTo>
                <a:cubicBezTo>
                  <a:pt x="2402" y="780"/>
                  <a:pt x="2400" y="780"/>
                  <a:pt x="2400" y="780"/>
                </a:cubicBezTo>
                <a:cubicBezTo>
                  <a:pt x="2400" y="772"/>
                  <a:pt x="2400" y="772"/>
                  <a:pt x="2400" y="772"/>
                </a:cubicBezTo>
                <a:cubicBezTo>
                  <a:pt x="2393" y="775"/>
                  <a:pt x="2393" y="775"/>
                  <a:pt x="2393" y="775"/>
                </a:cubicBezTo>
                <a:cubicBezTo>
                  <a:pt x="2393" y="775"/>
                  <a:pt x="2392" y="762"/>
                  <a:pt x="2392" y="761"/>
                </a:cubicBezTo>
                <a:cubicBezTo>
                  <a:pt x="2392" y="759"/>
                  <a:pt x="2390" y="757"/>
                  <a:pt x="2390" y="757"/>
                </a:cubicBezTo>
                <a:cubicBezTo>
                  <a:pt x="2390" y="757"/>
                  <a:pt x="2394" y="755"/>
                  <a:pt x="2394" y="752"/>
                </a:cubicBezTo>
                <a:cubicBezTo>
                  <a:pt x="2394" y="748"/>
                  <a:pt x="2394" y="743"/>
                  <a:pt x="2394" y="743"/>
                </a:cubicBezTo>
                <a:cubicBezTo>
                  <a:pt x="2394" y="743"/>
                  <a:pt x="2397" y="741"/>
                  <a:pt x="2397" y="736"/>
                </a:cubicBezTo>
                <a:cubicBezTo>
                  <a:pt x="2398" y="731"/>
                  <a:pt x="2396" y="730"/>
                  <a:pt x="2396" y="730"/>
                </a:cubicBezTo>
                <a:cubicBezTo>
                  <a:pt x="2397" y="726"/>
                  <a:pt x="2397" y="726"/>
                  <a:pt x="2397" y="726"/>
                </a:cubicBezTo>
                <a:cubicBezTo>
                  <a:pt x="2398" y="726"/>
                  <a:pt x="2398" y="726"/>
                  <a:pt x="2398" y="726"/>
                </a:cubicBezTo>
                <a:cubicBezTo>
                  <a:pt x="2398" y="726"/>
                  <a:pt x="2399" y="724"/>
                  <a:pt x="2401" y="724"/>
                </a:cubicBezTo>
                <a:cubicBezTo>
                  <a:pt x="2403" y="724"/>
                  <a:pt x="2407" y="727"/>
                  <a:pt x="2407" y="727"/>
                </a:cubicBezTo>
                <a:cubicBezTo>
                  <a:pt x="2406" y="728"/>
                  <a:pt x="2406" y="728"/>
                  <a:pt x="2406" y="728"/>
                </a:cubicBezTo>
                <a:cubicBezTo>
                  <a:pt x="2406" y="728"/>
                  <a:pt x="2405" y="735"/>
                  <a:pt x="2407" y="735"/>
                </a:cubicBezTo>
                <a:cubicBezTo>
                  <a:pt x="2410" y="735"/>
                  <a:pt x="2417" y="732"/>
                  <a:pt x="2417" y="732"/>
                </a:cubicBezTo>
                <a:cubicBezTo>
                  <a:pt x="2421" y="743"/>
                  <a:pt x="2421" y="743"/>
                  <a:pt x="2421" y="743"/>
                </a:cubicBezTo>
                <a:cubicBezTo>
                  <a:pt x="2421" y="743"/>
                  <a:pt x="2422" y="740"/>
                  <a:pt x="2425" y="741"/>
                </a:cubicBezTo>
                <a:cubicBezTo>
                  <a:pt x="2425" y="742"/>
                  <a:pt x="2426" y="742"/>
                  <a:pt x="2427" y="743"/>
                </a:cubicBezTo>
                <a:cubicBezTo>
                  <a:pt x="2430" y="746"/>
                  <a:pt x="2427" y="749"/>
                  <a:pt x="2427" y="749"/>
                </a:cubicBezTo>
                <a:cubicBezTo>
                  <a:pt x="2427" y="749"/>
                  <a:pt x="2429" y="753"/>
                  <a:pt x="2431" y="754"/>
                </a:cubicBezTo>
                <a:cubicBezTo>
                  <a:pt x="2433" y="754"/>
                  <a:pt x="2434" y="751"/>
                  <a:pt x="2434" y="751"/>
                </a:cubicBezTo>
                <a:cubicBezTo>
                  <a:pt x="2434" y="751"/>
                  <a:pt x="2433" y="756"/>
                  <a:pt x="2435" y="756"/>
                </a:cubicBezTo>
                <a:cubicBezTo>
                  <a:pt x="2438" y="757"/>
                  <a:pt x="2440" y="755"/>
                  <a:pt x="2440" y="757"/>
                </a:cubicBezTo>
                <a:cubicBezTo>
                  <a:pt x="2440" y="758"/>
                  <a:pt x="2441" y="759"/>
                  <a:pt x="2442" y="760"/>
                </a:cubicBezTo>
                <a:cubicBezTo>
                  <a:pt x="2444" y="761"/>
                  <a:pt x="2444" y="761"/>
                  <a:pt x="2444" y="761"/>
                </a:cubicBezTo>
                <a:cubicBezTo>
                  <a:pt x="2444" y="761"/>
                  <a:pt x="2444" y="761"/>
                  <a:pt x="2444" y="762"/>
                </a:cubicBezTo>
                <a:cubicBezTo>
                  <a:pt x="2446" y="763"/>
                  <a:pt x="2451" y="766"/>
                  <a:pt x="2451" y="766"/>
                </a:cubicBezTo>
                <a:cubicBezTo>
                  <a:pt x="2448" y="768"/>
                  <a:pt x="2448" y="768"/>
                  <a:pt x="2448" y="768"/>
                </a:cubicBezTo>
                <a:cubicBezTo>
                  <a:pt x="2448" y="768"/>
                  <a:pt x="2451" y="776"/>
                  <a:pt x="2449" y="777"/>
                </a:cubicBezTo>
                <a:cubicBezTo>
                  <a:pt x="2448" y="777"/>
                  <a:pt x="2448" y="779"/>
                  <a:pt x="2447" y="780"/>
                </a:cubicBezTo>
                <a:cubicBezTo>
                  <a:pt x="2448" y="780"/>
                  <a:pt x="2448" y="780"/>
                  <a:pt x="2448" y="780"/>
                </a:cubicBezTo>
                <a:cubicBezTo>
                  <a:pt x="2449" y="781"/>
                  <a:pt x="2452" y="781"/>
                  <a:pt x="2454" y="778"/>
                </a:cubicBezTo>
                <a:cubicBezTo>
                  <a:pt x="2457" y="776"/>
                  <a:pt x="2460" y="775"/>
                  <a:pt x="2460" y="775"/>
                </a:cubicBezTo>
                <a:cubicBezTo>
                  <a:pt x="2460" y="772"/>
                  <a:pt x="2460" y="772"/>
                  <a:pt x="2460" y="772"/>
                </a:cubicBezTo>
                <a:cubicBezTo>
                  <a:pt x="2460" y="769"/>
                  <a:pt x="2460" y="769"/>
                  <a:pt x="2460" y="769"/>
                </a:cubicBezTo>
                <a:cubicBezTo>
                  <a:pt x="2460" y="769"/>
                  <a:pt x="2465" y="771"/>
                  <a:pt x="2466" y="768"/>
                </a:cubicBezTo>
                <a:cubicBezTo>
                  <a:pt x="2467" y="766"/>
                  <a:pt x="2463" y="763"/>
                  <a:pt x="2464" y="763"/>
                </a:cubicBezTo>
                <a:cubicBezTo>
                  <a:pt x="2465" y="762"/>
                  <a:pt x="2470" y="760"/>
                  <a:pt x="2470" y="760"/>
                </a:cubicBezTo>
                <a:cubicBezTo>
                  <a:pt x="2470" y="760"/>
                  <a:pt x="2472" y="762"/>
                  <a:pt x="2477" y="759"/>
                </a:cubicBezTo>
                <a:cubicBezTo>
                  <a:pt x="2481" y="757"/>
                  <a:pt x="2488" y="752"/>
                  <a:pt x="2489" y="748"/>
                </a:cubicBezTo>
                <a:cubicBezTo>
                  <a:pt x="2489" y="745"/>
                  <a:pt x="2492" y="735"/>
                  <a:pt x="2492" y="733"/>
                </a:cubicBezTo>
                <a:cubicBezTo>
                  <a:pt x="2491" y="731"/>
                  <a:pt x="2487" y="727"/>
                  <a:pt x="2487" y="727"/>
                </a:cubicBezTo>
                <a:cubicBezTo>
                  <a:pt x="2489" y="727"/>
                  <a:pt x="2489" y="727"/>
                  <a:pt x="2489" y="727"/>
                </a:cubicBezTo>
                <a:cubicBezTo>
                  <a:pt x="2489" y="727"/>
                  <a:pt x="2489" y="719"/>
                  <a:pt x="2488" y="716"/>
                </a:cubicBezTo>
                <a:cubicBezTo>
                  <a:pt x="2487" y="713"/>
                  <a:pt x="2484" y="708"/>
                  <a:pt x="2484" y="708"/>
                </a:cubicBezTo>
                <a:cubicBezTo>
                  <a:pt x="2484" y="708"/>
                  <a:pt x="2486" y="705"/>
                  <a:pt x="2483" y="702"/>
                </a:cubicBezTo>
                <a:cubicBezTo>
                  <a:pt x="2479" y="699"/>
                  <a:pt x="2470" y="690"/>
                  <a:pt x="2467" y="689"/>
                </a:cubicBezTo>
                <a:cubicBezTo>
                  <a:pt x="2464" y="687"/>
                  <a:pt x="2461" y="686"/>
                  <a:pt x="2460" y="684"/>
                </a:cubicBezTo>
                <a:cubicBezTo>
                  <a:pt x="2460" y="683"/>
                  <a:pt x="2461" y="681"/>
                  <a:pt x="2460" y="679"/>
                </a:cubicBezTo>
                <a:cubicBezTo>
                  <a:pt x="2459" y="677"/>
                  <a:pt x="2449" y="669"/>
                  <a:pt x="2447" y="664"/>
                </a:cubicBezTo>
                <a:cubicBezTo>
                  <a:pt x="2446" y="659"/>
                  <a:pt x="2445" y="653"/>
                  <a:pt x="2446" y="652"/>
                </a:cubicBezTo>
                <a:cubicBezTo>
                  <a:pt x="2448" y="651"/>
                  <a:pt x="2448" y="648"/>
                  <a:pt x="2448" y="648"/>
                </a:cubicBezTo>
                <a:cubicBezTo>
                  <a:pt x="2448" y="648"/>
                  <a:pt x="2452" y="645"/>
                  <a:pt x="2453" y="645"/>
                </a:cubicBezTo>
                <a:cubicBezTo>
                  <a:pt x="2454" y="644"/>
                  <a:pt x="2455" y="642"/>
                  <a:pt x="2455" y="642"/>
                </a:cubicBezTo>
                <a:cubicBezTo>
                  <a:pt x="2455" y="642"/>
                  <a:pt x="2459" y="642"/>
                  <a:pt x="2460" y="641"/>
                </a:cubicBezTo>
                <a:cubicBezTo>
                  <a:pt x="2461" y="640"/>
                  <a:pt x="2461" y="636"/>
                  <a:pt x="2461" y="636"/>
                </a:cubicBezTo>
                <a:cubicBezTo>
                  <a:pt x="2462" y="635"/>
                  <a:pt x="2462" y="635"/>
                  <a:pt x="2462" y="635"/>
                </a:cubicBezTo>
                <a:cubicBezTo>
                  <a:pt x="2469" y="631"/>
                  <a:pt x="2469" y="631"/>
                  <a:pt x="2469" y="631"/>
                </a:cubicBezTo>
                <a:cubicBezTo>
                  <a:pt x="2471" y="632"/>
                  <a:pt x="2471" y="632"/>
                  <a:pt x="2471" y="632"/>
                </a:cubicBezTo>
                <a:cubicBezTo>
                  <a:pt x="2471" y="632"/>
                  <a:pt x="2480" y="632"/>
                  <a:pt x="2482" y="635"/>
                </a:cubicBezTo>
                <a:cubicBezTo>
                  <a:pt x="2483" y="637"/>
                  <a:pt x="2480" y="642"/>
                  <a:pt x="2481" y="644"/>
                </a:cubicBezTo>
                <a:cubicBezTo>
                  <a:pt x="2483" y="646"/>
                  <a:pt x="2487" y="649"/>
                  <a:pt x="2487" y="649"/>
                </a:cubicBezTo>
                <a:cubicBezTo>
                  <a:pt x="2490" y="649"/>
                  <a:pt x="2490" y="649"/>
                  <a:pt x="2490" y="649"/>
                </a:cubicBezTo>
                <a:cubicBezTo>
                  <a:pt x="2490" y="646"/>
                  <a:pt x="2490" y="646"/>
                  <a:pt x="2490" y="646"/>
                </a:cubicBezTo>
                <a:cubicBezTo>
                  <a:pt x="2490" y="646"/>
                  <a:pt x="2488" y="640"/>
                  <a:pt x="2491" y="636"/>
                </a:cubicBezTo>
                <a:cubicBezTo>
                  <a:pt x="2493" y="633"/>
                  <a:pt x="2499" y="633"/>
                  <a:pt x="2502" y="633"/>
                </a:cubicBezTo>
                <a:cubicBezTo>
                  <a:pt x="2504" y="632"/>
                  <a:pt x="2513" y="630"/>
                  <a:pt x="2513" y="628"/>
                </a:cubicBezTo>
                <a:cubicBezTo>
                  <a:pt x="2514" y="626"/>
                  <a:pt x="2514" y="620"/>
                  <a:pt x="2516" y="619"/>
                </a:cubicBezTo>
                <a:cubicBezTo>
                  <a:pt x="2517" y="619"/>
                  <a:pt x="2519" y="626"/>
                  <a:pt x="2521" y="625"/>
                </a:cubicBezTo>
                <a:cubicBezTo>
                  <a:pt x="2523" y="624"/>
                  <a:pt x="2527" y="618"/>
                  <a:pt x="2527" y="618"/>
                </a:cubicBezTo>
                <a:cubicBezTo>
                  <a:pt x="2529" y="620"/>
                  <a:pt x="2529" y="620"/>
                  <a:pt x="2529" y="620"/>
                </a:cubicBezTo>
                <a:cubicBezTo>
                  <a:pt x="2534" y="619"/>
                  <a:pt x="2534" y="619"/>
                  <a:pt x="2534" y="619"/>
                </a:cubicBezTo>
                <a:cubicBezTo>
                  <a:pt x="2534" y="619"/>
                  <a:pt x="2539" y="620"/>
                  <a:pt x="2542" y="619"/>
                </a:cubicBezTo>
                <a:cubicBezTo>
                  <a:pt x="2544" y="617"/>
                  <a:pt x="2546" y="617"/>
                  <a:pt x="2547" y="615"/>
                </a:cubicBezTo>
                <a:cubicBezTo>
                  <a:pt x="2548" y="614"/>
                  <a:pt x="2554" y="609"/>
                  <a:pt x="2555" y="607"/>
                </a:cubicBezTo>
                <a:cubicBezTo>
                  <a:pt x="2556" y="605"/>
                  <a:pt x="2553" y="601"/>
                  <a:pt x="2553" y="601"/>
                </a:cubicBezTo>
                <a:cubicBezTo>
                  <a:pt x="2556" y="601"/>
                  <a:pt x="2556" y="601"/>
                  <a:pt x="2556" y="601"/>
                </a:cubicBezTo>
                <a:cubicBezTo>
                  <a:pt x="2557" y="597"/>
                  <a:pt x="2557" y="597"/>
                  <a:pt x="2557" y="597"/>
                </a:cubicBezTo>
                <a:cubicBezTo>
                  <a:pt x="2561" y="597"/>
                  <a:pt x="2561" y="597"/>
                  <a:pt x="2561" y="597"/>
                </a:cubicBezTo>
                <a:cubicBezTo>
                  <a:pt x="2562" y="592"/>
                  <a:pt x="2562" y="592"/>
                  <a:pt x="2562" y="592"/>
                </a:cubicBezTo>
                <a:cubicBezTo>
                  <a:pt x="2564" y="592"/>
                  <a:pt x="2564" y="592"/>
                  <a:pt x="2564" y="592"/>
                </a:cubicBezTo>
                <a:cubicBezTo>
                  <a:pt x="2565" y="586"/>
                  <a:pt x="2565" y="586"/>
                  <a:pt x="2565" y="586"/>
                </a:cubicBezTo>
                <a:cubicBezTo>
                  <a:pt x="2565" y="586"/>
                  <a:pt x="2567" y="587"/>
                  <a:pt x="2567" y="582"/>
                </a:cubicBezTo>
                <a:cubicBezTo>
                  <a:pt x="2567" y="578"/>
                  <a:pt x="2565" y="578"/>
                  <a:pt x="2566" y="577"/>
                </a:cubicBezTo>
                <a:cubicBezTo>
                  <a:pt x="2567" y="575"/>
                  <a:pt x="2571" y="576"/>
                  <a:pt x="2571" y="572"/>
                </a:cubicBezTo>
                <a:cubicBezTo>
                  <a:pt x="2571" y="568"/>
                  <a:pt x="2568" y="568"/>
                  <a:pt x="2569" y="567"/>
                </a:cubicBezTo>
                <a:cubicBezTo>
                  <a:pt x="2569" y="565"/>
                  <a:pt x="2571" y="564"/>
                  <a:pt x="2571" y="564"/>
                </a:cubicBezTo>
                <a:cubicBezTo>
                  <a:pt x="2571" y="559"/>
                  <a:pt x="2571" y="559"/>
                  <a:pt x="2571" y="559"/>
                </a:cubicBezTo>
                <a:cubicBezTo>
                  <a:pt x="2571" y="559"/>
                  <a:pt x="2577" y="557"/>
                  <a:pt x="2578" y="554"/>
                </a:cubicBezTo>
                <a:cubicBezTo>
                  <a:pt x="2580" y="551"/>
                  <a:pt x="2576" y="550"/>
                  <a:pt x="2576" y="550"/>
                </a:cubicBezTo>
                <a:cubicBezTo>
                  <a:pt x="2576" y="550"/>
                  <a:pt x="2583" y="549"/>
                  <a:pt x="2583" y="547"/>
                </a:cubicBezTo>
                <a:cubicBezTo>
                  <a:pt x="2583" y="546"/>
                  <a:pt x="2579" y="545"/>
                  <a:pt x="2579" y="545"/>
                </a:cubicBezTo>
                <a:cubicBezTo>
                  <a:pt x="2579" y="545"/>
                  <a:pt x="2587" y="537"/>
                  <a:pt x="2583" y="535"/>
                </a:cubicBezTo>
                <a:cubicBezTo>
                  <a:pt x="2580" y="533"/>
                  <a:pt x="2563" y="538"/>
                  <a:pt x="2563" y="538"/>
                </a:cubicBezTo>
                <a:cubicBezTo>
                  <a:pt x="2561" y="536"/>
                  <a:pt x="2561" y="536"/>
                  <a:pt x="2561" y="536"/>
                </a:cubicBezTo>
                <a:cubicBezTo>
                  <a:pt x="2566" y="536"/>
                  <a:pt x="2566" y="536"/>
                  <a:pt x="2566" y="536"/>
                </a:cubicBezTo>
                <a:cubicBezTo>
                  <a:pt x="2566" y="536"/>
                  <a:pt x="2566" y="532"/>
                  <a:pt x="2568" y="532"/>
                </a:cubicBezTo>
                <a:cubicBezTo>
                  <a:pt x="2570" y="531"/>
                  <a:pt x="2574" y="530"/>
                  <a:pt x="2574" y="530"/>
                </a:cubicBezTo>
                <a:cubicBezTo>
                  <a:pt x="2574" y="530"/>
                  <a:pt x="2572" y="525"/>
                  <a:pt x="2571" y="525"/>
                </a:cubicBezTo>
                <a:cubicBezTo>
                  <a:pt x="2570" y="525"/>
                  <a:pt x="2565" y="524"/>
                  <a:pt x="2565" y="524"/>
                </a:cubicBezTo>
                <a:cubicBezTo>
                  <a:pt x="2563" y="521"/>
                  <a:pt x="2563" y="521"/>
                  <a:pt x="2563" y="521"/>
                </a:cubicBezTo>
                <a:cubicBezTo>
                  <a:pt x="2562" y="522"/>
                  <a:pt x="2562" y="522"/>
                  <a:pt x="2562" y="522"/>
                </a:cubicBezTo>
                <a:cubicBezTo>
                  <a:pt x="2562" y="522"/>
                  <a:pt x="2560" y="519"/>
                  <a:pt x="2558" y="519"/>
                </a:cubicBezTo>
                <a:cubicBezTo>
                  <a:pt x="2557" y="519"/>
                  <a:pt x="2553" y="520"/>
                  <a:pt x="2553" y="520"/>
                </a:cubicBezTo>
                <a:cubicBezTo>
                  <a:pt x="2548" y="513"/>
                  <a:pt x="2548" y="513"/>
                  <a:pt x="2548" y="513"/>
                </a:cubicBezTo>
                <a:cubicBezTo>
                  <a:pt x="2548" y="513"/>
                  <a:pt x="2553" y="518"/>
                  <a:pt x="2554" y="517"/>
                </a:cubicBezTo>
                <a:cubicBezTo>
                  <a:pt x="2555" y="517"/>
                  <a:pt x="2557" y="516"/>
                  <a:pt x="2557" y="516"/>
                </a:cubicBezTo>
                <a:cubicBezTo>
                  <a:pt x="2561" y="517"/>
                  <a:pt x="2561" y="517"/>
                  <a:pt x="2561" y="517"/>
                </a:cubicBezTo>
                <a:cubicBezTo>
                  <a:pt x="2563" y="519"/>
                  <a:pt x="2563" y="519"/>
                  <a:pt x="2563" y="519"/>
                </a:cubicBezTo>
                <a:cubicBezTo>
                  <a:pt x="2565" y="519"/>
                  <a:pt x="2565" y="519"/>
                  <a:pt x="2565" y="519"/>
                </a:cubicBezTo>
                <a:cubicBezTo>
                  <a:pt x="2571" y="521"/>
                  <a:pt x="2571" y="521"/>
                  <a:pt x="2571" y="521"/>
                </a:cubicBezTo>
                <a:cubicBezTo>
                  <a:pt x="2568" y="517"/>
                  <a:pt x="2568" y="517"/>
                  <a:pt x="2568" y="517"/>
                </a:cubicBezTo>
                <a:cubicBezTo>
                  <a:pt x="2566" y="517"/>
                  <a:pt x="2566" y="517"/>
                  <a:pt x="2566" y="517"/>
                </a:cubicBezTo>
                <a:cubicBezTo>
                  <a:pt x="2566" y="517"/>
                  <a:pt x="2566" y="512"/>
                  <a:pt x="2564" y="512"/>
                </a:cubicBezTo>
                <a:cubicBezTo>
                  <a:pt x="2562" y="512"/>
                  <a:pt x="2560" y="511"/>
                  <a:pt x="2559" y="510"/>
                </a:cubicBezTo>
                <a:cubicBezTo>
                  <a:pt x="2558" y="509"/>
                  <a:pt x="2557" y="505"/>
                  <a:pt x="2557" y="505"/>
                </a:cubicBezTo>
                <a:cubicBezTo>
                  <a:pt x="2546" y="492"/>
                  <a:pt x="2546" y="492"/>
                  <a:pt x="2546" y="492"/>
                </a:cubicBezTo>
                <a:cubicBezTo>
                  <a:pt x="2542" y="490"/>
                  <a:pt x="2542" y="490"/>
                  <a:pt x="2542" y="490"/>
                </a:cubicBezTo>
                <a:cubicBezTo>
                  <a:pt x="2537" y="487"/>
                  <a:pt x="2537" y="487"/>
                  <a:pt x="2537" y="487"/>
                </a:cubicBezTo>
                <a:cubicBezTo>
                  <a:pt x="2534" y="487"/>
                  <a:pt x="2534" y="487"/>
                  <a:pt x="2534" y="487"/>
                </a:cubicBezTo>
                <a:cubicBezTo>
                  <a:pt x="2534" y="487"/>
                  <a:pt x="2531" y="482"/>
                  <a:pt x="2532" y="481"/>
                </a:cubicBezTo>
                <a:cubicBezTo>
                  <a:pt x="2533" y="480"/>
                  <a:pt x="2537" y="478"/>
                  <a:pt x="2537" y="476"/>
                </a:cubicBezTo>
                <a:cubicBezTo>
                  <a:pt x="2537" y="474"/>
                  <a:pt x="2536" y="470"/>
                  <a:pt x="2536" y="470"/>
                </a:cubicBezTo>
                <a:cubicBezTo>
                  <a:pt x="2536" y="470"/>
                  <a:pt x="2539" y="474"/>
                  <a:pt x="2541" y="472"/>
                </a:cubicBezTo>
                <a:cubicBezTo>
                  <a:pt x="2543" y="471"/>
                  <a:pt x="2541" y="465"/>
                  <a:pt x="2541" y="465"/>
                </a:cubicBezTo>
                <a:cubicBezTo>
                  <a:pt x="2544" y="466"/>
                  <a:pt x="2544" y="466"/>
                  <a:pt x="2544" y="466"/>
                </a:cubicBezTo>
                <a:cubicBezTo>
                  <a:pt x="2549" y="462"/>
                  <a:pt x="2549" y="462"/>
                  <a:pt x="2549" y="462"/>
                </a:cubicBezTo>
                <a:cubicBezTo>
                  <a:pt x="2549" y="462"/>
                  <a:pt x="2553" y="463"/>
                  <a:pt x="2554" y="463"/>
                </a:cubicBezTo>
                <a:cubicBezTo>
                  <a:pt x="2555" y="463"/>
                  <a:pt x="2553" y="460"/>
                  <a:pt x="2553" y="460"/>
                </a:cubicBezTo>
                <a:cubicBezTo>
                  <a:pt x="2554" y="456"/>
                  <a:pt x="2554" y="456"/>
                  <a:pt x="2554" y="456"/>
                </a:cubicBezTo>
                <a:cubicBezTo>
                  <a:pt x="2550" y="456"/>
                  <a:pt x="2550" y="456"/>
                  <a:pt x="2550" y="456"/>
                </a:cubicBezTo>
                <a:cubicBezTo>
                  <a:pt x="2548" y="455"/>
                  <a:pt x="2548" y="455"/>
                  <a:pt x="2548" y="455"/>
                </a:cubicBezTo>
                <a:cubicBezTo>
                  <a:pt x="2547" y="456"/>
                  <a:pt x="2547" y="456"/>
                  <a:pt x="2547" y="456"/>
                </a:cubicBezTo>
                <a:cubicBezTo>
                  <a:pt x="2543" y="456"/>
                  <a:pt x="2543" y="456"/>
                  <a:pt x="2543" y="456"/>
                </a:cubicBezTo>
                <a:cubicBezTo>
                  <a:pt x="2543" y="456"/>
                  <a:pt x="2539" y="452"/>
                  <a:pt x="2537" y="452"/>
                </a:cubicBezTo>
                <a:cubicBezTo>
                  <a:pt x="2534" y="452"/>
                  <a:pt x="2530" y="457"/>
                  <a:pt x="2530" y="458"/>
                </a:cubicBezTo>
                <a:cubicBezTo>
                  <a:pt x="2530" y="459"/>
                  <a:pt x="2529" y="461"/>
                  <a:pt x="2527" y="460"/>
                </a:cubicBezTo>
                <a:cubicBezTo>
                  <a:pt x="2525" y="460"/>
                  <a:pt x="2520" y="459"/>
                  <a:pt x="2520" y="456"/>
                </a:cubicBezTo>
                <a:cubicBezTo>
                  <a:pt x="2519" y="453"/>
                  <a:pt x="2517" y="449"/>
                  <a:pt x="2516" y="449"/>
                </a:cubicBezTo>
                <a:cubicBezTo>
                  <a:pt x="2515" y="448"/>
                  <a:pt x="2514" y="449"/>
                  <a:pt x="2514" y="449"/>
                </a:cubicBezTo>
                <a:cubicBezTo>
                  <a:pt x="2514" y="451"/>
                  <a:pt x="2514" y="451"/>
                  <a:pt x="2514" y="451"/>
                </a:cubicBezTo>
                <a:cubicBezTo>
                  <a:pt x="2512" y="449"/>
                  <a:pt x="2512" y="449"/>
                  <a:pt x="2512" y="449"/>
                </a:cubicBezTo>
                <a:cubicBezTo>
                  <a:pt x="2512" y="449"/>
                  <a:pt x="2507" y="449"/>
                  <a:pt x="2505" y="447"/>
                </a:cubicBezTo>
                <a:cubicBezTo>
                  <a:pt x="2503" y="445"/>
                  <a:pt x="2501" y="441"/>
                  <a:pt x="2501" y="440"/>
                </a:cubicBezTo>
                <a:cubicBezTo>
                  <a:pt x="2502" y="439"/>
                  <a:pt x="2502" y="437"/>
                  <a:pt x="2502" y="437"/>
                </a:cubicBezTo>
                <a:cubicBezTo>
                  <a:pt x="2504" y="437"/>
                  <a:pt x="2504" y="437"/>
                  <a:pt x="2504" y="437"/>
                </a:cubicBezTo>
                <a:cubicBezTo>
                  <a:pt x="2504" y="437"/>
                  <a:pt x="2505" y="438"/>
                  <a:pt x="2506" y="438"/>
                </a:cubicBezTo>
                <a:cubicBezTo>
                  <a:pt x="2507" y="438"/>
                  <a:pt x="2508" y="436"/>
                  <a:pt x="2508" y="436"/>
                </a:cubicBezTo>
                <a:cubicBezTo>
                  <a:pt x="2508" y="436"/>
                  <a:pt x="2511" y="438"/>
                  <a:pt x="2513" y="436"/>
                </a:cubicBezTo>
                <a:cubicBezTo>
                  <a:pt x="2515" y="435"/>
                  <a:pt x="2513" y="433"/>
                  <a:pt x="2513" y="433"/>
                </a:cubicBezTo>
                <a:cubicBezTo>
                  <a:pt x="2513" y="433"/>
                  <a:pt x="2513" y="428"/>
                  <a:pt x="2514" y="427"/>
                </a:cubicBezTo>
                <a:cubicBezTo>
                  <a:pt x="2515" y="426"/>
                  <a:pt x="2519" y="428"/>
                  <a:pt x="2520" y="426"/>
                </a:cubicBezTo>
                <a:cubicBezTo>
                  <a:pt x="2521" y="423"/>
                  <a:pt x="2521" y="421"/>
                  <a:pt x="2521" y="421"/>
                </a:cubicBezTo>
                <a:cubicBezTo>
                  <a:pt x="2524" y="419"/>
                  <a:pt x="2524" y="419"/>
                  <a:pt x="2524" y="419"/>
                </a:cubicBezTo>
                <a:cubicBezTo>
                  <a:pt x="2522" y="418"/>
                  <a:pt x="2522" y="418"/>
                  <a:pt x="2522" y="418"/>
                </a:cubicBezTo>
                <a:cubicBezTo>
                  <a:pt x="2528" y="419"/>
                  <a:pt x="2528" y="419"/>
                  <a:pt x="2528" y="419"/>
                </a:cubicBezTo>
                <a:cubicBezTo>
                  <a:pt x="2530" y="417"/>
                  <a:pt x="2530" y="417"/>
                  <a:pt x="2530" y="417"/>
                </a:cubicBezTo>
                <a:cubicBezTo>
                  <a:pt x="2530" y="417"/>
                  <a:pt x="2536" y="422"/>
                  <a:pt x="2536" y="425"/>
                </a:cubicBezTo>
                <a:cubicBezTo>
                  <a:pt x="2535" y="428"/>
                  <a:pt x="2532" y="428"/>
                  <a:pt x="2531" y="430"/>
                </a:cubicBezTo>
                <a:cubicBezTo>
                  <a:pt x="2531" y="432"/>
                  <a:pt x="2532" y="435"/>
                  <a:pt x="2534" y="435"/>
                </a:cubicBezTo>
                <a:cubicBezTo>
                  <a:pt x="2535" y="435"/>
                  <a:pt x="2537" y="434"/>
                  <a:pt x="2537" y="434"/>
                </a:cubicBezTo>
                <a:cubicBezTo>
                  <a:pt x="2536" y="438"/>
                  <a:pt x="2536" y="438"/>
                  <a:pt x="2536" y="438"/>
                </a:cubicBezTo>
                <a:cubicBezTo>
                  <a:pt x="2536" y="438"/>
                  <a:pt x="2532" y="442"/>
                  <a:pt x="2534" y="442"/>
                </a:cubicBezTo>
                <a:cubicBezTo>
                  <a:pt x="2536" y="443"/>
                  <a:pt x="2539" y="440"/>
                  <a:pt x="2539" y="440"/>
                </a:cubicBezTo>
                <a:cubicBezTo>
                  <a:pt x="2539" y="440"/>
                  <a:pt x="2540" y="440"/>
                  <a:pt x="2541" y="439"/>
                </a:cubicBezTo>
                <a:cubicBezTo>
                  <a:pt x="2542" y="438"/>
                  <a:pt x="2542" y="435"/>
                  <a:pt x="2542" y="435"/>
                </a:cubicBezTo>
                <a:cubicBezTo>
                  <a:pt x="2542" y="435"/>
                  <a:pt x="2550" y="430"/>
                  <a:pt x="2551" y="430"/>
                </a:cubicBezTo>
                <a:cubicBezTo>
                  <a:pt x="2552" y="429"/>
                  <a:pt x="2556" y="429"/>
                  <a:pt x="2556" y="429"/>
                </a:cubicBezTo>
                <a:cubicBezTo>
                  <a:pt x="2558" y="427"/>
                  <a:pt x="2558" y="427"/>
                  <a:pt x="2558" y="427"/>
                </a:cubicBezTo>
                <a:cubicBezTo>
                  <a:pt x="2559" y="430"/>
                  <a:pt x="2559" y="430"/>
                  <a:pt x="2559" y="430"/>
                </a:cubicBezTo>
                <a:cubicBezTo>
                  <a:pt x="2562" y="433"/>
                  <a:pt x="2562" y="433"/>
                  <a:pt x="2562" y="433"/>
                </a:cubicBezTo>
                <a:cubicBezTo>
                  <a:pt x="2563" y="430"/>
                  <a:pt x="2563" y="430"/>
                  <a:pt x="2563" y="430"/>
                </a:cubicBezTo>
                <a:cubicBezTo>
                  <a:pt x="2563" y="430"/>
                  <a:pt x="2565" y="433"/>
                  <a:pt x="2566" y="433"/>
                </a:cubicBezTo>
                <a:cubicBezTo>
                  <a:pt x="2567" y="433"/>
                  <a:pt x="2569" y="432"/>
                  <a:pt x="2570" y="433"/>
                </a:cubicBezTo>
                <a:cubicBezTo>
                  <a:pt x="2570" y="434"/>
                  <a:pt x="2570" y="442"/>
                  <a:pt x="2570" y="442"/>
                </a:cubicBezTo>
                <a:cubicBezTo>
                  <a:pt x="2576" y="442"/>
                  <a:pt x="2576" y="442"/>
                  <a:pt x="2576" y="442"/>
                </a:cubicBezTo>
                <a:cubicBezTo>
                  <a:pt x="2576" y="444"/>
                  <a:pt x="2576" y="444"/>
                  <a:pt x="2576" y="444"/>
                </a:cubicBezTo>
                <a:cubicBezTo>
                  <a:pt x="2576" y="444"/>
                  <a:pt x="2571" y="441"/>
                  <a:pt x="2571" y="444"/>
                </a:cubicBezTo>
                <a:cubicBezTo>
                  <a:pt x="2570" y="447"/>
                  <a:pt x="2573" y="450"/>
                  <a:pt x="2573" y="450"/>
                </a:cubicBezTo>
                <a:cubicBezTo>
                  <a:pt x="2574" y="452"/>
                  <a:pt x="2574" y="452"/>
                  <a:pt x="2574" y="452"/>
                </a:cubicBezTo>
                <a:cubicBezTo>
                  <a:pt x="2578" y="451"/>
                  <a:pt x="2578" y="451"/>
                  <a:pt x="2578" y="451"/>
                </a:cubicBezTo>
                <a:cubicBezTo>
                  <a:pt x="2578" y="451"/>
                  <a:pt x="2583" y="454"/>
                  <a:pt x="2584" y="453"/>
                </a:cubicBezTo>
                <a:cubicBezTo>
                  <a:pt x="2586" y="453"/>
                  <a:pt x="2588" y="452"/>
                  <a:pt x="2588" y="452"/>
                </a:cubicBezTo>
                <a:cubicBezTo>
                  <a:pt x="2588" y="452"/>
                  <a:pt x="2588" y="455"/>
                  <a:pt x="2590" y="456"/>
                </a:cubicBezTo>
                <a:cubicBezTo>
                  <a:pt x="2591" y="457"/>
                  <a:pt x="2594" y="458"/>
                  <a:pt x="2594" y="458"/>
                </a:cubicBezTo>
                <a:cubicBezTo>
                  <a:pt x="2597" y="463"/>
                  <a:pt x="2597" y="463"/>
                  <a:pt x="2597" y="463"/>
                </a:cubicBezTo>
                <a:cubicBezTo>
                  <a:pt x="2597" y="463"/>
                  <a:pt x="2590" y="460"/>
                  <a:pt x="2589" y="461"/>
                </a:cubicBezTo>
                <a:cubicBezTo>
                  <a:pt x="2589" y="463"/>
                  <a:pt x="2594" y="466"/>
                  <a:pt x="2594" y="466"/>
                </a:cubicBezTo>
                <a:cubicBezTo>
                  <a:pt x="2596" y="472"/>
                  <a:pt x="2596" y="472"/>
                  <a:pt x="2596" y="472"/>
                </a:cubicBezTo>
                <a:cubicBezTo>
                  <a:pt x="2601" y="472"/>
                  <a:pt x="2601" y="472"/>
                  <a:pt x="2601" y="472"/>
                </a:cubicBezTo>
                <a:cubicBezTo>
                  <a:pt x="2601" y="476"/>
                  <a:pt x="2601" y="476"/>
                  <a:pt x="2601" y="476"/>
                </a:cubicBezTo>
                <a:cubicBezTo>
                  <a:pt x="2601" y="476"/>
                  <a:pt x="2598" y="478"/>
                  <a:pt x="2599" y="482"/>
                </a:cubicBezTo>
                <a:cubicBezTo>
                  <a:pt x="2601" y="486"/>
                  <a:pt x="2604" y="486"/>
                  <a:pt x="2604" y="486"/>
                </a:cubicBezTo>
                <a:cubicBezTo>
                  <a:pt x="2604" y="486"/>
                  <a:pt x="2601" y="491"/>
                  <a:pt x="2605" y="491"/>
                </a:cubicBezTo>
                <a:cubicBezTo>
                  <a:pt x="2609" y="490"/>
                  <a:pt x="2609" y="487"/>
                  <a:pt x="2609" y="487"/>
                </a:cubicBezTo>
                <a:cubicBezTo>
                  <a:pt x="2616" y="484"/>
                  <a:pt x="2616" y="484"/>
                  <a:pt x="2616" y="484"/>
                </a:cubicBezTo>
                <a:cubicBezTo>
                  <a:pt x="2620" y="485"/>
                  <a:pt x="2620" y="485"/>
                  <a:pt x="2620" y="485"/>
                </a:cubicBezTo>
                <a:cubicBezTo>
                  <a:pt x="2621" y="482"/>
                  <a:pt x="2621" y="482"/>
                  <a:pt x="2621" y="482"/>
                </a:cubicBezTo>
                <a:cubicBezTo>
                  <a:pt x="2621" y="482"/>
                  <a:pt x="2628" y="483"/>
                  <a:pt x="2627" y="479"/>
                </a:cubicBezTo>
                <a:cubicBezTo>
                  <a:pt x="2626" y="475"/>
                  <a:pt x="2623" y="472"/>
                  <a:pt x="2623" y="472"/>
                </a:cubicBezTo>
                <a:cubicBezTo>
                  <a:pt x="2623" y="472"/>
                  <a:pt x="2624" y="468"/>
                  <a:pt x="2622" y="465"/>
                </a:cubicBezTo>
                <a:cubicBezTo>
                  <a:pt x="2620" y="463"/>
                  <a:pt x="2611" y="455"/>
                  <a:pt x="2611" y="455"/>
                </a:cubicBezTo>
                <a:cubicBezTo>
                  <a:pt x="2609" y="454"/>
                  <a:pt x="2609" y="454"/>
                  <a:pt x="2609" y="454"/>
                </a:cubicBezTo>
                <a:cubicBezTo>
                  <a:pt x="2609" y="454"/>
                  <a:pt x="2608" y="451"/>
                  <a:pt x="2605" y="449"/>
                </a:cubicBezTo>
                <a:cubicBezTo>
                  <a:pt x="2604" y="447"/>
                  <a:pt x="2603" y="446"/>
                  <a:pt x="2602" y="444"/>
                </a:cubicBezTo>
                <a:cubicBezTo>
                  <a:pt x="2601" y="443"/>
                  <a:pt x="2600" y="442"/>
                  <a:pt x="2600" y="442"/>
                </a:cubicBezTo>
                <a:cubicBezTo>
                  <a:pt x="2593" y="438"/>
                  <a:pt x="2593" y="438"/>
                  <a:pt x="2593" y="438"/>
                </a:cubicBezTo>
                <a:cubicBezTo>
                  <a:pt x="2593" y="438"/>
                  <a:pt x="2589" y="440"/>
                  <a:pt x="2590" y="437"/>
                </a:cubicBezTo>
                <a:cubicBezTo>
                  <a:pt x="2592" y="434"/>
                  <a:pt x="2592" y="434"/>
                  <a:pt x="2592" y="434"/>
                </a:cubicBezTo>
                <a:cubicBezTo>
                  <a:pt x="2592" y="434"/>
                  <a:pt x="2586" y="432"/>
                  <a:pt x="2588" y="430"/>
                </a:cubicBezTo>
                <a:cubicBezTo>
                  <a:pt x="2590" y="428"/>
                  <a:pt x="2595" y="428"/>
                  <a:pt x="2596" y="425"/>
                </a:cubicBezTo>
                <a:cubicBezTo>
                  <a:pt x="2597" y="423"/>
                  <a:pt x="2598" y="419"/>
                  <a:pt x="2598" y="419"/>
                </a:cubicBezTo>
                <a:cubicBezTo>
                  <a:pt x="2601" y="418"/>
                  <a:pt x="2601" y="418"/>
                  <a:pt x="2601" y="418"/>
                </a:cubicBezTo>
                <a:cubicBezTo>
                  <a:pt x="2600" y="413"/>
                  <a:pt x="2600" y="413"/>
                  <a:pt x="2600" y="413"/>
                </a:cubicBezTo>
                <a:cubicBezTo>
                  <a:pt x="2600" y="413"/>
                  <a:pt x="2597" y="411"/>
                  <a:pt x="2597" y="407"/>
                </a:cubicBezTo>
                <a:cubicBezTo>
                  <a:pt x="2597" y="404"/>
                  <a:pt x="2602" y="403"/>
                  <a:pt x="2602" y="403"/>
                </a:cubicBezTo>
                <a:cubicBezTo>
                  <a:pt x="2600" y="400"/>
                  <a:pt x="2600" y="400"/>
                  <a:pt x="2600" y="400"/>
                </a:cubicBezTo>
                <a:cubicBezTo>
                  <a:pt x="2605" y="400"/>
                  <a:pt x="2605" y="400"/>
                  <a:pt x="2605" y="400"/>
                </a:cubicBezTo>
                <a:cubicBezTo>
                  <a:pt x="2605" y="400"/>
                  <a:pt x="2604" y="391"/>
                  <a:pt x="2606" y="391"/>
                </a:cubicBezTo>
                <a:cubicBezTo>
                  <a:pt x="2608" y="390"/>
                  <a:pt x="2609" y="392"/>
                  <a:pt x="2609" y="392"/>
                </a:cubicBezTo>
                <a:cubicBezTo>
                  <a:pt x="2611" y="391"/>
                  <a:pt x="2611" y="391"/>
                  <a:pt x="2611" y="391"/>
                </a:cubicBezTo>
                <a:cubicBezTo>
                  <a:pt x="2611" y="391"/>
                  <a:pt x="2614" y="397"/>
                  <a:pt x="2616" y="397"/>
                </a:cubicBezTo>
                <a:cubicBezTo>
                  <a:pt x="2618" y="397"/>
                  <a:pt x="2622" y="395"/>
                  <a:pt x="2622" y="395"/>
                </a:cubicBezTo>
                <a:cubicBezTo>
                  <a:pt x="2622" y="398"/>
                  <a:pt x="2622" y="398"/>
                  <a:pt x="2622" y="398"/>
                </a:cubicBezTo>
                <a:cubicBezTo>
                  <a:pt x="2622" y="398"/>
                  <a:pt x="2633" y="394"/>
                  <a:pt x="2634" y="389"/>
                </a:cubicBezTo>
                <a:cubicBezTo>
                  <a:pt x="2634" y="385"/>
                  <a:pt x="2635" y="379"/>
                  <a:pt x="2635" y="379"/>
                </a:cubicBezTo>
                <a:cubicBezTo>
                  <a:pt x="2638" y="378"/>
                  <a:pt x="2638" y="378"/>
                  <a:pt x="2638" y="378"/>
                </a:cubicBezTo>
                <a:cubicBezTo>
                  <a:pt x="2638" y="378"/>
                  <a:pt x="2637" y="369"/>
                  <a:pt x="2639" y="368"/>
                </a:cubicBezTo>
                <a:cubicBezTo>
                  <a:pt x="2641" y="366"/>
                  <a:pt x="2641" y="361"/>
                  <a:pt x="2642" y="358"/>
                </a:cubicBezTo>
                <a:cubicBezTo>
                  <a:pt x="2642" y="354"/>
                  <a:pt x="2640" y="349"/>
                  <a:pt x="2640" y="349"/>
                </a:cubicBezTo>
                <a:cubicBezTo>
                  <a:pt x="2640" y="349"/>
                  <a:pt x="2643" y="344"/>
                  <a:pt x="2643" y="343"/>
                </a:cubicBezTo>
                <a:cubicBezTo>
                  <a:pt x="2643" y="342"/>
                  <a:pt x="2641" y="340"/>
                  <a:pt x="2641" y="340"/>
                </a:cubicBezTo>
                <a:cubicBezTo>
                  <a:pt x="2641" y="340"/>
                  <a:pt x="2645" y="335"/>
                  <a:pt x="2644" y="333"/>
                </a:cubicBezTo>
                <a:cubicBezTo>
                  <a:pt x="2643" y="331"/>
                  <a:pt x="2640" y="325"/>
                  <a:pt x="2640" y="325"/>
                </a:cubicBezTo>
                <a:cubicBezTo>
                  <a:pt x="2640" y="325"/>
                  <a:pt x="2639" y="320"/>
                  <a:pt x="2637" y="319"/>
                </a:cubicBezTo>
                <a:cubicBezTo>
                  <a:pt x="2636" y="318"/>
                  <a:pt x="2635" y="318"/>
                  <a:pt x="2635" y="318"/>
                </a:cubicBezTo>
                <a:cubicBezTo>
                  <a:pt x="2636" y="316"/>
                  <a:pt x="2636" y="316"/>
                  <a:pt x="2636" y="316"/>
                </a:cubicBezTo>
                <a:cubicBezTo>
                  <a:pt x="2636" y="316"/>
                  <a:pt x="2632" y="314"/>
                  <a:pt x="2630" y="311"/>
                </a:cubicBezTo>
                <a:cubicBezTo>
                  <a:pt x="2629" y="308"/>
                  <a:pt x="2629" y="306"/>
                  <a:pt x="2629" y="306"/>
                </a:cubicBezTo>
                <a:cubicBezTo>
                  <a:pt x="2627" y="304"/>
                  <a:pt x="2627" y="304"/>
                  <a:pt x="2627" y="304"/>
                </a:cubicBezTo>
                <a:cubicBezTo>
                  <a:pt x="2627" y="304"/>
                  <a:pt x="2628" y="298"/>
                  <a:pt x="2627" y="296"/>
                </a:cubicBezTo>
                <a:cubicBezTo>
                  <a:pt x="2625" y="294"/>
                  <a:pt x="2624" y="293"/>
                  <a:pt x="2624" y="293"/>
                </a:cubicBezTo>
                <a:cubicBezTo>
                  <a:pt x="2622" y="292"/>
                  <a:pt x="2622" y="292"/>
                  <a:pt x="2622" y="292"/>
                </a:cubicBezTo>
                <a:cubicBezTo>
                  <a:pt x="2622" y="292"/>
                  <a:pt x="2621" y="289"/>
                  <a:pt x="2620" y="288"/>
                </a:cubicBezTo>
                <a:cubicBezTo>
                  <a:pt x="2618" y="287"/>
                  <a:pt x="2615" y="285"/>
                  <a:pt x="2615" y="285"/>
                </a:cubicBezTo>
                <a:cubicBezTo>
                  <a:pt x="2612" y="284"/>
                  <a:pt x="2612" y="284"/>
                  <a:pt x="2612" y="284"/>
                </a:cubicBezTo>
                <a:cubicBezTo>
                  <a:pt x="2611" y="283"/>
                  <a:pt x="2611" y="283"/>
                  <a:pt x="2611" y="283"/>
                </a:cubicBezTo>
                <a:cubicBezTo>
                  <a:pt x="2611" y="283"/>
                  <a:pt x="2617" y="285"/>
                  <a:pt x="2617" y="284"/>
                </a:cubicBezTo>
                <a:cubicBezTo>
                  <a:pt x="2618" y="283"/>
                  <a:pt x="2614" y="282"/>
                  <a:pt x="2614" y="282"/>
                </a:cubicBezTo>
                <a:cubicBezTo>
                  <a:pt x="2602" y="276"/>
                  <a:pt x="2602" y="276"/>
                  <a:pt x="2602" y="276"/>
                </a:cubicBezTo>
                <a:cubicBezTo>
                  <a:pt x="2602" y="276"/>
                  <a:pt x="2596" y="273"/>
                  <a:pt x="2595" y="271"/>
                </a:cubicBezTo>
                <a:cubicBezTo>
                  <a:pt x="2593" y="270"/>
                  <a:pt x="2590" y="273"/>
                  <a:pt x="2590" y="273"/>
                </a:cubicBezTo>
                <a:cubicBezTo>
                  <a:pt x="2585" y="271"/>
                  <a:pt x="2585" y="271"/>
                  <a:pt x="2585" y="271"/>
                </a:cubicBezTo>
                <a:cubicBezTo>
                  <a:pt x="2590" y="277"/>
                  <a:pt x="2590" y="277"/>
                  <a:pt x="2590" y="277"/>
                </a:cubicBezTo>
                <a:cubicBezTo>
                  <a:pt x="2589" y="280"/>
                  <a:pt x="2589" y="280"/>
                  <a:pt x="2589" y="280"/>
                </a:cubicBezTo>
                <a:cubicBezTo>
                  <a:pt x="2587" y="280"/>
                  <a:pt x="2587" y="280"/>
                  <a:pt x="2587" y="280"/>
                </a:cubicBezTo>
                <a:cubicBezTo>
                  <a:pt x="2587" y="276"/>
                  <a:pt x="2587" y="276"/>
                  <a:pt x="2587" y="276"/>
                </a:cubicBezTo>
                <a:cubicBezTo>
                  <a:pt x="2585" y="274"/>
                  <a:pt x="2585" y="274"/>
                  <a:pt x="2585" y="274"/>
                </a:cubicBezTo>
                <a:cubicBezTo>
                  <a:pt x="2585" y="278"/>
                  <a:pt x="2585" y="278"/>
                  <a:pt x="2585" y="278"/>
                </a:cubicBezTo>
                <a:cubicBezTo>
                  <a:pt x="2579" y="279"/>
                  <a:pt x="2579" y="279"/>
                  <a:pt x="2579" y="279"/>
                </a:cubicBezTo>
                <a:cubicBezTo>
                  <a:pt x="2579" y="279"/>
                  <a:pt x="2580" y="277"/>
                  <a:pt x="2579" y="275"/>
                </a:cubicBezTo>
                <a:cubicBezTo>
                  <a:pt x="2578" y="274"/>
                  <a:pt x="2575" y="275"/>
                  <a:pt x="2575" y="275"/>
                </a:cubicBezTo>
                <a:cubicBezTo>
                  <a:pt x="2574" y="276"/>
                  <a:pt x="2574" y="276"/>
                  <a:pt x="2574" y="276"/>
                </a:cubicBezTo>
                <a:cubicBezTo>
                  <a:pt x="2571" y="276"/>
                  <a:pt x="2571" y="276"/>
                  <a:pt x="2571" y="276"/>
                </a:cubicBezTo>
                <a:cubicBezTo>
                  <a:pt x="2569" y="271"/>
                  <a:pt x="2569" y="271"/>
                  <a:pt x="2569" y="271"/>
                </a:cubicBezTo>
                <a:cubicBezTo>
                  <a:pt x="2568" y="271"/>
                  <a:pt x="2568" y="271"/>
                  <a:pt x="2568" y="271"/>
                </a:cubicBezTo>
                <a:cubicBezTo>
                  <a:pt x="2567" y="268"/>
                  <a:pt x="2567" y="268"/>
                  <a:pt x="2567" y="268"/>
                </a:cubicBezTo>
                <a:cubicBezTo>
                  <a:pt x="2557" y="269"/>
                  <a:pt x="2557" y="269"/>
                  <a:pt x="2557" y="269"/>
                </a:cubicBezTo>
                <a:cubicBezTo>
                  <a:pt x="2555" y="267"/>
                  <a:pt x="2555" y="267"/>
                  <a:pt x="2555" y="267"/>
                </a:cubicBezTo>
                <a:cubicBezTo>
                  <a:pt x="2555" y="267"/>
                  <a:pt x="2550" y="268"/>
                  <a:pt x="2550" y="265"/>
                </a:cubicBezTo>
                <a:cubicBezTo>
                  <a:pt x="2550" y="261"/>
                  <a:pt x="2554" y="261"/>
                  <a:pt x="2554" y="261"/>
                </a:cubicBezTo>
                <a:cubicBezTo>
                  <a:pt x="2554" y="257"/>
                  <a:pt x="2554" y="257"/>
                  <a:pt x="2554" y="257"/>
                </a:cubicBezTo>
                <a:cubicBezTo>
                  <a:pt x="2554" y="257"/>
                  <a:pt x="2558" y="257"/>
                  <a:pt x="2559" y="255"/>
                </a:cubicBezTo>
                <a:cubicBezTo>
                  <a:pt x="2559" y="252"/>
                  <a:pt x="2561" y="249"/>
                  <a:pt x="2561" y="249"/>
                </a:cubicBezTo>
                <a:cubicBezTo>
                  <a:pt x="2559" y="247"/>
                  <a:pt x="2559" y="247"/>
                  <a:pt x="2559" y="247"/>
                </a:cubicBezTo>
                <a:cubicBezTo>
                  <a:pt x="2560" y="245"/>
                  <a:pt x="2560" y="245"/>
                  <a:pt x="2560" y="245"/>
                </a:cubicBezTo>
                <a:cubicBezTo>
                  <a:pt x="2559" y="243"/>
                  <a:pt x="2559" y="243"/>
                  <a:pt x="2559" y="243"/>
                </a:cubicBezTo>
                <a:cubicBezTo>
                  <a:pt x="2562" y="240"/>
                  <a:pt x="2562" y="240"/>
                  <a:pt x="2562" y="240"/>
                </a:cubicBezTo>
                <a:cubicBezTo>
                  <a:pt x="2565" y="240"/>
                  <a:pt x="2565" y="240"/>
                  <a:pt x="2565" y="240"/>
                </a:cubicBezTo>
                <a:cubicBezTo>
                  <a:pt x="2563" y="235"/>
                  <a:pt x="2563" y="235"/>
                  <a:pt x="2563" y="235"/>
                </a:cubicBezTo>
                <a:cubicBezTo>
                  <a:pt x="2567" y="234"/>
                  <a:pt x="2567" y="234"/>
                  <a:pt x="2567" y="234"/>
                </a:cubicBezTo>
                <a:cubicBezTo>
                  <a:pt x="2563" y="229"/>
                  <a:pt x="2563" y="229"/>
                  <a:pt x="2563" y="229"/>
                </a:cubicBezTo>
                <a:cubicBezTo>
                  <a:pt x="2567" y="227"/>
                  <a:pt x="2567" y="227"/>
                  <a:pt x="2567" y="227"/>
                </a:cubicBezTo>
                <a:cubicBezTo>
                  <a:pt x="2567" y="227"/>
                  <a:pt x="2566" y="221"/>
                  <a:pt x="2569" y="219"/>
                </a:cubicBezTo>
                <a:cubicBezTo>
                  <a:pt x="2573" y="217"/>
                  <a:pt x="2574" y="217"/>
                  <a:pt x="2574" y="217"/>
                </a:cubicBezTo>
                <a:cubicBezTo>
                  <a:pt x="2574" y="217"/>
                  <a:pt x="2579" y="217"/>
                  <a:pt x="2582" y="217"/>
                </a:cubicBezTo>
                <a:cubicBezTo>
                  <a:pt x="2584" y="217"/>
                  <a:pt x="2595" y="218"/>
                  <a:pt x="2595" y="218"/>
                </a:cubicBezTo>
                <a:cubicBezTo>
                  <a:pt x="2597" y="220"/>
                  <a:pt x="2597" y="220"/>
                  <a:pt x="2597" y="220"/>
                </a:cubicBezTo>
                <a:cubicBezTo>
                  <a:pt x="2600" y="219"/>
                  <a:pt x="2600" y="219"/>
                  <a:pt x="2600" y="219"/>
                </a:cubicBezTo>
                <a:cubicBezTo>
                  <a:pt x="2599" y="217"/>
                  <a:pt x="2599" y="217"/>
                  <a:pt x="2599" y="217"/>
                </a:cubicBezTo>
                <a:cubicBezTo>
                  <a:pt x="2610" y="219"/>
                  <a:pt x="2610" y="219"/>
                  <a:pt x="2610" y="219"/>
                </a:cubicBezTo>
                <a:cubicBezTo>
                  <a:pt x="2614" y="217"/>
                  <a:pt x="2614" y="217"/>
                  <a:pt x="2614" y="217"/>
                </a:cubicBezTo>
                <a:cubicBezTo>
                  <a:pt x="2618" y="220"/>
                  <a:pt x="2618" y="220"/>
                  <a:pt x="2618" y="220"/>
                </a:cubicBezTo>
                <a:cubicBezTo>
                  <a:pt x="2619" y="215"/>
                  <a:pt x="2619" y="215"/>
                  <a:pt x="2619" y="215"/>
                </a:cubicBezTo>
                <a:cubicBezTo>
                  <a:pt x="2619" y="215"/>
                  <a:pt x="2624" y="215"/>
                  <a:pt x="2627" y="215"/>
                </a:cubicBezTo>
                <a:cubicBezTo>
                  <a:pt x="2630" y="215"/>
                  <a:pt x="2631" y="218"/>
                  <a:pt x="2633" y="217"/>
                </a:cubicBezTo>
                <a:cubicBezTo>
                  <a:pt x="2634" y="217"/>
                  <a:pt x="2638" y="215"/>
                  <a:pt x="2638" y="215"/>
                </a:cubicBezTo>
                <a:cubicBezTo>
                  <a:pt x="2641" y="218"/>
                  <a:pt x="2641" y="218"/>
                  <a:pt x="2641" y="218"/>
                </a:cubicBezTo>
                <a:cubicBezTo>
                  <a:pt x="2647" y="219"/>
                  <a:pt x="2647" y="219"/>
                  <a:pt x="2647" y="219"/>
                </a:cubicBezTo>
                <a:cubicBezTo>
                  <a:pt x="2639" y="220"/>
                  <a:pt x="2639" y="220"/>
                  <a:pt x="2639" y="220"/>
                </a:cubicBezTo>
                <a:cubicBezTo>
                  <a:pt x="2639" y="220"/>
                  <a:pt x="2642" y="225"/>
                  <a:pt x="2644" y="224"/>
                </a:cubicBezTo>
                <a:cubicBezTo>
                  <a:pt x="2646" y="223"/>
                  <a:pt x="2651" y="221"/>
                  <a:pt x="2651" y="221"/>
                </a:cubicBezTo>
                <a:cubicBezTo>
                  <a:pt x="2654" y="223"/>
                  <a:pt x="2654" y="223"/>
                  <a:pt x="2654" y="223"/>
                </a:cubicBezTo>
                <a:cubicBezTo>
                  <a:pt x="2657" y="220"/>
                  <a:pt x="2657" y="220"/>
                  <a:pt x="2657" y="220"/>
                </a:cubicBezTo>
                <a:cubicBezTo>
                  <a:pt x="2657" y="220"/>
                  <a:pt x="2663" y="222"/>
                  <a:pt x="2665" y="221"/>
                </a:cubicBezTo>
                <a:cubicBezTo>
                  <a:pt x="2666" y="220"/>
                  <a:pt x="2665" y="219"/>
                  <a:pt x="2665" y="219"/>
                </a:cubicBezTo>
                <a:cubicBezTo>
                  <a:pt x="2670" y="219"/>
                  <a:pt x="2670" y="219"/>
                  <a:pt x="2670" y="219"/>
                </a:cubicBezTo>
                <a:cubicBezTo>
                  <a:pt x="2663" y="215"/>
                  <a:pt x="2663" y="215"/>
                  <a:pt x="2663" y="215"/>
                </a:cubicBezTo>
                <a:cubicBezTo>
                  <a:pt x="2660" y="217"/>
                  <a:pt x="2660" y="217"/>
                  <a:pt x="2660" y="217"/>
                </a:cubicBezTo>
                <a:cubicBezTo>
                  <a:pt x="2658" y="214"/>
                  <a:pt x="2658" y="214"/>
                  <a:pt x="2658" y="214"/>
                </a:cubicBezTo>
                <a:cubicBezTo>
                  <a:pt x="2658" y="214"/>
                  <a:pt x="2655" y="210"/>
                  <a:pt x="2656" y="208"/>
                </a:cubicBezTo>
                <a:cubicBezTo>
                  <a:pt x="2656" y="207"/>
                  <a:pt x="2660" y="205"/>
                  <a:pt x="2660" y="205"/>
                </a:cubicBezTo>
                <a:cubicBezTo>
                  <a:pt x="2659" y="200"/>
                  <a:pt x="2659" y="200"/>
                  <a:pt x="2659" y="200"/>
                </a:cubicBezTo>
                <a:cubicBezTo>
                  <a:pt x="2661" y="199"/>
                  <a:pt x="2661" y="199"/>
                  <a:pt x="2661" y="199"/>
                </a:cubicBezTo>
                <a:cubicBezTo>
                  <a:pt x="2661" y="199"/>
                  <a:pt x="2655" y="196"/>
                  <a:pt x="2659" y="194"/>
                </a:cubicBezTo>
                <a:cubicBezTo>
                  <a:pt x="2662" y="191"/>
                  <a:pt x="2670" y="194"/>
                  <a:pt x="2670" y="194"/>
                </a:cubicBezTo>
                <a:cubicBezTo>
                  <a:pt x="2673" y="191"/>
                  <a:pt x="2673" y="191"/>
                  <a:pt x="2673" y="191"/>
                </a:cubicBezTo>
                <a:cubicBezTo>
                  <a:pt x="2678" y="195"/>
                  <a:pt x="2678" y="195"/>
                  <a:pt x="2678" y="195"/>
                </a:cubicBezTo>
                <a:cubicBezTo>
                  <a:pt x="2681" y="192"/>
                  <a:pt x="2681" y="192"/>
                  <a:pt x="2681" y="192"/>
                </a:cubicBezTo>
                <a:cubicBezTo>
                  <a:pt x="2681" y="192"/>
                  <a:pt x="2684" y="199"/>
                  <a:pt x="2686" y="200"/>
                </a:cubicBezTo>
                <a:cubicBezTo>
                  <a:pt x="2687" y="201"/>
                  <a:pt x="2692" y="200"/>
                  <a:pt x="2692" y="200"/>
                </a:cubicBezTo>
                <a:cubicBezTo>
                  <a:pt x="2692" y="200"/>
                  <a:pt x="2692" y="206"/>
                  <a:pt x="2694" y="205"/>
                </a:cubicBezTo>
                <a:cubicBezTo>
                  <a:pt x="2696" y="205"/>
                  <a:pt x="2699" y="196"/>
                  <a:pt x="2699" y="196"/>
                </a:cubicBezTo>
                <a:cubicBezTo>
                  <a:pt x="2703" y="194"/>
                  <a:pt x="2703" y="194"/>
                  <a:pt x="2703" y="194"/>
                </a:cubicBezTo>
                <a:cubicBezTo>
                  <a:pt x="2707" y="196"/>
                  <a:pt x="2707" y="196"/>
                  <a:pt x="2707" y="196"/>
                </a:cubicBezTo>
                <a:cubicBezTo>
                  <a:pt x="2707" y="194"/>
                  <a:pt x="2707" y="194"/>
                  <a:pt x="2707" y="194"/>
                </a:cubicBezTo>
                <a:cubicBezTo>
                  <a:pt x="2703" y="192"/>
                  <a:pt x="2703" y="192"/>
                  <a:pt x="2703" y="192"/>
                </a:cubicBezTo>
                <a:cubicBezTo>
                  <a:pt x="2703" y="192"/>
                  <a:pt x="2693" y="185"/>
                  <a:pt x="2695" y="184"/>
                </a:cubicBezTo>
                <a:cubicBezTo>
                  <a:pt x="2697" y="184"/>
                  <a:pt x="2709" y="185"/>
                  <a:pt x="2709" y="185"/>
                </a:cubicBezTo>
                <a:cubicBezTo>
                  <a:pt x="2716" y="185"/>
                  <a:pt x="2716" y="185"/>
                  <a:pt x="2716" y="185"/>
                </a:cubicBezTo>
                <a:cubicBezTo>
                  <a:pt x="2716" y="185"/>
                  <a:pt x="2716" y="188"/>
                  <a:pt x="2716" y="187"/>
                </a:cubicBezTo>
                <a:cubicBezTo>
                  <a:pt x="2715" y="187"/>
                  <a:pt x="2707" y="185"/>
                  <a:pt x="2707" y="188"/>
                </a:cubicBezTo>
                <a:cubicBezTo>
                  <a:pt x="2707" y="190"/>
                  <a:pt x="2712" y="193"/>
                  <a:pt x="2712" y="193"/>
                </a:cubicBezTo>
                <a:cubicBezTo>
                  <a:pt x="2713" y="197"/>
                  <a:pt x="2713" y="197"/>
                  <a:pt x="2713" y="197"/>
                </a:cubicBezTo>
                <a:cubicBezTo>
                  <a:pt x="2717" y="197"/>
                  <a:pt x="2717" y="197"/>
                  <a:pt x="2717" y="197"/>
                </a:cubicBezTo>
                <a:cubicBezTo>
                  <a:pt x="2716" y="200"/>
                  <a:pt x="2716" y="200"/>
                  <a:pt x="2716" y="200"/>
                </a:cubicBezTo>
                <a:cubicBezTo>
                  <a:pt x="2719" y="202"/>
                  <a:pt x="2719" y="202"/>
                  <a:pt x="2719" y="202"/>
                </a:cubicBezTo>
                <a:cubicBezTo>
                  <a:pt x="2715" y="203"/>
                  <a:pt x="2715" y="203"/>
                  <a:pt x="2715" y="203"/>
                </a:cubicBezTo>
                <a:cubicBezTo>
                  <a:pt x="2714" y="205"/>
                  <a:pt x="2714" y="205"/>
                  <a:pt x="2714" y="205"/>
                </a:cubicBezTo>
                <a:cubicBezTo>
                  <a:pt x="2711" y="206"/>
                  <a:pt x="2711" y="206"/>
                  <a:pt x="2711" y="206"/>
                </a:cubicBezTo>
                <a:cubicBezTo>
                  <a:pt x="2711" y="206"/>
                  <a:pt x="2714" y="211"/>
                  <a:pt x="2713" y="213"/>
                </a:cubicBezTo>
                <a:cubicBezTo>
                  <a:pt x="2711" y="216"/>
                  <a:pt x="2709" y="220"/>
                  <a:pt x="2709" y="221"/>
                </a:cubicBezTo>
                <a:cubicBezTo>
                  <a:pt x="2709" y="223"/>
                  <a:pt x="2713" y="224"/>
                  <a:pt x="2710" y="228"/>
                </a:cubicBezTo>
                <a:cubicBezTo>
                  <a:pt x="2707" y="231"/>
                  <a:pt x="2703" y="232"/>
                  <a:pt x="2703" y="232"/>
                </a:cubicBezTo>
                <a:cubicBezTo>
                  <a:pt x="2703" y="235"/>
                  <a:pt x="2703" y="235"/>
                  <a:pt x="2703" y="235"/>
                </a:cubicBezTo>
                <a:cubicBezTo>
                  <a:pt x="2701" y="235"/>
                  <a:pt x="2701" y="235"/>
                  <a:pt x="2701" y="235"/>
                </a:cubicBezTo>
                <a:cubicBezTo>
                  <a:pt x="2701" y="235"/>
                  <a:pt x="2706" y="237"/>
                  <a:pt x="2705" y="240"/>
                </a:cubicBezTo>
                <a:cubicBezTo>
                  <a:pt x="2705" y="244"/>
                  <a:pt x="2703" y="246"/>
                  <a:pt x="2705" y="250"/>
                </a:cubicBezTo>
                <a:cubicBezTo>
                  <a:pt x="2706" y="253"/>
                  <a:pt x="2720" y="265"/>
                  <a:pt x="2720" y="265"/>
                </a:cubicBezTo>
                <a:cubicBezTo>
                  <a:pt x="2728" y="273"/>
                  <a:pt x="2728" y="273"/>
                  <a:pt x="2728" y="273"/>
                </a:cubicBezTo>
                <a:cubicBezTo>
                  <a:pt x="2730" y="273"/>
                  <a:pt x="2730" y="273"/>
                  <a:pt x="2730" y="273"/>
                </a:cubicBezTo>
                <a:cubicBezTo>
                  <a:pt x="2741" y="286"/>
                  <a:pt x="2741" y="286"/>
                  <a:pt x="2741" y="286"/>
                </a:cubicBezTo>
                <a:cubicBezTo>
                  <a:pt x="2748" y="288"/>
                  <a:pt x="2748" y="288"/>
                  <a:pt x="2748" y="288"/>
                </a:cubicBezTo>
                <a:cubicBezTo>
                  <a:pt x="2752" y="292"/>
                  <a:pt x="2752" y="292"/>
                  <a:pt x="2752" y="292"/>
                </a:cubicBezTo>
                <a:cubicBezTo>
                  <a:pt x="2752" y="292"/>
                  <a:pt x="2760" y="302"/>
                  <a:pt x="2761" y="303"/>
                </a:cubicBezTo>
                <a:cubicBezTo>
                  <a:pt x="2763" y="304"/>
                  <a:pt x="2765" y="304"/>
                  <a:pt x="2765" y="304"/>
                </a:cubicBezTo>
                <a:cubicBezTo>
                  <a:pt x="2765" y="304"/>
                  <a:pt x="2764" y="308"/>
                  <a:pt x="2767" y="306"/>
                </a:cubicBezTo>
                <a:cubicBezTo>
                  <a:pt x="2770" y="305"/>
                  <a:pt x="2770" y="302"/>
                  <a:pt x="2770" y="302"/>
                </a:cubicBezTo>
                <a:cubicBezTo>
                  <a:pt x="2768" y="301"/>
                  <a:pt x="2768" y="301"/>
                  <a:pt x="2768" y="301"/>
                </a:cubicBezTo>
                <a:cubicBezTo>
                  <a:pt x="2768" y="301"/>
                  <a:pt x="2771" y="297"/>
                  <a:pt x="2771" y="295"/>
                </a:cubicBezTo>
                <a:cubicBezTo>
                  <a:pt x="2770" y="293"/>
                  <a:pt x="2764" y="289"/>
                  <a:pt x="2765" y="287"/>
                </a:cubicBezTo>
                <a:cubicBezTo>
                  <a:pt x="2766" y="284"/>
                  <a:pt x="2768" y="282"/>
                  <a:pt x="2769" y="282"/>
                </a:cubicBezTo>
                <a:cubicBezTo>
                  <a:pt x="2770" y="282"/>
                  <a:pt x="2774" y="283"/>
                  <a:pt x="2774" y="283"/>
                </a:cubicBezTo>
                <a:cubicBezTo>
                  <a:pt x="2774" y="283"/>
                  <a:pt x="2769" y="278"/>
                  <a:pt x="2768" y="277"/>
                </a:cubicBezTo>
                <a:cubicBezTo>
                  <a:pt x="2767" y="276"/>
                  <a:pt x="2764" y="275"/>
                  <a:pt x="2764" y="272"/>
                </a:cubicBezTo>
                <a:cubicBezTo>
                  <a:pt x="2765" y="269"/>
                  <a:pt x="2769" y="268"/>
                  <a:pt x="2769" y="268"/>
                </a:cubicBezTo>
                <a:cubicBezTo>
                  <a:pt x="2769" y="268"/>
                  <a:pt x="2775" y="270"/>
                  <a:pt x="2774" y="267"/>
                </a:cubicBezTo>
                <a:cubicBezTo>
                  <a:pt x="2774" y="264"/>
                  <a:pt x="2771" y="263"/>
                  <a:pt x="2768" y="261"/>
                </a:cubicBezTo>
                <a:cubicBezTo>
                  <a:pt x="2764" y="260"/>
                  <a:pt x="2761" y="256"/>
                  <a:pt x="2761" y="253"/>
                </a:cubicBezTo>
                <a:cubicBezTo>
                  <a:pt x="2761" y="251"/>
                  <a:pt x="2760" y="249"/>
                  <a:pt x="2760" y="249"/>
                </a:cubicBezTo>
                <a:cubicBezTo>
                  <a:pt x="2761" y="248"/>
                  <a:pt x="2761" y="248"/>
                  <a:pt x="2761" y="248"/>
                </a:cubicBezTo>
                <a:cubicBezTo>
                  <a:pt x="2761" y="248"/>
                  <a:pt x="2767" y="253"/>
                  <a:pt x="2768" y="252"/>
                </a:cubicBezTo>
                <a:cubicBezTo>
                  <a:pt x="2769" y="251"/>
                  <a:pt x="2764" y="246"/>
                  <a:pt x="2764" y="246"/>
                </a:cubicBezTo>
                <a:cubicBezTo>
                  <a:pt x="2759" y="245"/>
                  <a:pt x="2759" y="245"/>
                  <a:pt x="2759" y="245"/>
                </a:cubicBezTo>
                <a:cubicBezTo>
                  <a:pt x="2752" y="239"/>
                  <a:pt x="2752" y="239"/>
                  <a:pt x="2752" y="239"/>
                </a:cubicBezTo>
                <a:cubicBezTo>
                  <a:pt x="2752" y="239"/>
                  <a:pt x="2753" y="235"/>
                  <a:pt x="2750" y="233"/>
                </a:cubicBezTo>
                <a:cubicBezTo>
                  <a:pt x="2747" y="232"/>
                  <a:pt x="2744" y="232"/>
                  <a:pt x="2744" y="232"/>
                </a:cubicBezTo>
                <a:cubicBezTo>
                  <a:pt x="2744" y="234"/>
                  <a:pt x="2744" y="234"/>
                  <a:pt x="2744" y="234"/>
                </a:cubicBezTo>
                <a:cubicBezTo>
                  <a:pt x="2744" y="234"/>
                  <a:pt x="2735" y="232"/>
                  <a:pt x="2735" y="229"/>
                </a:cubicBezTo>
                <a:cubicBezTo>
                  <a:pt x="2735" y="225"/>
                  <a:pt x="2736" y="223"/>
                  <a:pt x="2735" y="220"/>
                </a:cubicBezTo>
                <a:cubicBezTo>
                  <a:pt x="2733" y="217"/>
                  <a:pt x="2730" y="215"/>
                  <a:pt x="2730" y="215"/>
                </a:cubicBezTo>
                <a:cubicBezTo>
                  <a:pt x="2730" y="215"/>
                  <a:pt x="2730" y="212"/>
                  <a:pt x="2731" y="211"/>
                </a:cubicBezTo>
                <a:cubicBezTo>
                  <a:pt x="2732" y="211"/>
                  <a:pt x="2734" y="212"/>
                  <a:pt x="2734" y="212"/>
                </a:cubicBezTo>
                <a:cubicBezTo>
                  <a:pt x="2735" y="210"/>
                  <a:pt x="2735" y="210"/>
                  <a:pt x="2735" y="210"/>
                </a:cubicBezTo>
                <a:cubicBezTo>
                  <a:pt x="2741" y="214"/>
                  <a:pt x="2741" y="214"/>
                  <a:pt x="2741" y="214"/>
                </a:cubicBezTo>
                <a:cubicBezTo>
                  <a:pt x="2742" y="213"/>
                  <a:pt x="2742" y="213"/>
                  <a:pt x="2742" y="213"/>
                </a:cubicBezTo>
                <a:cubicBezTo>
                  <a:pt x="2740" y="211"/>
                  <a:pt x="2740" y="211"/>
                  <a:pt x="2740" y="211"/>
                </a:cubicBezTo>
                <a:cubicBezTo>
                  <a:pt x="2740" y="211"/>
                  <a:pt x="2741" y="205"/>
                  <a:pt x="2744" y="206"/>
                </a:cubicBezTo>
                <a:cubicBezTo>
                  <a:pt x="2746" y="207"/>
                  <a:pt x="2752" y="214"/>
                  <a:pt x="2752" y="214"/>
                </a:cubicBezTo>
                <a:cubicBezTo>
                  <a:pt x="2753" y="207"/>
                  <a:pt x="2753" y="207"/>
                  <a:pt x="2753" y="207"/>
                </a:cubicBezTo>
                <a:cubicBezTo>
                  <a:pt x="2753" y="207"/>
                  <a:pt x="2765" y="206"/>
                  <a:pt x="2767" y="206"/>
                </a:cubicBezTo>
                <a:cubicBezTo>
                  <a:pt x="2769" y="206"/>
                  <a:pt x="2776" y="210"/>
                  <a:pt x="2776" y="210"/>
                </a:cubicBezTo>
                <a:cubicBezTo>
                  <a:pt x="2782" y="212"/>
                  <a:pt x="2782" y="212"/>
                  <a:pt x="2782" y="212"/>
                </a:cubicBezTo>
                <a:cubicBezTo>
                  <a:pt x="2778" y="204"/>
                  <a:pt x="2778" y="204"/>
                  <a:pt x="2778" y="204"/>
                </a:cubicBezTo>
                <a:cubicBezTo>
                  <a:pt x="2778" y="204"/>
                  <a:pt x="2785" y="204"/>
                  <a:pt x="2785" y="202"/>
                </a:cubicBezTo>
                <a:cubicBezTo>
                  <a:pt x="2786" y="199"/>
                  <a:pt x="2784" y="196"/>
                  <a:pt x="2784" y="196"/>
                </a:cubicBezTo>
                <a:cubicBezTo>
                  <a:pt x="2786" y="196"/>
                  <a:pt x="2786" y="196"/>
                  <a:pt x="2786" y="196"/>
                </a:cubicBezTo>
                <a:cubicBezTo>
                  <a:pt x="2787" y="193"/>
                  <a:pt x="2787" y="193"/>
                  <a:pt x="2787" y="193"/>
                </a:cubicBezTo>
                <a:cubicBezTo>
                  <a:pt x="2787" y="193"/>
                  <a:pt x="2795" y="194"/>
                  <a:pt x="2796" y="191"/>
                </a:cubicBezTo>
                <a:cubicBezTo>
                  <a:pt x="2798" y="188"/>
                  <a:pt x="2802" y="186"/>
                  <a:pt x="2802" y="186"/>
                </a:cubicBezTo>
                <a:cubicBezTo>
                  <a:pt x="2799" y="182"/>
                  <a:pt x="2799" y="182"/>
                  <a:pt x="2799" y="182"/>
                </a:cubicBezTo>
                <a:cubicBezTo>
                  <a:pt x="2803" y="183"/>
                  <a:pt x="2803" y="183"/>
                  <a:pt x="2803" y="183"/>
                </a:cubicBezTo>
                <a:cubicBezTo>
                  <a:pt x="2804" y="185"/>
                  <a:pt x="2804" y="185"/>
                  <a:pt x="2804" y="185"/>
                </a:cubicBezTo>
                <a:cubicBezTo>
                  <a:pt x="2812" y="186"/>
                  <a:pt x="2812" y="186"/>
                  <a:pt x="2812" y="186"/>
                </a:cubicBezTo>
                <a:cubicBezTo>
                  <a:pt x="2812" y="186"/>
                  <a:pt x="2821" y="188"/>
                  <a:pt x="2821" y="187"/>
                </a:cubicBezTo>
                <a:cubicBezTo>
                  <a:pt x="2821" y="185"/>
                  <a:pt x="2820" y="183"/>
                  <a:pt x="2820" y="183"/>
                </a:cubicBezTo>
                <a:cubicBezTo>
                  <a:pt x="2815" y="182"/>
                  <a:pt x="2815" y="182"/>
                  <a:pt x="2815" y="182"/>
                </a:cubicBezTo>
                <a:cubicBezTo>
                  <a:pt x="2814" y="179"/>
                  <a:pt x="2814" y="179"/>
                  <a:pt x="2814" y="179"/>
                </a:cubicBezTo>
                <a:cubicBezTo>
                  <a:pt x="2814" y="179"/>
                  <a:pt x="2807" y="176"/>
                  <a:pt x="2804" y="176"/>
                </a:cubicBezTo>
                <a:cubicBezTo>
                  <a:pt x="2802" y="175"/>
                  <a:pt x="2800" y="176"/>
                  <a:pt x="2800" y="176"/>
                </a:cubicBezTo>
                <a:cubicBezTo>
                  <a:pt x="2801" y="174"/>
                  <a:pt x="2801" y="174"/>
                  <a:pt x="2801" y="174"/>
                </a:cubicBezTo>
                <a:cubicBezTo>
                  <a:pt x="2790" y="166"/>
                  <a:pt x="2790" y="166"/>
                  <a:pt x="2790" y="166"/>
                </a:cubicBezTo>
                <a:cubicBezTo>
                  <a:pt x="2788" y="169"/>
                  <a:pt x="2788" y="169"/>
                  <a:pt x="2788" y="169"/>
                </a:cubicBezTo>
                <a:cubicBezTo>
                  <a:pt x="2788" y="169"/>
                  <a:pt x="2784" y="168"/>
                  <a:pt x="2782" y="167"/>
                </a:cubicBezTo>
                <a:cubicBezTo>
                  <a:pt x="2781" y="166"/>
                  <a:pt x="2778" y="165"/>
                  <a:pt x="2778" y="165"/>
                </a:cubicBezTo>
                <a:cubicBezTo>
                  <a:pt x="2774" y="166"/>
                  <a:pt x="2774" y="166"/>
                  <a:pt x="2774" y="166"/>
                </a:cubicBezTo>
                <a:cubicBezTo>
                  <a:pt x="2770" y="165"/>
                  <a:pt x="2770" y="165"/>
                  <a:pt x="2770" y="165"/>
                </a:cubicBezTo>
                <a:cubicBezTo>
                  <a:pt x="2770" y="165"/>
                  <a:pt x="2763" y="161"/>
                  <a:pt x="2766" y="161"/>
                </a:cubicBezTo>
                <a:cubicBezTo>
                  <a:pt x="2768" y="160"/>
                  <a:pt x="2771" y="162"/>
                  <a:pt x="2772" y="162"/>
                </a:cubicBezTo>
                <a:cubicBezTo>
                  <a:pt x="2774" y="162"/>
                  <a:pt x="2784" y="164"/>
                  <a:pt x="2784" y="164"/>
                </a:cubicBezTo>
                <a:cubicBezTo>
                  <a:pt x="2784" y="164"/>
                  <a:pt x="2794" y="161"/>
                  <a:pt x="2794" y="159"/>
                </a:cubicBezTo>
                <a:cubicBezTo>
                  <a:pt x="2794" y="158"/>
                  <a:pt x="2788" y="154"/>
                  <a:pt x="2788" y="154"/>
                </a:cubicBezTo>
                <a:cubicBezTo>
                  <a:pt x="2787" y="154"/>
                  <a:pt x="2777" y="150"/>
                  <a:pt x="2780" y="148"/>
                </a:cubicBezTo>
                <a:cubicBezTo>
                  <a:pt x="2783" y="146"/>
                  <a:pt x="2788" y="151"/>
                  <a:pt x="2788" y="151"/>
                </a:cubicBezTo>
                <a:cubicBezTo>
                  <a:pt x="2788" y="151"/>
                  <a:pt x="2798" y="157"/>
                  <a:pt x="2801" y="156"/>
                </a:cubicBezTo>
                <a:cubicBezTo>
                  <a:pt x="2804" y="156"/>
                  <a:pt x="2805" y="153"/>
                  <a:pt x="2813" y="156"/>
                </a:cubicBezTo>
                <a:cubicBezTo>
                  <a:pt x="2821" y="158"/>
                  <a:pt x="2828" y="161"/>
                  <a:pt x="2831" y="162"/>
                </a:cubicBezTo>
                <a:cubicBezTo>
                  <a:pt x="2833" y="162"/>
                  <a:pt x="2842" y="165"/>
                  <a:pt x="2842" y="165"/>
                </a:cubicBezTo>
                <a:cubicBezTo>
                  <a:pt x="2842" y="165"/>
                  <a:pt x="2854" y="172"/>
                  <a:pt x="2853" y="168"/>
                </a:cubicBezTo>
                <a:cubicBezTo>
                  <a:pt x="2853" y="164"/>
                  <a:pt x="2848" y="162"/>
                  <a:pt x="2848" y="162"/>
                </a:cubicBezTo>
                <a:cubicBezTo>
                  <a:pt x="2851" y="160"/>
                  <a:pt x="2851" y="160"/>
                  <a:pt x="2851" y="160"/>
                </a:cubicBezTo>
                <a:cubicBezTo>
                  <a:pt x="2845" y="157"/>
                  <a:pt x="2845" y="157"/>
                  <a:pt x="2845" y="157"/>
                </a:cubicBezTo>
                <a:cubicBezTo>
                  <a:pt x="2846" y="157"/>
                  <a:pt x="2846" y="157"/>
                  <a:pt x="2846" y="157"/>
                </a:cubicBezTo>
                <a:cubicBezTo>
                  <a:pt x="2839" y="153"/>
                  <a:pt x="2839" y="153"/>
                  <a:pt x="2839" y="153"/>
                </a:cubicBezTo>
                <a:cubicBezTo>
                  <a:pt x="2847" y="154"/>
                  <a:pt x="2847" y="154"/>
                  <a:pt x="2847" y="154"/>
                </a:cubicBezTo>
                <a:cubicBezTo>
                  <a:pt x="2846" y="152"/>
                  <a:pt x="2846" y="152"/>
                  <a:pt x="2846" y="152"/>
                </a:cubicBezTo>
                <a:cubicBezTo>
                  <a:pt x="2846" y="152"/>
                  <a:pt x="2856" y="154"/>
                  <a:pt x="2854" y="151"/>
                </a:cubicBezTo>
                <a:cubicBezTo>
                  <a:pt x="2852" y="148"/>
                  <a:pt x="2846" y="147"/>
                  <a:pt x="2846" y="147"/>
                </a:cubicBezTo>
                <a:cubicBezTo>
                  <a:pt x="2839" y="144"/>
                  <a:pt x="2839" y="144"/>
                  <a:pt x="2839" y="144"/>
                </a:cubicBezTo>
                <a:cubicBezTo>
                  <a:pt x="2833" y="145"/>
                  <a:pt x="2833" y="145"/>
                  <a:pt x="2833" y="145"/>
                </a:cubicBezTo>
                <a:cubicBezTo>
                  <a:pt x="2829" y="142"/>
                  <a:pt x="2829" y="142"/>
                  <a:pt x="2829" y="142"/>
                </a:cubicBezTo>
                <a:cubicBezTo>
                  <a:pt x="2816" y="141"/>
                  <a:pt x="2816" y="141"/>
                  <a:pt x="2816" y="141"/>
                </a:cubicBezTo>
                <a:cubicBezTo>
                  <a:pt x="2811" y="139"/>
                  <a:pt x="2811" y="139"/>
                  <a:pt x="2811" y="139"/>
                </a:cubicBezTo>
                <a:cubicBezTo>
                  <a:pt x="2806" y="139"/>
                  <a:pt x="2806" y="139"/>
                  <a:pt x="2806" y="139"/>
                </a:cubicBezTo>
                <a:cubicBezTo>
                  <a:pt x="2813" y="144"/>
                  <a:pt x="2813" y="144"/>
                  <a:pt x="2813" y="144"/>
                </a:cubicBezTo>
                <a:cubicBezTo>
                  <a:pt x="2821" y="148"/>
                  <a:pt x="2821" y="148"/>
                  <a:pt x="2821" y="148"/>
                </a:cubicBezTo>
                <a:cubicBezTo>
                  <a:pt x="2821" y="148"/>
                  <a:pt x="2812" y="149"/>
                  <a:pt x="2810" y="147"/>
                </a:cubicBezTo>
                <a:cubicBezTo>
                  <a:pt x="2807" y="145"/>
                  <a:pt x="2807" y="140"/>
                  <a:pt x="2796" y="136"/>
                </a:cubicBezTo>
                <a:cubicBezTo>
                  <a:pt x="2785" y="133"/>
                  <a:pt x="2781" y="131"/>
                  <a:pt x="2770" y="129"/>
                </a:cubicBezTo>
                <a:cubicBezTo>
                  <a:pt x="2759" y="127"/>
                  <a:pt x="2735" y="122"/>
                  <a:pt x="2724" y="119"/>
                </a:cubicBezTo>
                <a:cubicBezTo>
                  <a:pt x="2713" y="116"/>
                  <a:pt x="2700" y="115"/>
                  <a:pt x="2700" y="115"/>
                </a:cubicBezTo>
                <a:cubicBezTo>
                  <a:pt x="2674" y="115"/>
                  <a:pt x="2674" y="115"/>
                  <a:pt x="2674" y="115"/>
                </a:cubicBezTo>
                <a:cubicBezTo>
                  <a:pt x="2672" y="112"/>
                  <a:pt x="2672" y="112"/>
                  <a:pt x="2672" y="112"/>
                </a:cubicBezTo>
                <a:cubicBezTo>
                  <a:pt x="2666" y="113"/>
                  <a:pt x="2666" y="113"/>
                  <a:pt x="2666" y="113"/>
                </a:cubicBezTo>
                <a:cubicBezTo>
                  <a:pt x="2664" y="111"/>
                  <a:pt x="2664" y="111"/>
                  <a:pt x="2664" y="111"/>
                </a:cubicBezTo>
                <a:cubicBezTo>
                  <a:pt x="2656" y="111"/>
                  <a:pt x="2656" y="111"/>
                  <a:pt x="2656" y="111"/>
                </a:cubicBezTo>
                <a:cubicBezTo>
                  <a:pt x="2660" y="113"/>
                  <a:pt x="2660" y="113"/>
                  <a:pt x="2660" y="113"/>
                </a:cubicBezTo>
                <a:cubicBezTo>
                  <a:pt x="2659" y="116"/>
                  <a:pt x="2659" y="116"/>
                  <a:pt x="2659" y="116"/>
                </a:cubicBezTo>
                <a:cubicBezTo>
                  <a:pt x="2659" y="116"/>
                  <a:pt x="2679" y="121"/>
                  <a:pt x="2673" y="124"/>
                </a:cubicBezTo>
                <a:cubicBezTo>
                  <a:pt x="2667" y="127"/>
                  <a:pt x="2663" y="123"/>
                  <a:pt x="2663" y="123"/>
                </a:cubicBezTo>
                <a:cubicBezTo>
                  <a:pt x="2660" y="120"/>
                  <a:pt x="2660" y="120"/>
                  <a:pt x="2660" y="120"/>
                </a:cubicBezTo>
                <a:cubicBezTo>
                  <a:pt x="2651" y="120"/>
                  <a:pt x="2651" y="120"/>
                  <a:pt x="2651" y="120"/>
                </a:cubicBezTo>
                <a:cubicBezTo>
                  <a:pt x="2643" y="115"/>
                  <a:pt x="2643" y="115"/>
                  <a:pt x="2643" y="115"/>
                </a:cubicBezTo>
                <a:cubicBezTo>
                  <a:pt x="2643" y="115"/>
                  <a:pt x="2639" y="116"/>
                  <a:pt x="2638" y="117"/>
                </a:cubicBezTo>
                <a:cubicBezTo>
                  <a:pt x="2637" y="117"/>
                  <a:pt x="2631" y="117"/>
                  <a:pt x="2631" y="117"/>
                </a:cubicBezTo>
                <a:cubicBezTo>
                  <a:pt x="2630" y="116"/>
                  <a:pt x="2630" y="116"/>
                  <a:pt x="2630" y="116"/>
                </a:cubicBezTo>
                <a:cubicBezTo>
                  <a:pt x="2617" y="116"/>
                  <a:pt x="2617" y="116"/>
                  <a:pt x="2617" y="116"/>
                </a:cubicBezTo>
                <a:cubicBezTo>
                  <a:pt x="2613" y="114"/>
                  <a:pt x="2613" y="114"/>
                  <a:pt x="2613" y="114"/>
                </a:cubicBezTo>
                <a:cubicBezTo>
                  <a:pt x="2612" y="115"/>
                  <a:pt x="2612" y="115"/>
                  <a:pt x="2612" y="115"/>
                </a:cubicBezTo>
                <a:cubicBezTo>
                  <a:pt x="2612" y="115"/>
                  <a:pt x="2596" y="113"/>
                  <a:pt x="2597" y="116"/>
                </a:cubicBezTo>
                <a:cubicBezTo>
                  <a:pt x="2598" y="118"/>
                  <a:pt x="2604" y="123"/>
                  <a:pt x="2604" y="123"/>
                </a:cubicBezTo>
                <a:cubicBezTo>
                  <a:pt x="2604" y="123"/>
                  <a:pt x="2597" y="118"/>
                  <a:pt x="2596" y="117"/>
                </a:cubicBezTo>
                <a:cubicBezTo>
                  <a:pt x="2595" y="116"/>
                  <a:pt x="2581" y="115"/>
                  <a:pt x="2581" y="115"/>
                </a:cubicBezTo>
                <a:cubicBezTo>
                  <a:pt x="2581" y="115"/>
                  <a:pt x="2579" y="111"/>
                  <a:pt x="2574" y="108"/>
                </a:cubicBezTo>
                <a:cubicBezTo>
                  <a:pt x="2568" y="105"/>
                  <a:pt x="2560" y="104"/>
                  <a:pt x="2557" y="104"/>
                </a:cubicBezTo>
                <a:cubicBezTo>
                  <a:pt x="2553" y="104"/>
                  <a:pt x="2546" y="103"/>
                  <a:pt x="2546" y="103"/>
                </a:cubicBezTo>
                <a:cubicBezTo>
                  <a:pt x="2539" y="101"/>
                  <a:pt x="2539" y="101"/>
                  <a:pt x="2539" y="101"/>
                </a:cubicBezTo>
                <a:cubicBezTo>
                  <a:pt x="2537" y="102"/>
                  <a:pt x="2537" y="102"/>
                  <a:pt x="2537" y="102"/>
                </a:cubicBezTo>
                <a:cubicBezTo>
                  <a:pt x="2529" y="102"/>
                  <a:pt x="2529" y="102"/>
                  <a:pt x="2529" y="102"/>
                </a:cubicBezTo>
                <a:cubicBezTo>
                  <a:pt x="2529" y="102"/>
                  <a:pt x="2528" y="106"/>
                  <a:pt x="2523" y="105"/>
                </a:cubicBezTo>
                <a:cubicBezTo>
                  <a:pt x="2518" y="105"/>
                  <a:pt x="2512" y="104"/>
                  <a:pt x="2512" y="104"/>
                </a:cubicBezTo>
                <a:cubicBezTo>
                  <a:pt x="2512" y="104"/>
                  <a:pt x="2506" y="100"/>
                  <a:pt x="2502" y="100"/>
                </a:cubicBezTo>
                <a:cubicBezTo>
                  <a:pt x="2499" y="100"/>
                  <a:pt x="2497" y="100"/>
                  <a:pt x="2497" y="100"/>
                </a:cubicBezTo>
                <a:cubicBezTo>
                  <a:pt x="2496" y="98"/>
                  <a:pt x="2496" y="98"/>
                  <a:pt x="2496" y="98"/>
                </a:cubicBezTo>
                <a:cubicBezTo>
                  <a:pt x="2490" y="98"/>
                  <a:pt x="2490" y="98"/>
                  <a:pt x="2490" y="98"/>
                </a:cubicBezTo>
                <a:cubicBezTo>
                  <a:pt x="2481" y="97"/>
                  <a:pt x="2481" y="97"/>
                  <a:pt x="2481" y="97"/>
                </a:cubicBezTo>
                <a:cubicBezTo>
                  <a:pt x="2487" y="95"/>
                  <a:pt x="2487" y="95"/>
                  <a:pt x="2487" y="95"/>
                </a:cubicBezTo>
                <a:cubicBezTo>
                  <a:pt x="2481" y="92"/>
                  <a:pt x="2481" y="92"/>
                  <a:pt x="2481" y="92"/>
                </a:cubicBezTo>
                <a:cubicBezTo>
                  <a:pt x="2481" y="92"/>
                  <a:pt x="2462" y="90"/>
                  <a:pt x="2461" y="91"/>
                </a:cubicBezTo>
                <a:cubicBezTo>
                  <a:pt x="2460" y="92"/>
                  <a:pt x="2463" y="96"/>
                  <a:pt x="2460" y="96"/>
                </a:cubicBezTo>
                <a:cubicBezTo>
                  <a:pt x="2457" y="97"/>
                  <a:pt x="2452" y="96"/>
                  <a:pt x="2452" y="96"/>
                </a:cubicBezTo>
                <a:cubicBezTo>
                  <a:pt x="2455" y="94"/>
                  <a:pt x="2455" y="94"/>
                  <a:pt x="2455" y="94"/>
                </a:cubicBezTo>
                <a:cubicBezTo>
                  <a:pt x="2453" y="92"/>
                  <a:pt x="2453" y="92"/>
                  <a:pt x="2453" y="92"/>
                </a:cubicBezTo>
                <a:cubicBezTo>
                  <a:pt x="2453" y="92"/>
                  <a:pt x="2452" y="92"/>
                  <a:pt x="2449" y="92"/>
                </a:cubicBezTo>
                <a:cubicBezTo>
                  <a:pt x="2446" y="93"/>
                  <a:pt x="2443" y="92"/>
                  <a:pt x="2443" y="92"/>
                </a:cubicBezTo>
                <a:cubicBezTo>
                  <a:pt x="2445" y="91"/>
                  <a:pt x="2445" y="91"/>
                  <a:pt x="2445" y="91"/>
                </a:cubicBezTo>
                <a:cubicBezTo>
                  <a:pt x="2451" y="90"/>
                  <a:pt x="2451" y="90"/>
                  <a:pt x="2451" y="90"/>
                </a:cubicBezTo>
                <a:cubicBezTo>
                  <a:pt x="2459" y="95"/>
                  <a:pt x="2459" y="95"/>
                  <a:pt x="2459" y="95"/>
                </a:cubicBezTo>
                <a:cubicBezTo>
                  <a:pt x="2460" y="91"/>
                  <a:pt x="2460" y="91"/>
                  <a:pt x="2460" y="91"/>
                </a:cubicBezTo>
                <a:cubicBezTo>
                  <a:pt x="2452" y="88"/>
                  <a:pt x="2452" y="88"/>
                  <a:pt x="2452" y="88"/>
                </a:cubicBezTo>
                <a:cubicBezTo>
                  <a:pt x="2436" y="89"/>
                  <a:pt x="2436" y="89"/>
                  <a:pt x="2436" y="89"/>
                </a:cubicBezTo>
                <a:cubicBezTo>
                  <a:pt x="2436" y="87"/>
                  <a:pt x="2436" y="87"/>
                  <a:pt x="2436" y="87"/>
                </a:cubicBezTo>
                <a:cubicBezTo>
                  <a:pt x="2419" y="88"/>
                  <a:pt x="2419" y="88"/>
                  <a:pt x="2419" y="88"/>
                </a:cubicBezTo>
                <a:cubicBezTo>
                  <a:pt x="2413" y="85"/>
                  <a:pt x="2413" y="85"/>
                  <a:pt x="2413" y="85"/>
                </a:cubicBezTo>
                <a:cubicBezTo>
                  <a:pt x="2410" y="85"/>
                  <a:pt x="2410" y="85"/>
                  <a:pt x="2410" y="85"/>
                </a:cubicBezTo>
                <a:cubicBezTo>
                  <a:pt x="2415" y="89"/>
                  <a:pt x="2415" y="89"/>
                  <a:pt x="2415" y="89"/>
                </a:cubicBezTo>
                <a:cubicBezTo>
                  <a:pt x="2415" y="89"/>
                  <a:pt x="2404" y="89"/>
                  <a:pt x="2406" y="90"/>
                </a:cubicBezTo>
                <a:cubicBezTo>
                  <a:pt x="2408" y="92"/>
                  <a:pt x="2410" y="93"/>
                  <a:pt x="2410" y="93"/>
                </a:cubicBezTo>
                <a:cubicBezTo>
                  <a:pt x="2414" y="93"/>
                  <a:pt x="2414" y="93"/>
                  <a:pt x="2414" y="93"/>
                </a:cubicBezTo>
                <a:cubicBezTo>
                  <a:pt x="2414" y="94"/>
                  <a:pt x="2414" y="94"/>
                  <a:pt x="2414" y="94"/>
                </a:cubicBezTo>
                <a:cubicBezTo>
                  <a:pt x="2422" y="99"/>
                  <a:pt x="2422" y="99"/>
                  <a:pt x="2422" y="99"/>
                </a:cubicBezTo>
                <a:cubicBezTo>
                  <a:pt x="2422" y="99"/>
                  <a:pt x="2421" y="99"/>
                  <a:pt x="2418" y="99"/>
                </a:cubicBezTo>
                <a:cubicBezTo>
                  <a:pt x="2415" y="99"/>
                  <a:pt x="2411" y="96"/>
                  <a:pt x="2410" y="97"/>
                </a:cubicBezTo>
                <a:cubicBezTo>
                  <a:pt x="2408" y="98"/>
                  <a:pt x="2408" y="98"/>
                  <a:pt x="2408" y="98"/>
                </a:cubicBezTo>
                <a:cubicBezTo>
                  <a:pt x="2411" y="101"/>
                  <a:pt x="2411" y="101"/>
                  <a:pt x="2411" y="101"/>
                </a:cubicBezTo>
                <a:cubicBezTo>
                  <a:pt x="2404" y="100"/>
                  <a:pt x="2404" y="100"/>
                  <a:pt x="2404" y="100"/>
                </a:cubicBezTo>
                <a:cubicBezTo>
                  <a:pt x="2404" y="100"/>
                  <a:pt x="2393" y="97"/>
                  <a:pt x="2392" y="97"/>
                </a:cubicBezTo>
                <a:cubicBezTo>
                  <a:pt x="2390" y="97"/>
                  <a:pt x="2384" y="100"/>
                  <a:pt x="2384" y="100"/>
                </a:cubicBezTo>
                <a:cubicBezTo>
                  <a:pt x="2375" y="99"/>
                  <a:pt x="2375" y="99"/>
                  <a:pt x="2375" y="99"/>
                </a:cubicBezTo>
                <a:cubicBezTo>
                  <a:pt x="2375" y="99"/>
                  <a:pt x="2367" y="95"/>
                  <a:pt x="2366" y="94"/>
                </a:cubicBezTo>
                <a:cubicBezTo>
                  <a:pt x="2366" y="94"/>
                  <a:pt x="2364" y="96"/>
                  <a:pt x="2365" y="97"/>
                </a:cubicBezTo>
                <a:cubicBezTo>
                  <a:pt x="2365" y="99"/>
                  <a:pt x="2371" y="105"/>
                  <a:pt x="2368" y="105"/>
                </a:cubicBezTo>
                <a:cubicBezTo>
                  <a:pt x="2364" y="105"/>
                  <a:pt x="2348" y="99"/>
                  <a:pt x="2347" y="99"/>
                </a:cubicBezTo>
                <a:cubicBezTo>
                  <a:pt x="2347" y="98"/>
                  <a:pt x="2343" y="95"/>
                  <a:pt x="2343" y="95"/>
                </a:cubicBezTo>
                <a:cubicBezTo>
                  <a:pt x="2342" y="97"/>
                  <a:pt x="2342" y="97"/>
                  <a:pt x="2342" y="97"/>
                </a:cubicBezTo>
                <a:cubicBezTo>
                  <a:pt x="2334" y="95"/>
                  <a:pt x="2334" y="95"/>
                  <a:pt x="2334" y="95"/>
                </a:cubicBezTo>
                <a:cubicBezTo>
                  <a:pt x="2331" y="92"/>
                  <a:pt x="2331" y="92"/>
                  <a:pt x="2331" y="92"/>
                </a:cubicBezTo>
                <a:cubicBezTo>
                  <a:pt x="2331" y="92"/>
                  <a:pt x="2339" y="94"/>
                  <a:pt x="2340" y="93"/>
                </a:cubicBezTo>
                <a:cubicBezTo>
                  <a:pt x="2341" y="92"/>
                  <a:pt x="2335" y="89"/>
                  <a:pt x="2335" y="89"/>
                </a:cubicBezTo>
                <a:cubicBezTo>
                  <a:pt x="2330" y="89"/>
                  <a:pt x="2330" y="89"/>
                  <a:pt x="2330" y="89"/>
                </a:cubicBezTo>
                <a:cubicBezTo>
                  <a:pt x="2330" y="89"/>
                  <a:pt x="2333" y="88"/>
                  <a:pt x="2331" y="87"/>
                </a:cubicBezTo>
                <a:cubicBezTo>
                  <a:pt x="2330" y="86"/>
                  <a:pt x="2326" y="86"/>
                  <a:pt x="2326" y="86"/>
                </a:cubicBezTo>
                <a:cubicBezTo>
                  <a:pt x="2327" y="84"/>
                  <a:pt x="2327" y="84"/>
                  <a:pt x="2327" y="84"/>
                </a:cubicBezTo>
                <a:cubicBezTo>
                  <a:pt x="2327" y="84"/>
                  <a:pt x="2321" y="82"/>
                  <a:pt x="2320" y="82"/>
                </a:cubicBezTo>
                <a:cubicBezTo>
                  <a:pt x="2319" y="82"/>
                  <a:pt x="2316" y="80"/>
                  <a:pt x="2316" y="80"/>
                </a:cubicBezTo>
                <a:cubicBezTo>
                  <a:pt x="2309" y="80"/>
                  <a:pt x="2309" y="80"/>
                  <a:pt x="2309" y="80"/>
                </a:cubicBezTo>
                <a:cubicBezTo>
                  <a:pt x="2309" y="80"/>
                  <a:pt x="2311" y="81"/>
                  <a:pt x="2306" y="81"/>
                </a:cubicBezTo>
                <a:cubicBezTo>
                  <a:pt x="2302" y="81"/>
                  <a:pt x="2298" y="79"/>
                  <a:pt x="2298" y="79"/>
                </a:cubicBezTo>
                <a:cubicBezTo>
                  <a:pt x="2295" y="81"/>
                  <a:pt x="2295" y="81"/>
                  <a:pt x="2295" y="81"/>
                </a:cubicBezTo>
                <a:cubicBezTo>
                  <a:pt x="2295" y="79"/>
                  <a:pt x="2295" y="79"/>
                  <a:pt x="2295" y="79"/>
                </a:cubicBezTo>
                <a:cubicBezTo>
                  <a:pt x="2288" y="77"/>
                  <a:pt x="2288" y="77"/>
                  <a:pt x="2288" y="77"/>
                </a:cubicBezTo>
                <a:cubicBezTo>
                  <a:pt x="2287" y="76"/>
                  <a:pt x="2287" y="76"/>
                  <a:pt x="2287" y="76"/>
                </a:cubicBezTo>
                <a:cubicBezTo>
                  <a:pt x="2286" y="79"/>
                  <a:pt x="2286" y="79"/>
                  <a:pt x="2286" y="79"/>
                </a:cubicBezTo>
                <a:cubicBezTo>
                  <a:pt x="2284" y="79"/>
                  <a:pt x="2284" y="79"/>
                  <a:pt x="2284" y="79"/>
                </a:cubicBezTo>
                <a:cubicBezTo>
                  <a:pt x="2288" y="82"/>
                  <a:pt x="2288" y="82"/>
                  <a:pt x="2288" y="82"/>
                </a:cubicBezTo>
                <a:cubicBezTo>
                  <a:pt x="2291" y="86"/>
                  <a:pt x="2291" y="86"/>
                  <a:pt x="2291" y="86"/>
                </a:cubicBezTo>
                <a:cubicBezTo>
                  <a:pt x="2284" y="86"/>
                  <a:pt x="2284" y="86"/>
                  <a:pt x="2284" y="86"/>
                </a:cubicBezTo>
                <a:cubicBezTo>
                  <a:pt x="2283" y="84"/>
                  <a:pt x="2283" y="84"/>
                  <a:pt x="2283" y="84"/>
                </a:cubicBezTo>
                <a:cubicBezTo>
                  <a:pt x="2274" y="85"/>
                  <a:pt x="2274" y="85"/>
                  <a:pt x="2274" y="85"/>
                </a:cubicBezTo>
                <a:cubicBezTo>
                  <a:pt x="2272" y="86"/>
                  <a:pt x="2272" y="86"/>
                  <a:pt x="2272" y="86"/>
                </a:cubicBezTo>
                <a:cubicBezTo>
                  <a:pt x="2272" y="84"/>
                  <a:pt x="2272" y="84"/>
                  <a:pt x="2272" y="84"/>
                </a:cubicBezTo>
                <a:cubicBezTo>
                  <a:pt x="2266" y="85"/>
                  <a:pt x="2266" y="85"/>
                  <a:pt x="2266" y="85"/>
                </a:cubicBezTo>
                <a:cubicBezTo>
                  <a:pt x="2265" y="84"/>
                  <a:pt x="2265" y="84"/>
                  <a:pt x="2265" y="84"/>
                </a:cubicBezTo>
                <a:cubicBezTo>
                  <a:pt x="2257" y="84"/>
                  <a:pt x="2257" y="84"/>
                  <a:pt x="2257" y="84"/>
                </a:cubicBezTo>
                <a:cubicBezTo>
                  <a:pt x="2252" y="83"/>
                  <a:pt x="2252" y="83"/>
                  <a:pt x="2252" y="83"/>
                </a:cubicBezTo>
                <a:cubicBezTo>
                  <a:pt x="2254" y="80"/>
                  <a:pt x="2254" y="80"/>
                  <a:pt x="2254" y="80"/>
                </a:cubicBezTo>
                <a:cubicBezTo>
                  <a:pt x="2236" y="79"/>
                  <a:pt x="2236" y="79"/>
                  <a:pt x="2236" y="79"/>
                </a:cubicBezTo>
                <a:cubicBezTo>
                  <a:pt x="2235" y="78"/>
                  <a:pt x="2235" y="78"/>
                  <a:pt x="2235" y="78"/>
                </a:cubicBezTo>
                <a:cubicBezTo>
                  <a:pt x="2234" y="79"/>
                  <a:pt x="2234" y="79"/>
                  <a:pt x="2234" y="79"/>
                </a:cubicBezTo>
                <a:cubicBezTo>
                  <a:pt x="2233" y="78"/>
                  <a:pt x="2233" y="78"/>
                  <a:pt x="2233" y="78"/>
                </a:cubicBezTo>
                <a:cubicBezTo>
                  <a:pt x="2226" y="78"/>
                  <a:pt x="2226" y="78"/>
                  <a:pt x="2226" y="78"/>
                </a:cubicBezTo>
                <a:cubicBezTo>
                  <a:pt x="2226" y="80"/>
                  <a:pt x="2226" y="80"/>
                  <a:pt x="2226" y="80"/>
                </a:cubicBezTo>
                <a:cubicBezTo>
                  <a:pt x="2219" y="79"/>
                  <a:pt x="2219" y="79"/>
                  <a:pt x="2219" y="79"/>
                </a:cubicBezTo>
                <a:cubicBezTo>
                  <a:pt x="2217" y="80"/>
                  <a:pt x="2217" y="80"/>
                  <a:pt x="2217" y="80"/>
                </a:cubicBezTo>
                <a:cubicBezTo>
                  <a:pt x="2221" y="82"/>
                  <a:pt x="2221" y="82"/>
                  <a:pt x="2221" y="82"/>
                </a:cubicBezTo>
                <a:cubicBezTo>
                  <a:pt x="2215" y="81"/>
                  <a:pt x="2215" y="81"/>
                  <a:pt x="2215" y="81"/>
                </a:cubicBezTo>
                <a:cubicBezTo>
                  <a:pt x="2215" y="79"/>
                  <a:pt x="2215" y="79"/>
                  <a:pt x="2215" y="79"/>
                </a:cubicBezTo>
                <a:cubicBezTo>
                  <a:pt x="2211" y="76"/>
                  <a:pt x="2211" y="76"/>
                  <a:pt x="2211" y="76"/>
                </a:cubicBezTo>
                <a:cubicBezTo>
                  <a:pt x="2208" y="76"/>
                  <a:pt x="2208" y="76"/>
                  <a:pt x="2208" y="76"/>
                </a:cubicBezTo>
                <a:cubicBezTo>
                  <a:pt x="2210" y="79"/>
                  <a:pt x="2210" y="79"/>
                  <a:pt x="2210" y="79"/>
                </a:cubicBezTo>
                <a:cubicBezTo>
                  <a:pt x="2202" y="79"/>
                  <a:pt x="2202" y="79"/>
                  <a:pt x="2202" y="79"/>
                </a:cubicBezTo>
                <a:cubicBezTo>
                  <a:pt x="2202" y="78"/>
                  <a:pt x="2202" y="78"/>
                  <a:pt x="2202" y="78"/>
                </a:cubicBezTo>
                <a:cubicBezTo>
                  <a:pt x="2200" y="78"/>
                  <a:pt x="2200" y="78"/>
                  <a:pt x="2200" y="78"/>
                </a:cubicBezTo>
                <a:cubicBezTo>
                  <a:pt x="2199" y="76"/>
                  <a:pt x="2199" y="76"/>
                  <a:pt x="2199" y="76"/>
                </a:cubicBezTo>
                <a:cubicBezTo>
                  <a:pt x="2197" y="76"/>
                  <a:pt x="2197" y="76"/>
                  <a:pt x="2197" y="76"/>
                </a:cubicBezTo>
                <a:cubicBezTo>
                  <a:pt x="2195" y="76"/>
                  <a:pt x="2195" y="76"/>
                  <a:pt x="2195" y="76"/>
                </a:cubicBezTo>
                <a:cubicBezTo>
                  <a:pt x="2191" y="75"/>
                  <a:pt x="2191" y="75"/>
                  <a:pt x="2191" y="75"/>
                </a:cubicBezTo>
                <a:cubicBezTo>
                  <a:pt x="2187" y="78"/>
                  <a:pt x="2187" y="78"/>
                  <a:pt x="2187" y="78"/>
                </a:cubicBezTo>
                <a:cubicBezTo>
                  <a:pt x="2195" y="79"/>
                  <a:pt x="2195" y="79"/>
                  <a:pt x="2195" y="79"/>
                </a:cubicBezTo>
                <a:cubicBezTo>
                  <a:pt x="2196" y="79"/>
                  <a:pt x="2196" y="79"/>
                  <a:pt x="2196" y="79"/>
                </a:cubicBezTo>
                <a:cubicBezTo>
                  <a:pt x="2196" y="79"/>
                  <a:pt x="2194" y="81"/>
                  <a:pt x="2192" y="81"/>
                </a:cubicBezTo>
                <a:cubicBezTo>
                  <a:pt x="2191" y="81"/>
                  <a:pt x="2190" y="81"/>
                  <a:pt x="2188" y="81"/>
                </a:cubicBezTo>
                <a:cubicBezTo>
                  <a:pt x="2187" y="82"/>
                  <a:pt x="2187" y="83"/>
                  <a:pt x="2186" y="83"/>
                </a:cubicBezTo>
                <a:cubicBezTo>
                  <a:pt x="2185" y="83"/>
                  <a:pt x="2175" y="83"/>
                  <a:pt x="2175" y="83"/>
                </a:cubicBezTo>
                <a:cubicBezTo>
                  <a:pt x="2171" y="84"/>
                  <a:pt x="2171" y="84"/>
                  <a:pt x="2171" y="84"/>
                </a:cubicBezTo>
                <a:cubicBezTo>
                  <a:pt x="2169" y="87"/>
                  <a:pt x="2169" y="87"/>
                  <a:pt x="2169" y="87"/>
                </a:cubicBezTo>
                <a:cubicBezTo>
                  <a:pt x="2165" y="86"/>
                  <a:pt x="2165" y="86"/>
                  <a:pt x="2165" y="86"/>
                </a:cubicBezTo>
                <a:cubicBezTo>
                  <a:pt x="2165" y="86"/>
                  <a:pt x="2166" y="83"/>
                  <a:pt x="2168" y="82"/>
                </a:cubicBezTo>
                <a:cubicBezTo>
                  <a:pt x="2169" y="81"/>
                  <a:pt x="2172" y="81"/>
                  <a:pt x="2172" y="81"/>
                </a:cubicBezTo>
                <a:cubicBezTo>
                  <a:pt x="2173" y="79"/>
                  <a:pt x="2173" y="79"/>
                  <a:pt x="2173" y="79"/>
                </a:cubicBezTo>
                <a:cubicBezTo>
                  <a:pt x="2179" y="79"/>
                  <a:pt x="2179" y="79"/>
                  <a:pt x="2179" y="79"/>
                </a:cubicBezTo>
                <a:cubicBezTo>
                  <a:pt x="2185" y="74"/>
                  <a:pt x="2185" y="74"/>
                  <a:pt x="2185" y="74"/>
                </a:cubicBezTo>
                <a:cubicBezTo>
                  <a:pt x="2185" y="74"/>
                  <a:pt x="2185" y="71"/>
                  <a:pt x="2187" y="70"/>
                </a:cubicBezTo>
                <a:cubicBezTo>
                  <a:pt x="2190" y="69"/>
                  <a:pt x="2200" y="69"/>
                  <a:pt x="2200" y="66"/>
                </a:cubicBezTo>
                <a:cubicBezTo>
                  <a:pt x="2199" y="62"/>
                  <a:pt x="2196" y="61"/>
                  <a:pt x="2196" y="61"/>
                </a:cubicBezTo>
                <a:cubicBezTo>
                  <a:pt x="2190" y="61"/>
                  <a:pt x="2190" y="61"/>
                  <a:pt x="2190" y="61"/>
                </a:cubicBezTo>
                <a:cubicBezTo>
                  <a:pt x="2195" y="59"/>
                  <a:pt x="2195" y="59"/>
                  <a:pt x="2195" y="59"/>
                </a:cubicBezTo>
                <a:cubicBezTo>
                  <a:pt x="2195" y="59"/>
                  <a:pt x="2191" y="56"/>
                  <a:pt x="2190" y="56"/>
                </a:cubicBezTo>
                <a:cubicBezTo>
                  <a:pt x="2189" y="57"/>
                  <a:pt x="2185" y="57"/>
                  <a:pt x="2185" y="57"/>
                </a:cubicBezTo>
                <a:cubicBezTo>
                  <a:pt x="2185" y="57"/>
                  <a:pt x="2184" y="53"/>
                  <a:pt x="2181" y="53"/>
                </a:cubicBezTo>
                <a:cubicBezTo>
                  <a:pt x="2179" y="53"/>
                  <a:pt x="2176" y="54"/>
                  <a:pt x="2176" y="54"/>
                </a:cubicBezTo>
                <a:cubicBezTo>
                  <a:pt x="2168" y="53"/>
                  <a:pt x="2168" y="53"/>
                  <a:pt x="2168" y="53"/>
                </a:cubicBezTo>
                <a:cubicBezTo>
                  <a:pt x="2149" y="52"/>
                  <a:pt x="2149" y="52"/>
                  <a:pt x="2149" y="52"/>
                </a:cubicBezTo>
                <a:cubicBezTo>
                  <a:pt x="2149" y="54"/>
                  <a:pt x="2149" y="54"/>
                  <a:pt x="2149" y="54"/>
                </a:cubicBezTo>
                <a:cubicBezTo>
                  <a:pt x="2140" y="54"/>
                  <a:pt x="2140" y="54"/>
                  <a:pt x="2140" y="54"/>
                </a:cubicBezTo>
                <a:cubicBezTo>
                  <a:pt x="2140" y="54"/>
                  <a:pt x="2144" y="51"/>
                  <a:pt x="2141" y="50"/>
                </a:cubicBezTo>
                <a:cubicBezTo>
                  <a:pt x="2139" y="49"/>
                  <a:pt x="2128" y="50"/>
                  <a:pt x="2128" y="50"/>
                </a:cubicBezTo>
                <a:cubicBezTo>
                  <a:pt x="2120" y="49"/>
                  <a:pt x="2120" y="49"/>
                  <a:pt x="2120" y="49"/>
                </a:cubicBezTo>
                <a:cubicBezTo>
                  <a:pt x="2120" y="49"/>
                  <a:pt x="2129" y="49"/>
                  <a:pt x="2128" y="47"/>
                </a:cubicBezTo>
                <a:cubicBezTo>
                  <a:pt x="2127" y="45"/>
                  <a:pt x="2117" y="45"/>
                  <a:pt x="2117" y="45"/>
                </a:cubicBezTo>
                <a:cubicBezTo>
                  <a:pt x="2111" y="44"/>
                  <a:pt x="2111" y="44"/>
                  <a:pt x="2111" y="44"/>
                </a:cubicBezTo>
                <a:cubicBezTo>
                  <a:pt x="2111" y="46"/>
                  <a:pt x="2111" y="46"/>
                  <a:pt x="2111" y="46"/>
                </a:cubicBezTo>
                <a:cubicBezTo>
                  <a:pt x="2111" y="46"/>
                  <a:pt x="2100" y="46"/>
                  <a:pt x="2101" y="49"/>
                </a:cubicBezTo>
                <a:cubicBezTo>
                  <a:pt x="2102" y="52"/>
                  <a:pt x="2112" y="55"/>
                  <a:pt x="2112" y="55"/>
                </a:cubicBezTo>
                <a:cubicBezTo>
                  <a:pt x="2092" y="53"/>
                  <a:pt x="2092" y="53"/>
                  <a:pt x="2092" y="53"/>
                </a:cubicBezTo>
                <a:cubicBezTo>
                  <a:pt x="2099" y="56"/>
                  <a:pt x="2099" y="56"/>
                  <a:pt x="2099" y="56"/>
                </a:cubicBezTo>
                <a:cubicBezTo>
                  <a:pt x="2091" y="57"/>
                  <a:pt x="2091" y="57"/>
                  <a:pt x="2091" y="57"/>
                </a:cubicBezTo>
                <a:cubicBezTo>
                  <a:pt x="2091" y="57"/>
                  <a:pt x="2079" y="61"/>
                  <a:pt x="2077" y="60"/>
                </a:cubicBezTo>
                <a:cubicBezTo>
                  <a:pt x="2075" y="59"/>
                  <a:pt x="2078" y="56"/>
                  <a:pt x="2078" y="56"/>
                </a:cubicBezTo>
                <a:cubicBezTo>
                  <a:pt x="2078" y="56"/>
                  <a:pt x="2068" y="56"/>
                  <a:pt x="2066" y="57"/>
                </a:cubicBezTo>
                <a:cubicBezTo>
                  <a:pt x="2065" y="57"/>
                  <a:pt x="2062" y="59"/>
                  <a:pt x="2062" y="59"/>
                </a:cubicBezTo>
                <a:cubicBezTo>
                  <a:pt x="2062" y="59"/>
                  <a:pt x="2048" y="61"/>
                  <a:pt x="2045" y="61"/>
                </a:cubicBezTo>
                <a:cubicBezTo>
                  <a:pt x="2042" y="62"/>
                  <a:pt x="2035" y="63"/>
                  <a:pt x="2035" y="63"/>
                </a:cubicBezTo>
                <a:cubicBezTo>
                  <a:pt x="2029" y="68"/>
                  <a:pt x="2029" y="68"/>
                  <a:pt x="2029" y="68"/>
                </a:cubicBezTo>
                <a:cubicBezTo>
                  <a:pt x="2029" y="68"/>
                  <a:pt x="2022" y="68"/>
                  <a:pt x="2025" y="71"/>
                </a:cubicBezTo>
                <a:cubicBezTo>
                  <a:pt x="2028" y="74"/>
                  <a:pt x="2034" y="76"/>
                  <a:pt x="2034" y="76"/>
                </a:cubicBezTo>
                <a:cubicBezTo>
                  <a:pt x="2027" y="77"/>
                  <a:pt x="2027" y="77"/>
                  <a:pt x="2027" y="77"/>
                </a:cubicBezTo>
                <a:cubicBezTo>
                  <a:pt x="2024" y="79"/>
                  <a:pt x="2024" y="79"/>
                  <a:pt x="2024" y="79"/>
                </a:cubicBezTo>
                <a:cubicBezTo>
                  <a:pt x="2010" y="78"/>
                  <a:pt x="2010" y="78"/>
                  <a:pt x="2010" y="78"/>
                </a:cubicBezTo>
                <a:cubicBezTo>
                  <a:pt x="2009" y="79"/>
                  <a:pt x="2009" y="79"/>
                  <a:pt x="2009" y="79"/>
                </a:cubicBezTo>
                <a:cubicBezTo>
                  <a:pt x="2004" y="77"/>
                  <a:pt x="2004" y="77"/>
                  <a:pt x="2004" y="77"/>
                </a:cubicBezTo>
                <a:cubicBezTo>
                  <a:pt x="2002" y="79"/>
                  <a:pt x="2002" y="79"/>
                  <a:pt x="2002" y="79"/>
                </a:cubicBezTo>
                <a:cubicBezTo>
                  <a:pt x="2002" y="79"/>
                  <a:pt x="1994" y="78"/>
                  <a:pt x="1993" y="80"/>
                </a:cubicBezTo>
                <a:cubicBezTo>
                  <a:pt x="1993" y="81"/>
                  <a:pt x="1993" y="85"/>
                  <a:pt x="1995" y="85"/>
                </a:cubicBezTo>
                <a:cubicBezTo>
                  <a:pt x="1998" y="85"/>
                  <a:pt x="1999" y="89"/>
                  <a:pt x="1999" y="89"/>
                </a:cubicBezTo>
                <a:cubicBezTo>
                  <a:pt x="1999" y="89"/>
                  <a:pt x="2006" y="91"/>
                  <a:pt x="2008" y="91"/>
                </a:cubicBezTo>
                <a:cubicBezTo>
                  <a:pt x="2010" y="91"/>
                  <a:pt x="2014" y="92"/>
                  <a:pt x="2016" y="93"/>
                </a:cubicBezTo>
                <a:cubicBezTo>
                  <a:pt x="2017" y="93"/>
                  <a:pt x="2020" y="97"/>
                  <a:pt x="2018" y="97"/>
                </a:cubicBezTo>
                <a:cubicBezTo>
                  <a:pt x="2016" y="97"/>
                  <a:pt x="2011" y="97"/>
                  <a:pt x="2011" y="97"/>
                </a:cubicBezTo>
                <a:cubicBezTo>
                  <a:pt x="2011" y="97"/>
                  <a:pt x="2001" y="93"/>
                  <a:pt x="1998" y="92"/>
                </a:cubicBezTo>
                <a:cubicBezTo>
                  <a:pt x="1994" y="91"/>
                  <a:pt x="1989" y="90"/>
                  <a:pt x="1988" y="90"/>
                </a:cubicBezTo>
                <a:cubicBezTo>
                  <a:pt x="1986" y="90"/>
                  <a:pt x="1982" y="90"/>
                  <a:pt x="1982" y="92"/>
                </a:cubicBezTo>
                <a:cubicBezTo>
                  <a:pt x="1983" y="93"/>
                  <a:pt x="1988" y="95"/>
                  <a:pt x="1984" y="96"/>
                </a:cubicBezTo>
                <a:cubicBezTo>
                  <a:pt x="1981" y="96"/>
                  <a:pt x="1980" y="93"/>
                  <a:pt x="1977" y="93"/>
                </a:cubicBezTo>
                <a:cubicBezTo>
                  <a:pt x="1975" y="93"/>
                  <a:pt x="1972" y="91"/>
                  <a:pt x="1972" y="94"/>
                </a:cubicBezTo>
                <a:cubicBezTo>
                  <a:pt x="1972" y="97"/>
                  <a:pt x="1975" y="99"/>
                  <a:pt x="1978" y="99"/>
                </a:cubicBezTo>
                <a:cubicBezTo>
                  <a:pt x="1981" y="99"/>
                  <a:pt x="1986" y="101"/>
                  <a:pt x="1988" y="101"/>
                </a:cubicBezTo>
                <a:cubicBezTo>
                  <a:pt x="1990" y="101"/>
                  <a:pt x="1994" y="104"/>
                  <a:pt x="1994" y="104"/>
                </a:cubicBezTo>
                <a:cubicBezTo>
                  <a:pt x="1989" y="104"/>
                  <a:pt x="1989" y="104"/>
                  <a:pt x="1989" y="104"/>
                </a:cubicBezTo>
                <a:cubicBezTo>
                  <a:pt x="1989" y="104"/>
                  <a:pt x="1988" y="102"/>
                  <a:pt x="1985" y="102"/>
                </a:cubicBezTo>
                <a:cubicBezTo>
                  <a:pt x="1982" y="102"/>
                  <a:pt x="1973" y="101"/>
                  <a:pt x="1973" y="101"/>
                </a:cubicBezTo>
                <a:cubicBezTo>
                  <a:pt x="1972" y="100"/>
                  <a:pt x="1972" y="100"/>
                  <a:pt x="1972" y="100"/>
                </a:cubicBezTo>
                <a:cubicBezTo>
                  <a:pt x="1969" y="100"/>
                  <a:pt x="1969" y="100"/>
                  <a:pt x="1969" y="100"/>
                </a:cubicBezTo>
                <a:cubicBezTo>
                  <a:pt x="1968" y="97"/>
                  <a:pt x="1968" y="97"/>
                  <a:pt x="1968" y="97"/>
                </a:cubicBezTo>
                <a:cubicBezTo>
                  <a:pt x="1964" y="95"/>
                  <a:pt x="1964" y="95"/>
                  <a:pt x="1964" y="95"/>
                </a:cubicBezTo>
                <a:cubicBezTo>
                  <a:pt x="1964" y="95"/>
                  <a:pt x="1969" y="93"/>
                  <a:pt x="1967" y="91"/>
                </a:cubicBezTo>
                <a:cubicBezTo>
                  <a:pt x="1965" y="89"/>
                  <a:pt x="1962" y="86"/>
                  <a:pt x="1962" y="86"/>
                </a:cubicBezTo>
                <a:cubicBezTo>
                  <a:pt x="1957" y="86"/>
                  <a:pt x="1957" y="86"/>
                  <a:pt x="1957" y="86"/>
                </a:cubicBezTo>
                <a:cubicBezTo>
                  <a:pt x="1957" y="86"/>
                  <a:pt x="1964" y="90"/>
                  <a:pt x="1962" y="92"/>
                </a:cubicBezTo>
                <a:cubicBezTo>
                  <a:pt x="1960" y="93"/>
                  <a:pt x="1956" y="94"/>
                  <a:pt x="1956" y="94"/>
                </a:cubicBezTo>
                <a:cubicBezTo>
                  <a:pt x="1953" y="99"/>
                  <a:pt x="1953" y="99"/>
                  <a:pt x="1953" y="99"/>
                </a:cubicBezTo>
                <a:cubicBezTo>
                  <a:pt x="1963" y="105"/>
                  <a:pt x="1963" y="105"/>
                  <a:pt x="1963" y="105"/>
                </a:cubicBezTo>
                <a:cubicBezTo>
                  <a:pt x="1963" y="105"/>
                  <a:pt x="1966" y="104"/>
                  <a:pt x="1966" y="105"/>
                </a:cubicBezTo>
                <a:cubicBezTo>
                  <a:pt x="1966" y="106"/>
                  <a:pt x="1965" y="113"/>
                  <a:pt x="1965" y="113"/>
                </a:cubicBezTo>
                <a:cubicBezTo>
                  <a:pt x="1966" y="115"/>
                  <a:pt x="1966" y="115"/>
                  <a:pt x="1966" y="115"/>
                </a:cubicBezTo>
                <a:cubicBezTo>
                  <a:pt x="1971" y="116"/>
                  <a:pt x="1971" y="116"/>
                  <a:pt x="1971" y="116"/>
                </a:cubicBezTo>
                <a:cubicBezTo>
                  <a:pt x="1971" y="120"/>
                  <a:pt x="1971" y="120"/>
                  <a:pt x="1971" y="120"/>
                </a:cubicBezTo>
                <a:cubicBezTo>
                  <a:pt x="1979" y="122"/>
                  <a:pt x="1979" y="122"/>
                  <a:pt x="1979" y="122"/>
                </a:cubicBezTo>
                <a:cubicBezTo>
                  <a:pt x="1979" y="122"/>
                  <a:pt x="1985" y="119"/>
                  <a:pt x="1988" y="119"/>
                </a:cubicBezTo>
                <a:cubicBezTo>
                  <a:pt x="1991" y="120"/>
                  <a:pt x="1995" y="122"/>
                  <a:pt x="1995" y="122"/>
                </a:cubicBezTo>
                <a:cubicBezTo>
                  <a:pt x="1995" y="122"/>
                  <a:pt x="2001" y="123"/>
                  <a:pt x="2004" y="125"/>
                </a:cubicBezTo>
                <a:cubicBezTo>
                  <a:pt x="2007" y="127"/>
                  <a:pt x="2007" y="129"/>
                  <a:pt x="2007" y="129"/>
                </a:cubicBezTo>
                <a:cubicBezTo>
                  <a:pt x="2007" y="129"/>
                  <a:pt x="2000" y="130"/>
                  <a:pt x="2003" y="131"/>
                </a:cubicBezTo>
                <a:cubicBezTo>
                  <a:pt x="2006" y="133"/>
                  <a:pt x="2009" y="135"/>
                  <a:pt x="2009" y="135"/>
                </a:cubicBezTo>
                <a:cubicBezTo>
                  <a:pt x="2015" y="134"/>
                  <a:pt x="2015" y="134"/>
                  <a:pt x="2015" y="134"/>
                </a:cubicBezTo>
                <a:cubicBezTo>
                  <a:pt x="2015" y="134"/>
                  <a:pt x="2011" y="136"/>
                  <a:pt x="2008" y="136"/>
                </a:cubicBezTo>
                <a:cubicBezTo>
                  <a:pt x="2006" y="136"/>
                  <a:pt x="2002" y="134"/>
                  <a:pt x="2002" y="134"/>
                </a:cubicBezTo>
                <a:cubicBezTo>
                  <a:pt x="2002" y="134"/>
                  <a:pt x="2003" y="129"/>
                  <a:pt x="1999" y="128"/>
                </a:cubicBezTo>
                <a:cubicBezTo>
                  <a:pt x="1996" y="126"/>
                  <a:pt x="1994" y="125"/>
                  <a:pt x="1994" y="125"/>
                </a:cubicBezTo>
                <a:cubicBezTo>
                  <a:pt x="1994" y="125"/>
                  <a:pt x="1993" y="121"/>
                  <a:pt x="1990" y="122"/>
                </a:cubicBezTo>
                <a:cubicBezTo>
                  <a:pt x="1988" y="122"/>
                  <a:pt x="1981" y="123"/>
                  <a:pt x="1981" y="123"/>
                </a:cubicBezTo>
                <a:cubicBezTo>
                  <a:pt x="1981" y="123"/>
                  <a:pt x="1977" y="124"/>
                  <a:pt x="1978" y="126"/>
                </a:cubicBezTo>
                <a:cubicBezTo>
                  <a:pt x="1978" y="128"/>
                  <a:pt x="1985" y="132"/>
                  <a:pt x="1985" y="133"/>
                </a:cubicBezTo>
                <a:cubicBezTo>
                  <a:pt x="1985" y="134"/>
                  <a:pt x="1981" y="136"/>
                  <a:pt x="1981" y="136"/>
                </a:cubicBezTo>
                <a:cubicBezTo>
                  <a:pt x="1980" y="142"/>
                  <a:pt x="1980" y="142"/>
                  <a:pt x="1980" y="142"/>
                </a:cubicBezTo>
                <a:cubicBezTo>
                  <a:pt x="1974" y="145"/>
                  <a:pt x="1974" y="145"/>
                  <a:pt x="1974" y="145"/>
                </a:cubicBezTo>
                <a:cubicBezTo>
                  <a:pt x="1974" y="145"/>
                  <a:pt x="1973" y="149"/>
                  <a:pt x="1970" y="148"/>
                </a:cubicBezTo>
                <a:cubicBezTo>
                  <a:pt x="1968" y="147"/>
                  <a:pt x="1962" y="147"/>
                  <a:pt x="1962" y="147"/>
                </a:cubicBezTo>
                <a:cubicBezTo>
                  <a:pt x="1954" y="147"/>
                  <a:pt x="1954" y="147"/>
                  <a:pt x="1954" y="147"/>
                </a:cubicBezTo>
                <a:cubicBezTo>
                  <a:pt x="1954" y="147"/>
                  <a:pt x="1945" y="143"/>
                  <a:pt x="1948" y="143"/>
                </a:cubicBezTo>
                <a:cubicBezTo>
                  <a:pt x="1950" y="143"/>
                  <a:pt x="1955" y="143"/>
                  <a:pt x="1955" y="143"/>
                </a:cubicBezTo>
                <a:cubicBezTo>
                  <a:pt x="1957" y="144"/>
                  <a:pt x="1957" y="144"/>
                  <a:pt x="1957" y="144"/>
                </a:cubicBezTo>
                <a:cubicBezTo>
                  <a:pt x="1961" y="141"/>
                  <a:pt x="1961" y="141"/>
                  <a:pt x="1961" y="141"/>
                </a:cubicBezTo>
                <a:cubicBezTo>
                  <a:pt x="1961" y="141"/>
                  <a:pt x="1968" y="143"/>
                  <a:pt x="1968" y="141"/>
                </a:cubicBezTo>
                <a:cubicBezTo>
                  <a:pt x="1968" y="139"/>
                  <a:pt x="1969" y="135"/>
                  <a:pt x="1969" y="135"/>
                </a:cubicBezTo>
                <a:cubicBezTo>
                  <a:pt x="1972" y="134"/>
                  <a:pt x="1972" y="134"/>
                  <a:pt x="1972" y="134"/>
                </a:cubicBezTo>
                <a:cubicBezTo>
                  <a:pt x="1973" y="131"/>
                  <a:pt x="1973" y="131"/>
                  <a:pt x="1973" y="131"/>
                </a:cubicBezTo>
                <a:cubicBezTo>
                  <a:pt x="1970" y="131"/>
                  <a:pt x="1970" y="131"/>
                  <a:pt x="1970" y="131"/>
                </a:cubicBezTo>
                <a:cubicBezTo>
                  <a:pt x="1970" y="131"/>
                  <a:pt x="1974" y="127"/>
                  <a:pt x="1972" y="126"/>
                </a:cubicBezTo>
                <a:cubicBezTo>
                  <a:pt x="1970" y="125"/>
                  <a:pt x="1961" y="126"/>
                  <a:pt x="1960" y="122"/>
                </a:cubicBezTo>
                <a:cubicBezTo>
                  <a:pt x="1960" y="119"/>
                  <a:pt x="1960" y="115"/>
                  <a:pt x="1958" y="114"/>
                </a:cubicBezTo>
                <a:cubicBezTo>
                  <a:pt x="1956" y="113"/>
                  <a:pt x="1954" y="110"/>
                  <a:pt x="1954" y="110"/>
                </a:cubicBezTo>
                <a:cubicBezTo>
                  <a:pt x="1953" y="104"/>
                  <a:pt x="1953" y="104"/>
                  <a:pt x="1953" y="104"/>
                </a:cubicBezTo>
                <a:cubicBezTo>
                  <a:pt x="1944" y="100"/>
                  <a:pt x="1944" y="100"/>
                  <a:pt x="1944" y="100"/>
                </a:cubicBezTo>
                <a:cubicBezTo>
                  <a:pt x="1944" y="100"/>
                  <a:pt x="1950" y="95"/>
                  <a:pt x="1947" y="91"/>
                </a:cubicBezTo>
                <a:cubicBezTo>
                  <a:pt x="1944" y="87"/>
                  <a:pt x="1937" y="87"/>
                  <a:pt x="1937" y="87"/>
                </a:cubicBezTo>
                <a:cubicBezTo>
                  <a:pt x="1918" y="85"/>
                  <a:pt x="1918" y="85"/>
                  <a:pt x="1918" y="85"/>
                </a:cubicBezTo>
                <a:cubicBezTo>
                  <a:pt x="1917" y="89"/>
                  <a:pt x="1917" y="89"/>
                  <a:pt x="1917" y="89"/>
                </a:cubicBezTo>
                <a:cubicBezTo>
                  <a:pt x="1919" y="92"/>
                  <a:pt x="1919" y="92"/>
                  <a:pt x="1919" y="92"/>
                </a:cubicBezTo>
                <a:cubicBezTo>
                  <a:pt x="1918" y="97"/>
                  <a:pt x="1918" y="97"/>
                  <a:pt x="1918" y="97"/>
                </a:cubicBezTo>
                <a:cubicBezTo>
                  <a:pt x="1910" y="100"/>
                  <a:pt x="1910" y="100"/>
                  <a:pt x="1910" y="100"/>
                </a:cubicBezTo>
                <a:cubicBezTo>
                  <a:pt x="1909" y="104"/>
                  <a:pt x="1909" y="104"/>
                  <a:pt x="1909" y="104"/>
                </a:cubicBezTo>
                <a:cubicBezTo>
                  <a:pt x="1913" y="104"/>
                  <a:pt x="1913" y="104"/>
                  <a:pt x="1913" y="104"/>
                </a:cubicBezTo>
                <a:cubicBezTo>
                  <a:pt x="1918" y="112"/>
                  <a:pt x="1918" y="112"/>
                  <a:pt x="1918" y="112"/>
                </a:cubicBezTo>
                <a:cubicBezTo>
                  <a:pt x="1916" y="114"/>
                  <a:pt x="1916" y="114"/>
                  <a:pt x="1916" y="114"/>
                </a:cubicBezTo>
                <a:cubicBezTo>
                  <a:pt x="1920" y="117"/>
                  <a:pt x="1920" y="117"/>
                  <a:pt x="1920" y="117"/>
                </a:cubicBezTo>
                <a:cubicBezTo>
                  <a:pt x="1925" y="116"/>
                  <a:pt x="1925" y="116"/>
                  <a:pt x="1925" y="116"/>
                </a:cubicBezTo>
                <a:cubicBezTo>
                  <a:pt x="1925" y="116"/>
                  <a:pt x="1929" y="120"/>
                  <a:pt x="1932" y="121"/>
                </a:cubicBezTo>
                <a:cubicBezTo>
                  <a:pt x="1934" y="122"/>
                  <a:pt x="1937" y="122"/>
                  <a:pt x="1937" y="122"/>
                </a:cubicBezTo>
                <a:cubicBezTo>
                  <a:pt x="1936" y="129"/>
                  <a:pt x="1936" y="129"/>
                  <a:pt x="1936" y="129"/>
                </a:cubicBezTo>
                <a:cubicBezTo>
                  <a:pt x="1934" y="126"/>
                  <a:pt x="1934" y="126"/>
                  <a:pt x="1934" y="126"/>
                </a:cubicBezTo>
                <a:cubicBezTo>
                  <a:pt x="1932" y="128"/>
                  <a:pt x="1932" y="128"/>
                  <a:pt x="1932" y="128"/>
                </a:cubicBezTo>
                <a:cubicBezTo>
                  <a:pt x="1932" y="128"/>
                  <a:pt x="1928" y="126"/>
                  <a:pt x="1924" y="124"/>
                </a:cubicBezTo>
                <a:cubicBezTo>
                  <a:pt x="1922" y="123"/>
                  <a:pt x="1919" y="122"/>
                  <a:pt x="1917" y="121"/>
                </a:cubicBezTo>
                <a:cubicBezTo>
                  <a:pt x="1914" y="121"/>
                  <a:pt x="1909" y="121"/>
                  <a:pt x="1909" y="121"/>
                </a:cubicBezTo>
                <a:cubicBezTo>
                  <a:pt x="1907" y="119"/>
                  <a:pt x="1907" y="119"/>
                  <a:pt x="1907" y="119"/>
                </a:cubicBezTo>
                <a:cubicBezTo>
                  <a:pt x="1905" y="122"/>
                  <a:pt x="1905" y="122"/>
                  <a:pt x="1905" y="122"/>
                </a:cubicBezTo>
                <a:cubicBezTo>
                  <a:pt x="1902" y="118"/>
                  <a:pt x="1902" y="118"/>
                  <a:pt x="1902" y="118"/>
                </a:cubicBezTo>
                <a:cubicBezTo>
                  <a:pt x="1902" y="118"/>
                  <a:pt x="1893" y="115"/>
                  <a:pt x="1892" y="115"/>
                </a:cubicBezTo>
                <a:cubicBezTo>
                  <a:pt x="1890" y="115"/>
                  <a:pt x="1886" y="115"/>
                  <a:pt x="1886" y="115"/>
                </a:cubicBezTo>
                <a:cubicBezTo>
                  <a:pt x="1886" y="115"/>
                  <a:pt x="1876" y="114"/>
                  <a:pt x="1875" y="115"/>
                </a:cubicBezTo>
                <a:cubicBezTo>
                  <a:pt x="1874" y="115"/>
                  <a:pt x="1872" y="115"/>
                  <a:pt x="1872" y="117"/>
                </a:cubicBezTo>
                <a:cubicBezTo>
                  <a:pt x="1872" y="119"/>
                  <a:pt x="1877" y="121"/>
                  <a:pt x="1877" y="121"/>
                </a:cubicBezTo>
                <a:cubicBezTo>
                  <a:pt x="1875" y="126"/>
                  <a:pt x="1875" y="126"/>
                  <a:pt x="1875" y="126"/>
                </a:cubicBezTo>
                <a:cubicBezTo>
                  <a:pt x="1873" y="124"/>
                  <a:pt x="1873" y="124"/>
                  <a:pt x="1873" y="124"/>
                </a:cubicBezTo>
                <a:cubicBezTo>
                  <a:pt x="1873" y="128"/>
                  <a:pt x="1873" y="128"/>
                  <a:pt x="1873" y="128"/>
                </a:cubicBezTo>
                <a:cubicBezTo>
                  <a:pt x="1873" y="128"/>
                  <a:pt x="1868" y="128"/>
                  <a:pt x="1868" y="126"/>
                </a:cubicBezTo>
                <a:cubicBezTo>
                  <a:pt x="1868" y="125"/>
                  <a:pt x="1869" y="121"/>
                  <a:pt x="1866" y="121"/>
                </a:cubicBezTo>
                <a:cubicBezTo>
                  <a:pt x="1863" y="121"/>
                  <a:pt x="1856" y="126"/>
                  <a:pt x="1854" y="127"/>
                </a:cubicBezTo>
                <a:cubicBezTo>
                  <a:pt x="1853" y="127"/>
                  <a:pt x="1851" y="124"/>
                  <a:pt x="1847" y="125"/>
                </a:cubicBezTo>
                <a:cubicBezTo>
                  <a:pt x="1842" y="125"/>
                  <a:pt x="1837" y="128"/>
                  <a:pt x="1837" y="129"/>
                </a:cubicBezTo>
                <a:cubicBezTo>
                  <a:pt x="1836" y="131"/>
                  <a:pt x="1827" y="130"/>
                  <a:pt x="1827" y="130"/>
                </a:cubicBezTo>
                <a:cubicBezTo>
                  <a:pt x="1828" y="126"/>
                  <a:pt x="1828" y="126"/>
                  <a:pt x="1828" y="126"/>
                </a:cubicBezTo>
                <a:cubicBezTo>
                  <a:pt x="1828" y="121"/>
                  <a:pt x="1828" y="121"/>
                  <a:pt x="1828" y="121"/>
                </a:cubicBezTo>
                <a:cubicBezTo>
                  <a:pt x="1828" y="121"/>
                  <a:pt x="1819" y="123"/>
                  <a:pt x="1819" y="125"/>
                </a:cubicBezTo>
                <a:cubicBezTo>
                  <a:pt x="1819" y="127"/>
                  <a:pt x="1820" y="128"/>
                  <a:pt x="1820" y="128"/>
                </a:cubicBezTo>
                <a:cubicBezTo>
                  <a:pt x="1816" y="129"/>
                  <a:pt x="1816" y="129"/>
                  <a:pt x="1816" y="129"/>
                </a:cubicBezTo>
                <a:cubicBezTo>
                  <a:pt x="1816" y="125"/>
                  <a:pt x="1816" y="125"/>
                  <a:pt x="1816" y="125"/>
                </a:cubicBezTo>
                <a:cubicBezTo>
                  <a:pt x="1813" y="126"/>
                  <a:pt x="1813" y="126"/>
                  <a:pt x="1813" y="126"/>
                </a:cubicBezTo>
                <a:cubicBezTo>
                  <a:pt x="1806" y="127"/>
                  <a:pt x="1806" y="127"/>
                  <a:pt x="1806" y="127"/>
                </a:cubicBezTo>
                <a:cubicBezTo>
                  <a:pt x="1800" y="131"/>
                  <a:pt x="1800" y="131"/>
                  <a:pt x="1800" y="131"/>
                </a:cubicBezTo>
                <a:cubicBezTo>
                  <a:pt x="1793" y="132"/>
                  <a:pt x="1793" y="132"/>
                  <a:pt x="1793" y="132"/>
                </a:cubicBezTo>
                <a:cubicBezTo>
                  <a:pt x="1795" y="135"/>
                  <a:pt x="1795" y="135"/>
                  <a:pt x="1795" y="135"/>
                </a:cubicBezTo>
                <a:cubicBezTo>
                  <a:pt x="1795" y="135"/>
                  <a:pt x="1789" y="133"/>
                  <a:pt x="1789" y="136"/>
                </a:cubicBezTo>
                <a:cubicBezTo>
                  <a:pt x="1788" y="138"/>
                  <a:pt x="1789" y="141"/>
                  <a:pt x="1789" y="141"/>
                </a:cubicBezTo>
                <a:cubicBezTo>
                  <a:pt x="1778" y="142"/>
                  <a:pt x="1778" y="142"/>
                  <a:pt x="1778" y="142"/>
                </a:cubicBezTo>
                <a:cubicBezTo>
                  <a:pt x="1778" y="142"/>
                  <a:pt x="1775" y="140"/>
                  <a:pt x="1774" y="140"/>
                </a:cubicBezTo>
                <a:cubicBezTo>
                  <a:pt x="1773" y="140"/>
                  <a:pt x="1768" y="141"/>
                  <a:pt x="1768" y="138"/>
                </a:cubicBezTo>
                <a:cubicBezTo>
                  <a:pt x="1768" y="135"/>
                  <a:pt x="1768" y="131"/>
                  <a:pt x="1772" y="133"/>
                </a:cubicBezTo>
                <a:cubicBezTo>
                  <a:pt x="1775" y="134"/>
                  <a:pt x="1780" y="133"/>
                  <a:pt x="1780" y="133"/>
                </a:cubicBezTo>
                <a:cubicBezTo>
                  <a:pt x="1780" y="133"/>
                  <a:pt x="1772" y="126"/>
                  <a:pt x="1770" y="126"/>
                </a:cubicBezTo>
                <a:cubicBezTo>
                  <a:pt x="1769" y="125"/>
                  <a:pt x="1753" y="125"/>
                  <a:pt x="1753" y="125"/>
                </a:cubicBezTo>
                <a:cubicBezTo>
                  <a:pt x="1755" y="127"/>
                  <a:pt x="1755" y="127"/>
                  <a:pt x="1755" y="127"/>
                </a:cubicBezTo>
                <a:cubicBezTo>
                  <a:pt x="1755" y="127"/>
                  <a:pt x="1761" y="126"/>
                  <a:pt x="1760" y="130"/>
                </a:cubicBezTo>
                <a:cubicBezTo>
                  <a:pt x="1759" y="134"/>
                  <a:pt x="1757" y="140"/>
                  <a:pt x="1758" y="140"/>
                </a:cubicBezTo>
                <a:cubicBezTo>
                  <a:pt x="1760" y="140"/>
                  <a:pt x="1765" y="142"/>
                  <a:pt x="1765" y="142"/>
                </a:cubicBezTo>
                <a:cubicBezTo>
                  <a:pt x="1765" y="147"/>
                  <a:pt x="1765" y="147"/>
                  <a:pt x="1765" y="147"/>
                </a:cubicBezTo>
                <a:cubicBezTo>
                  <a:pt x="1766" y="151"/>
                  <a:pt x="1766" y="151"/>
                  <a:pt x="1766" y="151"/>
                </a:cubicBezTo>
                <a:cubicBezTo>
                  <a:pt x="1762" y="148"/>
                  <a:pt x="1762" y="148"/>
                  <a:pt x="1762" y="148"/>
                </a:cubicBezTo>
                <a:cubicBezTo>
                  <a:pt x="1759" y="152"/>
                  <a:pt x="1759" y="152"/>
                  <a:pt x="1759" y="152"/>
                </a:cubicBezTo>
                <a:cubicBezTo>
                  <a:pt x="1758" y="147"/>
                  <a:pt x="1758" y="147"/>
                  <a:pt x="1758" y="147"/>
                </a:cubicBezTo>
                <a:cubicBezTo>
                  <a:pt x="1748" y="145"/>
                  <a:pt x="1748" y="145"/>
                  <a:pt x="1748" y="145"/>
                </a:cubicBezTo>
                <a:cubicBezTo>
                  <a:pt x="1744" y="150"/>
                  <a:pt x="1744" y="150"/>
                  <a:pt x="1744" y="150"/>
                </a:cubicBezTo>
                <a:cubicBezTo>
                  <a:pt x="1740" y="150"/>
                  <a:pt x="1740" y="150"/>
                  <a:pt x="1740" y="150"/>
                </a:cubicBezTo>
                <a:cubicBezTo>
                  <a:pt x="1740" y="150"/>
                  <a:pt x="1739" y="152"/>
                  <a:pt x="1737" y="153"/>
                </a:cubicBezTo>
                <a:cubicBezTo>
                  <a:pt x="1735" y="154"/>
                  <a:pt x="1731" y="155"/>
                  <a:pt x="1733" y="156"/>
                </a:cubicBezTo>
                <a:cubicBezTo>
                  <a:pt x="1734" y="158"/>
                  <a:pt x="1741" y="163"/>
                  <a:pt x="1741" y="163"/>
                </a:cubicBezTo>
                <a:cubicBezTo>
                  <a:pt x="1743" y="166"/>
                  <a:pt x="1743" y="166"/>
                  <a:pt x="1743" y="166"/>
                </a:cubicBezTo>
                <a:cubicBezTo>
                  <a:pt x="1739" y="164"/>
                  <a:pt x="1739" y="164"/>
                  <a:pt x="1739" y="164"/>
                </a:cubicBezTo>
                <a:cubicBezTo>
                  <a:pt x="1739" y="164"/>
                  <a:pt x="1735" y="166"/>
                  <a:pt x="1733" y="165"/>
                </a:cubicBezTo>
                <a:cubicBezTo>
                  <a:pt x="1730" y="164"/>
                  <a:pt x="1721" y="162"/>
                  <a:pt x="1721" y="162"/>
                </a:cubicBezTo>
                <a:cubicBezTo>
                  <a:pt x="1721" y="162"/>
                  <a:pt x="1720" y="157"/>
                  <a:pt x="1717" y="159"/>
                </a:cubicBezTo>
                <a:cubicBezTo>
                  <a:pt x="1713" y="160"/>
                  <a:pt x="1712" y="161"/>
                  <a:pt x="1712" y="161"/>
                </a:cubicBezTo>
                <a:cubicBezTo>
                  <a:pt x="1709" y="161"/>
                  <a:pt x="1709" y="161"/>
                  <a:pt x="1709" y="161"/>
                </a:cubicBezTo>
                <a:cubicBezTo>
                  <a:pt x="1716" y="167"/>
                  <a:pt x="1716" y="167"/>
                  <a:pt x="1716" y="167"/>
                </a:cubicBezTo>
                <a:cubicBezTo>
                  <a:pt x="1716" y="167"/>
                  <a:pt x="1724" y="167"/>
                  <a:pt x="1724" y="169"/>
                </a:cubicBezTo>
                <a:cubicBezTo>
                  <a:pt x="1724" y="170"/>
                  <a:pt x="1720" y="172"/>
                  <a:pt x="1720" y="172"/>
                </a:cubicBezTo>
                <a:cubicBezTo>
                  <a:pt x="1711" y="170"/>
                  <a:pt x="1711" y="170"/>
                  <a:pt x="1711" y="170"/>
                </a:cubicBezTo>
                <a:cubicBezTo>
                  <a:pt x="1711" y="170"/>
                  <a:pt x="1708" y="167"/>
                  <a:pt x="1706" y="167"/>
                </a:cubicBezTo>
                <a:cubicBezTo>
                  <a:pt x="1704" y="167"/>
                  <a:pt x="1699" y="169"/>
                  <a:pt x="1698" y="166"/>
                </a:cubicBezTo>
                <a:cubicBezTo>
                  <a:pt x="1698" y="163"/>
                  <a:pt x="1698" y="160"/>
                  <a:pt x="1698" y="160"/>
                </a:cubicBezTo>
                <a:cubicBezTo>
                  <a:pt x="1695" y="158"/>
                  <a:pt x="1695" y="158"/>
                  <a:pt x="1695" y="158"/>
                </a:cubicBezTo>
                <a:cubicBezTo>
                  <a:pt x="1695" y="158"/>
                  <a:pt x="1700" y="154"/>
                  <a:pt x="1698" y="153"/>
                </a:cubicBezTo>
                <a:cubicBezTo>
                  <a:pt x="1696" y="151"/>
                  <a:pt x="1685" y="148"/>
                  <a:pt x="1685" y="148"/>
                </a:cubicBezTo>
                <a:cubicBezTo>
                  <a:pt x="1680" y="144"/>
                  <a:pt x="1680" y="144"/>
                  <a:pt x="1680" y="144"/>
                </a:cubicBezTo>
                <a:cubicBezTo>
                  <a:pt x="1677" y="142"/>
                  <a:pt x="1677" y="142"/>
                  <a:pt x="1677" y="142"/>
                </a:cubicBezTo>
                <a:cubicBezTo>
                  <a:pt x="1675" y="140"/>
                  <a:pt x="1675" y="140"/>
                  <a:pt x="1675" y="140"/>
                </a:cubicBezTo>
                <a:cubicBezTo>
                  <a:pt x="1680" y="140"/>
                  <a:pt x="1680" y="140"/>
                  <a:pt x="1680" y="140"/>
                </a:cubicBezTo>
                <a:cubicBezTo>
                  <a:pt x="1680" y="140"/>
                  <a:pt x="1679" y="142"/>
                  <a:pt x="1683" y="143"/>
                </a:cubicBezTo>
                <a:cubicBezTo>
                  <a:pt x="1687" y="143"/>
                  <a:pt x="1693" y="143"/>
                  <a:pt x="1693" y="143"/>
                </a:cubicBezTo>
                <a:cubicBezTo>
                  <a:pt x="1693" y="143"/>
                  <a:pt x="1696" y="147"/>
                  <a:pt x="1698" y="147"/>
                </a:cubicBezTo>
                <a:cubicBezTo>
                  <a:pt x="1701" y="147"/>
                  <a:pt x="1712" y="148"/>
                  <a:pt x="1712" y="148"/>
                </a:cubicBezTo>
                <a:cubicBezTo>
                  <a:pt x="1712" y="148"/>
                  <a:pt x="1720" y="152"/>
                  <a:pt x="1729" y="149"/>
                </a:cubicBezTo>
                <a:cubicBezTo>
                  <a:pt x="1738" y="147"/>
                  <a:pt x="1747" y="144"/>
                  <a:pt x="1742" y="140"/>
                </a:cubicBezTo>
                <a:cubicBezTo>
                  <a:pt x="1738" y="136"/>
                  <a:pt x="1737" y="133"/>
                  <a:pt x="1731" y="132"/>
                </a:cubicBezTo>
                <a:cubicBezTo>
                  <a:pt x="1725" y="130"/>
                  <a:pt x="1717" y="127"/>
                  <a:pt x="1713" y="126"/>
                </a:cubicBezTo>
                <a:cubicBezTo>
                  <a:pt x="1709" y="124"/>
                  <a:pt x="1702" y="121"/>
                  <a:pt x="1698" y="121"/>
                </a:cubicBezTo>
                <a:cubicBezTo>
                  <a:pt x="1693" y="120"/>
                  <a:pt x="1689" y="120"/>
                  <a:pt x="1687" y="120"/>
                </a:cubicBezTo>
                <a:cubicBezTo>
                  <a:pt x="1684" y="120"/>
                  <a:pt x="1680" y="120"/>
                  <a:pt x="1680" y="120"/>
                </a:cubicBezTo>
                <a:cubicBezTo>
                  <a:pt x="1678" y="118"/>
                  <a:pt x="1678" y="118"/>
                  <a:pt x="1678" y="118"/>
                </a:cubicBezTo>
                <a:cubicBezTo>
                  <a:pt x="1674" y="119"/>
                  <a:pt x="1674" y="119"/>
                  <a:pt x="1674" y="119"/>
                </a:cubicBezTo>
                <a:cubicBezTo>
                  <a:pt x="1670" y="117"/>
                  <a:pt x="1670" y="117"/>
                  <a:pt x="1670" y="117"/>
                </a:cubicBezTo>
                <a:cubicBezTo>
                  <a:pt x="1674" y="116"/>
                  <a:pt x="1674" y="116"/>
                  <a:pt x="1674" y="116"/>
                </a:cubicBezTo>
                <a:cubicBezTo>
                  <a:pt x="1677" y="114"/>
                  <a:pt x="1677" y="114"/>
                  <a:pt x="1677" y="114"/>
                </a:cubicBezTo>
                <a:cubicBezTo>
                  <a:pt x="1677" y="114"/>
                  <a:pt x="1668" y="111"/>
                  <a:pt x="1666" y="112"/>
                </a:cubicBezTo>
                <a:cubicBezTo>
                  <a:pt x="1665" y="113"/>
                  <a:pt x="1665" y="115"/>
                  <a:pt x="1665" y="115"/>
                </a:cubicBezTo>
                <a:cubicBezTo>
                  <a:pt x="1661" y="115"/>
                  <a:pt x="1661" y="115"/>
                  <a:pt x="1661" y="115"/>
                </a:cubicBezTo>
                <a:cubicBezTo>
                  <a:pt x="1657" y="116"/>
                  <a:pt x="1657" y="116"/>
                  <a:pt x="1657" y="116"/>
                </a:cubicBezTo>
                <a:cubicBezTo>
                  <a:pt x="1652" y="114"/>
                  <a:pt x="1652" y="114"/>
                  <a:pt x="1652" y="114"/>
                </a:cubicBezTo>
                <a:cubicBezTo>
                  <a:pt x="1647" y="112"/>
                  <a:pt x="1647" y="112"/>
                  <a:pt x="1647" y="112"/>
                </a:cubicBezTo>
                <a:cubicBezTo>
                  <a:pt x="1647" y="112"/>
                  <a:pt x="1653" y="113"/>
                  <a:pt x="1655" y="112"/>
                </a:cubicBezTo>
                <a:cubicBezTo>
                  <a:pt x="1657" y="111"/>
                  <a:pt x="1661" y="109"/>
                  <a:pt x="1661" y="109"/>
                </a:cubicBezTo>
                <a:cubicBezTo>
                  <a:pt x="1661" y="109"/>
                  <a:pt x="1656" y="106"/>
                  <a:pt x="1653" y="106"/>
                </a:cubicBezTo>
                <a:cubicBezTo>
                  <a:pt x="1650" y="106"/>
                  <a:pt x="1645" y="104"/>
                  <a:pt x="1645" y="104"/>
                </a:cubicBezTo>
                <a:cubicBezTo>
                  <a:pt x="1645" y="104"/>
                  <a:pt x="1644" y="109"/>
                  <a:pt x="1640" y="109"/>
                </a:cubicBezTo>
                <a:cubicBezTo>
                  <a:pt x="1637" y="108"/>
                  <a:pt x="1643" y="104"/>
                  <a:pt x="1643" y="104"/>
                </a:cubicBezTo>
                <a:cubicBezTo>
                  <a:pt x="1634" y="101"/>
                  <a:pt x="1634" y="101"/>
                  <a:pt x="1634" y="101"/>
                </a:cubicBezTo>
                <a:cubicBezTo>
                  <a:pt x="1634" y="101"/>
                  <a:pt x="1632" y="111"/>
                  <a:pt x="1629" y="110"/>
                </a:cubicBezTo>
                <a:cubicBezTo>
                  <a:pt x="1626" y="109"/>
                  <a:pt x="1629" y="103"/>
                  <a:pt x="1629" y="103"/>
                </a:cubicBezTo>
                <a:cubicBezTo>
                  <a:pt x="1629" y="103"/>
                  <a:pt x="1621" y="113"/>
                  <a:pt x="1618" y="111"/>
                </a:cubicBezTo>
                <a:cubicBezTo>
                  <a:pt x="1616" y="110"/>
                  <a:pt x="1626" y="102"/>
                  <a:pt x="1626" y="102"/>
                </a:cubicBezTo>
                <a:cubicBezTo>
                  <a:pt x="1621" y="102"/>
                  <a:pt x="1621" y="102"/>
                  <a:pt x="1621" y="102"/>
                </a:cubicBezTo>
                <a:cubicBezTo>
                  <a:pt x="1619" y="104"/>
                  <a:pt x="1619" y="104"/>
                  <a:pt x="1619" y="104"/>
                </a:cubicBezTo>
                <a:cubicBezTo>
                  <a:pt x="1615" y="103"/>
                  <a:pt x="1615" y="103"/>
                  <a:pt x="1615" y="103"/>
                </a:cubicBezTo>
                <a:cubicBezTo>
                  <a:pt x="1609" y="107"/>
                  <a:pt x="1609" y="107"/>
                  <a:pt x="1609" y="107"/>
                </a:cubicBezTo>
                <a:cubicBezTo>
                  <a:pt x="1606" y="107"/>
                  <a:pt x="1606" y="107"/>
                  <a:pt x="1606" y="107"/>
                </a:cubicBezTo>
                <a:cubicBezTo>
                  <a:pt x="1605" y="112"/>
                  <a:pt x="1605" y="112"/>
                  <a:pt x="1605" y="112"/>
                </a:cubicBezTo>
                <a:cubicBezTo>
                  <a:pt x="1600" y="110"/>
                  <a:pt x="1600" y="110"/>
                  <a:pt x="1600" y="110"/>
                </a:cubicBezTo>
                <a:cubicBezTo>
                  <a:pt x="1595" y="111"/>
                  <a:pt x="1595" y="111"/>
                  <a:pt x="1595" y="111"/>
                </a:cubicBezTo>
                <a:cubicBezTo>
                  <a:pt x="1597" y="115"/>
                  <a:pt x="1597" y="115"/>
                  <a:pt x="1597" y="115"/>
                </a:cubicBezTo>
                <a:cubicBezTo>
                  <a:pt x="1590" y="113"/>
                  <a:pt x="1590" y="113"/>
                  <a:pt x="1590" y="113"/>
                </a:cubicBezTo>
                <a:cubicBezTo>
                  <a:pt x="1588" y="114"/>
                  <a:pt x="1588" y="114"/>
                  <a:pt x="1588" y="114"/>
                </a:cubicBezTo>
                <a:cubicBezTo>
                  <a:pt x="1588" y="117"/>
                  <a:pt x="1588" y="117"/>
                  <a:pt x="1588" y="117"/>
                </a:cubicBezTo>
                <a:cubicBezTo>
                  <a:pt x="1582" y="119"/>
                  <a:pt x="1582" y="119"/>
                  <a:pt x="1582" y="119"/>
                </a:cubicBezTo>
                <a:cubicBezTo>
                  <a:pt x="1583" y="114"/>
                  <a:pt x="1583" y="114"/>
                  <a:pt x="1583" y="114"/>
                </a:cubicBezTo>
                <a:cubicBezTo>
                  <a:pt x="1579" y="114"/>
                  <a:pt x="1579" y="114"/>
                  <a:pt x="1579" y="114"/>
                </a:cubicBezTo>
                <a:cubicBezTo>
                  <a:pt x="1580" y="117"/>
                  <a:pt x="1580" y="117"/>
                  <a:pt x="1580" y="117"/>
                </a:cubicBezTo>
                <a:cubicBezTo>
                  <a:pt x="1576" y="115"/>
                  <a:pt x="1576" y="115"/>
                  <a:pt x="1576" y="115"/>
                </a:cubicBezTo>
                <a:cubicBezTo>
                  <a:pt x="1577" y="119"/>
                  <a:pt x="1577" y="119"/>
                  <a:pt x="1577" y="119"/>
                </a:cubicBezTo>
                <a:cubicBezTo>
                  <a:pt x="1573" y="119"/>
                  <a:pt x="1573" y="119"/>
                  <a:pt x="1573" y="119"/>
                </a:cubicBezTo>
                <a:cubicBezTo>
                  <a:pt x="1573" y="119"/>
                  <a:pt x="1573" y="116"/>
                  <a:pt x="1573" y="115"/>
                </a:cubicBezTo>
                <a:cubicBezTo>
                  <a:pt x="1574" y="115"/>
                  <a:pt x="1576" y="113"/>
                  <a:pt x="1576" y="113"/>
                </a:cubicBezTo>
                <a:cubicBezTo>
                  <a:pt x="1571" y="112"/>
                  <a:pt x="1571" y="112"/>
                  <a:pt x="1571" y="112"/>
                </a:cubicBezTo>
                <a:cubicBezTo>
                  <a:pt x="1570" y="118"/>
                  <a:pt x="1570" y="118"/>
                  <a:pt x="1570" y="118"/>
                </a:cubicBezTo>
                <a:cubicBezTo>
                  <a:pt x="1567" y="120"/>
                  <a:pt x="1567" y="120"/>
                  <a:pt x="1567" y="120"/>
                </a:cubicBezTo>
                <a:cubicBezTo>
                  <a:pt x="1569" y="122"/>
                  <a:pt x="1569" y="122"/>
                  <a:pt x="1569" y="122"/>
                </a:cubicBezTo>
                <a:cubicBezTo>
                  <a:pt x="1564" y="122"/>
                  <a:pt x="1564" y="122"/>
                  <a:pt x="1564" y="122"/>
                </a:cubicBezTo>
                <a:cubicBezTo>
                  <a:pt x="1566" y="124"/>
                  <a:pt x="1566" y="124"/>
                  <a:pt x="1566" y="124"/>
                </a:cubicBezTo>
                <a:cubicBezTo>
                  <a:pt x="1560" y="124"/>
                  <a:pt x="1560" y="124"/>
                  <a:pt x="1560" y="124"/>
                </a:cubicBezTo>
                <a:cubicBezTo>
                  <a:pt x="1560" y="126"/>
                  <a:pt x="1560" y="126"/>
                  <a:pt x="1560" y="126"/>
                </a:cubicBezTo>
                <a:cubicBezTo>
                  <a:pt x="1564" y="127"/>
                  <a:pt x="1564" y="127"/>
                  <a:pt x="1564" y="127"/>
                </a:cubicBezTo>
                <a:cubicBezTo>
                  <a:pt x="1563" y="129"/>
                  <a:pt x="1563" y="129"/>
                  <a:pt x="1563" y="129"/>
                </a:cubicBezTo>
                <a:cubicBezTo>
                  <a:pt x="1558" y="127"/>
                  <a:pt x="1558" y="127"/>
                  <a:pt x="1558" y="127"/>
                </a:cubicBezTo>
                <a:cubicBezTo>
                  <a:pt x="1556" y="127"/>
                  <a:pt x="1556" y="127"/>
                  <a:pt x="1556" y="127"/>
                </a:cubicBezTo>
                <a:cubicBezTo>
                  <a:pt x="1559" y="129"/>
                  <a:pt x="1559" y="129"/>
                  <a:pt x="1559" y="129"/>
                </a:cubicBezTo>
                <a:cubicBezTo>
                  <a:pt x="1556" y="131"/>
                  <a:pt x="1556" y="131"/>
                  <a:pt x="1556" y="131"/>
                </a:cubicBezTo>
                <a:cubicBezTo>
                  <a:pt x="1554" y="129"/>
                  <a:pt x="1554" y="129"/>
                  <a:pt x="1554" y="129"/>
                </a:cubicBezTo>
                <a:cubicBezTo>
                  <a:pt x="1552" y="130"/>
                  <a:pt x="1552" y="130"/>
                  <a:pt x="1552" y="130"/>
                </a:cubicBezTo>
                <a:cubicBezTo>
                  <a:pt x="1553" y="131"/>
                  <a:pt x="1553" y="131"/>
                  <a:pt x="1553" y="131"/>
                </a:cubicBezTo>
                <a:cubicBezTo>
                  <a:pt x="1548" y="131"/>
                  <a:pt x="1548" y="131"/>
                  <a:pt x="1548" y="131"/>
                </a:cubicBezTo>
                <a:cubicBezTo>
                  <a:pt x="1547" y="133"/>
                  <a:pt x="1547" y="133"/>
                  <a:pt x="1547" y="133"/>
                </a:cubicBezTo>
                <a:cubicBezTo>
                  <a:pt x="1551" y="135"/>
                  <a:pt x="1551" y="135"/>
                  <a:pt x="1551" y="135"/>
                </a:cubicBezTo>
                <a:cubicBezTo>
                  <a:pt x="1550" y="137"/>
                  <a:pt x="1550" y="137"/>
                  <a:pt x="1550" y="137"/>
                </a:cubicBezTo>
                <a:cubicBezTo>
                  <a:pt x="1546" y="135"/>
                  <a:pt x="1546" y="135"/>
                  <a:pt x="1546" y="135"/>
                </a:cubicBezTo>
                <a:cubicBezTo>
                  <a:pt x="1545" y="138"/>
                  <a:pt x="1545" y="138"/>
                  <a:pt x="1545" y="138"/>
                </a:cubicBezTo>
                <a:cubicBezTo>
                  <a:pt x="1549" y="139"/>
                  <a:pt x="1549" y="139"/>
                  <a:pt x="1549" y="139"/>
                </a:cubicBezTo>
                <a:cubicBezTo>
                  <a:pt x="1549" y="139"/>
                  <a:pt x="1544" y="139"/>
                  <a:pt x="1543" y="139"/>
                </a:cubicBezTo>
                <a:cubicBezTo>
                  <a:pt x="1541" y="139"/>
                  <a:pt x="1542" y="141"/>
                  <a:pt x="1542" y="141"/>
                </a:cubicBezTo>
                <a:cubicBezTo>
                  <a:pt x="1542" y="141"/>
                  <a:pt x="1540" y="140"/>
                  <a:pt x="1538" y="141"/>
                </a:cubicBezTo>
                <a:cubicBezTo>
                  <a:pt x="1536" y="142"/>
                  <a:pt x="1535" y="143"/>
                  <a:pt x="1536" y="144"/>
                </a:cubicBezTo>
                <a:cubicBezTo>
                  <a:pt x="1537" y="145"/>
                  <a:pt x="1535" y="146"/>
                  <a:pt x="1535" y="146"/>
                </a:cubicBezTo>
                <a:cubicBezTo>
                  <a:pt x="1535" y="146"/>
                  <a:pt x="1533" y="148"/>
                  <a:pt x="1534" y="148"/>
                </a:cubicBezTo>
                <a:cubicBezTo>
                  <a:pt x="1534" y="148"/>
                  <a:pt x="1539" y="148"/>
                  <a:pt x="1539" y="148"/>
                </a:cubicBezTo>
                <a:cubicBezTo>
                  <a:pt x="1537" y="150"/>
                  <a:pt x="1537" y="150"/>
                  <a:pt x="1537" y="150"/>
                </a:cubicBezTo>
                <a:cubicBezTo>
                  <a:pt x="1532" y="149"/>
                  <a:pt x="1532" y="149"/>
                  <a:pt x="1532" y="149"/>
                </a:cubicBezTo>
                <a:cubicBezTo>
                  <a:pt x="1532" y="149"/>
                  <a:pt x="1530" y="150"/>
                  <a:pt x="1530" y="151"/>
                </a:cubicBezTo>
                <a:cubicBezTo>
                  <a:pt x="1530" y="153"/>
                  <a:pt x="1532" y="154"/>
                  <a:pt x="1531" y="155"/>
                </a:cubicBezTo>
                <a:cubicBezTo>
                  <a:pt x="1530" y="156"/>
                  <a:pt x="1529" y="156"/>
                  <a:pt x="1528" y="156"/>
                </a:cubicBezTo>
                <a:cubicBezTo>
                  <a:pt x="1527" y="156"/>
                  <a:pt x="1526" y="156"/>
                  <a:pt x="1526" y="157"/>
                </a:cubicBezTo>
                <a:cubicBezTo>
                  <a:pt x="1527" y="159"/>
                  <a:pt x="1528" y="160"/>
                  <a:pt x="1528" y="160"/>
                </a:cubicBezTo>
                <a:cubicBezTo>
                  <a:pt x="1528" y="160"/>
                  <a:pt x="1530" y="162"/>
                  <a:pt x="1528" y="162"/>
                </a:cubicBezTo>
                <a:cubicBezTo>
                  <a:pt x="1527" y="162"/>
                  <a:pt x="1525" y="162"/>
                  <a:pt x="1525" y="162"/>
                </a:cubicBezTo>
                <a:cubicBezTo>
                  <a:pt x="1524" y="162"/>
                  <a:pt x="1523" y="162"/>
                  <a:pt x="1523" y="163"/>
                </a:cubicBezTo>
                <a:cubicBezTo>
                  <a:pt x="1522" y="164"/>
                  <a:pt x="1522" y="165"/>
                  <a:pt x="1522" y="165"/>
                </a:cubicBezTo>
                <a:cubicBezTo>
                  <a:pt x="1522" y="165"/>
                  <a:pt x="1522" y="167"/>
                  <a:pt x="1521" y="167"/>
                </a:cubicBezTo>
                <a:cubicBezTo>
                  <a:pt x="1520" y="167"/>
                  <a:pt x="1519" y="165"/>
                  <a:pt x="1518" y="166"/>
                </a:cubicBezTo>
                <a:cubicBezTo>
                  <a:pt x="1516" y="166"/>
                  <a:pt x="1517" y="166"/>
                  <a:pt x="1516" y="167"/>
                </a:cubicBezTo>
                <a:cubicBezTo>
                  <a:pt x="1515" y="167"/>
                  <a:pt x="1515" y="168"/>
                  <a:pt x="1514" y="169"/>
                </a:cubicBezTo>
                <a:cubicBezTo>
                  <a:pt x="1513" y="169"/>
                  <a:pt x="1512" y="169"/>
                  <a:pt x="1512" y="169"/>
                </a:cubicBezTo>
                <a:cubicBezTo>
                  <a:pt x="1512" y="169"/>
                  <a:pt x="1511" y="170"/>
                  <a:pt x="1510" y="171"/>
                </a:cubicBezTo>
                <a:cubicBezTo>
                  <a:pt x="1509" y="172"/>
                  <a:pt x="1511" y="173"/>
                  <a:pt x="1510" y="174"/>
                </a:cubicBezTo>
                <a:cubicBezTo>
                  <a:pt x="1509" y="174"/>
                  <a:pt x="1509" y="175"/>
                  <a:pt x="1508" y="175"/>
                </a:cubicBezTo>
                <a:cubicBezTo>
                  <a:pt x="1507" y="175"/>
                  <a:pt x="1505" y="174"/>
                  <a:pt x="1504" y="174"/>
                </a:cubicBezTo>
                <a:cubicBezTo>
                  <a:pt x="1504" y="174"/>
                  <a:pt x="1505" y="172"/>
                  <a:pt x="1503" y="173"/>
                </a:cubicBezTo>
                <a:cubicBezTo>
                  <a:pt x="1500" y="175"/>
                  <a:pt x="1500" y="175"/>
                  <a:pt x="1499" y="175"/>
                </a:cubicBezTo>
                <a:cubicBezTo>
                  <a:pt x="1498" y="175"/>
                  <a:pt x="1497" y="174"/>
                  <a:pt x="1497" y="176"/>
                </a:cubicBezTo>
                <a:cubicBezTo>
                  <a:pt x="1497" y="178"/>
                  <a:pt x="1499" y="178"/>
                  <a:pt x="1499" y="179"/>
                </a:cubicBezTo>
                <a:cubicBezTo>
                  <a:pt x="1499" y="179"/>
                  <a:pt x="1500" y="181"/>
                  <a:pt x="1498" y="180"/>
                </a:cubicBezTo>
                <a:cubicBezTo>
                  <a:pt x="1496" y="179"/>
                  <a:pt x="1496" y="178"/>
                  <a:pt x="1495" y="178"/>
                </a:cubicBezTo>
                <a:cubicBezTo>
                  <a:pt x="1494" y="179"/>
                  <a:pt x="1493" y="180"/>
                  <a:pt x="1494" y="181"/>
                </a:cubicBezTo>
                <a:cubicBezTo>
                  <a:pt x="1495" y="181"/>
                  <a:pt x="1498" y="181"/>
                  <a:pt x="1497" y="182"/>
                </a:cubicBezTo>
                <a:cubicBezTo>
                  <a:pt x="1497" y="183"/>
                  <a:pt x="1499" y="184"/>
                  <a:pt x="1496" y="183"/>
                </a:cubicBezTo>
                <a:cubicBezTo>
                  <a:pt x="1493" y="183"/>
                  <a:pt x="1492" y="183"/>
                  <a:pt x="1492" y="183"/>
                </a:cubicBezTo>
                <a:cubicBezTo>
                  <a:pt x="1492" y="183"/>
                  <a:pt x="1492" y="182"/>
                  <a:pt x="1491" y="183"/>
                </a:cubicBezTo>
                <a:cubicBezTo>
                  <a:pt x="1490" y="184"/>
                  <a:pt x="1490" y="186"/>
                  <a:pt x="1490" y="186"/>
                </a:cubicBezTo>
                <a:cubicBezTo>
                  <a:pt x="1490" y="186"/>
                  <a:pt x="1484" y="183"/>
                  <a:pt x="1485" y="185"/>
                </a:cubicBezTo>
                <a:cubicBezTo>
                  <a:pt x="1486" y="186"/>
                  <a:pt x="1490" y="187"/>
                  <a:pt x="1490" y="187"/>
                </a:cubicBezTo>
                <a:cubicBezTo>
                  <a:pt x="1488" y="190"/>
                  <a:pt x="1488" y="190"/>
                  <a:pt x="1488" y="190"/>
                </a:cubicBezTo>
                <a:cubicBezTo>
                  <a:pt x="1488" y="190"/>
                  <a:pt x="1488" y="188"/>
                  <a:pt x="1486" y="188"/>
                </a:cubicBezTo>
                <a:cubicBezTo>
                  <a:pt x="1485" y="188"/>
                  <a:pt x="1484" y="189"/>
                  <a:pt x="1484" y="189"/>
                </a:cubicBezTo>
                <a:cubicBezTo>
                  <a:pt x="1481" y="187"/>
                  <a:pt x="1481" y="187"/>
                  <a:pt x="1481" y="187"/>
                </a:cubicBezTo>
                <a:cubicBezTo>
                  <a:pt x="1480" y="189"/>
                  <a:pt x="1480" y="189"/>
                  <a:pt x="1480" y="189"/>
                </a:cubicBezTo>
                <a:cubicBezTo>
                  <a:pt x="1481" y="190"/>
                  <a:pt x="1481" y="190"/>
                  <a:pt x="1481" y="190"/>
                </a:cubicBezTo>
                <a:cubicBezTo>
                  <a:pt x="1477" y="189"/>
                  <a:pt x="1477" y="189"/>
                  <a:pt x="1477" y="189"/>
                </a:cubicBezTo>
                <a:cubicBezTo>
                  <a:pt x="1476" y="191"/>
                  <a:pt x="1476" y="191"/>
                  <a:pt x="1476" y="191"/>
                </a:cubicBezTo>
                <a:cubicBezTo>
                  <a:pt x="1483" y="192"/>
                  <a:pt x="1483" y="192"/>
                  <a:pt x="1483" y="192"/>
                </a:cubicBezTo>
                <a:cubicBezTo>
                  <a:pt x="1480" y="193"/>
                  <a:pt x="1480" y="193"/>
                  <a:pt x="1480" y="193"/>
                </a:cubicBezTo>
                <a:cubicBezTo>
                  <a:pt x="1475" y="192"/>
                  <a:pt x="1475" y="192"/>
                  <a:pt x="1475" y="192"/>
                </a:cubicBezTo>
                <a:cubicBezTo>
                  <a:pt x="1475" y="192"/>
                  <a:pt x="1473" y="193"/>
                  <a:pt x="1473" y="194"/>
                </a:cubicBezTo>
                <a:cubicBezTo>
                  <a:pt x="1473" y="196"/>
                  <a:pt x="1477" y="196"/>
                  <a:pt x="1477" y="196"/>
                </a:cubicBezTo>
                <a:cubicBezTo>
                  <a:pt x="1475" y="197"/>
                  <a:pt x="1475" y="197"/>
                  <a:pt x="1475" y="197"/>
                </a:cubicBezTo>
                <a:cubicBezTo>
                  <a:pt x="1475" y="197"/>
                  <a:pt x="1473" y="198"/>
                  <a:pt x="1475" y="198"/>
                </a:cubicBezTo>
                <a:cubicBezTo>
                  <a:pt x="1476" y="199"/>
                  <a:pt x="1481" y="199"/>
                  <a:pt x="1481" y="199"/>
                </a:cubicBezTo>
                <a:cubicBezTo>
                  <a:pt x="1483" y="200"/>
                  <a:pt x="1483" y="200"/>
                  <a:pt x="1483" y="200"/>
                </a:cubicBezTo>
                <a:cubicBezTo>
                  <a:pt x="1486" y="198"/>
                  <a:pt x="1486" y="198"/>
                  <a:pt x="1486" y="198"/>
                </a:cubicBezTo>
                <a:cubicBezTo>
                  <a:pt x="1487" y="200"/>
                  <a:pt x="1487" y="200"/>
                  <a:pt x="1487" y="200"/>
                </a:cubicBezTo>
                <a:cubicBezTo>
                  <a:pt x="1491" y="198"/>
                  <a:pt x="1491" y="198"/>
                  <a:pt x="1491" y="198"/>
                </a:cubicBezTo>
                <a:cubicBezTo>
                  <a:pt x="1491" y="198"/>
                  <a:pt x="1490" y="201"/>
                  <a:pt x="1489" y="201"/>
                </a:cubicBezTo>
                <a:cubicBezTo>
                  <a:pt x="1488" y="201"/>
                  <a:pt x="1485" y="201"/>
                  <a:pt x="1485" y="201"/>
                </a:cubicBezTo>
                <a:cubicBezTo>
                  <a:pt x="1482" y="201"/>
                  <a:pt x="1482" y="201"/>
                  <a:pt x="1482" y="201"/>
                </a:cubicBezTo>
                <a:cubicBezTo>
                  <a:pt x="1482" y="201"/>
                  <a:pt x="1478" y="200"/>
                  <a:pt x="1478" y="200"/>
                </a:cubicBezTo>
                <a:cubicBezTo>
                  <a:pt x="1477" y="200"/>
                  <a:pt x="1472" y="201"/>
                  <a:pt x="1472" y="201"/>
                </a:cubicBezTo>
                <a:cubicBezTo>
                  <a:pt x="1472" y="201"/>
                  <a:pt x="1473" y="203"/>
                  <a:pt x="1474" y="204"/>
                </a:cubicBezTo>
                <a:cubicBezTo>
                  <a:pt x="1475" y="204"/>
                  <a:pt x="1477" y="204"/>
                  <a:pt x="1477" y="204"/>
                </a:cubicBezTo>
                <a:cubicBezTo>
                  <a:pt x="1477" y="204"/>
                  <a:pt x="1474" y="206"/>
                  <a:pt x="1475" y="208"/>
                </a:cubicBezTo>
                <a:cubicBezTo>
                  <a:pt x="1476" y="209"/>
                  <a:pt x="1479" y="209"/>
                  <a:pt x="1479" y="209"/>
                </a:cubicBezTo>
                <a:cubicBezTo>
                  <a:pt x="1482" y="207"/>
                  <a:pt x="1482" y="207"/>
                  <a:pt x="1482" y="207"/>
                </a:cubicBezTo>
                <a:cubicBezTo>
                  <a:pt x="1486" y="206"/>
                  <a:pt x="1486" y="206"/>
                  <a:pt x="1486" y="206"/>
                </a:cubicBezTo>
                <a:cubicBezTo>
                  <a:pt x="1485" y="209"/>
                  <a:pt x="1485" y="209"/>
                  <a:pt x="1485" y="209"/>
                </a:cubicBezTo>
                <a:cubicBezTo>
                  <a:pt x="1483" y="208"/>
                  <a:pt x="1483" y="208"/>
                  <a:pt x="1483" y="208"/>
                </a:cubicBezTo>
                <a:cubicBezTo>
                  <a:pt x="1481" y="211"/>
                  <a:pt x="1481" y="211"/>
                  <a:pt x="1481" y="211"/>
                </a:cubicBezTo>
                <a:cubicBezTo>
                  <a:pt x="1481" y="211"/>
                  <a:pt x="1475" y="210"/>
                  <a:pt x="1476" y="211"/>
                </a:cubicBezTo>
                <a:cubicBezTo>
                  <a:pt x="1477" y="213"/>
                  <a:pt x="1479" y="213"/>
                  <a:pt x="1479" y="213"/>
                </a:cubicBezTo>
                <a:cubicBezTo>
                  <a:pt x="1475" y="215"/>
                  <a:pt x="1475" y="215"/>
                  <a:pt x="1475" y="215"/>
                </a:cubicBezTo>
                <a:cubicBezTo>
                  <a:pt x="1473" y="215"/>
                  <a:pt x="1473" y="215"/>
                  <a:pt x="1473" y="215"/>
                </a:cubicBezTo>
                <a:cubicBezTo>
                  <a:pt x="1473" y="215"/>
                  <a:pt x="1473" y="217"/>
                  <a:pt x="1474" y="217"/>
                </a:cubicBezTo>
                <a:cubicBezTo>
                  <a:pt x="1475" y="217"/>
                  <a:pt x="1481" y="218"/>
                  <a:pt x="1481" y="218"/>
                </a:cubicBezTo>
                <a:cubicBezTo>
                  <a:pt x="1479" y="221"/>
                  <a:pt x="1479" y="221"/>
                  <a:pt x="1479" y="221"/>
                </a:cubicBezTo>
                <a:cubicBezTo>
                  <a:pt x="1481" y="221"/>
                  <a:pt x="1481" y="221"/>
                  <a:pt x="1481" y="221"/>
                </a:cubicBezTo>
                <a:cubicBezTo>
                  <a:pt x="1480" y="224"/>
                  <a:pt x="1480" y="224"/>
                  <a:pt x="1480" y="224"/>
                </a:cubicBezTo>
                <a:cubicBezTo>
                  <a:pt x="1480" y="224"/>
                  <a:pt x="1475" y="221"/>
                  <a:pt x="1475" y="223"/>
                </a:cubicBezTo>
                <a:cubicBezTo>
                  <a:pt x="1475" y="224"/>
                  <a:pt x="1477" y="226"/>
                  <a:pt x="1477" y="226"/>
                </a:cubicBezTo>
                <a:cubicBezTo>
                  <a:pt x="1484" y="229"/>
                  <a:pt x="1484" y="229"/>
                  <a:pt x="1484" y="229"/>
                </a:cubicBezTo>
                <a:cubicBezTo>
                  <a:pt x="1484" y="229"/>
                  <a:pt x="1482" y="230"/>
                  <a:pt x="1484" y="231"/>
                </a:cubicBezTo>
                <a:cubicBezTo>
                  <a:pt x="1485" y="232"/>
                  <a:pt x="1490" y="231"/>
                  <a:pt x="1490" y="231"/>
                </a:cubicBezTo>
                <a:cubicBezTo>
                  <a:pt x="1490" y="231"/>
                  <a:pt x="1490" y="233"/>
                  <a:pt x="1494" y="231"/>
                </a:cubicBezTo>
                <a:cubicBezTo>
                  <a:pt x="1498" y="230"/>
                  <a:pt x="1503" y="225"/>
                  <a:pt x="1503" y="225"/>
                </a:cubicBezTo>
                <a:cubicBezTo>
                  <a:pt x="1508" y="221"/>
                  <a:pt x="1508" y="221"/>
                  <a:pt x="1508" y="221"/>
                </a:cubicBezTo>
                <a:cubicBezTo>
                  <a:pt x="1508" y="221"/>
                  <a:pt x="1511" y="222"/>
                  <a:pt x="1513" y="220"/>
                </a:cubicBezTo>
                <a:cubicBezTo>
                  <a:pt x="1515" y="218"/>
                  <a:pt x="1513" y="214"/>
                  <a:pt x="1513" y="214"/>
                </a:cubicBezTo>
                <a:cubicBezTo>
                  <a:pt x="1515" y="214"/>
                  <a:pt x="1515" y="214"/>
                  <a:pt x="1515" y="214"/>
                </a:cubicBezTo>
                <a:cubicBezTo>
                  <a:pt x="1515" y="214"/>
                  <a:pt x="1513" y="217"/>
                  <a:pt x="1516" y="218"/>
                </a:cubicBezTo>
                <a:cubicBezTo>
                  <a:pt x="1519" y="219"/>
                  <a:pt x="1521" y="220"/>
                  <a:pt x="1521" y="220"/>
                </a:cubicBezTo>
                <a:cubicBezTo>
                  <a:pt x="1522" y="228"/>
                  <a:pt x="1522" y="228"/>
                  <a:pt x="1522" y="228"/>
                </a:cubicBezTo>
                <a:cubicBezTo>
                  <a:pt x="1522" y="228"/>
                  <a:pt x="1525" y="226"/>
                  <a:pt x="1526" y="229"/>
                </a:cubicBezTo>
                <a:cubicBezTo>
                  <a:pt x="1527" y="231"/>
                  <a:pt x="1525" y="229"/>
                  <a:pt x="1525" y="229"/>
                </a:cubicBezTo>
                <a:cubicBezTo>
                  <a:pt x="1525" y="229"/>
                  <a:pt x="1524" y="237"/>
                  <a:pt x="1525" y="237"/>
                </a:cubicBezTo>
                <a:cubicBezTo>
                  <a:pt x="1526" y="238"/>
                  <a:pt x="1528" y="239"/>
                  <a:pt x="1528" y="239"/>
                </a:cubicBezTo>
                <a:cubicBezTo>
                  <a:pt x="1528" y="239"/>
                  <a:pt x="1530" y="243"/>
                  <a:pt x="1531" y="244"/>
                </a:cubicBezTo>
                <a:cubicBezTo>
                  <a:pt x="1533" y="246"/>
                  <a:pt x="1535" y="247"/>
                  <a:pt x="1535" y="247"/>
                </a:cubicBezTo>
                <a:cubicBezTo>
                  <a:pt x="1535" y="248"/>
                  <a:pt x="1535" y="248"/>
                  <a:pt x="1535" y="248"/>
                </a:cubicBezTo>
                <a:cubicBezTo>
                  <a:pt x="1532" y="249"/>
                  <a:pt x="1532" y="249"/>
                  <a:pt x="1532" y="249"/>
                </a:cubicBezTo>
                <a:cubicBezTo>
                  <a:pt x="1532" y="249"/>
                  <a:pt x="1532" y="250"/>
                  <a:pt x="1532" y="252"/>
                </a:cubicBezTo>
                <a:cubicBezTo>
                  <a:pt x="1532" y="253"/>
                  <a:pt x="1535" y="256"/>
                  <a:pt x="1535" y="256"/>
                </a:cubicBezTo>
                <a:cubicBezTo>
                  <a:pt x="1535" y="256"/>
                  <a:pt x="1535" y="258"/>
                  <a:pt x="1536" y="259"/>
                </a:cubicBezTo>
                <a:cubicBezTo>
                  <a:pt x="1537" y="260"/>
                  <a:pt x="1541" y="259"/>
                  <a:pt x="1541" y="259"/>
                </a:cubicBezTo>
                <a:cubicBezTo>
                  <a:pt x="1541" y="259"/>
                  <a:pt x="1547" y="261"/>
                  <a:pt x="1547" y="259"/>
                </a:cubicBezTo>
                <a:cubicBezTo>
                  <a:pt x="1546" y="257"/>
                  <a:pt x="1546" y="254"/>
                  <a:pt x="1546" y="254"/>
                </a:cubicBezTo>
                <a:cubicBezTo>
                  <a:pt x="1549" y="252"/>
                  <a:pt x="1549" y="252"/>
                  <a:pt x="1549" y="252"/>
                </a:cubicBezTo>
                <a:cubicBezTo>
                  <a:pt x="1549" y="250"/>
                  <a:pt x="1549" y="250"/>
                  <a:pt x="1549" y="250"/>
                </a:cubicBezTo>
                <a:cubicBezTo>
                  <a:pt x="1558" y="251"/>
                  <a:pt x="1558" y="251"/>
                  <a:pt x="1558" y="251"/>
                </a:cubicBezTo>
                <a:cubicBezTo>
                  <a:pt x="1560" y="252"/>
                  <a:pt x="1560" y="252"/>
                  <a:pt x="1560" y="252"/>
                </a:cubicBezTo>
                <a:cubicBezTo>
                  <a:pt x="1563" y="243"/>
                  <a:pt x="1563" y="243"/>
                  <a:pt x="1563" y="243"/>
                </a:cubicBezTo>
                <a:cubicBezTo>
                  <a:pt x="1563" y="243"/>
                  <a:pt x="1565" y="238"/>
                  <a:pt x="1564" y="237"/>
                </a:cubicBezTo>
                <a:cubicBezTo>
                  <a:pt x="1564" y="235"/>
                  <a:pt x="1563" y="233"/>
                  <a:pt x="1563" y="233"/>
                </a:cubicBezTo>
                <a:cubicBezTo>
                  <a:pt x="1563" y="233"/>
                  <a:pt x="1567" y="232"/>
                  <a:pt x="1567" y="230"/>
                </a:cubicBezTo>
                <a:cubicBezTo>
                  <a:pt x="1566" y="228"/>
                  <a:pt x="1562" y="228"/>
                  <a:pt x="1562" y="228"/>
                </a:cubicBezTo>
                <a:cubicBezTo>
                  <a:pt x="1565" y="227"/>
                  <a:pt x="1565" y="227"/>
                  <a:pt x="1565" y="227"/>
                </a:cubicBezTo>
                <a:cubicBezTo>
                  <a:pt x="1563" y="226"/>
                  <a:pt x="1563" y="226"/>
                  <a:pt x="1563" y="226"/>
                </a:cubicBezTo>
                <a:cubicBezTo>
                  <a:pt x="1563" y="226"/>
                  <a:pt x="1570" y="226"/>
                  <a:pt x="1571" y="224"/>
                </a:cubicBezTo>
                <a:cubicBezTo>
                  <a:pt x="1571" y="222"/>
                  <a:pt x="1572" y="220"/>
                  <a:pt x="1572" y="220"/>
                </a:cubicBezTo>
                <a:cubicBezTo>
                  <a:pt x="1572" y="220"/>
                  <a:pt x="1575" y="224"/>
                  <a:pt x="1577" y="222"/>
                </a:cubicBezTo>
                <a:cubicBezTo>
                  <a:pt x="1579" y="219"/>
                  <a:pt x="1578" y="217"/>
                  <a:pt x="1578" y="217"/>
                </a:cubicBezTo>
                <a:cubicBezTo>
                  <a:pt x="1578" y="217"/>
                  <a:pt x="1583" y="216"/>
                  <a:pt x="1582" y="213"/>
                </a:cubicBezTo>
                <a:cubicBezTo>
                  <a:pt x="1580" y="210"/>
                  <a:pt x="1578" y="210"/>
                  <a:pt x="1578" y="210"/>
                </a:cubicBezTo>
                <a:cubicBezTo>
                  <a:pt x="1578" y="207"/>
                  <a:pt x="1578" y="207"/>
                  <a:pt x="1578" y="207"/>
                </a:cubicBezTo>
                <a:cubicBezTo>
                  <a:pt x="1573" y="205"/>
                  <a:pt x="1573" y="205"/>
                  <a:pt x="1573" y="205"/>
                </a:cubicBezTo>
                <a:cubicBezTo>
                  <a:pt x="1573" y="205"/>
                  <a:pt x="1571" y="207"/>
                  <a:pt x="1569" y="205"/>
                </a:cubicBezTo>
                <a:cubicBezTo>
                  <a:pt x="1567" y="204"/>
                  <a:pt x="1567" y="195"/>
                  <a:pt x="1567" y="195"/>
                </a:cubicBezTo>
                <a:cubicBezTo>
                  <a:pt x="1567" y="195"/>
                  <a:pt x="1569" y="193"/>
                  <a:pt x="1569" y="190"/>
                </a:cubicBezTo>
                <a:cubicBezTo>
                  <a:pt x="1569" y="188"/>
                  <a:pt x="1567" y="186"/>
                  <a:pt x="1567" y="186"/>
                </a:cubicBezTo>
                <a:cubicBezTo>
                  <a:pt x="1567" y="186"/>
                  <a:pt x="1570" y="187"/>
                  <a:pt x="1571" y="185"/>
                </a:cubicBezTo>
                <a:cubicBezTo>
                  <a:pt x="1572" y="183"/>
                  <a:pt x="1570" y="181"/>
                  <a:pt x="1570" y="181"/>
                </a:cubicBezTo>
                <a:cubicBezTo>
                  <a:pt x="1570" y="181"/>
                  <a:pt x="1573" y="183"/>
                  <a:pt x="1574" y="182"/>
                </a:cubicBezTo>
                <a:cubicBezTo>
                  <a:pt x="1575" y="181"/>
                  <a:pt x="1578" y="178"/>
                  <a:pt x="1578" y="178"/>
                </a:cubicBezTo>
                <a:cubicBezTo>
                  <a:pt x="1582" y="179"/>
                  <a:pt x="1582" y="179"/>
                  <a:pt x="1582" y="179"/>
                </a:cubicBezTo>
                <a:cubicBezTo>
                  <a:pt x="1584" y="176"/>
                  <a:pt x="1584" y="176"/>
                  <a:pt x="1584" y="176"/>
                </a:cubicBezTo>
                <a:cubicBezTo>
                  <a:pt x="1584" y="176"/>
                  <a:pt x="1590" y="176"/>
                  <a:pt x="1592" y="174"/>
                </a:cubicBezTo>
                <a:cubicBezTo>
                  <a:pt x="1594" y="172"/>
                  <a:pt x="1597" y="166"/>
                  <a:pt x="1597" y="166"/>
                </a:cubicBezTo>
                <a:cubicBezTo>
                  <a:pt x="1595" y="163"/>
                  <a:pt x="1595" y="163"/>
                  <a:pt x="1595" y="163"/>
                </a:cubicBezTo>
                <a:cubicBezTo>
                  <a:pt x="1599" y="158"/>
                  <a:pt x="1599" y="158"/>
                  <a:pt x="1599" y="158"/>
                </a:cubicBezTo>
                <a:cubicBezTo>
                  <a:pt x="1597" y="156"/>
                  <a:pt x="1597" y="156"/>
                  <a:pt x="1597" y="156"/>
                </a:cubicBezTo>
                <a:cubicBezTo>
                  <a:pt x="1602" y="154"/>
                  <a:pt x="1602" y="154"/>
                  <a:pt x="1602" y="154"/>
                </a:cubicBezTo>
                <a:cubicBezTo>
                  <a:pt x="1604" y="152"/>
                  <a:pt x="1604" y="152"/>
                  <a:pt x="1604" y="152"/>
                </a:cubicBezTo>
                <a:cubicBezTo>
                  <a:pt x="1615" y="152"/>
                  <a:pt x="1615" y="152"/>
                  <a:pt x="1615" y="152"/>
                </a:cubicBezTo>
                <a:cubicBezTo>
                  <a:pt x="1617" y="155"/>
                  <a:pt x="1617" y="155"/>
                  <a:pt x="1617" y="155"/>
                </a:cubicBezTo>
                <a:cubicBezTo>
                  <a:pt x="1617" y="154"/>
                  <a:pt x="1617" y="154"/>
                  <a:pt x="1617" y="154"/>
                </a:cubicBezTo>
                <a:cubicBezTo>
                  <a:pt x="1619" y="153"/>
                  <a:pt x="1619" y="153"/>
                  <a:pt x="1619" y="153"/>
                </a:cubicBezTo>
                <a:cubicBezTo>
                  <a:pt x="1619" y="153"/>
                  <a:pt x="1625" y="155"/>
                  <a:pt x="1626" y="157"/>
                </a:cubicBezTo>
                <a:cubicBezTo>
                  <a:pt x="1626" y="160"/>
                  <a:pt x="1626" y="162"/>
                  <a:pt x="1626" y="162"/>
                </a:cubicBezTo>
                <a:cubicBezTo>
                  <a:pt x="1626" y="162"/>
                  <a:pt x="1624" y="161"/>
                  <a:pt x="1623" y="161"/>
                </a:cubicBezTo>
                <a:cubicBezTo>
                  <a:pt x="1623" y="161"/>
                  <a:pt x="1618" y="166"/>
                  <a:pt x="1618" y="166"/>
                </a:cubicBezTo>
                <a:cubicBezTo>
                  <a:pt x="1613" y="171"/>
                  <a:pt x="1613" y="171"/>
                  <a:pt x="1613" y="171"/>
                </a:cubicBezTo>
                <a:cubicBezTo>
                  <a:pt x="1608" y="172"/>
                  <a:pt x="1608" y="172"/>
                  <a:pt x="1608" y="172"/>
                </a:cubicBezTo>
                <a:cubicBezTo>
                  <a:pt x="1608" y="172"/>
                  <a:pt x="1605" y="175"/>
                  <a:pt x="1605" y="176"/>
                </a:cubicBezTo>
                <a:cubicBezTo>
                  <a:pt x="1605" y="178"/>
                  <a:pt x="1601" y="178"/>
                  <a:pt x="1601" y="178"/>
                </a:cubicBezTo>
                <a:cubicBezTo>
                  <a:pt x="1598" y="182"/>
                  <a:pt x="1598" y="182"/>
                  <a:pt x="1598" y="182"/>
                </a:cubicBezTo>
                <a:cubicBezTo>
                  <a:pt x="1598" y="182"/>
                  <a:pt x="1597" y="185"/>
                  <a:pt x="1597" y="185"/>
                </a:cubicBezTo>
                <a:cubicBezTo>
                  <a:pt x="1598" y="186"/>
                  <a:pt x="1599" y="188"/>
                  <a:pt x="1599" y="188"/>
                </a:cubicBezTo>
                <a:cubicBezTo>
                  <a:pt x="1598" y="191"/>
                  <a:pt x="1598" y="191"/>
                  <a:pt x="1598" y="191"/>
                </a:cubicBezTo>
                <a:cubicBezTo>
                  <a:pt x="1601" y="194"/>
                  <a:pt x="1601" y="194"/>
                  <a:pt x="1601" y="194"/>
                </a:cubicBezTo>
                <a:cubicBezTo>
                  <a:pt x="1601" y="194"/>
                  <a:pt x="1599" y="201"/>
                  <a:pt x="1600" y="203"/>
                </a:cubicBezTo>
                <a:cubicBezTo>
                  <a:pt x="1601" y="205"/>
                  <a:pt x="1603" y="206"/>
                  <a:pt x="1603" y="206"/>
                </a:cubicBezTo>
                <a:cubicBezTo>
                  <a:pt x="1606" y="209"/>
                  <a:pt x="1606" y="209"/>
                  <a:pt x="1606" y="209"/>
                </a:cubicBezTo>
                <a:cubicBezTo>
                  <a:pt x="1612" y="208"/>
                  <a:pt x="1612" y="208"/>
                  <a:pt x="1612" y="208"/>
                </a:cubicBezTo>
                <a:cubicBezTo>
                  <a:pt x="1612" y="208"/>
                  <a:pt x="1610" y="211"/>
                  <a:pt x="1615" y="212"/>
                </a:cubicBezTo>
                <a:cubicBezTo>
                  <a:pt x="1619" y="212"/>
                  <a:pt x="1626" y="211"/>
                  <a:pt x="1626" y="211"/>
                </a:cubicBezTo>
                <a:cubicBezTo>
                  <a:pt x="1630" y="209"/>
                  <a:pt x="1630" y="209"/>
                  <a:pt x="1630" y="209"/>
                </a:cubicBezTo>
                <a:cubicBezTo>
                  <a:pt x="1635" y="209"/>
                  <a:pt x="1635" y="209"/>
                  <a:pt x="1635" y="209"/>
                </a:cubicBezTo>
                <a:cubicBezTo>
                  <a:pt x="1642" y="206"/>
                  <a:pt x="1642" y="206"/>
                  <a:pt x="1642" y="206"/>
                </a:cubicBezTo>
                <a:cubicBezTo>
                  <a:pt x="1652" y="206"/>
                  <a:pt x="1652" y="206"/>
                  <a:pt x="1652" y="206"/>
                </a:cubicBezTo>
                <a:cubicBezTo>
                  <a:pt x="1653" y="206"/>
                  <a:pt x="1653" y="206"/>
                  <a:pt x="1653" y="206"/>
                </a:cubicBezTo>
                <a:cubicBezTo>
                  <a:pt x="1657" y="203"/>
                  <a:pt x="1657" y="203"/>
                  <a:pt x="1657" y="203"/>
                </a:cubicBezTo>
                <a:cubicBezTo>
                  <a:pt x="1658" y="206"/>
                  <a:pt x="1658" y="206"/>
                  <a:pt x="1658" y="206"/>
                </a:cubicBezTo>
                <a:cubicBezTo>
                  <a:pt x="1658" y="206"/>
                  <a:pt x="1660" y="208"/>
                  <a:pt x="1662" y="209"/>
                </a:cubicBezTo>
                <a:cubicBezTo>
                  <a:pt x="1663" y="210"/>
                  <a:pt x="1668" y="210"/>
                  <a:pt x="1668" y="210"/>
                </a:cubicBezTo>
                <a:cubicBezTo>
                  <a:pt x="1670" y="212"/>
                  <a:pt x="1670" y="212"/>
                  <a:pt x="1670" y="212"/>
                </a:cubicBezTo>
                <a:cubicBezTo>
                  <a:pt x="1670" y="212"/>
                  <a:pt x="1662" y="210"/>
                  <a:pt x="1662" y="211"/>
                </a:cubicBezTo>
                <a:cubicBezTo>
                  <a:pt x="1661" y="213"/>
                  <a:pt x="1661" y="214"/>
                  <a:pt x="1661" y="214"/>
                </a:cubicBezTo>
                <a:cubicBezTo>
                  <a:pt x="1656" y="214"/>
                  <a:pt x="1656" y="214"/>
                  <a:pt x="1656" y="214"/>
                </a:cubicBezTo>
                <a:cubicBezTo>
                  <a:pt x="1655" y="217"/>
                  <a:pt x="1655" y="217"/>
                  <a:pt x="1655" y="217"/>
                </a:cubicBezTo>
                <a:cubicBezTo>
                  <a:pt x="1655" y="217"/>
                  <a:pt x="1654" y="217"/>
                  <a:pt x="1653" y="217"/>
                </a:cubicBezTo>
                <a:cubicBezTo>
                  <a:pt x="1650" y="216"/>
                  <a:pt x="1643" y="215"/>
                  <a:pt x="1641" y="215"/>
                </a:cubicBezTo>
                <a:cubicBezTo>
                  <a:pt x="1638" y="215"/>
                  <a:pt x="1628" y="216"/>
                  <a:pt x="1628" y="216"/>
                </a:cubicBezTo>
                <a:cubicBezTo>
                  <a:pt x="1628" y="216"/>
                  <a:pt x="1618" y="220"/>
                  <a:pt x="1618" y="221"/>
                </a:cubicBezTo>
                <a:cubicBezTo>
                  <a:pt x="1618" y="223"/>
                  <a:pt x="1619" y="226"/>
                  <a:pt x="1619" y="226"/>
                </a:cubicBezTo>
                <a:cubicBezTo>
                  <a:pt x="1627" y="228"/>
                  <a:pt x="1627" y="228"/>
                  <a:pt x="1627" y="228"/>
                </a:cubicBezTo>
                <a:cubicBezTo>
                  <a:pt x="1625" y="233"/>
                  <a:pt x="1625" y="233"/>
                  <a:pt x="1625" y="233"/>
                </a:cubicBezTo>
                <a:cubicBezTo>
                  <a:pt x="1625" y="233"/>
                  <a:pt x="1629" y="242"/>
                  <a:pt x="1626" y="242"/>
                </a:cubicBezTo>
                <a:cubicBezTo>
                  <a:pt x="1624" y="242"/>
                  <a:pt x="1618" y="241"/>
                  <a:pt x="1618" y="241"/>
                </a:cubicBezTo>
                <a:cubicBezTo>
                  <a:pt x="1617" y="238"/>
                  <a:pt x="1617" y="238"/>
                  <a:pt x="1617" y="238"/>
                </a:cubicBezTo>
                <a:cubicBezTo>
                  <a:pt x="1612" y="234"/>
                  <a:pt x="1612" y="234"/>
                  <a:pt x="1612" y="234"/>
                </a:cubicBezTo>
                <a:cubicBezTo>
                  <a:pt x="1612" y="234"/>
                  <a:pt x="1606" y="235"/>
                  <a:pt x="1605" y="237"/>
                </a:cubicBezTo>
                <a:cubicBezTo>
                  <a:pt x="1604" y="238"/>
                  <a:pt x="1604" y="240"/>
                  <a:pt x="1604" y="240"/>
                </a:cubicBezTo>
                <a:cubicBezTo>
                  <a:pt x="1604" y="240"/>
                  <a:pt x="1600" y="244"/>
                  <a:pt x="1600" y="245"/>
                </a:cubicBezTo>
                <a:cubicBezTo>
                  <a:pt x="1600" y="246"/>
                  <a:pt x="1602" y="252"/>
                  <a:pt x="1602" y="252"/>
                </a:cubicBezTo>
                <a:cubicBezTo>
                  <a:pt x="1602" y="252"/>
                  <a:pt x="1602" y="260"/>
                  <a:pt x="1604" y="260"/>
                </a:cubicBezTo>
                <a:cubicBezTo>
                  <a:pt x="1604" y="260"/>
                  <a:pt x="1604" y="260"/>
                  <a:pt x="1604" y="261"/>
                </a:cubicBezTo>
                <a:cubicBezTo>
                  <a:pt x="1604" y="262"/>
                  <a:pt x="1603" y="264"/>
                  <a:pt x="1603" y="264"/>
                </a:cubicBezTo>
                <a:cubicBezTo>
                  <a:pt x="1603" y="264"/>
                  <a:pt x="1594" y="263"/>
                  <a:pt x="1593" y="264"/>
                </a:cubicBezTo>
                <a:cubicBezTo>
                  <a:pt x="1592" y="266"/>
                  <a:pt x="1594" y="267"/>
                  <a:pt x="1594" y="267"/>
                </a:cubicBezTo>
                <a:cubicBezTo>
                  <a:pt x="1593" y="269"/>
                  <a:pt x="1593" y="269"/>
                  <a:pt x="1593" y="269"/>
                </a:cubicBezTo>
                <a:cubicBezTo>
                  <a:pt x="1593" y="269"/>
                  <a:pt x="1586" y="270"/>
                  <a:pt x="1585" y="270"/>
                </a:cubicBezTo>
                <a:cubicBezTo>
                  <a:pt x="1583" y="270"/>
                  <a:pt x="1582" y="266"/>
                  <a:pt x="1582" y="266"/>
                </a:cubicBezTo>
                <a:cubicBezTo>
                  <a:pt x="1582" y="266"/>
                  <a:pt x="1579" y="265"/>
                  <a:pt x="1576" y="265"/>
                </a:cubicBezTo>
                <a:cubicBezTo>
                  <a:pt x="1573" y="265"/>
                  <a:pt x="1565" y="269"/>
                  <a:pt x="1565" y="269"/>
                </a:cubicBezTo>
                <a:cubicBezTo>
                  <a:pt x="1562" y="271"/>
                  <a:pt x="1562" y="271"/>
                  <a:pt x="1562" y="271"/>
                </a:cubicBezTo>
                <a:cubicBezTo>
                  <a:pt x="1554" y="272"/>
                  <a:pt x="1554" y="272"/>
                  <a:pt x="1554" y="272"/>
                </a:cubicBezTo>
                <a:cubicBezTo>
                  <a:pt x="1554" y="272"/>
                  <a:pt x="1547" y="275"/>
                  <a:pt x="1548" y="275"/>
                </a:cubicBezTo>
                <a:cubicBezTo>
                  <a:pt x="1548" y="276"/>
                  <a:pt x="1548" y="278"/>
                  <a:pt x="1548" y="278"/>
                </a:cubicBezTo>
                <a:cubicBezTo>
                  <a:pt x="1547" y="278"/>
                  <a:pt x="1547" y="278"/>
                  <a:pt x="1547" y="278"/>
                </a:cubicBezTo>
                <a:cubicBezTo>
                  <a:pt x="1546" y="277"/>
                  <a:pt x="1546" y="277"/>
                  <a:pt x="1546" y="277"/>
                </a:cubicBezTo>
                <a:cubicBezTo>
                  <a:pt x="1543" y="276"/>
                  <a:pt x="1543" y="276"/>
                  <a:pt x="1543" y="276"/>
                </a:cubicBezTo>
                <a:cubicBezTo>
                  <a:pt x="1543" y="276"/>
                  <a:pt x="1543" y="275"/>
                  <a:pt x="1542" y="274"/>
                </a:cubicBezTo>
                <a:cubicBezTo>
                  <a:pt x="1541" y="273"/>
                  <a:pt x="1539" y="273"/>
                  <a:pt x="1539" y="273"/>
                </a:cubicBezTo>
                <a:cubicBezTo>
                  <a:pt x="1538" y="272"/>
                  <a:pt x="1538" y="272"/>
                  <a:pt x="1538" y="272"/>
                </a:cubicBezTo>
                <a:cubicBezTo>
                  <a:pt x="1538" y="272"/>
                  <a:pt x="1532" y="269"/>
                  <a:pt x="1531" y="270"/>
                </a:cubicBezTo>
                <a:cubicBezTo>
                  <a:pt x="1530" y="271"/>
                  <a:pt x="1529" y="272"/>
                  <a:pt x="1529" y="272"/>
                </a:cubicBezTo>
                <a:cubicBezTo>
                  <a:pt x="1523" y="272"/>
                  <a:pt x="1523" y="272"/>
                  <a:pt x="1523" y="272"/>
                </a:cubicBezTo>
                <a:cubicBezTo>
                  <a:pt x="1523" y="274"/>
                  <a:pt x="1523" y="274"/>
                  <a:pt x="1523" y="274"/>
                </a:cubicBezTo>
                <a:cubicBezTo>
                  <a:pt x="1518" y="274"/>
                  <a:pt x="1518" y="274"/>
                  <a:pt x="1518" y="274"/>
                </a:cubicBezTo>
                <a:cubicBezTo>
                  <a:pt x="1518" y="274"/>
                  <a:pt x="1517" y="273"/>
                  <a:pt x="1518" y="272"/>
                </a:cubicBezTo>
                <a:cubicBezTo>
                  <a:pt x="1519" y="271"/>
                  <a:pt x="1520" y="269"/>
                  <a:pt x="1520" y="269"/>
                </a:cubicBezTo>
                <a:cubicBezTo>
                  <a:pt x="1517" y="270"/>
                  <a:pt x="1517" y="270"/>
                  <a:pt x="1517" y="270"/>
                </a:cubicBezTo>
                <a:cubicBezTo>
                  <a:pt x="1511" y="269"/>
                  <a:pt x="1511" y="269"/>
                  <a:pt x="1511" y="269"/>
                </a:cubicBezTo>
                <a:cubicBezTo>
                  <a:pt x="1511" y="269"/>
                  <a:pt x="1509" y="267"/>
                  <a:pt x="1508" y="265"/>
                </a:cubicBezTo>
                <a:cubicBezTo>
                  <a:pt x="1508" y="265"/>
                  <a:pt x="1508" y="265"/>
                  <a:pt x="1508" y="265"/>
                </a:cubicBezTo>
                <a:cubicBezTo>
                  <a:pt x="1508" y="263"/>
                  <a:pt x="1507" y="262"/>
                  <a:pt x="1507" y="262"/>
                </a:cubicBezTo>
                <a:cubicBezTo>
                  <a:pt x="1509" y="259"/>
                  <a:pt x="1509" y="259"/>
                  <a:pt x="1509" y="259"/>
                </a:cubicBezTo>
                <a:cubicBezTo>
                  <a:pt x="1509" y="259"/>
                  <a:pt x="1506" y="256"/>
                  <a:pt x="1508" y="256"/>
                </a:cubicBezTo>
                <a:cubicBezTo>
                  <a:pt x="1510" y="255"/>
                  <a:pt x="1511" y="254"/>
                  <a:pt x="1511" y="254"/>
                </a:cubicBezTo>
                <a:cubicBezTo>
                  <a:pt x="1512" y="250"/>
                  <a:pt x="1512" y="250"/>
                  <a:pt x="1512" y="250"/>
                </a:cubicBezTo>
                <a:cubicBezTo>
                  <a:pt x="1515" y="250"/>
                  <a:pt x="1515" y="250"/>
                  <a:pt x="1515" y="250"/>
                </a:cubicBezTo>
                <a:cubicBezTo>
                  <a:pt x="1516" y="247"/>
                  <a:pt x="1516" y="247"/>
                  <a:pt x="1516" y="247"/>
                </a:cubicBezTo>
                <a:cubicBezTo>
                  <a:pt x="1511" y="247"/>
                  <a:pt x="1511" y="247"/>
                  <a:pt x="1511" y="247"/>
                </a:cubicBezTo>
                <a:cubicBezTo>
                  <a:pt x="1511" y="247"/>
                  <a:pt x="1511" y="243"/>
                  <a:pt x="1511" y="243"/>
                </a:cubicBezTo>
                <a:cubicBezTo>
                  <a:pt x="1512" y="242"/>
                  <a:pt x="1515" y="239"/>
                  <a:pt x="1514" y="238"/>
                </a:cubicBezTo>
                <a:cubicBezTo>
                  <a:pt x="1514" y="237"/>
                  <a:pt x="1513" y="236"/>
                  <a:pt x="1513" y="236"/>
                </a:cubicBezTo>
                <a:cubicBezTo>
                  <a:pt x="1513" y="236"/>
                  <a:pt x="1509" y="235"/>
                  <a:pt x="1509" y="236"/>
                </a:cubicBezTo>
                <a:cubicBezTo>
                  <a:pt x="1509" y="237"/>
                  <a:pt x="1504" y="242"/>
                  <a:pt x="1504" y="243"/>
                </a:cubicBezTo>
                <a:cubicBezTo>
                  <a:pt x="1504" y="244"/>
                  <a:pt x="1505" y="246"/>
                  <a:pt x="1505" y="246"/>
                </a:cubicBezTo>
                <a:cubicBezTo>
                  <a:pt x="1502" y="244"/>
                  <a:pt x="1502" y="244"/>
                  <a:pt x="1502" y="244"/>
                </a:cubicBezTo>
                <a:cubicBezTo>
                  <a:pt x="1501" y="240"/>
                  <a:pt x="1501" y="240"/>
                  <a:pt x="1501" y="240"/>
                </a:cubicBezTo>
                <a:cubicBezTo>
                  <a:pt x="1501" y="240"/>
                  <a:pt x="1496" y="243"/>
                  <a:pt x="1496" y="244"/>
                </a:cubicBezTo>
                <a:cubicBezTo>
                  <a:pt x="1496" y="244"/>
                  <a:pt x="1499" y="244"/>
                  <a:pt x="1499" y="244"/>
                </a:cubicBezTo>
                <a:cubicBezTo>
                  <a:pt x="1499" y="245"/>
                  <a:pt x="1501" y="248"/>
                  <a:pt x="1501" y="248"/>
                </a:cubicBezTo>
                <a:cubicBezTo>
                  <a:pt x="1497" y="247"/>
                  <a:pt x="1497" y="247"/>
                  <a:pt x="1497" y="247"/>
                </a:cubicBezTo>
                <a:cubicBezTo>
                  <a:pt x="1497" y="247"/>
                  <a:pt x="1494" y="250"/>
                  <a:pt x="1494" y="252"/>
                </a:cubicBezTo>
                <a:cubicBezTo>
                  <a:pt x="1494" y="254"/>
                  <a:pt x="1498" y="254"/>
                  <a:pt x="1498" y="254"/>
                </a:cubicBezTo>
                <a:cubicBezTo>
                  <a:pt x="1498" y="254"/>
                  <a:pt x="1495" y="257"/>
                  <a:pt x="1495" y="258"/>
                </a:cubicBezTo>
                <a:cubicBezTo>
                  <a:pt x="1496" y="258"/>
                  <a:pt x="1499" y="258"/>
                  <a:pt x="1499" y="258"/>
                </a:cubicBezTo>
                <a:cubicBezTo>
                  <a:pt x="1499" y="261"/>
                  <a:pt x="1499" y="261"/>
                  <a:pt x="1499" y="261"/>
                </a:cubicBezTo>
                <a:cubicBezTo>
                  <a:pt x="1497" y="264"/>
                  <a:pt x="1497" y="264"/>
                  <a:pt x="1497" y="264"/>
                </a:cubicBezTo>
                <a:cubicBezTo>
                  <a:pt x="1499" y="265"/>
                  <a:pt x="1499" y="265"/>
                  <a:pt x="1499" y="265"/>
                </a:cubicBezTo>
                <a:cubicBezTo>
                  <a:pt x="1502" y="269"/>
                  <a:pt x="1502" y="269"/>
                  <a:pt x="1502" y="269"/>
                </a:cubicBezTo>
                <a:cubicBezTo>
                  <a:pt x="1500" y="271"/>
                  <a:pt x="1500" y="271"/>
                  <a:pt x="1500" y="271"/>
                </a:cubicBezTo>
                <a:cubicBezTo>
                  <a:pt x="1503" y="275"/>
                  <a:pt x="1503" y="275"/>
                  <a:pt x="1503" y="275"/>
                </a:cubicBezTo>
                <a:cubicBezTo>
                  <a:pt x="1506" y="277"/>
                  <a:pt x="1506" y="277"/>
                  <a:pt x="1506" y="277"/>
                </a:cubicBezTo>
                <a:cubicBezTo>
                  <a:pt x="1502" y="275"/>
                  <a:pt x="1502" y="275"/>
                  <a:pt x="1502" y="275"/>
                </a:cubicBezTo>
                <a:cubicBezTo>
                  <a:pt x="1498" y="276"/>
                  <a:pt x="1498" y="276"/>
                  <a:pt x="1498" y="276"/>
                </a:cubicBezTo>
                <a:cubicBezTo>
                  <a:pt x="1498" y="276"/>
                  <a:pt x="1499" y="279"/>
                  <a:pt x="1498" y="280"/>
                </a:cubicBezTo>
                <a:cubicBezTo>
                  <a:pt x="1496" y="280"/>
                  <a:pt x="1494" y="280"/>
                  <a:pt x="1494" y="280"/>
                </a:cubicBezTo>
                <a:cubicBezTo>
                  <a:pt x="1493" y="278"/>
                  <a:pt x="1493" y="278"/>
                  <a:pt x="1493" y="278"/>
                </a:cubicBezTo>
                <a:cubicBezTo>
                  <a:pt x="1493" y="278"/>
                  <a:pt x="1487" y="277"/>
                  <a:pt x="1487" y="278"/>
                </a:cubicBezTo>
                <a:cubicBezTo>
                  <a:pt x="1487" y="279"/>
                  <a:pt x="1487" y="282"/>
                  <a:pt x="1487" y="282"/>
                </a:cubicBezTo>
                <a:cubicBezTo>
                  <a:pt x="1487" y="282"/>
                  <a:pt x="1484" y="280"/>
                  <a:pt x="1482" y="280"/>
                </a:cubicBezTo>
                <a:cubicBezTo>
                  <a:pt x="1481" y="280"/>
                  <a:pt x="1476" y="280"/>
                  <a:pt x="1476" y="280"/>
                </a:cubicBezTo>
                <a:cubicBezTo>
                  <a:pt x="1476" y="280"/>
                  <a:pt x="1473" y="281"/>
                  <a:pt x="1472" y="282"/>
                </a:cubicBezTo>
                <a:cubicBezTo>
                  <a:pt x="1472" y="283"/>
                  <a:pt x="1472" y="284"/>
                  <a:pt x="1472" y="285"/>
                </a:cubicBezTo>
                <a:cubicBezTo>
                  <a:pt x="1473" y="285"/>
                  <a:pt x="1473" y="287"/>
                  <a:pt x="1473" y="287"/>
                </a:cubicBezTo>
                <a:cubicBezTo>
                  <a:pt x="1473" y="287"/>
                  <a:pt x="1474" y="289"/>
                  <a:pt x="1474" y="289"/>
                </a:cubicBezTo>
                <a:cubicBezTo>
                  <a:pt x="1475" y="289"/>
                  <a:pt x="1476" y="289"/>
                  <a:pt x="1476" y="290"/>
                </a:cubicBezTo>
                <a:cubicBezTo>
                  <a:pt x="1476" y="291"/>
                  <a:pt x="1473" y="293"/>
                  <a:pt x="1472" y="293"/>
                </a:cubicBezTo>
                <a:cubicBezTo>
                  <a:pt x="1471" y="293"/>
                  <a:pt x="1470" y="292"/>
                  <a:pt x="1469" y="291"/>
                </a:cubicBezTo>
                <a:cubicBezTo>
                  <a:pt x="1468" y="290"/>
                  <a:pt x="1470" y="290"/>
                  <a:pt x="1471" y="288"/>
                </a:cubicBezTo>
                <a:cubicBezTo>
                  <a:pt x="1472" y="286"/>
                  <a:pt x="1471" y="285"/>
                  <a:pt x="1471" y="285"/>
                </a:cubicBezTo>
                <a:cubicBezTo>
                  <a:pt x="1471" y="285"/>
                  <a:pt x="1471" y="285"/>
                  <a:pt x="1470" y="284"/>
                </a:cubicBezTo>
                <a:cubicBezTo>
                  <a:pt x="1469" y="285"/>
                  <a:pt x="1467" y="287"/>
                  <a:pt x="1467" y="287"/>
                </a:cubicBezTo>
                <a:cubicBezTo>
                  <a:pt x="1467" y="287"/>
                  <a:pt x="1463" y="289"/>
                  <a:pt x="1463" y="291"/>
                </a:cubicBezTo>
                <a:cubicBezTo>
                  <a:pt x="1463" y="292"/>
                  <a:pt x="1463" y="295"/>
                  <a:pt x="1463" y="295"/>
                </a:cubicBezTo>
                <a:cubicBezTo>
                  <a:pt x="1459" y="299"/>
                  <a:pt x="1459" y="299"/>
                  <a:pt x="1459" y="299"/>
                </a:cubicBezTo>
                <a:cubicBezTo>
                  <a:pt x="1460" y="301"/>
                  <a:pt x="1460" y="301"/>
                  <a:pt x="1460" y="301"/>
                </a:cubicBezTo>
                <a:cubicBezTo>
                  <a:pt x="1457" y="301"/>
                  <a:pt x="1457" y="301"/>
                  <a:pt x="1457" y="301"/>
                </a:cubicBezTo>
                <a:cubicBezTo>
                  <a:pt x="1453" y="302"/>
                  <a:pt x="1453" y="302"/>
                  <a:pt x="1453" y="302"/>
                </a:cubicBezTo>
                <a:cubicBezTo>
                  <a:pt x="1451" y="304"/>
                  <a:pt x="1451" y="304"/>
                  <a:pt x="1451" y="304"/>
                </a:cubicBezTo>
                <a:cubicBezTo>
                  <a:pt x="1449" y="306"/>
                  <a:pt x="1449" y="306"/>
                  <a:pt x="1449" y="306"/>
                </a:cubicBezTo>
                <a:cubicBezTo>
                  <a:pt x="1449" y="306"/>
                  <a:pt x="1445" y="305"/>
                  <a:pt x="1443" y="306"/>
                </a:cubicBezTo>
                <a:cubicBezTo>
                  <a:pt x="1441" y="307"/>
                  <a:pt x="1436" y="306"/>
                  <a:pt x="1437" y="308"/>
                </a:cubicBezTo>
                <a:cubicBezTo>
                  <a:pt x="1438" y="309"/>
                  <a:pt x="1438" y="311"/>
                  <a:pt x="1438" y="311"/>
                </a:cubicBezTo>
                <a:cubicBezTo>
                  <a:pt x="1438" y="311"/>
                  <a:pt x="1440" y="314"/>
                  <a:pt x="1438" y="316"/>
                </a:cubicBezTo>
                <a:cubicBezTo>
                  <a:pt x="1435" y="318"/>
                  <a:pt x="1431" y="318"/>
                  <a:pt x="1431" y="318"/>
                </a:cubicBezTo>
                <a:cubicBezTo>
                  <a:pt x="1425" y="322"/>
                  <a:pt x="1425" y="322"/>
                  <a:pt x="1425" y="322"/>
                </a:cubicBezTo>
                <a:cubicBezTo>
                  <a:pt x="1427" y="323"/>
                  <a:pt x="1427" y="323"/>
                  <a:pt x="1427" y="323"/>
                </a:cubicBezTo>
                <a:cubicBezTo>
                  <a:pt x="1427" y="323"/>
                  <a:pt x="1423" y="326"/>
                  <a:pt x="1420" y="325"/>
                </a:cubicBezTo>
                <a:cubicBezTo>
                  <a:pt x="1417" y="325"/>
                  <a:pt x="1415" y="324"/>
                  <a:pt x="1415" y="324"/>
                </a:cubicBezTo>
                <a:cubicBezTo>
                  <a:pt x="1413" y="321"/>
                  <a:pt x="1413" y="321"/>
                  <a:pt x="1413" y="321"/>
                </a:cubicBezTo>
                <a:cubicBezTo>
                  <a:pt x="1413" y="321"/>
                  <a:pt x="1408" y="319"/>
                  <a:pt x="1408" y="321"/>
                </a:cubicBezTo>
                <a:cubicBezTo>
                  <a:pt x="1409" y="322"/>
                  <a:pt x="1411" y="325"/>
                  <a:pt x="1411" y="325"/>
                </a:cubicBezTo>
                <a:cubicBezTo>
                  <a:pt x="1411" y="325"/>
                  <a:pt x="1414" y="330"/>
                  <a:pt x="1410" y="331"/>
                </a:cubicBezTo>
                <a:cubicBezTo>
                  <a:pt x="1406" y="332"/>
                  <a:pt x="1402" y="331"/>
                  <a:pt x="1402" y="331"/>
                </a:cubicBezTo>
                <a:cubicBezTo>
                  <a:pt x="1401" y="334"/>
                  <a:pt x="1401" y="334"/>
                  <a:pt x="1401" y="334"/>
                </a:cubicBezTo>
                <a:cubicBezTo>
                  <a:pt x="1401" y="334"/>
                  <a:pt x="1397" y="329"/>
                  <a:pt x="1396" y="330"/>
                </a:cubicBezTo>
                <a:cubicBezTo>
                  <a:pt x="1395" y="330"/>
                  <a:pt x="1391" y="331"/>
                  <a:pt x="1391" y="331"/>
                </a:cubicBezTo>
                <a:cubicBezTo>
                  <a:pt x="1391" y="331"/>
                  <a:pt x="1383" y="332"/>
                  <a:pt x="1382" y="334"/>
                </a:cubicBezTo>
                <a:cubicBezTo>
                  <a:pt x="1382" y="335"/>
                  <a:pt x="1386" y="336"/>
                  <a:pt x="1386" y="337"/>
                </a:cubicBezTo>
                <a:cubicBezTo>
                  <a:pt x="1386" y="338"/>
                  <a:pt x="1380" y="337"/>
                  <a:pt x="1381" y="339"/>
                </a:cubicBezTo>
                <a:cubicBezTo>
                  <a:pt x="1382" y="341"/>
                  <a:pt x="1386" y="341"/>
                  <a:pt x="1386" y="341"/>
                </a:cubicBezTo>
                <a:cubicBezTo>
                  <a:pt x="1388" y="340"/>
                  <a:pt x="1388" y="340"/>
                  <a:pt x="1388" y="340"/>
                </a:cubicBezTo>
                <a:cubicBezTo>
                  <a:pt x="1395" y="344"/>
                  <a:pt x="1395" y="344"/>
                  <a:pt x="1395" y="344"/>
                </a:cubicBezTo>
                <a:cubicBezTo>
                  <a:pt x="1399" y="344"/>
                  <a:pt x="1399" y="344"/>
                  <a:pt x="1399" y="344"/>
                </a:cubicBezTo>
                <a:cubicBezTo>
                  <a:pt x="1401" y="346"/>
                  <a:pt x="1401" y="346"/>
                  <a:pt x="1401" y="346"/>
                </a:cubicBezTo>
                <a:cubicBezTo>
                  <a:pt x="1407" y="347"/>
                  <a:pt x="1407" y="347"/>
                  <a:pt x="1407" y="347"/>
                </a:cubicBezTo>
                <a:cubicBezTo>
                  <a:pt x="1403" y="349"/>
                  <a:pt x="1403" y="349"/>
                  <a:pt x="1403" y="349"/>
                </a:cubicBezTo>
                <a:cubicBezTo>
                  <a:pt x="1403" y="349"/>
                  <a:pt x="1407" y="355"/>
                  <a:pt x="1408" y="356"/>
                </a:cubicBezTo>
                <a:cubicBezTo>
                  <a:pt x="1408" y="357"/>
                  <a:pt x="1412" y="357"/>
                  <a:pt x="1412" y="357"/>
                </a:cubicBezTo>
                <a:cubicBezTo>
                  <a:pt x="1412" y="363"/>
                  <a:pt x="1412" y="363"/>
                  <a:pt x="1412" y="363"/>
                </a:cubicBezTo>
                <a:cubicBezTo>
                  <a:pt x="1414" y="367"/>
                  <a:pt x="1414" y="367"/>
                  <a:pt x="1414" y="367"/>
                </a:cubicBezTo>
                <a:cubicBezTo>
                  <a:pt x="1416" y="372"/>
                  <a:pt x="1416" y="372"/>
                  <a:pt x="1416" y="372"/>
                </a:cubicBezTo>
                <a:cubicBezTo>
                  <a:pt x="1412" y="367"/>
                  <a:pt x="1412" y="367"/>
                  <a:pt x="1412" y="367"/>
                </a:cubicBezTo>
                <a:cubicBezTo>
                  <a:pt x="1412" y="367"/>
                  <a:pt x="1411" y="373"/>
                  <a:pt x="1411" y="375"/>
                </a:cubicBezTo>
                <a:cubicBezTo>
                  <a:pt x="1411" y="377"/>
                  <a:pt x="1409" y="385"/>
                  <a:pt x="1408" y="387"/>
                </a:cubicBezTo>
                <a:cubicBezTo>
                  <a:pt x="1407" y="388"/>
                  <a:pt x="1407" y="390"/>
                  <a:pt x="1405" y="391"/>
                </a:cubicBezTo>
                <a:cubicBezTo>
                  <a:pt x="1404" y="391"/>
                  <a:pt x="1404" y="391"/>
                  <a:pt x="1403" y="391"/>
                </a:cubicBezTo>
                <a:cubicBezTo>
                  <a:pt x="1399" y="391"/>
                  <a:pt x="1390" y="389"/>
                  <a:pt x="1390" y="389"/>
                </a:cubicBezTo>
                <a:cubicBezTo>
                  <a:pt x="1385" y="391"/>
                  <a:pt x="1385" y="391"/>
                  <a:pt x="1385" y="391"/>
                </a:cubicBezTo>
                <a:cubicBezTo>
                  <a:pt x="1377" y="390"/>
                  <a:pt x="1377" y="390"/>
                  <a:pt x="1377" y="390"/>
                </a:cubicBezTo>
                <a:cubicBezTo>
                  <a:pt x="1377" y="390"/>
                  <a:pt x="1372" y="387"/>
                  <a:pt x="1369" y="387"/>
                </a:cubicBezTo>
                <a:cubicBezTo>
                  <a:pt x="1366" y="388"/>
                  <a:pt x="1362" y="388"/>
                  <a:pt x="1361" y="388"/>
                </a:cubicBezTo>
                <a:cubicBezTo>
                  <a:pt x="1359" y="388"/>
                  <a:pt x="1356" y="388"/>
                  <a:pt x="1356" y="388"/>
                </a:cubicBezTo>
                <a:cubicBezTo>
                  <a:pt x="1356" y="388"/>
                  <a:pt x="1353" y="386"/>
                  <a:pt x="1352" y="386"/>
                </a:cubicBezTo>
                <a:cubicBezTo>
                  <a:pt x="1351" y="386"/>
                  <a:pt x="1347" y="390"/>
                  <a:pt x="1347" y="390"/>
                </a:cubicBezTo>
                <a:cubicBezTo>
                  <a:pt x="1347" y="390"/>
                  <a:pt x="1337" y="391"/>
                  <a:pt x="1337" y="394"/>
                </a:cubicBezTo>
                <a:cubicBezTo>
                  <a:pt x="1336" y="397"/>
                  <a:pt x="1341" y="400"/>
                  <a:pt x="1341" y="400"/>
                </a:cubicBezTo>
                <a:cubicBezTo>
                  <a:pt x="1339" y="405"/>
                  <a:pt x="1339" y="405"/>
                  <a:pt x="1339" y="405"/>
                </a:cubicBezTo>
                <a:cubicBezTo>
                  <a:pt x="1339" y="405"/>
                  <a:pt x="1339" y="406"/>
                  <a:pt x="1340" y="407"/>
                </a:cubicBezTo>
                <a:cubicBezTo>
                  <a:pt x="1340" y="409"/>
                  <a:pt x="1341" y="413"/>
                  <a:pt x="1341" y="415"/>
                </a:cubicBezTo>
                <a:cubicBezTo>
                  <a:pt x="1340" y="420"/>
                  <a:pt x="1336" y="428"/>
                  <a:pt x="1336" y="428"/>
                </a:cubicBezTo>
                <a:cubicBezTo>
                  <a:pt x="1333" y="435"/>
                  <a:pt x="1333" y="435"/>
                  <a:pt x="1333" y="435"/>
                </a:cubicBezTo>
                <a:cubicBezTo>
                  <a:pt x="1333" y="435"/>
                  <a:pt x="1331" y="441"/>
                  <a:pt x="1332" y="442"/>
                </a:cubicBezTo>
                <a:cubicBezTo>
                  <a:pt x="1334" y="443"/>
                  <a:pt x="1336" y="444"/>
                  <a:pt x="1336" y="444"/>
                </a:cubicBezTo>
                <a:cubicBezTo>
                  <a:pt x="1337" y="452"/>
                  <a:pt x="1337" y="452"/>
                  <a:pt x="1337" y="452"/>
                </a:cubicBezTo>
                <a:cubicBezTo>
                  <a:pt x="1337" y="452"/>
                  <a:pt x="1334" y="461"/>
                  <a:pt x="1335" y="461"/>
                </a:cubicBezTo>
                <a:cubicBezTo>
                  <a:pt x="1336" y="461"/>
                  <a:pt x="1342" y="460"/>
                  <a:pt x="1342" y="460"/>
                </a:cubicBezTo>
                <a:cubicBezTo>
                  <a:pt x="1342" y="460"/>
                  <a:pt x="1343" y="462"/>
                  <a:pt x="1344" y="462"/>
                </a:cubicBezTo>
                <a:cubicBezTo>
                  <a:pt x="1345" y="462"/>
                  <a:pt x="1349" y="460"/>
                  <a:pt x="1349" y="459"/>
                </a:cubicBezTo>
                <a:cubicBezTo>
                  <a:pt x="1349" y="459"/>
                  <a:pt x="1349" y="459"/>
                  <a:pt x="1349" y="459"/>
                </a:cubicBezTo>
                <a:cubicBezTo>
                  <a:pt x="1353" y="459"/>
                  <a:pt x="1353" y="459"/>
                  <a:pt x="1353" y="459"/>
                </a:cubicBezTo>
                <a:cubicBezTo>
                  <a:pt x="1357" y="462"/>
                  <a:pt x="1357" y="462"/>
                  <a:pt x="1357" y="462"/>
                </a:cubicBezTo>
                <a:cubicBezTo>
                  <a:pt x="1359" y="462"/>
                  <a:pt x="1359" y="462"/>
                  <a:pt x="1359" y="462"/>
                </a:cubicBezTo>
                <a:cubicBezTo>
                  <a:pt x="1358" y="466"/>
                  <a:pt x="1358" y="466"/>
                  <a:pt x="1358" y="466"/>
                </a:cubicBezTo>
                <a:cubicBezTo>
                  <a:pt x="1359" y="466"/>
                  <a:pt x="1359" y="466"/>
                  <a:pt x="1359" y="466"/>
                </a:cubicBezTo>
                <a:cubicBezTo>
                  <a:pt x="1359" y="466"/>
                  <a:pt x="1359" y="470"/>
                  <a:pt x="1361" y="471"/>
                </a:cubicBezTo>
                <a:cubicBezTo>
                  <a:pt x="1362" y="472"/>
                  <a:pt x="1365" y="472"/>
                  <a:pt x="1365" y="472"/>
                </a:cubicBezTo>
                <a:cubicBezTo>
                  <a:pt x="1365" y="472"/>
                  <a:pt x="1368" y="470"/>
                  <a:pt x="1369" y="469"/>
                </a:cubicBezTo>
                <a:cubicBezTo>
                  <a:pt x="1370" y="467"/>
                  <a:pt x="1373" y="467"/>
                  <a:pt x="1373" y="467"/>
                </a:cubicBezTo>
                <a:cubicBezTo>
                  <a:pt x="1377" y="465"/>
                  <a:pt x="1377" y="465"/>
                  <a:pt x="1377" y="465"/>
                </a:cubicBezTo>
                <a:cubicBezTo>
                  <a:pt x="1377" y="465"/>
                  <a:pt x="1384" y="465"/>
                  <a:pt x="1386" y="465"/>
                </a:cubicBezTo>
                <a:cubicBezTo>
                  <a:pt x="1387" y="464"/>
                  <a:pt x="1389" y="464"/>
                  <a:pt x="1389" y="464"/>
                </a:cubicBezTo>
                <a:cubicBezTo>
                  <a:pt x="1389" y="464"/>
                  <a:pt x="1391" y="465"/>
                  <a:pt x="1392" y="465"/>
                </a:cubicBezTo>
                <a:cubicBezTo>
                  <a:pt x="1393" y="465"/>
                  <a:pt x="1397" y="463"/>
                  <a:pt x="1397" y="463"/>
                </a:cubicBezTo>
                <a:cubicBezTo>
                  <a:pt x="1397" y="463"/>
                  <a:pt x="1396" y="466"/>
                  <a:pt x="1399" y="464"/>
                </a:cubicBezTo>
                <a:cubicBezTo>
                  <a:pt x="1401" y="463"/>
                  <a:pt x="1401" y="459"/>
                  <a:pt x="1401" y="459"/>
                </a:cubicBezTo>
                <a:cubicBezTo>
                  <a:pt x="1406" y="455"/>
                  <a:pt x="1406" y="455"/>
                  <a:pt x="1406" y="455"/>
                </a:cubicBezTo>
                <a:cubicBezTo>
                  <a:pt x="1411" y="455"/>
                  <a:pt x="1411" y="455"/>
                  <a:pt x="1411" y="455"/>
                </a:cubicBezTo>
                <a:cubicBezTo>
                  <a:pt x="1411" y="452"/>
                  <a:pt x="1411" y="452"/>
                  <a:pt x="1411" y="452"/>
                </a:cubicBezTo>
                <a:cubicBezTo>
                  <a:pt x="1411" y="452"/>
                  <a:pt x="1413" y="446"/>
                  <a:pt x="1414" y="445"/>
                </a:cubicBezTo>
                <a:cubicBezTo>
                  <a:pt x="1414" y="445"/>
                  <a:pt x="1420" y="444"/>
                  <a:pt x="1420" y="442"/>
                </a:cubicBezTo>
                <a:cubicBezTo>
                  <a:pt x="1421" y="441"/>
                  <a:pt x="1416" y="438"/>
                  <a:pt x="1416" y="438"/>
                </a:cubicBezTo>
                <a:cubicBezTo>
                  <a:pt x="1416" y="438"/>
                  <a:pt x="1415" y="433"/>
                  <a:pt x="1417" y="431"/>
                </a:cubicBezTo>
                <a:cubicBezTo>
                  <a:pt x="1419" y="429"/>
                  <a:pt x="1421" y="426"/>
                  <a:pt x="1421" y="426"/>
                </a:cubicBezTo>
                <a:cubicBezTo>
                  <a:pt x="1421" y="426"/>
                  <a:pt x="1425" y="422"/>
                  <a:pt x="1425" y="422"/>
                </a:cubicBezTo>
                <a:cubicBezTo>
                  <a:pt x="1426" y="422"/>
                  <a:pt x="1428" y="420"/>
                  <a:pt x="1428" y="420"/>
                </a:cubicBezTo>
                <a:cubicBezTo>
                  <a:pt x="1427" y="419"/>
                  <a:pt x="1426" y="418"/>
                  <a:pt x="1428" y="416"/>
                </a:cubicBezTo>
                <a:cubicBezTo>
                  <a:pt x="1430" y="415"/>
                  <a:pt x="1435" y="414"/>
                  <a:pt x="1438" y="413"/>
                </a:cubicBezTo>
                <a:cubicBezTo>
                  <a:pt x="1441" y="412"/>
                  <a:pt x="1444" y="410"/>
                  <a:pt x="1444" y="410"/>
                </a:cubicBezTo>
                <a:cubicBezTo>
                  <a:pt x="1444" y="410"/>
                  <a:pt x="1448" y="408"/>
                  <a:pt x="1448" y="407"/>
                </a:cubicBezTo>
                <a:cubicBezTo>
                  <a:pt x="1449" y="406"/>
                  <a:pt x="1448" y="404"/>
                  <a:pt x="1448" y="404"/>
                </a:cubicBezTo>
                <a:cubicBezTo>
                  <a:pt x="1450" y="403"/>
                  <a:pt x="1450" y="403"/>
                  <a:pt x="1450" y="403"/>
                </a:cubicBezTo>
                <a:cubicBezTo>
                  <a:pt x="1450" y="403"/>
                  <a:pt x="1447" y="402"/>
                  <a:pt x="1447" y="400"/>
                </a:cubicBezTo>
                <a:cubicBezTo>
                  <a:pt x="1447" y="400"/>
                  <a:pt x="1447" y="400"/>
                  <a:pt x="1447" y="399"/>
                </a:cubicBezTo>
                <a:cubicBezTo>
                  <a:pt x="1447" y="397"/>
                  <a:pt x="1450" y="392"/>
                  <a:pt x="1451" y="392"/>
                </a:cubicBezTo>
                <a:cubicBezTo>
                  <a:pt x="1453" y="391"/>
                  <a:pt x="1457" y="387"/>
                  <a:pt x="1459" y="388"/>
                </a:cubicBezTo>
                <a:cubicBezTo>
                  <a:pt x="1461" y="389"/>
                  <a:pt x="1463" y="390"/>
                  <a:pt x="1463" y="390"/>
                </a:cubicBezTo>
                <a:cubicBezTo>
                  <a:pt x="1463" y="390"/>
                  <a:pt x="1467" y="389"/>
                  <a:pt x="1468" y="390"/>
                </a:cubicBezTo>
                <a:cubicBezTo>
                  <a:pt x="1470" y="391"/>
                  <a:pt x="1471" y="393"/>
                  <a:pt x="1472" y="393"/>
                </a:cubicBezTo>
                <a:cubicBezTo>
                  <a:pt x="1472" y="393"/>
                  <a:pt x="1477" y="395"/>
                  <a:pt x="1480" y="393"/>
                </a:cubicBezTo>
                <a:cubicBezTo>
                  <a:pt x="1482" y="391"/>
                  <a:pt x="1483" y="387"/>
                  <a:pt x="1484" y="387"/>
                </a:cubicBezTo>
                <a:cubicBezTo>
                  <a:pt x="1485" y="387"/>
                  <a:pt x="1486" y="387"/>
                  <a:pt x="1487" y="386"/>
                </a:cubicBezTo>
                <a:cubicBezTo>
                  <a:pt x="1489" y="386"/>
                  <a:pt x="1491" y="386"/>
                  <a:pt x="1492" y="385"/>
                </a:cubicBezTo>
                <a:cubicBezTo>
                  <a:pt x="1494" y="384"/>
                  <a:pt x="1497" y="379"/>
                  <a:pt x="1499" y="379"/>
                </a:cubicBezTo>
                <a:cubicBezTo>
                  <a:pt x="1502" y="379"/>
                  <a:pt x="1508" y="381"/>
                  <a:pt x="1510" y="383"/>
                </a:cubicBezTo>
                <a:cubicBezTo>
                  <a:pt x="1513" y="385"/>
                  <a:pt x="1513" y="389"/>
                  <a:pt x="1513" y="389"/>
                </a:cubicBezTo>
                <a:cubicBezTo>
                  <a:pt x="1515" y="391"/>
                  <a:pt x="1515" y="391"/>
                  <a:pt x="1515" y="391"/>
                </a:cubicBezTo>
                <a:cubicBezTo>
                  <a:pt x="1515" y="391"/>
                  <a:pt x="1513" y="395"/>
                  <a:pt x="1515" y="396"/>
                </a:cubicBezTo>
                <a:cubicBezTo>
                  <a:pt x="1517" y="397"/>
                  <a:pt x="1520" y="398"/>
                  <a:pt x="1520" y="398"/>
                </a:cubicBezTo>
                <a:cubicBezTo>
                  <a:pt x="1521" y="401"/>
                  <a:pt x="1521" y="401"/>
                  <a:pt x="1521" y="401"/>
                </a:cubicBezTo>
                <a:cubicBezTo>
                  <a:pt x="1525" y="401"/>
                  <a:pt x="1525" y="401"/>
                  <a:pt x="1525" y="401"/>
                </a:cubicBezTo>
                <a:cubicBezTo>
                  <a:pt x="1525" y="401"/>
                  <a:pt x="1532" y="408"/>
                  <a:pt x="1534" y="410"/>
                </a:cubicBezTo>
                <a:cubicBezTo>
                  <a:pt x="1536" y="413"/>
                  <a:pt x="1538" y="414"/>
                  <a:pt x="1538" y="414"/>
                </a:cubicBezTo>
                <a:cubicBezTo>
                  <a:pt x="1543" y="415"/>
                  <a:pt x="1543" y="415"/>
                  <a:pt x="1543" y="415"/>
                </a:cubicBezTo>
                <a:cubicBezTo>
                  <a:pt x="1543" y="415"/>
                  <a:pt x="1545" y="418"/>
                  <a:pt x="1548" y="419"/>
                </a:cubicBezTo>
                <a:cubicBezTo>
                  <a:pt x="1551" y="420"/>
                  <a:pt x="1555" y="419"/>
                  <a:pt x="1556" y="420"/>
                </a:cubicBezTo>
                <a:cubicBezTo>
                  <a:pt x="1556" y="422"/>
                  <a:pt x="1557" y="427"/>
                  <a:pt x="1559" y="427"/>
                </a:cubicBezTo>
                <a:cubicBezTo>
                  <a:pt x="1562" y="428"/>
                  <a:pt x="1563" y="427"/>
                  <a:pt x="1563" y="427"/>
                </a:cubicBezTo>
                <a:cubicBezTo>
                  <a:pt x="1563" y="427"/>
                  <a:pt x="1564" y="431"/>
                  <a:pt x="1564" y="434"/>
                </a:cubicBezTo>
                <a:cubicBezTo>
                  <a:pt x="1565" y="437"/>
                  <a:pt x="1567" y="437"/>
                  <a:pt x="1567" y="439"/>
                </a:cubicBezTo>
                <a:cubicBezTo>
                  <a:pt x="1567" y="441"/>
                  <a:pt x="1567" y="442"/>
                  <a:pt x="1567" y="442"/>
                </a:cubicBezTo>
                <a:cubicBezTo>
                  <a:pt x="1565" y="442"/>
                  <a:pt x="1565" y="442"/>
                  <a:pt x="1565" y="442"/>
                </a:cubicBezTo>
                <a:cubicBezTo>
                  <a:pt x="1565" y="445"/>
                  <a:pt x="1565" y="445"/>
                  <a:pt x="1565" y="445"/>
                </a:cubicBezTo>
                <a:cubicBezTo>
                  <a:pt x="1565" y="445"/>
                  <a:pt x="1560" y="451"/>
                  <a:pt x="1563" y="451"/>
                </a:cubicBezTo>
                <a:cubicBezTo>
                  <a:pt x="1565" y="451"/>
                  <a:pt x="1567" y="450"/>
                  <a:pt x="1567" y="450"/>
                </a:cubicBezTo>
                <a:cubicBezTo>
                  <a:pt x="1568" y="447"/>
                  <a:pt x="1568" y="447"/>
                  <a:pt x="1568" y="447"/>
                </a:cubicBezTo>
                <a:cubicBezTo>
                  <a:pt x="1571" y="446"/>
                  <a:pt x="1571" y="446"/>
                  <a:pt x="1571" y="446"/>
                </a:cubicBezTo>
                <a:cubicBezTo>
                  <a:pt x="1571" y="446"/>
                  <a:pt x="1570" y="442"/>
                  <a:pt x="1571" y="441"/>
                </a:cubicBezTo>
                <a:cubicBezTo>
                  <a:pt x="1572" y="441"/>
                  <a:pt x="1576" y="439"/>
                  <a:pt x="1576" y="439"/>
                </a:cubicBezTo>
                <a:cubicBezTo>
                  <a:pt x="1576" y="439"/>
                  <a:pt x="1575" y="435"/>
                  <a:pt x="1575" y="434"/>
                </a:cubicBezTo>
                <a:cubicBezTo>
                  <a:pt x="1574" y="433"/>
                  <a:pt x="1570" y="432"/>
                  <a:pt x="1570" y="431"/>
                </a:cubicBezTo>
                <a:cubicBezTo>
                  <a:pt x="1570" y="429"/>
                  <a:pt x="1573" y="422"/>
                  <a:pt x="1575" y="423"/>
                </a:cubicBezTo>
                <a:cubicBezTo>
                  <a:pt x="1576" y="424"/>
                  <a:pt x="1578" y="424"/>
                  <a:pt x="1578" y="424"/>
                </a:cubicBezTo>
                <a:cubicBezTo>
                  <a:pt x="1582" y="424"/>
                  <a:pt x="1582" y="424"/>
                  <a:pt x="1582" y="424"/>
                </a:cubicBezTo>
                <a:cubicBezTo>
                  <a:pt x="1582" y="424"/>
                  <a:pt x="1583" y="429"/>
                  <a:pt x="1586" y="429"/>
                </a:cubicBezTo>
                <a:cubicBezTo>
                  <a:pt x="1589" y="430"/>
                  <a:pt x="1589" y="427"/>
                  <a:pt x="1588" y="425"/>
                </a:cubicBezTo>
                <a:cubicBezTo>
                  <a:pt x="1586" y="423"/>
                  <a:pt x="1581" y="419"/>
                  <a:pt x="1581" y="419"/>
                </a:cubicBezTo>
                <a:cubicBezTo>
                  <a:pt x="1574" y="416"/>
                  <a:pt x="1574" y="416"/>
                  <a:pt x="1574" y="416"/>
                </a:cubicBezTo>
                <a:cubicBezTo>
                  <a:pt x="1574" y="416"/>
                  <a:pt x="1563" y="413"/>
                  <a:pt x="1564" y="411"/>
                </a:cubicBezTo>
                <a:cubicBezTo>
                  <a:pt x="1565" y="410"/>
                  <a:pt x="1567" y="409"/>
                  <a:pt x="1567" y="408"/>
                </a:cubicBezTo>
                <a:cubicBezTo>
                  <a:pt x="1566" y="406"/>
                  <a:pt x="1556" y="406"/>
                  <a:pt x="1556" y="406"/>
                </a:cubicBezTo>
                <a:cubicBezTo>
                  <a:pt x="1556" y="406"/>
                  <a:pt x="1553" y="405"/>
                  <a:pt x="1550" y="401"/>
                </a:cubicBezTo>
                <a:cubicBezTo>
                  <a:pt x="1546" y="397"/>
                  <a:pt x="1545" y="394"/>
                  <a:pt x="1545" y="394"/>
                </a:cubicBezTo>
                <a:cubicBezTo>
                  <a:pt x="1545" y="394"/>
                  <a:pt x="1544" y="389"/>
                  <a:pt x="1542" y="388"/>
                </a:cubicBezTo>
                <a:cubicBezTo>
                  <a:pt x="1540" y="387"/>
                  <a:pt x="1538" y="384"/>
                  <a:pt x="1538" y="384"/>
                </a:cubicBezTo>
                <a:cubicBezTo>
                  <a:pt x="1532" y="380"/>
                  <a:pt x="1532" y="380"/>
                  <a:pt x="1532" y="380"/>
                </a:cubicBezTo>
                <a:cubicBezTo>
                  <a:pt x="1532" y="380"/>
                  <a:pt x="1529" y="375"/>
                  <a:pt x="1530" y="375"/>
                </a:cubicBezTo>
                <a:cubicBezTo>
                  <a:pt x="1531" y="374"/>
                  <a:pt x="1533" y="374"/>
                  <a:pt x="1533" y="373"/>
                </a:cubicBezTo>
                <a:cubicBezTo>
                  <a:pt x="1533" y="372"/>
                  <a:pt x="1529" y="370"/>
                  <a:pt x="1531" y="368"/>
                </a:cubicBezTo>
                <a:cubicBezTo>
                  <a:pt x="1533" y="366"/>
                  <a:pt x="1538" y="365"/>
                  <a:pt x="1538" y="365"/>
                </a:cubicBezTo>
                <a:cubicBezTo>
                  <a:pt x="1540" y="364"/>
                  <a:pt x="1540" y="364"/>
                  <a:pt x="1540" y="364"/>
                </a:cubicBezTo>
                <a:cubicBezTo>
                  <a:pt x="1540" y="364"/>
                  <a:pt x="1545" y="365"/>
                  <a:pt x="1545" y="365"/>
                </a:cubicBezTo>
                <a:cubicBezTo>
                  <a:pt x="1544" y="366"/>
                  <a:pt x="1544" y="367"/>
                  <a:pt x="1544" y="368"/>
                </a:cubicBezTo>
                <a:cubicBezTo>
                  <a:pt x="1543" y="368"/>
                  <a:pt x="1543" y="369"/>
                  <a:pt x="1543" y="369"/>
                </a:cubicBezTo>
                <a:cubicBezTo>
                  <a:pt x="1543" y="369"/>
                  <a:pt x="1543" y="376"/>
                  <a:pt x="1544" y="374"/>
                </a:cubicBezTo>
                <a:cubicBezTo>
                  <a:pt x="1546" y="372"/>
                  <a:pt x="1548" y="369"/>
                  <a:pt x="1549" y="370"/>
                </a:cubicBezTo>
                <a:cubicBezTo>
                  <a:pt x="1550" y="371"/>
                  <a:pt x="1550" y="374"/>
                  <a:pt x="1550" y="374"/>
                </a:cubicBezTo>
                <a:cubicBezTo>
                  <a:pt x="1554" y="374"/>
                  <a:pt x="1554" y="374"/>
                  <a:pt x="1554" y="374"/>
                </a:cubicBezTo>
                <a:cubicBezTo>
                  <a:pt x="1554" y="374"/>
                  <a:pt x="1553" y="378"/>
                  <a:pt x="1555" y="379"/>
                </a:cubicBezTo>
                <a:cubicBezTo>
                  <a:pt x="1558" y="379"/>
                  <a:pt x="1557" y="381"/>
                  <a:pt x="1557" y="381"/>
                </a:cubicBezTo>
                <a:cubicBezTo>
                  <a:pt x="1563" y="386"/>
                  <a:pt x="1563" y="386"/>
                  <a:pt x="1563" y="386"/>
                </a:cubicBezTo>
                <a:cubicBezTo>
                  <a:pt x="1563" y="389"/>
                  <a:pt x="1563" y="389"/>
                  <a:pt x="1563" y="389"/>
                </a:cubicBezTo>
                <a:cubicBezTo>
                  <a:pt x="1569" y="389"/>
                  <a:pt x="1569" y="389"/>
                  <a:pt x="1569" y="389"/>
                </a:cubicBezTo>
                <a:cubicBezTo>
                  <a:pt x="1569" y="389"/>
                  <a:pt x="1572" y="389"/>
                  <a:pt x="1573" y="391"/>
                </a:cubicBezTo>
                <a:cubicBezTo>
                  <a:pt x="1573" y="391"/>
                  <a:pt x="1572" y="393"/>
                  <a:pt x="1574" y="394"/>
                </a:cubicBezTo>
                <a:cubicBezTo>
                  <a:pt x="1577" y="394"/>
                  <a:pt x="1577" y="394"/>
                  <a:pt x="1577" y="394"/>
                </a:cubicBezTo>
                <a:cubicBezTo>
                  <a:pt x="1579" y="395"/>
                  <a:pt x="1579" y="395"/>
                  <a:pt x="1579" y="395"/>
                </a:cubicBezTo>
                <a:cubicBezTo>
                  <a:pt x="1579" y="395"/>
                  <a:pt x="1584" y="400"/>
                  <a:pt x="1586" y="401"/>
                </a:cubicBezTo>
                <a:cubicBezTo>
                  <a:pt x="1586" y="401"/>
                  <a:pt x="1587" y="401"/>
                  <a:pt x="1587" y="401"/>
                </a:cubicBezTo>
                <a:cubicBezTo>
                  <a:pt x="1588" y="402"/>
                  <a:pt x="1590" y="401"/>
                  <a:pt x="1590" y="401"/>
                </a:cubicBezTo>
                <a:cubicBezTo>
                  <a:pt x="1590" y="403"/>
                  <a:pt x="1590" y="403"/>
                  <a:pt x="1590" y="403"/>
                </a:cubicBezTo>
                <a:cubicBezTo>
                  <a:pt x="1594" y="407"/>
                  <a:pt x="1594" y="407"/>
                  <a:pt x="1594" y="407"/>
                </a:cubicBezTo>
                <a:cubicBezTo>
                  <a:pt x="1595" y="407"/>
                  <a:pt x="1595" y="407"/>
                  <a:pt x="1595" y="407"/>
                </a:cubicBezTo>
                <a:cubicBezTo>
                  <a:pt x="1598" y="407"/>
                  <a:pt x="1598" y="407"/>
                  <a:pt x="1598" y="407"/>
                </a:cubicBezTo>
                <a:cubicBezTo>
                  <a:pt x="1598" y="407"/>
                  <a:pt x="1597" y="416"/>
                  <a:pt x="1597" y="418"/>
                </a:cubicBezTo>
                <a:cubicBezTo>
                  <a:pt x="1597" y="421"/>
                  <a:pt x="1594" y="424"/>
                  <a:pt x="1595" y="425"/>
                </a:cubicBezTo>
                <a:cubicBezTo>
                  <a:pt x="1597" y="426"/>
                  <a:pt x="1600" y="428"/>
                  <a:pt x="1600" y="428"/>
                </a:cubicBezTo>
                <a:cubicBezTo>
                  <a:pt x="1600" y="428"/>
                  <a:pt x="1600" y="432"/>
                  <a:pt x="1600" y="432"/>
                </a:cubicBezTo>
                <a:cubicBezTo>
                  <a:pt x="1601" y="432"/>
                  <a:pt x="1605" y="433"/>
                  <a:pt x="1605" y="433"/>
                </a:cubicBezTo>
                <a:cubicBezTo>
                  <a:pt x="1605" y="433"/>
                  <a:pt x="1604" y="436"/>
                  <a:pt x="1606" y="437"/>
                </a:cubicBezTo>
                <a:cubicBezTo>
                  <a:pt x="1608" y="437"/>
                  <a:pt x="1610" y="441"/>
                  <a:pt x="1610" y="441"/>
                </a:cubicBezTo>
                <a:cubicBezTo>
                  <a:pt x="1610" y="441"/>
                  <a:pt x="1612" y="446"/>
                  <a:pt x="1614" y="446"/>
                </a:cubicBezTo>
                <a:cubicBezTo>
                  <a:pt x="1616" y="446"/>
                  <a:pt x="1620" y="446"/>
                  <a:pt x="1620" y="446"/>
                </a:cubicBezTo>
                <a:cubicBezTo>
                  <a:pt x="1620" y="446"/>
                  <a:pt x="1623" y="445"/>
                  <a:pt x="1625" y="445"/>
                </a:cubicBezTo>
                <a:cubicBezTo>
                  <a:pt x="1626" y="446"/>
                  <a:pt x="1634" y="449"/>
                  <a:pt x="1634" y="449"/>
                </a:cubicBezTo>
                <a:cubicBezTo>
                  <a:pt x="1634" y="449"/>
                  <a:pt x="1638" y="454"/>
                  <a:pt x="1639" y="452"/>
                </a:cubicBezTo>
                <a:cubicBezTo>
                  <a:pt x="1640" y="451"/>
                  <a:pt x="1641" y="449"/>
                  <a:pt x="1639" y="448"/>
                </a:cubicBezTo>
                <a:cubicBezTo>
                  <a:pt x="1637" y="446"/>
                  <a:pt x="1634" y="443"/>
                  <a:pt x="1633" y="443"/>
                </a:cubicBezTo>
                <a:cubicBezTo>
                  <a:pt x="1633" y="443"/>
                  <a:pt x="1629" y="441"/>
                  <a:pt x="1629" y="441"/>
                </a:cubicBezTo>
                <a:cubicBezTo>
                  <a:pt x="1629" y="441"/>
                  <a:pt x="1630" y="440"/>
                  <a:pt x="1631" y="440"/>
                </a:cubicBezTo>
                <a:cubicBezTo>
                  <a:pt x="1632" y="440"/>
                  <a:pt x="1637" y="445"/>
                  <a:pt x="1640" y="446"/>
                </a:cubicBezTo>
                <a:cubicBezTo>
                  <a:pt x="1643" y="446"/>
                  <a:pt x="1644" y="443"/>
                  <a:pt x="1641" y="442"/>
                </a:cubicBezTo>
                <a:cubicBezTo>
                  <a:pt x="1638" y="442"/>
                  <a:pt x="1636" y="441"/>
                  <a:pt x="1636" y="441"/>
                </a:cubicBezTo>
                <a:cubicBezTo>
                  <a:pt x="1636" y="441"/>
                  <a:pt x="1633" y="439"/>
                  <a:pt x="1633" y="438"/>
                </a:cubicBezTo>
                <a:cubicBezTo>
                  <a:pt x="1632" y="436"/>
                  <a:pt x="1630" y="433"/>
                  <a:pt x="1630" y="433"/>
                </a:cubicBezTo>
                <a:cubicBezTo>
                  <a:pt x="1630" y="433"/>
                  <a:pt x="1628" y="429"/>
                  <a:pt x="1627" y="428"/>
                </a:cubicBezTo>
                <a:cubicBezTo>
                  <a:pt x="1626" y="427"/>
                  <a:pt x="1625" y="422"/>
                  <a:pt x="1626" y="422"/>
                </a:cubicBezTo>
                <a:cubicBezTo>
                  <a:pt x="1627" y="421"/>
                  <a:pt x="1628" y="425"/>
                  <a:pt x="1630" y="425"/>
                </a:cubicBezTo>
                <a:cubicBezTo>
                  <a:pt x="1630" y="425"/>
                  <a:pt x="1631" y="425"/>
                  <a:pt x="1631" y="425"/>
                </a:cubicBezTo>
                <a:cubicBezTo>
                  <a:pt x="1632" y="426"/>
                  <a:pt x="1633" y="428"/>
                  <a:pt x="1633" y="428"/>
                </a:cubicBezTo>
                <a:cubicBezTo>
                  <a:pt x="1634" y="429"/>
                  <a:pt x="1635" y="428"/>
                  <a:pt x="1635" y="428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8" y="427"/>
                  <a:pt x="1638" y="427"/>
                  <a:pt x="1638" y="427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7" y="424"/>
                  <a:pt x="1637" y="422"/>
                  <a:pt x="1637" y="420"/>
                </a:cubicBezTo>
                <a:cubicBezTo>
                  <a:pt x="1637" y="419"/>
                  <a:pt x="1640" y="418"/>
                  <a:pt x="1642" y="419"/>
                </a:cubicBezTo>
                <a:cubicBezTo>
                  <a:pt x="1644" y="419"/>
                  <a:pt x="1643" y="422"/>
                  <a:pt x="1645" y="421"/>
                </a:cubicBezTo>
                <a:cubicBezTo>
                  <a:pt x="1647" y="421"/>
                  <a:pt x="1647" y="418"/>
                  <a:pt x="1648" y="417"/>
                </a:cubicBezTo>
                <a:cubicBezTo>
                  <a:pt x="1649" y="417"/>
                  <a:pt x="1658" y="419"/>
                  <a:pt x="1658" y="419"/>
                </a:cubicBezTo>
                <a:cubicBezTo>
                  <a:pt x="1658" y="419"/>
                  <a:pt x="1656" y="422"/>
                  <a:pt x="1659" y="422"/>
                </a:cubicBezTo>
                <a:cubicBezTo>
                  <a:pt x="1662" y="421"/>
                  <a:pt x="1664" y="420"/>
                  <a:pt x="1664" y="420"/>
                </a:cubicBezTo>
                <a:cubicBezTo>
                  <a:pt x="1664" y="420"/>
                  <a:pt x="1663" y="422"/>
                  <a:pt x="1665" y="422"/>
                </a:cubicBezTo>
                <a:cubicBezTo>
                  <a:pt x="1667" y="421"/>
                  <a:pt x="1671" y="417"/>
                  <a:pt x="1671" y="417"/>
                </a:cubicBezTo>
                <a:cubicBezTo>
                  <a:pt x="1671" y="417"/>
                  <a:pt x="1678" y="415"/>
                  <a:pt x="1680" y="416"/>
                </a:cubicBezTo>
                <a:cubicBezTo>
                  <a:pt x="1683" y="418"/>
                  <a:pt x="1690" y="419"/>
                  <a:pt x="1690" y="419"/>
                </a:cubicBezTo>
                <a:cubicBezTo>
                  <a:pt x="1690" y="419"/>
                  <a:pt x="1683" y="420"/>
                  <a:pt x="1683" y="420"/>
                </a:cubicBezTo>
                <a:cubicBezTo>
                  <a:pt x="1683" y="421"/>
                  <a:pt x="1682" y="423"/>
                  <a:pt x="1682" y="423"/>
                </a:cubicBezTo>
                <a:cubicBezTo>
                  <a:pt x="1675" y="423"/>
                  <a:pt x="1675" y="423"/>
                  <a:pt x="1675" y="423"/>
                </a:cubicBezTo>
                <a:cubicBezTo>
                  <a:pt x="1668" y="423"/>
                  <a:pt x="1668" y="423"/>
                  <a:pt x="1668" y="423"/>
                </a:cubicBezTo>
                <a:cubicBezTo>
                  <a:pt x="1668" y="423"/>
                  <a:pt x="1662" y="424"/>
                  <a:pt x="1661" y="425"/>
                </a:cubicBezTo>
                <a:cubicBezTo>
                  <a:pt x="1661" y="427"/>
                  <a:pt x="1659" y="433"/>
                  <a:pt x="1659" y="433"/>
                </a:cubicBezTo>
                <a:cubicBezTo>
                  <a:pt x="1664" y="433"/>
                  <a:pt x="1664" y="433"/>
                  <a:pt x="1664" y="433"/>
                </a:cubicBezTo>
                <a:cubicBezTo>
                  <a:pt x="1664" y="433"/>
                  <a:pt x="1663" y="435"/>
                  <a:pt x="1665" y="437"/>
                </a:cubicBezTo>
                <a:cubicBezTo>
                  <a:pt x="1666" y="438"/>
                  <a:pt x="1667" y="440"/>
                  <a:pt x="1667" y="440"/>
                </a:cubicBezTo>
                <a:cubicBezTo>
                  <a:pt x="1666" y="442"/>
                  <a:pt x="1666" y="442"/>
                  <a:pt x="1666" y="442"/>
                </a:cubicBezTo>
                <a:cubicBezTo>
                  <a:pt x="1668" y="446"/>
                  <a:pt x="1668" y="446"/>
                  <a:pt x="1668" y="446"/>
                </a:cubicBezTo>
                <a:cubicBezTo>
                  <a:pt x="1666" y="448"/>
                  <a:pt x="1666" y="448"/>
                  <a:pt x="1666" y="448"/>
                </a:cubicBezTo>
                <a:cubicBezTo>
                  <a:pt x="1671" y="452"/>
                  <a:pt x="1671" y="452"/>
                  <a:pt x="1671" y="452"/>
                </a:cubicBezTo>
                <a:cubicBezTo>
                  <a:pt x="1671" y="457"/>
                  <a:pt x="1671" y="457"/>
                  <a:pt x="1671" y="457"/>
                </a:cubicBezTo>
                <a:cubicBezTo>
                  <a:pt x="1678" y="461"/>
                  <a:pt x="1678" y="461"/>
                  <a:pt x="1678" y="461"/>
                </a:cubicBezTo>
                <a:cubicBezTo>
                  <a:pt x="1679" y="466"/>
                  <a:pt x="1679" y="466"/>
                  <a:pt x="1679" y="466"/>
                </a:cubicBezTo>
                <a:cubicBezTo>
                  <a:pt x="1679" y="466"/>
                  <a:pt x="1678" y="463"/>
                  <a:pt x="1682" y="464"/>
                </a:cubicBezTo>
                <a:cubicBezTo>
                  <a:pt x="1686" y="465"/>
                  <a:pt x="1686" y="469"/>
                  <a:pt x="1692" y="469"/>
                </a:cubicBezTo>
                <a:cubicBezTo>
                  <a:pt x="1698" y="470"/>
                  <a:pt x="1701" y="470"/>
                  <a:pt x="1701" y="468"/>
                </a:cubicBezTo>
                <a:cubicBezTo>
                  <a:pt x="1701" y="467"/>
                  <a:pt x="1701" y="463"/>
                  <a:pt x="1703" y="463"/>
                </a:cubicBezTo>
                <a:cubicBezTo>
                  <a:pt x="1705" y="463"/>
                  <a:pt x="1711" y="464"/>
                  <a:pt x="1714" y="465"/>
                </a:cubicBezTo>
                <a:cubicBezTo>
                  <a:pt x="1717" y="466"/>
                  <a:pt x="1714" y="472"/>
                  <a:pt x="1724" y="472"/>
                </a:cubicBezTo>
                <a:cubicBezTo>
                  <a:pt x="1733" y="471"/>
                  <a:pt x="1733" y="466"/>
                  <a:pt x="1737" y="465"/>
                </a:cubicBezTo>
                <a:cubicBezTo>
                  <a:pt x="1740" y="464"/>
                  <a:pt x="1743" y="463"/>
                  <a:pt x="1744" y="464"/>
                </a:cubicBezTo>
                <a:cubicBezTo>
                  <a:pt x="1745" y="466"/>
                  <a:pt x="1746" y="467"/>
                  <a:pt x="1748" y="466"/>
                </a:cubicBezTo>
                <a:cubicBezTo>
                  <a:pt x="1750" y="465"/>
                  <a:pt x="1752" y="461"/>
                  <a:pt x="1753" y="463"/>
                </a:cubicBezTo>
                <a:cubicBezTo>
                  <a:pt x="1755" y="464"/>
                  <a:pt x="1753" y="466"/>
                  <a:pt x="1753" y="468"/>
                </a:cubicBezTo>
                <a:cubicBezTo>
                  <a:pt x="1752" y="469"/>
                  <a:pt x="1750" y="471"/>
                  <a:pt x="1752" y="472"/>
                </a:cubicBezTo>
                <a:cubicBezTo>
                  <a:pt x="1752" y="473"/>
                  <a:pt x="1752" y="473"/>
                  <a:pt x="1752" y="473"/>
                </a:cubicBezTo>
                <a:cubicBezTo>
                  <a:pt x="1752" y="474"/>
                  <a:pt x="1750" y="476"/>
                  <a:pt x="1750" y="477"/>
                </a:cubicBezTo>
                <a:cubicBezTo>
                  <a:pt x="1749" y="478"/>
                  <a:pt x="1749" y="478"/>
                  <a:pt x="1749" y="478"/>
                </a:cubicBezTo>
                <a:cubicBezTo>
                  <a:pt x="1749" y="484"/>
                  <a:pt x="1749" y="484"/>
                  <a:pt x="1749" y="484"/>
                </a:cubicBezTo>
                <a:cubicBezTo>
                  <a:pt x="1749" y="484"/>
                  <a:pt x="1752" y="486"/>
                  <a:pt x="1753" y="488"/>
                </a:cubicBezTo>
                <a:cubicBezTo>
                  <a:pt x="1753" y="488"/>
                  <a:pt x="1753" y="488"/>
                  <a:pt x="1753" y="489"/>
                </a:cubicBezTo>
                <a:cubicBezTo>
                  <a:pt x="1751" y="491"/>
                  <a:pt x="1749" y="492"/>
                  <a:pt x="1749" y="492"/>
                </a:cubicBezTo>
                <a:cubicBezTo>
                  <a:pt x="1747" y="497"/>
                  <a:pt x="1747" y="497"/>
                  <a:pt x="1747" y="497"/>
                </a:cubicBezTo>
                <a:cubicBezTo>
                  <a:pt x="1747" y="497"/>
                  <a:pt x="1745" y="502"/>
                  <a:pt x="1745" y="506"/>
                </a:cubicBezTo>
                <a:cubicBezTo>
                  <a:pt x="1745" y="507"/>
                  <a:pt x="1745" y="509"/>
                  <a:pt x="1745" y="510"/>
                </a:cubicBezTo>
                <a:cubicBezTo>
                  <a:pt x="1745" y="512"/>
                  <a:pt x="1746" y="515"/>
                  <a:pt x="1746" y="515"/>
                </a:cubicBezTo>
                <a:cubicBezTo>
                  <a:pt x="1743" y="520"/>
                  <a:pt x="1743" y="520"/>
                  <a:pt x="1743" y="520"/>
                </a:cubicBezTo>
                <a:cubicBezTo>
                  <a:pt x="1743" y="523"/>
                  <a:pt x="1743" y="523"/>
                  <a:pt x="1743" y="523"/>
                </a:cubicBezTo>
                <a:cubicBezTo>
                  <a:pt x="1741" y="525"/>
                  <a:pt x="1741" y="525"/>
                  <a:pt x="1741" y="525"/>
                </a:cubicBezTo>
                <a:cubicBezTo>
                  <a:pt x="1741" y="525"/>
                  <a:pt x="1733" y="528"/>
                  <a:pt x="1731" y="527"/>
                </a:cubicBezTo>
                <a:cubicBezTo>
                  <a:pt x="1729" y="527"/>
                  <a:pt x="1728" y="526"/>
                  <a:pt x="1728" y="526"/>
                </a:cubicBezTo>
                <a:cubicBezTo>
                  <a:pt x="1728" y="526"/>
                  <a:pt x="1726" y="528"/>
                  <a:pt x="1723" y="527"/>
                </a:cubicBezTo>
                <a:cubicBezTo>
                  <a:pt x="1720" y="525"/>
                  <a:pt x="1721" y="523"/>
                  <a:pt x="1718" y="523"/>
                </a:cubicBezTo>
                <a:cubicBezTo>
                  <a:pt x="1714" y="522"/>
                  <a:pt x="1710" y="524"/>
                  <a:pt x="1710" y="524"/>
                </a:cubicBezTo>
                <a:cubicBezTo>
                  <a:pt x="1710" y="524"/>
                  <a:pt x="1707" y="523"/>
                  <a:pt x="1704" y="523"/>
                </a:cubicBezTo>
                <a:cubicBezTo>
                  <a:pt x="1702" y="524"/>
                  <a:pt x="1700" y="527"/>
                  <a:pt x="1700" y="527"/>
                </a:cubicBezTo>
                <a:cubicBezTo>
                  <a:pt x="1700" y="527"/>
                  <a:pt x="1698" y="527"/>
                  <a:pt x="1697" y="527"/>
                </a:cubicBezTo>
                <a:cubicBezTo>
                  <a:pt x="1696" y="528"/>
                  <a:pt x="1694" y="530"/>
                  <a:pt x="1694" y="530"/>
                </a:cubicBezTo>
                <a:cubicBezTo>
                  <a:pt x="1694" y="530"/>
                  <a:pt x="1686" y="527"/>
                  <a:pt x="1685" y="527"/>
                </a:cubicBezTo>
                <a:cubicBezTo>
                  <a:pt x="1684" y="527"/>
                  <a:pt x="1682" y="528"/>
                  <a:pt x="1679" y="527"/>
                </a:cubicBezTo>
                <a:cubicBezTo>
                  <a:pt x="1676" y="527"/>
                  <a:pt x="1676" y="524"/>
                  <a:pt x="1673" y="524"/>
                </a:cubicBezTo>
                <a:cubicBezTo>
                  <a:pt x="1670" y="524"/>
                  <a:pt x="1668" y="524"/>
                  <a:pt x="1668" y="524"/>
                </a:cubicBezTo>
                <a:cubicBezTo>
                  <a:pt x="1668" y="524"/>
                  <a:pt x="1664" y="521"/>
                  <a:pt x="1662" y="521"/>
                </a:cubicBezTo>
                <a:cubicBezTo>
                  <a:pt x="1660" y="521"/>
                  <a:pt x="1659" y="524"/>
                  <a:pt x="1656" y="522"/>
                </a:cubicBezTo>
                <a:cubicBezTo>
                  <a:pt x="1656" y="522"/>
                  <a:pt x="1655" y="522"/>
                  <a:pt x="1655" y="521"/>
                </a:cubicBezTo>
                <a:cubicBezTo>
                  <a:pt x="1653" y="519"/>
                  <a:pt x="1654" y="517"/>
                  <a:pt x="1654" y="517"/>
                </a:cubicBezTo>
                <a:cubicBezTo>
                  <a:pt x="1651" y="518"/>
                  <a:pt x="1651" y="518"/>
                  <a:pt x="1651" y="518"/>
                </a:cubicBezTo>
                <a:cubicBezTo>
                  <a:pt x="1649" y="517"/>
                  <a:pt x="1649" y="517"/>
                  <a:pt x="1649" y="517"/>
                </a:cubicBezTo>
                <a:cubicBezTo>
                  <a:pt x="1649" y="517"/>
                  <a:pt x="1648" y="518"/>
                  <a:pt x="1647" y="518"/>
                </a:cubicBezTo>
                <a:cubicBezTo>
                  <a:pt x="1645" y="518"/>
                  <a:pt x="1644" y="515"/>
                  <a:pt x="1642" y="515"/>
                </a:cubicBezTo>
                <a:cubicBezTo>
                  <a:pt x="1640" y="515"/>
                  <a:pt x="1638" y="516"/>
                  <a:pt x="1635" y="514"/>
                </a:cubicBezTo>
                <a:cubicBezTo>
                  <a:pt x="1633" y="513"/>
                  <a:pt x="1635" y="511"/>
                  <a:pt x="1633" y="510"/>
                </a:cubicBezTo>
                <a:cubicBezTo>
                  <a:pt x="1631" y="509"/>
                  <a:pt x="1627" y="509"/>
                  <a:pt x="1627" y="509"/>
                </a:cubicBezTo>
                <a:cubicBezTo>
                  <a:pt x="1627" y="509"/>
                  <a:pt x="1623" y="507"/>
                  <a:pt x="1621" y="507"/>
                </a:cubicBezTo>
                <a:cubicBezTo>
                  <a:pt x="1620" y="507"/>
                  <a:pt x="1620" y="509"/>
                  <a:pt x="1620" y="509"/>
                </a:cubicBezTo>
                <a:cubicBezTo>
                  <a:pt x="1620" y="509"/>
                  <a:pt x="1613" y="509"/>
                  <a:pt x="1611" y="511"/>
                </a:cubicBezTo>
                <a:cubicBezTo>
                  <a:pt x="1608" y="513"/>
                  <a:pt x="1604" y="515"/>
                  <a:pt x="1604" y="519"/>
                </a:cubicBezTo>
                <a:cubicBezTo>
                  <a:pt x="1604" y="522"/>
                  <a:pt x="1608" y="526"/>
                  <a:pt x="1608" y="528"/>
                </a:cubicBezTo>
                <a:cubicBezTo>
                  <a:pt x="1608" y="530"/>
                  <a:pt x="1603" y="536"/>
                  <a:pt x="1601" y="536"/>
                </a:cubicBezTo>
                <a:cubicBezTo>
                  <a:pt x="1598" y="537"/>
                  <a:pt x="1595" y="537"/>
                  <a:pt x="1592" y="534"/>
                </a:cubicBezTo>
                <a:cubicBezTo>
                  <a:pt x="1589" y="531"/>
                  <a:pt x="1581" y="526"/>
                  <a:pt x="1577" y="526"/>
                </a:cubicBezTo>
                <a:cubicBezTo>
                  <a:pt x="1574" y="526"/>
                  <a:pt x="1567" y="528"/>
                  <a:pt x="1565" y="524"/>
                </a:cubicBezTo>
                <a:cubicBezTo>
                  <a:pt x="1562" y="521"/>
                  <a:pt x="1563" y="519"/>
                  <a:pt x="1561" y="515"/>
                </a:cubicBezTo>
                <a:cubicBezTo>
                  <a:pt x="1559" y="512"/>
                  <a:pt x="1555" y="513"/>
                  <a:pt x="1555" y="513"/>
                </a:cubicBezTo>
                <a:cubicBezTo>
                  <a:pt x="1555" y="513"/>
                  <a:pt x="1550" y="509"/>
                  <a:pt x="1548" y="509"/>
                </a:cubicBezTo>
                <a:cubicBezTo>
                  <a:pt x="1547" y="508"/>
                  <a:pt x="1542" y="508"/>
                  <a:pt x="1540" y="508"/>
                </a:cubicBezTo>
                <a:cubicBezTo>
                  <a:pt x="1539" y="509"/>
                  <a:pt x="1536" y="510"/>
                  <a:pt x="1534" y="509"/>
                </a:cubicBezTo>
                <a:cubicBezTo>
                  <a:pt x="1532" y="508"/>
                  <a:pt x="1527" y="505"/>
                  <a:pt x="1526" y="505"/>
                </a:cubicBezTo>
                <a:cubicBezTo>
                  <a:pt x="1526" y="505"/>
                  <a:pt x="1525" y="504"/>
                  <a:pt x="1524" y="504"/>
                </a:cubicBezTo>
                <a:cubicBezTo>
                  <a:pt x="1523" y="504"/>
                  <a:pt x="1522" y="504"/>
                  <a:pt x="1522" y="504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19" y="499"/>
                  <a:pt x="1519" y="499"/>
                  <a:pt x="1519" y="499"/>
                </a:cubicBezTo>
                <a:cubicBezTo>
                  <a:pt x="1518" y="501"/>
                  <a:pt x="1518" y="501"/>
                  <a:pt x="1518" y="501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1" y="499"/>
                  <a:pt x="1511" y="495"/>
                </a:cubicBezTo>
                <a:cubicBezTo>
                  <a:pt x="1511" y="491"/>
                  <a:pt x="1510" y="493"/>
                  <a:pt x="1515" y="489"/>
                </a:cubicBezTo>
                <a:cubicBezTo>
                  <a:pt x="1520" y="484"/>
                  <a:pt x="1523" y="481"/>
                  <a:pt x="1520" y="478"/>
                </a:cubicBezTo>
                <a:cubicBezTo>
                  <a:pt x="1517" y="474"/>
                  <a:pt x="1514" y="475"/>
                  <a:pt x="1515" y="472"/>
                </a:cubicBezTo>
                <a:cubicBezTo>
                  <a:pt x="1516" y="468"/>
                  <a:pt x="1516" y="469"/>
                  <a:pt x="1518" y="467"/>
                </a:cubicBezTo>
                <a:cubicBezTo>
                  <a:pt x="1520" y="465"/>
                  <a:pt x="1522" y="460"/>
                  <a:pt x="1520" y="460"/>
                </a:cubicBezTo>
                <a:cubicBezTo>
                  <a:pt x="1519" y="460"/>
                  <a:pt x="1515" y="465"/>
                  <a:pt x="1514" y="466"/>
                </a:cubicBezTo>
                <a:cubicBezTo>
                  <a:pt x="1513" y="466"/>
                  <a:pt x="1510" y="463"/>
                  <a:pt x="1510" y="463"/>
                </a:cubicBezTo>
                <a:cubicBezTo>
                  <a:pt x="1510" y="463"/>
                  <a:pt x="1514" y="460"/>
                  <a:pt x="1511" y="458"/>
                </a:cubicBezTo>
                <a:cubicBezTo>
                  <a:pt x="1507" y="456"/>
                  <a:pt x="1501" y="460"/>
                  <a:pt x="1500" y="461"/>
                </a:cubicBezTo>
                <a:cubicBezTo>
                  <a:pt x="1500" y="461"/>
                  <a:pt x="1499" y="462"/>
                  <a:pt x="1499" y="462"/>
                </a:cubicBezTo>
                <a:cubicBezTo>
                  <a:pt x="1499" y="464"/>
                  <a:pt x="1499" y="464"/>
                  <a:pt x="1499" y="464"/>
                </a:cubicBezTo>
                <a:cubicBezTo>
                  <a:pt x="1499" y="462"/>
                  <a:pt x="1499" y="462"/>
                  <a:pt x="1499" y="462"/>
                </a:cubicBezTo>
                <a:cubicBezTo>
                  <a:pt x="1497" y="462"/>
                  <a:pt x="1494" y="461"/>
                  <a:pt x="1494" y="461"/>
                </a:cubicBezTo>
                <a:cubicBezTo>
                  <a:pt x="1493" y="463"/>
                  <a:pt x="1493" y="463"/>
                  <a:pt x="1493" y="463"/>
                </a:cubicBezTo>
                <a:cubicBezTo>
                  <a:pt x="1487" y="460"/>
                  <a:pt x="1487" y="460"/>
                  <a:pt x="1487" y="460"/>
                </a:cubicBezTo>
                <a:cubicBezTo>
                  <a:pt x="1485" y="460"/>
                  <a:pt x="1485" y="460"/>
                  <a:pt x="1485" y="460"/>
                </a:cubicBezTo>
                <a:cubicBezTo>
                  <a:pt x="1485" y="462"/>
                  <a:pt x="1485" y="462"/>
                  <a:pt x="1485" y="462"/>
                </a:cubicBezTo>
                <a:cubicBezTo>
                  <a:pt x="1480" y="462"/>
                  <a:pt x="1480" y="462"/>
                  <a:pt x="1480" y="462"/>
                </a:cubicBezTo>
                <a:cubicBezTo>
                  <a:pt x="1476" y="459"/>
                  <a:pt x="1476" y="459"/>
                  <a:pt x="1476" y="459"/>
                </a:cubicBezTo>
                <a:cubicBezTo>
                  <a:pt x="1475" y="463"/>
                  <a:pt x="1475" y="463"/>
                  <a:pt x="1475" y="463"/>
                </a:cubicBezTo>
                <a:cubicBezTo>
                  <a:pt x="1471" y="462"/>
                  <a:pt x="1471" y="462"/>
                  <a:pt x="1471" y="462"/>
                </a:cubicBezTo>
                <a:cubicBezTo>
                  <a:pt x="1467" y="465"/>
                  <a:pt x="1467" y="465"/>
                  <a:pt x="1467" y="465"/>
                </a:cubicBezTo>
                <a:cubicBezTo>
                  <a:pt x="1467" y="465"/>
                  <a:pt x="1462" y="463"/>
                  <a:pt x="1456" y="463"/>
                </a:cubicBezTo>
                <a:cubicBezTo>
                  <a:pt x="1449" y="463"/>
                  <a:pt x="1449" y="465"/>
                  <a:pt x="1446" y="465"/>
                </a:cubicBezTo>
                <a:cubicBezTo>
                  <a:pt x="1443" y="465"/>
                  <a:pt x="1438" y="465"/>
                  <a:pt x="1438" y="465"/>
                </a:cubicBezTo>
                <a:cubicBezTo>
                  <a:pt x="1437" y="466"/>
                  <a:pt x="1437" y="466"/>
                  <a:pt x="1437" y="466"/>
                </a:cubicBezTo>
                <a:cubicBezTo>
                  <a:pt x="1429" y="466"/>
                  <a:pt x="1429" y="466"/>
                  <a:pt x="1429" y="466"/>
                </a:cubicBezTo>
                <a:cubicBezTo>
                  <a:pt x="1429" y="466"/>
                  <a:pt x="1419" y="468"/>
                  <a:pt x="1419" y="470"/>
                </a:cubicBezTo>
                <a:cubicBezTo>
                  <a:pt x="1419" y="472"/>
                  <a:pt x="1417" y="474"/>
                  <a:pt x="1417" y="474"/>
                </a:cubicBezTo>
                <a:cubicBezTo>
                  <a:pt x="1417" y="474"/>
                  <a:pt x="1407" y="475"/>
                  <a:pt x="1406" y="477"/>
                </a:cubicBezTo>
                <a:cubicBezTo>
                  <a:pt x="1406" y="479"/>
                  <a:pt x="1401" y="483"/>
                  <a:pt x="1398" y="483"/>
                </a:cubicBezTo>
                <a:cubicBezTo>
                  <a:pt x="1398" y="483"/>
                  <a:pt x="1397" y="483"/>
                  <a:pt x="1397" y="483"/>
                </a:cubicBezTo>
                <a:cubicBezTo>
                  <a:pt x="1397" y="483"/>
                  <a:pt x="1397" y="483"/>
                  <a:pt x="1397" y="483"/>
                </a:cubicBezTo>
                <a:cubicBezTo>
                  <a:pt x="1394" y="482"/>
                  <a:pt x="1392" y="480"/>
                  <a:pt x="1390" y="480"/>
                </a:cubicBezTo>
                <a:cubicBezTo>
                  <a:pt x="1388" y="480"/>
                  <a:pt x="1386" y="482"/>
                  <a:pt x="1386" y="482"/>
                </a:cubicBezTo>
                <a:cubicBezTo>
                  <a:pt x="1386" y="482"/>
                  <a:pt x="1381" y="481"/>
                  <a:pt x="1380" y="481"/>
                </a:cubicBezTo>
                <a:cubicBezTo>
                  <a:pt x="1378" y="481"/>
                  <a:pt x="1376" y="483"/>
                  <a:pt x="1373" y="482"/>
                </a:cubicBezTo>
                <a:cubicBezTo>
                  <a:pt x="1370" y="481"/>
                  <a:pt x="1367" y="475"/>
                  <a:pt x="1366" y="475"/>
                </a:cubicBezTo>
                <a:cubicBezTo>
                  <a:pt x="1365" y="475"/>
                  <a:pt x="1362" y="475"/>
                  <a:pt x="1362" y="475"/>
                </a:cubicBezTo>
                <a:cubicBezTo>
                  <a:pt x="1362" y="475"/>
                  <a:pt x="1360" y="482"/>
                  <a:pt x="1358" y="485"/>
                </a:cubicBezTo>
                <a:cubicBezTo>
                  <a:pt x="1357" y="487"/>
                  <a:pt x="1353" y="495"/>
                  <a:pt x="1351" y="497"/>
                </a:cubicBezTo>
                <a:cubicBezTo>
                  <a:pt x="1348" y="499"/>
                  <a:pt x="1345" y="498"/>
                  <a:pt x="1344" y="499"/>
                </a:cubicBezTo>
                <a:cubicBezTo>
                  <a:pt x="1343" y="500"/>
                  <a:pt x="1340" y="502"/>
                  <a:pt x="1340" y="502"/>
                </a:cubicBezTo>
                <a:cubicBezTo>
                  <a:pt x="1338" y="501"/>
                  <a:pt x="1338" y="501"/>
                  <a:pt x="1338" y="501"/>
                </a:cubicBezTo>
                <a:cubicBezTo>
                  <a:pt x="1334" y="503"/>
                  <a:pt x="1334" y="503"/>
                  <a:pt x="1334" y="503"/>
                </a:cubicBezTo>
                <a:cubicBezTo>
                  <a:pt x="1334" y="503"/>
                  <a:pt x="1333" y="506"/>
                  <a:pt x="1332" y="508"/>
                </a:cubicBezTo>
                <a:cubicBezTo>
                  <a:pt x="1332" y="508"/>
                  <a:pt x="1328" y="510"/>
                  <a:pt x="1328" y="511"/>
                </a:cubicBezTo>
                <a:cubicBezTo>
                  <a:pt x="1328" y="512"/>
                  <a:pt x="1329" y="515"/>
                  <a:pt x="1327" y="516"/>
                </a:cubicBezTo>
                <a:cubicBezTo>
                  <a:pt x="1326" y="518"/>
                  <a:pt x="1322" y="523"/>
                  <a:pt x="1322" y="526"/>
                </a:cubicBezTo>
                <a:cubicBezTo>
                  <a:pt x="1323" y="529"/>
                  <a:pt x="1323" y="531"/>
                  <a:pt x="1323" y="531"/>
                </a:cubicBezTo>
                <a:cubicBezTo>
                  <a:pt x="1323" y="531"/>
                  <a:pt x="1321" y="532"/>
                  <a:pt x="1321" y="532"/>
                </a:cubicBezTo>
                <a:cubicBezTo>
                  <a:pt x="1321" y="533"/>
                  <a:pt x="1324" y="533"/>
                  <a:pt x="1323" y="536"/>
                </a:cubicBezTo>
                <a:cubicBezTo>
                  <a:pt x="1323" y="539"/>
                  <a:pt x="1323" y="541"/>
                  <a:pt x="1323" y="541"/>
                </a:cubicBezTo>
                <a:cubicBezTo>
                  <a:pt x="1323" y="541"/>
                  <a:pt x="1322" y="540"/>
                  <a:pt x="1320" y="542"/>
                </a:cubicBezTo>
                <a:cubicBezTo>
                  <a:pt x="1318" y="544"/>
                  <a:pt x="1317" y="547"/>
                  <a:pt x="1315" y="550"/>
                </a:cubicBezTo>
                <a:cubicBezTo>
                  <a:pt x="1313" y="552"/>
                  <a:pt x="1311" y="551"/>
                  <a:pt x="1309" y="553"/>
                </a:cubicBezTo>
                <a:cubicBezTo>
                  <a:pt x="1308" y="555"/>
                  <a:pt x="1306" y="558"/>
                  <a:pt x="1305" y="559"/>
                </a:cubicBezTo>
                <a:cubicBezTo>
                  <a:pt x="1303" y="560"/>
                  <a:pt x="1295" y="563"/>
                  <a:pt x="1295" y="563"/>
                </a:cubicBezTo>
                <a:cubicBezTo>
                  <a:pt x="1294" y="563"/>
                  <a:pt x="1290" y="563"/>
                  <a:pt x="1290" y="563"/>
                </a:cubicBezTo>
                <a:cubicBezTo>
                  <a:pt x="1290" y="563"/>
                  <a:pt x="1289" y="564"/>
                  <a:pt x="1288" y="566"/>
                </a:cubicBezTo>
                <a:cubicBezTo>
                  <a:pt x="1288" y="567"/>
                  <a:pt x="1287" y="568"/>
                  <a:pt x="1287" y="569"/>
                </a:cubicBezTo>
                <a:cubicBezTo>
                  <a:pt x="1286" y="572"/>
                  <a:pt x="1285" y="576"/>
                  <a:pt x="1285" y="576"/>
                </a:cubicBezTo>
                <a:cubicBezTo>
                  <a:pt x="1285" y="576"/>
                  <a:pt x="1282" y="578"/>
                  <a:pt x="1281" y="579"/>
                </a:cubicBezTo>
                <a:cubicBezTo>
                  <a:pt x="1280" y="580"/>
                  <a:pt x="1277" y="580"/>
                  <a:pt x="1277" y="580"/>
                </a:cubicBezTo>
                <a:cubicBezTo>
                  <a:pt x="1277" y="580"/>
                  <a:pt x="1275" y="579"/>
                  <a:pt x="1274" y="581"/>
                </a:cubicBezTo>
                <a:cubicBezTo>
                  <a:pt x="1273" y="583"/>
                  <a:pt x="1273" y="587"/>
                  <a:pt x="1273" y="587"/>
                </a:cubicBezTo>
                <a:cubicBezTo>
                  <a:pt x="1273" y="587"/>
                  <a:pt x="1270" y="591"/>
                  <a:pt x="1270" y="592"/>
                </a:cubicBezTo>
                <a:cubicBezTo>
                  <a:pt x="1270" y="593"/>
                  <a:pt x="1272" y="597"/>
                  <a:pt x="1270" y="599"/>
                </a:cubicBezTo>
                <a:cubicBezTo>
                  <a:pt x="1269" y="602"/>
                  <a:pt x="1267" y="602"/>
                  <a:pt x="1267" y="602"/>
                </a:cubicBezTo>
                <a:cubicBezTo>
                  <a:pt x="1267" y="602"/>
                  <a:pt x="1265" y="605"/>
                  <a:pt x="1264" y="606"/>
                </a:cubicBezTo>
                <a:cubicBezTo>
                  <a:pt x="1263" y="607"/>
                  <a:pt x="1261" y="608"/>
                  <a:pt x="1260" y="608"/>
                </a:cubicBezTo>
                <a:cubicBezTo>
                  <a:pt x="1259" y="609"/>
                  <a:pt x="1259" y="611"/>
                  <a:pt x="1259" y="611"/>
                </a:cubicBezTo>
                <a:cubicBezTo>
                  <a:pt x="1260" y="612"/>
                  <a:pt x="1260" y="612"/>
                  <a:pt x="1260" y="612"/>
                </a:cubicBezTo>
                <a:cubicBezTo>
                  <a:pt x="1260" y="612"/>
                  <a:pt x="1258" y="614"/>
                  <a:pt x="1257" y="616"/>
                </a:cubicBezTo>
                <a:cubicBezTo>
                  <a:pt x="1256" y="618"/>
                  <a:pt x="1256" y="621"/>
                  <a:pt x="1256" y="621"/>
                </a:cubicBezTo>
                <a:cubicBezTo>
                  <a:pt x="1254" y="621"/>
                  <a:pt x="1254" y="621"/>
                  <a:pt x="1254" y="621"/>
                </a:cubicBezTo>
                <a:cubicBezTo>
                  <a:pt x="1254" y="621"/>
                  <a:pt x="1257" y="623"/>
                  <a:pt x="1254" y="625"/>
                </a:cubicBezTo>
                <a:cubicBezTo>
                  <a:pt x="1252" y="627"/>
                  <a:pt x="1252" y="626"/>
                  <a:pt x="1252" y="626"/>
                </a:cubicBezTo>
                <a:cubicBezTo>
                  <a:pt x="1252" y="626"/>
                  <a:pt x="1248" y="630"/>
                  <a:pt x="1248" y="633"/>
                </a:cubicBezTo>
                <a:cubicBezTo>
                  <a:pt x="1248" y="634"/>
                  <a:pt x="1248" y="636"/>
                  <a:pt x="1248" y="638"/>
                </a:cubicBezTo>
                <a:cubicBezTo>
                  <a:pt x="1248" y="638"/>
                  <a:pt x="1248" y="638"/>
                  <a:pt x="1248" y="638"/>
                </a:cubicBezTo>
                <a:cubicBezTo>
                  <a:pt x="1248" y="640"/>
                  <a:pt x="1248" y="641"/>
                  <a:pt x="1248" y="641"/>
                </a:cubicBezTo>
                <a:cubicBezTo>
                  <a:pt x="1248" y="641"/>
                  <a:pt x="1250" y="641"/>
                  <a:pt x="1250" y="642"/>
                </a:cubicBezTo>
                <a:cubicBezTo>
                  <a:pt x="1250" y="643"/>
                  <a:pt x="1250" y="645"/>
                  <a:pt x="1251" y="646"/>
                </a:cubicBezTo>
                <a:cubicBezTo>
                  <a:pt x="1252" y="647"/>
                  <a:pt x="1253" y="644"/>
                  <a:pt x="1253" y="644"/>
                </a:cubicBezTo>
                <a:cubicBezTo>
                  <a:pt x="1254" y="649"/>
                  <a:pt x="1254" y="649"/>
                  <a:pt x="1254" y="649"/>
                </a:cubicBezTo>
                <a:cubicBezTo>
                  <a:pt x="1254" y="656"/>
                  <a:pt x="1254" y="656"/>
                  <a:pt x="1254" y="656"/>
                </a:cubicBezTo>
                <a:cubicBezTo>
                  <a:pt x="1252" y="656"/>
                  <a:pt x="1252" y="656"/>
                  <a:pt x="1252" y="656"/>
                </a:cubicBezTo>
                <a:cubicBezTo>
                  <a:pt x="1253" y="659"/>
                  <a:pt x="1253" y="659"/>
                  <a:pt x="1253" y="659"/>
                </a:cubicBezTo>
                <a:cubicBezTo>
                  <a:pt x="1251" y="660"/>
                  <a:pt x="1251" y="660"/>
                  <a:pt x="1251" y="660"/>
                </a:cubicBezTo>
                <a:cubicBezTo>
                  <a:pt x="1251" y="660"/>
                  <a:pt x="1256" y="666"/>
                  <a:pt x="1256" y="670"/>
                </a:cubicBezTo>
                <a:cubicBezTo>
                  <a:pt x="1256" y="673"/>
                  <a:pt x="1255" y="678"/>
                  <a:pt x="1255" y="678"/>
                </a:cubicBezTo>
                <a:cubicBezTo>
                  <a:pt x="1254" y="684"/>
                  <a:pt x="1254" y="684"/>
                  <a:pt x="1254" y="684"/>
                </a:cubicBezTo>
                <a:cubicBezTo>
                  <a:pt x="1254" y="684"/>
                  <a:pt x="1251" y="687"/>
                  <a:pt x="1250" y="691"/>
                </a:cubicBezTo>
                <a:cubicBezTo>
                  <a:pt x="1250" y="692"/>
                  <a:pt x="1250" y="696"/>
                  <a:pt x="1250" y="698"/>
                </a:cubicBezTo>
                <a:cubicBezTo>
                  <a:pt x="1250" y="699"/>
                  <a:pt x="1250" y="701"/>
                  <a:pt x="1250" y="701"/>
                </a:cubicBezTo>
                <a:cubicBezTo>
                  <a:pt x="1249" y="701"/>
                  <a:pt x="1247" y="703"/>
                  <a:pt x="1246" y="706"/>
                </a:cubicBezTo>
                <a:cubicBezTo>
                  <a:pt x="1244" y="708"/>
                  <a:pt x="1241" y="711"/>
                  <a:pt x="1241" y="711"/>
                </a:cubicBezTo>
                <a:cubicBezTo>
                  <a:pt x="1242" y="713"/>
                  <a:pt x="1242" y="713"/>
                  <a:pt x="1242" y="713"/>
                </a:cubicBezTo>
                <a:cubicBezTo>
                  <a:pt x="1243" y="712"/>
                  <a:pt x="1243" y="712"/>
                  <a:pt x="1243" y="712"/>
                </a:cubicBezTo>
                <a:cubicBezTo>
                  <a:pt x="1243" y="712"/>
                  <a:pt x="1245" y="714"/>
                  <a:pt x="1245" y="716"/>
                </a:cubicBezTo>
                <a:cubicBezTo>
                  <a:pt x="1245" y="717"/>
                  <a:pt x="1245" y="718"/>
                  <a:pt x="1245" y="718"/>
                </a:cubicBezTo>
                <a:cubicBezTo>
                  <a:pt x="1247" y="720"/>
                  <a:pt x="1247" y="720"/>
                  <a:pt x="1247" y="720"/>
                </a:cubicBezTo>
                <a:cubicBezTo>
                  <a:pt x="1247" y="720"/>
                  <a:pt x="1247" y="720"/>
                  <a:pt x="1247" y="722"/>
                </a:cubicBezTo>
                <a:cubicBezTo>
                  <a:pt x="1247" y="723"/>
                  <a:pt x="1248" y="724"/>
                  <a:pt x="1248" y="724"/>
                </a:cubicBezTo>
                <a:cubicBezTo>
                  <a:pt x="1249" y="725"/>
                  <a:pt x="1249" y="725"/>
                  <a:pt x="1249" y="725"/>
                </a:cubicBezTo>
                <a:cubicBezTo>
                  <a:pt x="1249" y="725"/>
                  <a:pt x="1247" y="728"/>
                  <a:pt x="1247" y="729"/>
                </a:cubicBezTo>
                <a:cubicBezTo>
                  <a:pt x="1247" y="730"/>
                  <a:pt x="1247" y="730"/>
                  <a:pt x="1247" y="730"/>
                </a:cubicBezTo>
                <a:cubicBezTo>
                  <a:pt x="1246" y="731"/>
                  <a:pt x="1246" y="733"/>
                  <a:pt x="1246" y="733"/>
                </a:cubicBezTo>
                <a:cubicBezTo>
                  <a:pt x="1245" y="734"/>
                  <a:pt x="1245" y="734"/>
                  <a:pt x="1245" y="734"/>
                </a:cubicBezTo>
                <a:cubicBezTo>
                  <a:pt x="1245" y="734"/>
                  <a:pt x="1246" y="738"/>
                  <a:pt x="1248" y="739"/>
                </a:cubicBezTo>
                <a:cubicBezTo>
                  <a:pt x="1250" y="740"/>
                  <a:pt x="1252" y="739"/>
                  <a:pt x="1252" y="739"/>
                </a:cubicBezTo>
                <a:cubicBezTo>
                  <a:pt x="1251" y="744"/>
                  <a:pt x="1251" y="744"/>
                  <a:pt x="1251" y="744"/>
                </a:cubicBezTo>
                <a:cubicBezTo>
                  <a:pt x="1251" y="744"/>
                  <a:pt x="1253" y="746"/>
                  <a:pt x="1254" y="745"/>
                </a:cubicBezTo>
                <a:cubicBezTo>
                  <a:pt x="1255" y="743"/>
                  <a:pt x="1261" y="744"/>
                  <a:pt x="1261" y="744"/>
                </a:cubicBezTo>
                <a:cubicBezTo>
                  <a:pt x="1264" y="742"/>
                  <a:pt x="1264" y="742"/>
                  <a:pt x="1264" y="742"/>
                </a:cubicBezTo>
                <a:cubicBezTo>
                  <a:pt x="1264" y="745"/>
                  <a:pt x="1264" y="745"/>
                  <a:pt x="1264" y="745"/>
                </a:cubicBezTo>
                <a:cubicBezTo>
                  <a:pt x="1264" y="745"/>
                  <a:pt x="1259" y="743"/>
                  <a:pt x="1259" y="745"/>
                </a:cubicBezTo>
                <a:cubicBezTo>
                  <a:pt x="1258" y="747"/>
                  <a:pt x="1260" y="748"/>
                  <a:pt x="1260" y="748"/>
                </a:cubicBezTo>
                <a:cubicBezTo>
                  <a:pt x="1264" y="747"/>
                  <a:pt x="1264" y="747"/>
                  <a:pt x="1264" y="747"/>
                </a:cubicBezTo>
                <a:cubicBezTo>
                  <a:pt x="1259" y="750"/>
                  <a:pt x="1259" y="750"/>
                  <a:pt x="1259" y="750"/>
                </a:cubicBezTo>
                <a:cubicBezTo>
                  <a:pt x="1263" y="756"/>
                  <a:pt x="1263" y="756"/>
                  <a:pt x="1263" y="756"/>
                </a:cubicBezTo>
                <a:cubicBezTo>
                  <a:pt x="1264" y="753"/>
                  <a:pt x="1264" y="753"/>
                  <a:pt x="1264" y="753"/>
                </a:cubicBezTo>
                <a:cubicBezTo>
                  <a:pt x="1264" y="753"/>
                  <a:pt x="1265" y="755"/>
                  <a:pt x="1266" y="756"/>
                </a:cubicBezTo>
                <a:cubicBezTo>
                  <a:pt x="1267" y="756"/>
                  <a:pt x="1268" y="756"/>
                  <a:pt x="1268" y="756"/>
                </a:cubicBezTo>
                <a:cubicBezTo>
                  <a:pt x="1268" y="756"/>
                  <a:pt x="1266" y="761"/>
                  <a:pt x="1269" y="763"/>
                </a:cubicBezTo>
                <a:cubicBezTo>
                  <a:pt x="1272" y="764"/>
                  <a:pt x="1273" y="763"/>
                  <a:pt x="1273" y="763"/>
                </a:cubicBezTo>
                <a:cubicBezTo>
                  <a:pt x="1273" y="763"/>
                  <a:pt x="1273" y="766"/>
                  <a:pt x="1274" y="767"/>
                </a:cubicBezTo>
                <a:cubicBezTo>
                  <a:pt x="1275" y="768"/>
                  <a:pt x="1276" y="766"/>
                  <a:pt x="1276" y="766"/>
                </a:cubicBezTo>
                <a:cubicBezTo>
                  <a:pt x="1276" y="766"/>
                  <a:pt x="1277" y="770"/>
                  <a:pt x="1278" y="771"/>
                </a:cubicBezTo>
                <a:cubicBezTo>
                  <a:pt x="1279" y="773"/>
                  <a:pt x="1282" y="775"/>
                  <a:pt x="1282" y="775"/>
                </a:cubicBezTo>
                <a:cubicBezTo>
                  <a:pt x="1280" y="776"/>
                  <a:pt x="1280" y="776"/>
                  <a:pt x="1280" y="776"/>
                </a:cubicBezTo>
                <a:cubicBezTo>
                  <a:pt x="1282" y="778"/>
                  <a:pt x="1282" y="778"/>
                  <a:pt x="1282" y="778"/>
                </a:cubicBezTo>
                <a:cubicBezTo>
                  <a:pt x="1282" y="778"/>
                  <a:pt x="1280" y="780"/>
                  <a:pt x="1280" y="781"/>
                </a:cubicBezTo>
                <a:cubicBezTo>
                  <a:pt x="1280" y="783"/>
                  <a:pt x="1284" y="785"/>
                  <a:pt x="1284" y="785"/>
                </a:cubicBezTo>
                <a:cubicBezTo>
                  <a:pt x="1283" y="789"/>
                  <a:pt x="1283" y="789"/>
                  <a:pt x="1283" y="789"/>
                </a:cubicBezTo>
                <a:cubicBezTo>
                  <a:pt x="1286" y="791"/>
                  <a:pt x="1286" y="791"/>
                  <a:pt x="1286" y="791"/>
                </a:cubicBezTo>
                <a:cubicBezTo>
                  <a:pt x="1286" y="791"/>
                  <a:pt x="1286" y="793"/>
                  <a:pt x="1288" y="795"/>
                </a:cubicBezTo>
                <a:cubicBezTo>
                  <a:pt x="1290" y="797"/>
                  <a:pt x="1294" y="797"/>
                  <a:pt x="1294" y="797"/>
                </a:cubicBezTo>
                <a:cubicBezTo>
                  <a:pt x="1298" y="801"/>
                  <a:pt x="1298" y="801"/>
                  <a:pt x="1298" y="801"/>
                </a:cubicBezTo>
                <a:cubicBezTo>
                  <a:pt x="1295" y="798"/>
                  <a:pt x="1295" y="798"/>
                  <a:pt x="1295" y="798"/>
                </a:cubicBezTo>
                <a:cubicBezTo>
                  <a:pt x="1300" y="803"/>
                  <a:pt x="1300" y="803"/>
                  <a:pt x="1300" y="803"/>
                </a:cubicBezTo>
                <a:cubicBezTo>
                  <a:pt x="1303" y="804"/>
                  <a:pt x="1303" y="804"/>
                  <a:pt x="1303" y="804"/>
                </a:cubicBezTo>
                <a:cubicBezTo>
                  <a:pt x="1305" y="808"/>
                  <a:pt x="1305" y="808"/>
                  <a:pt x="1305" y="808"/>
                </a:cubicBezTo>
                <a:cubicBezTo>
                  <a:pt x="1305" y="808"/>
                  <a:pt x="1309" y="807"/>
                  <a:pt x="1310" y="808"/>
                </a:cubicBezTo>
                <a:cubicBezTo>
                  <a:pt x="1311" y="810"/>
                  <a:pt x="1314" y="816"/>
                  <a:pt x="1317" y="818"/>
                </a:cubicBezTo>
                <a:cubicBezTo>
                  <a:pt x="1320" y="821"/>
                  <a:pt x="1326" y="823"/>
                  <a:pt x="1328" y="824"/>
                </a:cubicBezTo>
                <a:cubicBezTo>
                  <a:pt x="1329" y="825"/>
                  <a:pt x="1333" y="829"/>
                  <a:pt x="1336" y="829"/>
                </a:cubicBezTo>
                <a:cubicBezTo>
                  <a:pt x="1336" y="829"/>
                  <a:pt x="1336" y="829"/>
                  <a:pt x="1336" y="829"/>
                </a:cubicBezTo>
                <a:cubicBezTo>
                  <a:pt x="1339" y="828"/>
                  <a:pt x="1340" y="826"/>
                  <a:pt x="1340" y="826"/>
                </a:cubicBezTo>
                <a:cubicBezTo>
                  <a:pt x="1341" y="826"/>
                  <a:pt x="1341" y="826"/>
                  <a:pt x="1341" y="826"/>
                </a:cubicBezTo>
                <a:cubicBezTo>
                  <a:pt x="1344" y="825"/>
                  <a:pt x="1344" y="825"/>
                  <a:pt x="1344" y="825"/>
                </a:cubicBezTo>
                <a:cubicBezTo>
                  <a:pt x="1344" y="825"/>
                  <a:pt x="1353" y="819"/>
                  <a:pt x="1357" y="820"/>
                </a:cubicBezTo>
                <a:cubicBezTo>
                  <a:pt x="1362" y="820"/>
                  <a:pt x="1363" y="819"/>
                  <a:pt x="1363" y="819"/>
                </a:cubicBezTo>
                <a:cubicBezTo>
                  <a:pt x="1363" y="819"/>
                  <a:pt x="1370" y="817"/>
                  <a:pt x="1371" y="818"/>
                </a:cubicBezTo>
                <a:cubicBezTo>
                  <a:pt x="1373" y="819"/>
                  <a:pt x="1374" y="820"/>
                  <a:pt x="1375" y="820"/>
                </a:cubicBezTo>
                <a:cubicBezTo>
                  <a:pt x="1377" y="819"/>
                  <a:pt x="1379" y="817"/>
                  <a:pt x="1379" y="817"/>
                </a:cubicBezTo>
                <a:cubicBezTo>
                  <a:pt x="1379" y="817"/>
                  <a:pt x="1380" y="820"/>
                  <a:pt x="1383" y="821"/>
                </a:cubicBezTo>
                <a:cubicBezTo>
                  <a:pt x="1384" y="821"/>
                  <a:pt x="1385" y="822"/>
                  <a:pt x="1385" y="822"/>
                </a:cubicBezTo>
                <a:cubicBezTo>
                  <a:pt x="1387" y="822"/>
                  <a:pt x="1389" y="822"/>
                  <a:pt x="1389" y="822"/>
                </a:cubicBezTo>
                <a:cubicBezTo>
                  <a:pt x="1389" y="822"/>
                  <a:pt x="1389" y="825"/>
                  <a:pt x="1391" y="825"/>
                </a:cubicBezTo>
                <a:cubicBezTo>
                  <a:pt x="1394" y="824"/>
                  <a:pt x="1398" y="820"/>
                  <a:pt x="1399" y="820"/>
                </a:cubicBezTo>
                <a:cubicBezTo>
                  <a:pt x="1401" y="819"/>
                  <a:pt x="1403" y="820"/>
                  <a:pt x="1403" y="820"/>
                </a:cubicBezTo>
                <a:cubicBezTo>
                  <a:pt x="1403" y="820"/>
                  <a:pt x="1408" y="816"/>
                  <a:pt x="1408" y="816"/>
                </a:cubicBezTo>
                <a:cubicBezTo>
                  <a:pt x="1409" y="815"/>
                  <a:pt x="1412" y="815"/>
                  <a:pt x="1412" y="815"/>
                </a:cubicBezTo>
                <a:cubicBezTo>
                  <a:pt x="1412" y="815"/>
                  <a:pt x="1413" y="811"/>
                  <a:pt x="1415" y="812"/>
                </a:cubicBezTo>
                <a:cubicBezTo>
                  <a:pt x="1417" y="812"/>
                  <a:pt x="1418" y="813"/>
                  <a:pt x="1420" y="812"/>
                </a:cubicBezTo>
                <a:cubicBezTo>
                  <a:pt x="1421" y="812"/>
                  <a:pt x="1422" y="811"/>
                  <a:pt x="1423" y="809"/>
                </a:cubicBezTo>
                <a:cubicBezTo>
                  <a:pt x="1424" y="808"/>
                  <a:pt x="1426" y="807"/>
                  <a:pt x="1427" y="807"/>
                </a:cubicBezTo>
                <a:cubicBezTo>
                  <a:pt x="1428" y="807"/>
                  <a:pt x="1429" y="807"/>
                  <a:pt x="1430" y="807"/>
                </a:cubicBezTo>
                <a:cubicBezTo>
                  <a:pt x="1430" y="807"/>
                  <a:pt x="1430" y="807"/>
                  <a:pt x="1430" y="807"/>
                </a:cubicBezTo>
                <a:cubicBezTo>
                  <a:pt x="1432" y="807"/>
                  <a:pt x="1434" y="808"/>
                  <a:pt x="1434" y="808"/>
                </a:cubicBezTo>
                <a:cubicBezTo>
                  <a:pt x="1436" y="805"/>
                  <a:pt x="1436" y="805"/>
                  <a:pt x="1436" y="805"/>
                </a:cubicBezTo>
                <a:cubicBezTo>
                  <a:pt x="1436" y="805"/>
                  <a:pt x="1437" y="805"/>
                  <a:pt x="1438" y="806"/>
                </a:cubicBezTo>
                <a:cubicBezTo>
                  <a:pt x="1440" y="806"/>
                  <a:pt x="1442" y="807"/>
                  <a:pt x="1443" y="807"/>
                </a:cubicBezTo>
                <a:cubicBezTo>
                  <a:pt x="1445" y="806"/>
                  <a:pt x="1447" y="804"/>
                  <a:pt x="1447" y="804"/>
                </a:cubicBezTo>
                <a:cubicBezTo>
                  <a:pt x="1448" y="805"/>
                  <a:pt x="1448" y="805"/>
                  <a:pt x="1448" y="805"/>
                </a:cubicBezTo>
                <a:cubicBezTo>
                  <a:pt x="1448" y="805"/>
                  <a:pt x="1455" y="804"/>
                  <a:pt x="1458" y="808"/>
                </a:cubicBezTo>
                <a:cubicBezTo>
                  <a:pt x="1462" y="812"/>
                  <a:pt x="1462" y="814"/>
                  <a:pt x="1462" y="814"/>
                </a:cubicBezTo>
                <a:cubicBezTo>
                  <a:pt x="1465" y="814"/>
                  <a:pt x="1465" y="814"/>
                  <a:pt x="1465" y="814"/>
                </a:cubicBezTo>
                <a:cubicBezTo>
                  <a:pt x="1465" y="814"/>
                  <a:pt x="1463" y="817"/>
                  <a:pt x="1463" y="817"/>
                </a:cubicBezTo>
                <a:cubicBezTo>
                  <a:pt x="1464" y="817"/>
                  <a:pt x="1466" y="816"/>
                  <a:pt x="1466" y="816"/>
                </a:cubicBezTo>
                <a:cubicBezTo>
                  <a:pt x="1466" y="817"/>
                  <a:pt x="1465" y="819"/>
                  <a:pt x="1465" y="820"/>
                </a:cubicBezTo>
                <a:cubicBezTo>
                  <a:pt x="1465" y="822"/>
                  <a:pt x="1467" y="828"/>
                  <a:pt x="1471" y="828"/>
                </a:cubicBezTo>
                <a:cubicBezTo>
                  <a:pt x="1475" y="829"/>
                  <a:pt x="1478" y="828"/>
                  <a:pt x="1478" y="828"/>
                </a:cubicBezTo>
                <a:cubicBezTo>
                  <a:pt x="1479" y="824"/>
                  <a:pt x="1479" y="824"/>
                  <a:pt x="1479" y="824"/>
                </a:cubicBezTo>
                <a:cubicBezTo>
                  <a:pt x="1482" y="826"/>
                  <a:pt x="1482" y="826"/>
                  <a:pt x="1482" y="826"/>
                </a:cubicBezTo>
                <a:cubicBezTo>
                  <a:pt x="1486" y="825"/>
                  <a:pt x="1486" y="825"/>
                  <a:pt x="1486" y="825"/>
                </a:cubicBezTo>
                <a:cubicBezTo>
                  <a:pt x="1488" y="827"/>
                  <a:pt x="1488" y="827"/>
                  <a:pt x="1488" y="827"/>
                </a:cubicBezTo>
                <a:cubicBezTo>
                  <a:pt x="1494" y="827"/>
                  <a:pt x="1494" y="827"/>
                  <a:pt x="1494" y="827"/>
                </a:cubicBezTo>
                <a:cubicBezTo>
                  <a:pt x="1494" y="824"/>
                  <a:pt x="1494" y="824"/>
                  <a:pt x="1494" y="824"/>
                </a:cubicBezTo>
                <a:cubicBezTo>
                  <a:pt x="1497" y="823"/>
                  <a:pt x="1497" y="823"/>
                  <a:pt x="1497" y="823"/>
                </a:cubicBezTo>
                <a:cubicBezTo>
                  <a:pt x="1497" y="824"/>
                  <a:pt x="1497" y="824"/>
                  <a:pt x="1497" y="824"/>
                </a:cubicBezTo>
                <a:cubicBezTo>
                  <a:pt x="1496" y="826"/>
                  <a:pt x="1496" y="826"/>
                  <a:pt x="1496" y="826"/>
                </a:cubicBezTo>
                <a:cubicBezTo>
                  <a:pt x="1500" y="825"/>
                  <a:pt x="1500" y="825"/>
                  <a:pt x="1500" y="825"/>
                </a:cubicBezTo>
                <a:cubicBezTo>
                  <a:pt x="1500" y="825"/>
                  <a:pt x="1500" y="830"/>
                  <a:pt x="1502" y="832"/>
                </a:cubicBezTo>
                <a:cubicBezTo>
                  <a:pt x="1504" y="834"/>
                  <a:pt x="1505" y="834"/>
                  <a:pt x="1505" y="834"/>
                </a:cubicBezTo>
                <a:cubicBezTo>
                  <a:pt x="1508" y="831"/>
                  <a:pt x="1508" y="831"/>
                  <a:pt x="1508" y="831"/>
                </a:cubicBezTo>
                <a:cubicBezTo>
                  <a:pt x="1506" y="836"/>
                  <a:pt x="1506" y="836"/>
                  <a:pt x="1506" y="836"/>
                </a:cubicBezTo>
                <a:cubicBezTo>
                  <a:pt x="1508" y="839"/>
                  <a:pt x="1508" y="839"/>
                  <a:pt x="1508" y="839"/>
                </a:cubicBezTo>
                <a:cubicBezTo>
                  <a:pt x="1511" y="840"/>
                  <a:pt x="1511" y="840"/>
                  <a:pt x="1511" y="840"/>
                </a:cubicBezTo>
                <a:cubicBezTo>
                  <a:pt x="1510" y="847"/>
                  <a:pt x="1510" y="847"/>
                  <a:pt x="1510" y="847"/>
                </a:cubicBezTo>
                <a:cubicBezTo>
                  <a:pt x="1509" y="847"/>
                  <a:pt x="1509" y="847"/>
                  <a:pt x="1509" y="847"/>
                </a:cubicBezTo>
                <a:cubicBezTo>
                  <a:pt x="1509" y="852"/>
                  <a:pt x="1509" y="852"/>
                  <a:pt x="1509" y="852"/>
                </a:cubicBezTo>
                <a:cubicBezTo>
                  <a:pt x="1508" y="852"/>
                  <a:pt x="1508" y="852"/>
                  <a:pt x="1508" y="852"/>
                </a:cubicBezTo>
                <a:cubicBezTo>
                  <a:pt x="1508" y="852"/>
                  <a:pt x="1509" y="856"/>
                  <a:pt x="1508" y="858"/>
                </a:cubicBezTo>
                <a:cubicBezTo>
                  <a:pt x="1507" y="859"/>
                  <a:pt x="1503" y="862"/>
                  <a:pt x="1504" y="863"/>
                </a:cubicBezTo>
                <a:cubicBezTo>
                  <a:pt x="1504" y="865"/>
                  <a:pt x="1506" y="865"/>
                  <a:pt x="1507" y="866"/>
                </a:cubicBezTo>
                <a:cubicBezTo>
                  <a:pt x="1509" y="865"/>
                  <a:pt x="1509" y="865"/>
                  <a:pt x="1509" y="865"/>
                </a:cubicBezTo>
                <a:cubicBezTo>
                  <a:pt x="1507" y="866"/>
                  <a:pt x="1507" y="866"/>
                  <a:pt x="1507" y="866"/>
                </a:cubicBezTo>
                <a:cubicBezTo>
                  <a:pt x="1507" y="866"/>
                  <a:pt x="1508" y="866"/>
                  <a:pt x="1508" y="866"/>
                </a:cubicBezTo>
                <a:cubicBezTo>
                  <a:pt x="1506" y="867"/>
                  <a:pt x="1506" y="867"/>
                  <a:pt x="1506" y="867"/>
                </a:cubicBezTo>
                <a:cubicBezTo>
                  <a:pt x="1506" y="867"/>
                  <a:pt x="1508" y="873"/>
                  <a:pt x="1507" y="873"/>
                </a:cubicBezTo>
                <a:cubicBezTo>
                  <a:pt x="1506" y="874"/>
                  <a:pt x="1504" y="873"/>
                  <a:pt x="1504" y="873"/>
                </a:cubicBezTo>
                <a:cubicBezTo>
                  <a:pt x="1504" y="873"/>
                  <a:pt x="1504" y="882"/>
                  <a:pt x="1502" y="884"/>
                </a:cubicBezTo>
                <a:cubicBezTo>
                  <a:pt x="1500" y="886"/>
                  <a:pt x="1498" y="885"/>
                  <a:pt x="1498" y="885"/>
                </a:cubicBezTo>
                <a:cubicBezTo>
                  <a:pt x="1501" y="893"/>
                  <a:pt x="1501" y="893"/>
                  <a:pt x="1501" y="893"/>
                </a:cubicBezTo>
                <a:cubicBezTo>
                  <a:pt x="1503" y="891"/>
                  <a:pt x="1503" y="891"/>
                  <a:pt x="1503" y="891"/>
                </a:cubicBezTo>
                <a:cubicBezTo>
                  <a:pt x="1505" y="894"/>
                  <a:pt x="1505" y="894"/>
                  <a:pt x="1505" y="894"/>
                </a:cubicBezTo>
                <a:cubicBezTo>
                  <a:pt x="1505" y="894"/>
                  <a:pt x="1503" y="897"/>
                  <a:pt x="1503" y="898"/>
                </a:cubicBezTo>
                <a:cubicBezTo>
                  <a:pt x="1504" y="900"/>
                  <a:pt x="1506" y="899"/>
                  <a:pt x="1506" y="899"/>
                </a:cubicBezTo>
                <a:cubicBezTo>
                  <a:pt x="1507" y="905"/>
                  <a:pt x="1507" y="905"/>
                  <a:pt x="1507" y="905"/>
                </a:cubicBezTo>
                <a:cubicBezTo>
                  <a:pt x="1511" y="906"/>
                  <a:pt x="1511" y="906"/>
                  <a:pt x="1511" y="906"/>
                </a:cubicBezTo>
                <a:cubicBezTo>
                  <a:pt x="1510" y="907"/>
                  <a:pt x="1510" y="907"/>
                  <a:pt x="1510" y="907"/>
                </a:cubicBezTo>
                <a:cubicBezTo>
                  <a:pt x="1517" y="915"/>
                  <a:pt x="1517" y="915"/>
                  <a:pt x="1517" y="915"/>
                </a:cubicBezTo>
                <a:cubicBezTo>
                  <a:pt x="1517" y="916"/>
                  <a:pt x="1517" y="916"/>
                  <a:pt x="1517" y="916"/>
                </a:cubicBezTo>
                <a:cubicBezTo>
                  <a:pt x="1521" y="921"/>
                  <a:pt x="1521" y="921"/>
                  <a:pt x="1521" y="921"/>
                </a:cubicBezTo>
                <a:cubicBezTo>
                  <a:pt x="1521" y="922"/>
                  <a:pt x="1521" y="922"/>
                  <a:pt x="1521" y="922"/>
                </a:cubicBezTo>
                <a:cubicBezTo>
                  <a:pt x="1529" y="928"/>
                  <a:pt x="1529" y="928"/>
                  <a:pt x="1529" y="928"/>
                </a:cubicBezTo>
                <a:cubicBezTo>
                  <a:pt x="1529" y="931"/>
                  <a:pt x="1529" y="931"/>
                  <a:pt x="1529" y="931"/>
                </a:cubicBezTo>
                <a:cubicBezTo>
                  <a:pt x="1532" y="934"/>
                  <a:pt x="1532" y="934"/>
                  <a:pt x="1532" y="934"/>
                </a:cubicBezTo>
                <a:cubicBezTo>
                  <a:pt x="1532" y="942"/>
                  <a:pt x="1532" y="942"/>
                  <a:pt x="1532" y="942"/>
                </a:cubicBezTo>
                <a:cubicBezTo>
                  <a:pt x="1532" y="942"/>
                  <a:pt x="1533" y="942"/>
                  <a:pt x="1533" y="942"/>
                </a:cubicBezTo>
                <a:cubicBezTo>
                  <a:pt x="1534" y="942"/>
                  <a:pt x="1534" y="942"/>
                  <a:pt x="1535" y="941"/>
                </a:cubicBezTo>
                <a:cubicBezTo>
                  <a:pt x="1534" y="942"/>
                  <a:pt x="1534" y="942"/>
                  <a:pt x="1533" y="942"/>
                </a:cubicBezTo>
                <a:cubicBezTo>
                  <a:pt x="1534" y="943"/>
                  <a:pt x="1535" y="944"/>
                  <a:pt x="1535" y="945"/>
                </a:cubicBezTo>
                <a:cubicBezTo>
                  <a:pt x="1535" y="946"/>
                  <a:pt x="1535" y="946"/>
                  <a:pt x="1535" y="946"/>
                </a:cubicBezTo>
                <a:cubicBezTo>
                  <a:pt x="1534" y="947"/>
                  <a:pt x="1533" y="947"/>
                  <a:pt x="1533" y="947"/>
                </a:cubicBezTo>
                <a:cubicBezTo>
                  <a:pt x="1533" y="947"/>
                  <a:pt x="1536" y="951"/>
                  <a:pt x="1536" y="953"/>
                </a:cubicBezTo>
                <a:cubicBezTo>
                  <a:pt x="1537" y="954"/>
                  <a:pt x="1539" y="955"/>
                  <a:pt x="1539" y="955"/>
                </a:cubicBezTo>
                <a:cubicBezTo>
                  <a:pt x="1538" y="959"/>
                  <a:pt x="1538" y="959"/>
                  <a:pt x="1538" y="959"/>
                </a:cubicBezTo>
                <a:cubicBezTo>
                  <a:pt x="1538" y="959"/>
                  <a:pt x="1545" y="966"/>
                  <a:pt x="1544" y="972"/>
                </a:cubicBezTo>
                <a:cubicBezTo>
                  <a:pt x="1543" y="978"/>
                  <a:pt x="1541" y="979"/>
                  <a:pt x="1541" y="979"/>
                </a:cubicBezTo>
                <a:cubicBezTo>
                  <a:pt x="1540" y="983"/>
                  <a:pt x="1540" y="983"/>
                  <a:pt x="1540" y="983"/>
                </a:cubicBezTo>
                <a:cubicBezTo>
                  <a:pt x="1542" y="982"/>
                  <a:pt x="1542" y="982"/>
                  <a:pt x="1542" y="982"/>
                </a:cubicBezTo>
                <a:cubicBezTo>
                  <a:pt x="1542" y="982"/>
                  <a:pt x="1541" y="987"/>
                  <a:pt x="1544" y="992"/>
                </a:cubicBezTo>
                <a:cubicBezTo>
                  <a:pt x="1547" y="996"/>
                  <a:pt x="1549" y="1004"/>
                  <a:pt x="1549" y="1007"/>
                </a:cubicBezTo>
                <a:cubicBezTo>
                  <a:pt x="1548" y="1010"/>
                  <a:pt x="1546" y="1014"/>
                  <a:pt x="1546" y="1014"/>
                </a:cubicBezTo>
                <a:cubicBezTo>
                  <a:pt x="1546" y="1014"/>
                  <a:pt x="1547" y="1017"/>
                  <a:pt x="1546" y="1018"/>
                </a:cubicBezTo>
                <a:cubicBezTo>
                  <a:pt x="1544" y="1020"/>
                  <a:pt x="1541" y="1019"/>
                  <a:pt x="1541" y="1019"/>
                </a:cubicBezTo>
                <a:cubicBezTo>
                  <a:pt x="1540" y="1022"/>
                  <a:pt x="1540" y="1022"/>
                  <a:pt x="1540" y="1022"/>
                </a:cubicBezTo>
                <a:cubicBezTo>
                  <a:pt x="1540" y="1025"/>
                  <a:pt x="1540" y="1025"/>
                  <a:pt x="1540" y="1025"/>
                </a:cubicBezTo>
                <a:cubicBezTo>
                  <a:pt x="1540" y="1025"/>
                  <a:pt x="1535" y="1025"/>
                  <a:pt x="1535" y="1027"/>
                </a:cubicBezTo>
                <a:cubicBezTo>
                  <a:pt x="1536" y="1030"/>
                  <a:pt x="1535" y="1033"/>
                  <a:pt x="1535" y="1033"/>
                </a:cubicBezTo>
                <a:cubicBezTo>
                  <a:pt x="1533" y="1035"/>
                  <a:pt x="1533" y="1035"/>
                  <a:pt x="1533" y="1035"/>
                </a:cubicBezTo>
                <a:cubicBezTo>
                  <a:pt x="1533" y="1035"/>
                  <a:pt x="1534" y="1042"/>
                  <a:pt x="1534" y="1044"/>
                </a:cubicBezTo>
                <a:cubicBezTo>
                  <a:pt x="1533" y="1046"/>
                  <a:pt x="1531" y="1047"/>
                  <a:pt x="1531" y="1047"/>
                </a:cubicBezTo>
                <a:cubicBezTo>
                  <a:pt x="1531" y="1053"/>
                  <a:pt x="1531" y="1053"/>
                  <a:pt x="1531" y="1053"/>
                </a:cubicBezTo>
                <a:cubicBezTo>
                  <a:pt x="1527" y="1055"/>
                  <a:pt x="1527" y="1055"/>
                  <a:pt x="1527" y="1055"/>
                </a:cubicBezTo>
                <a:cubicBezTo>
                  <a:pt x="1527" y="1061"/>
                  <a:pt x="1527" y="1061"/>
                  <a:pt x="1527" y="1061"/>
                </a:cubicBezTo>
                <a:cubicBezTo>
                  <a:pt x="1529" y="1063"/>
                  <a:pt x="1529" y="1063"/>
                  <a:pt x="1529" y="1063"/>
                </a:cubicBezTo>
                <a:cubicBezTo>
                  <a:pt x="1526" y="1066"/>
                  <a:pt x="1526" y="1066"/>
                  <a:pt x="1526" y="1066"/>
                </a:cubicBezTo>
                <a:cubicBezTo>
                  <a:pt x="1527" y="1071"/>
                  <a:pt x="1527" y="1071"/>
                  <a:pt x="1527" y="1071"/>
                </a:cubicBezTo>
                <a:cubicBezTo>
                  <a:pt x="1528" y="1081"/>
                  <a:pt x="1528" y="1081"/>
                  <a:pt x="1528" y="1081"/>
                </a:cubicBezTo>
                <a:cubicBezTo>
                  <a:pt x="1528" y="1081"/>
                  <a:pt x="1530" y="1085"/>
                  <a:pt x="1531" y="1087"/>
                </a:cubicBezTo>
                <a:cubicBezTo>
                  <a:pt x="1533" y="1090"/>
                  <a:pt x="1540" y="1100"/>
                  <a:pt x="1540" y="1104"/>
                </a:cubicBezTo>
                <a:cubicBezTo>
                  <a:pt x="1541" y="1107"/>
                  <a:pt x="1543" y="1111"/>
                  <a:pt x="1544" y="1114"/>
                </a:cubicBezTo>
                <a:cubicBezTo>
                  <a:pt x="1545" y="1116"/>
                  <a:pt x="1548" y="1119"/>
                  <a:pt x="1548" y="1119"/>
                </a:cubicBezTo>
                <a:cubicBezTo>
                  <a:pt x="1548" y="1122"/>
                  <a:pt x="1548" y="1122"/>
                  <a:pt x="1548" y="1122"/>
                </a:cubicBezTo>
                <a:cubicBezTo>
                  <a:pt x="1548" y="1122"/>
                  <a:pt x="1554" y="1127"/>
                  <a:pt x="1554" y="1130"/>
                </a:cubicBezTo>
                <a:cubicBezTo>
                  <a:pt x="1554" y="1133"/>
                  <a:pt x="1554" y="1149"/>
                  <a:pt x="1554" y="1149"/>
                </a:cubicBezTo>
                <a:cubicBezTo>
                  <a:pt x="1554" y="1149"/>
                  <a:pt x="1557" y="1154"/>
                  <a:pt x="1557" y="1158"/>
                </a:cubicBezTo>
                <a:cubicBezTo>
                  <a:pt x="1558" y="1162"/>
                  <a:pt x="1556" y="1162"/>
                  <a:pt x="1556" y="1162"/>
                </a:cubicBezTo>
                <a:cubicBezTo>
                  <a:pt x="1558" y="1169"/>
                  <a:pt x="1558" y="1169"/>
                  <a:pt x="1558" y="1169"/>
                </a:cubicBezTo>
                <a:cubicBezTo>
                  <a:pt x="1558" y="1174"/>
                  <a:pt x="1558" y="1174"/>
                  <a:pt x="1558" y="1174"/>
                </a:cubicBezTo>
                <a:cubicBezTo>
                  <a:pt x="1560" y="1174"/>
                  <a:pt x="1560" y="1174"/>
                  <a:pt x="1560" y="1174"/>
                </a:cubicBezTo>
                <a:cubicBezTo>
                  <a:pt x="1560" y="1174"/>
                  <a:pt x="1559" y="1179"/>
                  <a:pt x="1560" y="1179"/>
                </a:cubicBezTo>
                <a:cubicBezTo>
                  <a:pt x="1560" y="1180"/>
                  <a:pt x="1562" y="1182"/>
                  <a:pt x="1562" y="1182"/>
                </a:cubicBezTo>
                <a:cubicBezTo>
                  <a:pt x="1562" y="1186"/>
                  <a:pt x="1562" y="1186"/>
                  <a:pt x="1562" y="1186"/>
                </a:cubicBezTo>
                <a:cubicBezTo>
                  <a:pt x="1562" y="1186"/>
                  <a:pt x="1565" y="1193"/>
                  <a:pt x="1567" y="1195"/>
                </a:cubicBezTo>
                <a:cubicBezTo>
                  <a:pt x="1568" y="1197"/>
                  <a:pt x="1572" y="1199"/>
                  <a:pt x="1572" y="1199"/>
                </a:cubicBezTo>
                <a:cubicBezTo>
                  <a:pt x="1572" y="1199"/>
                  <a:pt x="1574" y="1203"/>
                  <a:pt x="1574" y="1204"/>
                </a:cubicBezTo>
                <a:cubicBezTo>
                  <a:pt x="1575" y="1205"/>
                  <a:pt x="1579" y="1209"/>
                  <a:pt x="1579" y="1212"/>
                </a:cubicBezTo>
                <a:cubicBezTo>
                  <a:pt x="1579" y="1214"/>
                  <a:pt x="1578" y="1220"/>
                  <a:pt x="1580" y="1223"/>
                </a:cubicBezTo>
                <a:cubicBezTo>
                  <a:pt x="1582" y="1226"/>
                  <a:pt x="1589" y="1233"/>
                  <a:pt x="1589" y="1236"/>
                </a:cubicBezTo>
                <a:cubicBezTo>
                  <a:pt x="1589" y="1239"/>
                  <a:pt x="1589" y="1245"/>
                  <a:pt x="1588" y="1245"/>
                </a:cubicBezTo>
                <a:cubicBezTo>
                  <a:pt x="1588" y="1246"/>
                  <a:pt x="1585" y="1245"/>
                  <a:pt x="1585" y="1246"/>
                </a:cubicBezTo>
                <a:cubicBezTo>
                  <a:pt x="1585" y="1248"/>
                  <a:pt x="1585" y="1250"/>
                  <a:pt x="1587" y="1253"/>
                </a:cubicBezTo>
                <a:cubicBezTo>
                  <a:pt x="1589" y="1257"/>
                  <a:pt x="1588" y="1261"/>
                  <a:pt x="1589" y="1262"/>
                </a:cubicBezTo>
                <a:cubicBezTo>
                  <a:pt x="1590" y="1264"/>
                  <a:pt x="1590" y="1262"/>
                  <a:pt x="1591" y="1261"/>
                </a:cubicBezTo>
                <a:cubicBezTo>
                  <a:pt x="1592" y="1260"/>
                  <a:pt x="1594" y="1263"/>
                  <a:pt x="1594" y="1263"/>
                </a:cubicBezTo>
                <a:cubicBezTo>
                  <a:pt x="1597" y="1264"/>
                  <a:pt x="1597" y="1264"/>
                  <a:pt x="1597" y="1264"/>
                </a:cubicBezTo>
                <a:cubicBezTo>
                  <a:pt x="1597" y="1264"/>
                  <a:pt x="1598" y="1269"/>
                  <a:pt x="1602" y="1269"/>
                </a:cubicBezTo>
                <a:cubicBezTo>
                  <a:pt x="1606" y="1268"/>
                  <a:pt x="1607" y="1265"/>
                  <a:pt x="1609" y="1264"/>
                </a:cubicBezTo>
                <a:cubicBezTo>
                  <a:pt x="1612" y="1263"/>
                  <a:pt x="1619" y="1266"/>
                  <a:pt x="1621" y="1265"/>
                </a:cubicBezTo>
                <a:cubicBezTo>
                  <a:pt x="1623" y="1264"/>
                  <a:pt x="1622" y="1260"/>
                  <a:pt x="1627" y="1260"/>
                </a:cubicBezTo>
                <a:cubicBezTo>
                  <a:pt x="1631" y="1260"/>
                  <a:pt x="1633" y="1262"/>
                  <a:pt x="1633" y="1262"/>
                </a:cubicBezTo>
                <a:cubicBezTo>
                  <a:pt x="1633" y="1262"/>
                  <a:pt x="1635" y="1259"/>
                  <a:pt x="1640" y="1260"/>
                </a:cubicBezTo>
                <a:cubicBezTo>
                  <a:pt x="1645" y="1260"/>
                  <a:pt x="1648" y="1262"/>
                  <a:pt x="1649" y="1262"/>
                </a:cubicBezTo>
                <a:cubicBezTo>
                  <a:pt x="1650" y="1261"/>
                  <a:pt x="1652" y="1259"/>
                  <a:pt x="1652" y="1259"/>
                </a:cubicBezTo>
                <a:cubicBezTo>
                  <a:pt x="1652" y="1259"/>
                  <a:pt x="1655" y="1261"/>
                  <a:pt x="1657" y="1260"/>
                </a:cubicBezTo>
                <a:cubicBezTo>
                  <a:pt x="1659" y="1259"/>
                  <a:pt x="1661" y="1257"/>
                  <a:pt x="1661" y="1257"/>
                </a:cubicBezTo>
                <a:cubicBezTo>
                  <a:pt x="1661" y="1257"/>
                  <a:pt x="1666" y="1259"/>
                  <a:pt x="1671" y="1256"/>
                </a:cubicBezTo>
                <a:cubicBezTo>
                  <a:pt x="1676" y="1252"/>
                  <a:pt x="1682" y="1246"/>
                  <a:pt x="1682" y="1246"/>
                </a:cubicBezTo>
                <a:cubicBezTo>
                  <a:pt x="1685" y="1245"/>
                  <a:pt x="1685" y="1245"/>
                  <a:pt x="1685" y="1245"/>
                </a:cubicBezTo>
                <a:cubicBezTo>
                  <a:pt x="1698" y="1231"/>
                  <a:pt x="1698" y="1231"/>
                  <a:pt x="1698" y="1231"/>
                </a:cubicBezTo>
                <a:cubicBezTo>
                  <a:pt x="1701" y="1231"/>
                  <a:pt x="1701" y="1231"/>
                  <a:pt x="1701" y="1231"/>
                </a:cubicBezTo>
                <a:cubicBezTo>
                  <a:pt x="1701" y="1231"/>
                  <a:pt x="1708" y="1220"/>
                  <a:pt x="1709" y="1218"/>
                </a:cubicBezTo>
                <a:cubicBezTo>
                  <a:pt x="1710" y="1215"/>
                  <a:pt x="1714" y="1207"/>
                  <a:pt x="1716" y="1206"/>
                </a:cubicBezTo>
                <a:cubicBezTo>
                  <a:pt x="1717" y="1205"/>
                  <a:pt x="1724" y="1202"/>
                  <a:pt x="1725" y="1200"/>
                </a:cubicBezTo>
                <a:cubicBezTo>
                  <a:pt x="1725" y="1197"/>
                  <a:pt x="1729" y="1189"/>
                  <a:pt x="1729" y="1189"/>
                </a:cubicBezTo>
                <a:cubicBezTo>
                  <a:pt x="1729" y="1189"/>
                  <a:pt x="1730" y="1185"/>
                  <a:pt x="1731" y="1182"/>
                </a:cubicBezTo>
                <a:cubicBezTo>
                  <a:pt x="1731" y="1180"/>
                  <a:pt x="1732" y="1179"/>
                  <a:pt x="1732" y="1178"/>
                </a:cubicBezTo>
                <a:cubicBezTo>
                  <a:pt x="1732" y="1174"/>
                  <a:pt x="1730" y="1172"/>
                  <a:pt x="1730" y="1172"/>
                </a:cubicBezTo>
                <a:cubicBezTo>
                  <a:pt x="1730" y="1172"/>
                  <a:pt x="1726" y="1171"/>
                  <a:pt x="1730" y="1167"/>
                </a:cubicBezTo>
                <a:cubicBezTo>
                  <a:pt x="1735" y="1162"/>
                  <a:pt x="1742" y="1160"/>
                  <a:pt x="1747" y="1157"/>
                </a:cubicBezTo>
                <a:cubicBezTo>
                  <a:pt x="1751" y="1155"/>
                  <a:pt x="1758" y="1151"/>
                  <a:pt x="1758" y="1149"/>
                </a:cubicBezTo>
                <a:cubicBezTo>
                  <a:pt x="1758" y="1147"/>
                  <a:pt x="1758" y="1146"/>
                  <a:pt x="1758" y="1146"/>
                </a:cubicBezTo>
                <a:cubicBezTo>
                  <a:pt x="1758" y="1146"/>
                  <a:pt x="1756" y="1147"/>
                  <a:pt x="1756" y="1144"/>
                </a:cubicBezTo>
                <a:cubicBezTo>
                  <a:pt x="1756" y="1142"/>
                  <a:pt x="1760" y="1138"/>
                  <a:pt x="1759" y="1136"/>
                </a:cubicBezTo>
                <a:cubicBezTo>
                  <a:pt x="1759" y="1134"/>
                  <a:pt x="1758" y="1131"/>
                  <a:pt x="1758" y="1131"/>
                </a:cubicBezTo>
                <a:cubicBezTo>
                  <a:pt x="1759" y="1127"/>
                  <a:pt x="1759" y="1127"/>
                  <a:pt x="1759" y="1127"/>
                </a:cubicBezTo>
                <a:cubicBezTo>
                  <a:pt x="1759" y="1126"/>
                  <a:pt x="1759" y="1126"/>
                  <a:pt x="1759" y="1126"/>
                </a:cubicBezTo>
                <a:cubicBezTo>
                  <a:pt x="1757" y="1129"/>
                  <a:pt x="1757" y="1129"/>
                  <a:pt x="1757" y="1129"/>
                </a:cubicBezTo>
                <a:cubicBezTo>
                  <a:pt x="1757" y="1123"/>
                  <a:pt x="1757" y="1123"/>
                  <a:pt x="1757" y="1123"/>
                </a:cubicBezTo>
                <a:cubicBezTo>
                  <a:pt x="1757" y="1123"/>
                  <a:pt x="1754" y="1120"/>
                  <a:pt x="1754" y="1118"/>
                </a:cubicBezTo>
                <a:cubicBezTo>
                  <a:pt x="1754" y="1116"/>
                  <a:pt x="1756" y="1114"/>
                  <a:pt x="1755" y="1111"/>
                </a:cubicBezTo>
                <a:cubicBezTo>
                  <a:pt x="1754" y="1109"/>
                  <a:pt x="1751" y="1111"/>
                  <a:pt x="1751" y="1108"/>
                </a:cubicBezTo>
                <a:cubicBezTo>
                  <a:pt x="1751" y="1106"/>
                  <a:pt x="1753" y="1101"/>
                  <a:pt x="1754" y="1101"/>
                </a:cubicBezTo>
                <a:cubicBezTo>
                  <a:pt x="1755" y="1100"/>
                  <a:pt x="1760" y="1098"/>
                  <a:pt x="1760" y="1097"/>
                </a:cubicBezTo>
                <a:cubicBezTo>
                  <a:pt x="1761" y="1095"/>
                  <a:pt x="1762" y="1092"/>
                  <a:pt x="1763" y="1091"/>
                </a:cubicBezTo>
                <a:cubicBezTo>
                  <a:pt x="1765" y="1089"/>
                  <a:pt x="1766" y="1091"/>
                  <a:pt x="1768" y="1089"/>
                </a:cubicBezTo>
                <a:cubicBezTo>
                  <a:pt x="1769" y="1088"/>
                  <a:pt x="1772" y="1086"/>
                  <a:pt x="1773" y="1083"/>
                </a:cubicBezTo>
                <a:cubicBezTo>
                  <a:pt x="1773" y="1080"/>
                  <a:pt x="1777" y="1076"/>
                  <a:pt x="1780" y="1074"/>
                </a:cubicBezTo>
                <a:cubicBezTo>
                  <a:pt x="1784" y="1073"/>
                  <a:pt x="1793" y="1070"/>
                  <a:pt x="1795" y="1068"/>
                </a:cubicBezTo>
                <a:cubicBezTo>
                  <a:pt x="1797" y="1067"/>
                  <a:pt x="1803" y="1063"/>
                  <a:pt x="1803" y="1063"/>
                </a:cubicBezTo>
                <a:cubicBezTo>
                  <a:pt x="1803" y="1061"/>
                  <a:pt x="1803" y="1061"/>
                  <a:pt x="1803" y="1061"/>
                </a:cubicBezTo>
                <a:cubicBezTo>
                  <a:pt x="1803" y="1061"/>
                  <a:pt x="1807" y="1057"/>
                  <a:pt x="1807" y="1056"/>
                </a:cubicBezTo>
                <a:cubicBezTo>
                  <a:pt x="1807" y="1055"/>
                  <a:pt x="1812" y="1050"/>
                  <a:pt x="1812" y="1050"/>
                </a:cubicBezTo>
                <a:cubicBezTo>
                  <a:pt x="1811" y="1048"/>
                  <a:pt x="1811" y="1048"/>
                  <a:pt x="1811" y="1048"/>
                </a:cubicBezTo>
                <a:cubicBezTo>
                  <a:pt x="1811" y="1048"/>
                  <a:pt x="1814" y="1045"/>
                  <a:pt x="1814" y="1043"/>
                </a:cubicBezTo>
                <a:cubicBezTo>
                  <a:pt x="1814" y="1042"/>
                  <a:pt x="1814" y="1039"/>
                  <a:pt x="1814" y="1039"/>
                </a:cubicBezTo>
                <a:cubicBezTo>
                  <a:pt x="1812" y="1039"/>
                  <a:pt x="1812" y="1039"/>
                  <a:pt x="1812" y="1039"/>
                </a:cubicBezTo>
                <a:cubicBezTo>
                  <a:pt x="1812" y="1031"/>
                  <a:pt x="1812" y="1031"/>
                  <a:pt x="1812" y="1031"/>
                </a:cubicBezTo>
                <a:cubicBezTo>
                  <a:pt x="1810" y="1029"/>
                  <a:pt x="1810" y="1029"/>
                  <a:pt x="1810" y="1029"/>
                </a:cubicBezTo>
                <a:cubicBezTo>
                  <a:pt x="1813" y="1028"/>
                  <a:pt x="1813" y="1028"/>
                  <a:pt x="1813" y="1028"/>
                </a:cubicBezTo>
                <a:cubicBezTo>
                  <a:pt x="1811" y="1021"/>
                  <a:pt x="1811" y="1021"/>
                  <a:pt x="1811" y="1021"/>
                </a:cubicBezTo>
                <a:cubicBezTo>
                  <a:pt x="1813" y="1017"/>
                  <a:pt x="1813" y="1017"/>
                  <a:pt x="1813" y="1017"/>
                </a:cubicBezTo>
                <a:cubicBezTo>
                  <a:pt x="1811" y="1012"/>
                  <a:pt x="1811" y="1012"/>
                  <a:pt x="1811" y="1012"/>
                </a:cubicBezTo>
                <a:cubicBezTo>
                  <a:pt x="1811" y="1012"/>
                  <a:pt x="1813" y="1000"/>
                  <a:pt x="1813" y="998"/>
                </a:cubicBezTo>
                <a:cubicBezTo>
                  <a:pt x="1813" y="996"/>
                  <a:pt x="1812" y="995"/>
                  <a:pt x="1812" y="995"/>
                </a:cubicBezTo>
                <a:cubicBezTo>
                  <a:pt x="1812" y="995"/>
                  <a:pt x="1812" y="995"/>
                  <a:pt x="1812" y="995"/>
                </a:cubicBezTo>
                <a:cubicBezTo>
                  <a:pt x="1811" y="993"/>
                  <a:pt x="1811" y="993"/>
                  <a:pt x="1811" y="993"/>
                </a:cubicBezTo>
                <a:cubicBezTo>
                  <a:pt x="1811" y="993"/>
                  <a:pt x="1805" y="992"/>
                  <a:pt x="1805" y="989"/>
                </a:cubicBezTo>
                <a:cubicBezTo>
                  <a:pt x="1804" y="987"/>
                  <a:pt x="1804" y="980"/>
                  <a:pt x="1804" y="980"/>
                </a:cubicBezTo>
                <a:cubicBezTo>
                  <a:pt x="1801" y="974"/>
                  <a:pt x="1801" y="974"/>
                  <a:pt x="1801" y="974"/>
                </a:cubicBezTo>
                <a:cubicBezTo>
                  <a:pt x="1803" y="967"/>
                  <a:pt x="1803" y="967"/>
                  <a:pt x="1803" y="967"/>
                </a:cubicBezTo>
                <a:cubicBezTo>
                  <a:pt x="1800" y="965"/>
                  <a:pt x="1800" y="965"/>
                  <a:pt x="1800" y="965"/>
                </a:cubicBezTo>
                <a:cubicBezTo>
                  <a:pt x="1800" y="965"/>
                  <a:pt x="1804" y="957"/>
                  <a:pt x="1803" y="956"/>
                </a:cubicBezTo>
                <a:cubicBezTo>
                  <a:pt x="1802" y="954"/>
                  <a:pt x="1797" y="952"/>
                  <a:pt x="1796" y="950"/>
                </a:cubicBezTo>
                <a:cubicBezTo>
                  <a:pt x="1795" y="947"/>
                  <a:pt x="1799" y="939"/>
                  <a:pt x="1799" y="938"/>
                </a:cubicBezTo>
                <a:cubicBezTo>
                  <a:pt x="1799" y="936"/>
                  <a:pt x="1800" y="932"/>
                  <a:pt x="1800" y="931"/>
                </a:cubicBezTo>
                <a:cubicBezTo>
                  <a:pt x="1800" y="930"/>
                  <a:pt x="1800" y="930"/>
                  <a:pt x="1800" y="930"/>
                </a:cubicBezTo>
                <a:cubicBezTo>
                  <a:pt x="1803" y="930"/>
                  <a:pt x="1803" y="930"/>
                  <a:pt x="1803" y="930"/>
                </a:cubicBezTo>
                <a:cubicBezTo>
                  <a:pt x="1807" y="921"/>
                  <a:pt x="1807" y="921"/>
                  <a:pt x="1807" y="921"/>
                </a:cubicBezTo>
                <a:cubicBezTo>
                  <a:pt x="1807" y="921"/>
                  <a:pt x="1807" y="918"/>
                  <a:pt x="1807" y="916"/>
                </a:cubicBezTo>
                <a:cubicBezTo>
                  <a:pt x="1807" y="915"/>
                  <a:pt x="1811" y="915"/>
                  <a:pt x="1811" y="913"/>
                </a:cubicBezTo>
                <a:cubicBezTo>
                  <a:pt x="1811" y="911"/>
                  <a:pt x="1809" y="908"/>
                  <a:pt x="1811" y="907"/>
                </a:cubicBezTo>
                <a:cubicBezTo>
                  <a:pt x="1813" y="907"/>
                  <a:pt x="1816" y="905"/>
                  <a:pt x="1816" y="905"/>
                </a:cubicBezTo>
                <a:cubicBezTo>
                  <a:pt x="1817" y="900"/>
                  <a:pt x="1817" y="900"/>
                  <a:pt x="1817" y="900"/>
                </a:cubicBezTo>
                <a:cubicBezTo>
                  <a:pt x="1817" y="900"/>
                  <a:pt x="1822" y="901"/>
                  <a:pt x="1824" y="898"/>
                </a:cubicBezTo>
                <a:cubicBezTo>
                  <a:pt x="1824" y="897"/>
                  <a:pt x="1824" y="897"/>
                  <a:pt x="1824" y="896"/>
                </a:cubicBezTo>
                <a:cubicBezTo>
                  <a:pt x="1824" y="896"/>
                  <a:pt x="1824" y="897"/>
                  <a:pt x="1824" y="897"/>
                </a:cubicBezTo>
                <a:cubicBezTo>
                  <a:pt x="1826" y="893"/>
                  <a:pt x="1829" y="886"/>
                  <a:pt x="1831" y="884"/>
                </a:cubicBezTo>
                <a:cubicBezTo>
                  <a:pt x="1832" y="882"/>
                  <a:pt x="1839" y="879"/>
                  <a:pt x="1839" y="876"/>
                </a:cubicBezTo>
                <a:cubicBezTo>
                  <a:pt x="1840" y="873"/>
                  <a:pt x="1849" y="865"/>
                  <a:pt x="1851" y="862"/>
                </a:cubicBezTo>
                <a:cubicBezTo>
                  <a:pt x="1854" y="859"/>
                  <a:pt x="1861" y="855"/>
                  <a:pt x="1862" y="854"/>
                </a:cubicBezTo>
                <a:cubicBezTo>
                  <a:pt x="1864" y="853"/>
                  <a:pt x="1876" y="843"/>
                  <a:pt x="1877" y="841"/>
                </a:cubicBezTo>
                <a:cubicBezTo>
                  <a:pt x="1879" y="839"/>
                  <a:pt x="1888" y="829"/>
                  <a:pt x="1889" y="826"/>
                </a:cubicBezTo>
                <a:cubicBezTo>
                  <a:pt x="1889" y="823"/>
                  <a:pt x="1895" y="813"/>
                  <a:pt x="1896" y="812"/>
                </a:cubicBezTo>
                <a:cubicBezTo>
                  <a:pt x="1897" y="811"/>
                  <a:pt x="1899" y="808"/>
                  <a:pt x="1899" y="807"/>
                </a:cubicBezTo>
                <a:cubicBezTo>
                  <a:pt x="1899" y="805"/>
                  <a:pt x="1900" y="799"/>
                  <a:pt x="1902" y="797"/>
                </a:cubicBezTo>
                <a:cubicBezTo>
                  <a:pt x="1903" y="795"/>
                  <a:pt x="1906" y="793"/>
                  <a:pt x="1906" y="790"/>
                </a:cubicBezTo>
                <a:cubicBezTo>
                  <a:pt x="1906" y="787"/>
                  <a:pt x="1908" y="785"/>
                  <a:pt x="1908" y="785"/>
                </a:cubicBezTo>
                <a:cubicBezTo>
                  <a:pt x="1911" y="777"/>
                  <a:pt x="1911" y="777"/>
                  <a:pt x="1911" y="777"/>
                </a:cubicBezTo>
                <a:cubicBezTo>
                  <a:pt x="1911" y="777"/>
                  <a:pt x="1914" y="778"/>
                  <a:pt x="1914" y="773"/>
                </a:cubicBezTo>
                <a:cubicBezTo>
                  <a:pt x="1914" y="767"/>
                  <a:pt x="1914" y="762"/>
                  <a:pt x="1914" y="762"/>
                </a:cubicBezTo>
                <a:cubicBezTo>
                  <a:pt x="1917" y="760"/>
                  <a:pt x="1917" y="760"/>
                  <a:pt x="1917" y="760"/>
                </a:cubicBezTo>
                <a:cubicBezTo>
                  <a:pt x="1916" y="750"/>
                  <a:pt x="1916" y="750"/>
                  <a:pt x="1916" y="750"/>
                </a:cubicBezTo>
                <a:cubicBezTo>
                  <a:pt x="1916" y="750"/>
                  <a:pt x="1919" y="745"/>
                  <a:pt x="1918" y="744"/>
                </a:cubicBezTo>
                <a:cubicBezTo>
                  <a:pt x="1916" y="743"/>
                  <a:pt x="1912" y="742"/>
                  <a:pt x="1912" y="742"/>
                </a:cubicBezTo>
                <a:cubicBezTo>
                  <a:pt x="1912" y="742"/>
                  <a:pt x="1910" y="745"/>
                  <a:pt x="1909" y="746"/>
                </a:cubicBezTo>
                <a:cubicBezTo>
                  <a:pt x="1907" y="748"/>
                  <a:pt x="1900" y="750"/>
                  <a:pt x="1898" y="750"/>
                </a:cubicBezTo>
                <a:cubicBezTo>
                  <a:pt x="1897" y="750"/>
                  <a:pt x="1893" y="749"/>
                  <a:pt x="1891" y="749"/>
                </a:cubicBezTo>
                <a:cubicBezTo>
                  <a:pt x="1889" y="750"/>
                  <a:pt x="1886" y="753"/>
                  <a:pt x="1885" y="753"/>
                </a:cubicBezTo>
                <a:cubicBezTo>
                  <a:pt x="1884" y="753"/>
                  <a:pt x="1882" y="751"/>
                  <a:pt x="1880" y="751"/>
                </a:cubicBezTo>
                <a:cubicBezTo>
                  <a:pt x="1879" y="751"/>
                  <a:pt x="1873" y="757"/>
                  <a:pt x="1871" y="757"/>
                </a:cubicBezTo>
                <a:cubicBezTo>
                  <a:pt x="1869" y="758"/>
                  <a:pt x="1868" y="754"/>
                  <a:pt x="1865" y="755"/>
                </a:cubicBezTo>
                <a:cubicBezTo>
                  <a:pt x="1862" y="756"/>
                  <a:pt x="1858" y="759"/>
                  <a:pt x="1856" y="760"/>
                </a:cubicBezTo>
                <a:cubicBezTo>
                  <a:pt x="1855" y="760"/>
                  <a:pt x="1848" y="760"/>
                  <a:pt x="1848" y="760"/>
                </a:cubicBezTo>
                <a:cubicBezTo>
                  <a:pt x="1848" y="760"/>
                  <a:pt x="1842" y="754"/>
                  <a:pt x="1842" y="752"/>
                </a:cubicBezTo>
                <a:cubicBezTo>
                  <a:pt x="1842" y="750"/>
                  <a:pt x="1840" y="750"/>
                  <a:pt x="1839" y="749"/>
                </a:cubicBezTo>
                <a:cubicBezTo>
                  <a:pt x="1839" y="749"/>
                  <a:pt x="1839" y="749"/>
                  <a:pt x="1839" y="749"/>
                </a:cubicBezTo>
                <a:cubicBezTo>
                  <a:pt x="1838" y="747"/>
                  <a:pt x="1838" y="747"/>
                  <a:pt x="1838" y="747"/>
                </a:cubicBezTo>
                <a:cubicBezTo>
                  <a:pt x="1833" y="748"/>
                  <a:pt x="1833" y="748"/>
                  <a:pt x="1833" y="748"/>
                </a:cubicBezTo>
                <a:cubicBezTo>
                  <a:pt x="1833" y="748"/>
                  <a:pt x="1841" y="741"/>
                  <a:pt x="1839" y="738"/>
                </a:cubicBezTo>
                <a:cubicBezTo>
                  <a:pt x="1839" y="737"/>
                  <a:pt x="1838" y="736"/>
                  <a:pt x="1837" y="735"/>
                </a:cubicBezTo>
                <a:cubicBezTo>
                  <a:pt x="1835" y="732"/>
                  <a:pt x="1833" y="731"/>
                  <a:pt x="1833" y="731"/>
                </a:cubicBezTo>
                <a:cubicBezTo>
                  <a:pt x="1833" y="731"/>
                  <a:pt x="1830" y="731"/>
                  <a:pt x="1829" y="730"/>
                </a:cubicBezTo>
                <a:cubicBezTo>
                  <a:pt x="1829" y="728"/>
                  <a:pt x="1829" y="725"/>
                  <a:pt x="1829" y="725"/>
                </a:cubicBezTo>
                <a:cubicBezTo>
                  <a:pt x="1829" y="725"/>
                  <a:pt x="1821" y="722"/>
                  <a:pt x="1820" y="720"/>
                </a:cubicBezTo>
                <a:cubicBezTo>
                  <a:pt x="1820" y="718"/>
                  <a:pt x="1820" y="713"/>
                  <a:pt x="1818" y="712"/>
                </a:cubicBezTo>
                <a:cubicBezTo>
                  <a:pt x="1817" y="712"/>
                  <a:pt x="1813" y="712"/>
                  <a:pt x="1812" y="712"/>
                </a:cubicBezTo>
                <a:cubicBezTo>
                  <a:pt x="1812" y="711"/>
                  <a:pt x="1809" y="708"/>
                  <a:pt x="1809" y="708"/>
                </a:cubicBezTo>
                <a:cubicBezTo>
                  <a:pt x="1807" y="709"/>
                  <a:pt x="1807" y="709"/>
                  <a:pt x="1807" y="709"/>
                </a:cubicBezTo>
                <a:cubicBezTo>
                  <a:pt x="1805" y="706"/>
                  <a:pt x="1805" y="706"/>
                  <a:pt x="1805" y="706"/>
                </a:cubicBezTo>
                <a:cubicBezTo>
                  <a:pt x="1803" y="706"/>
                  <a:pt x="1803" y="706"/>
                  <a:pt x="1803" y="706"/>
                </a:cubicBezTo>
                <a:cubicBezTo>
                  <a:pt x="1803" y="706"/>
                  <a:pt x="1798" y="701"/>
                  <a:pt x="1798" y="699"/>
                </a:cubicBezTo>
                <a:cubicBezTo>
                  <a:pt x="1797" y="696"/>
                  <a:pt x="1798" y="692"/>
                  <a:pt x="1797" y="687"/>
                </a:cubicBezTo>
                <a:cubicBezTo>
                  <a:pt x="1795" y="683"/>
                  <a:pt x="1791" y="675"/>
                  <a:pt x="1791" y="675"/>
                </a:cubicBezTo>
                <a:cubicBezTo>
                  <a:pt x="1790" y="674"/>
                  <a:pt x="1790" y="674"/>
                  <a:pt x="1790" y="674"/>
                </a:cubicBezTo>
                <a:cubicBezTo>
                  <a:pt x="1785" y="671"/>
                  <a:pt x="1785" y="671"/>
                  <a:pt x="1785" y="671"/>
                </a:cubicBezTo>
                <a:cubicBezTo>
                  <a:pt x="1785" y="671"/>
                  <a:pt x="1784" y="668"/>
                  <a:pt x="1783" y="667"/>
                </a:cubicBezTo>
                <a:cubicBezTo>
                  <a:pt x="1782" y="666"/>
                  <a:pt x="1779" y="668"/>
                  <a:pt x="1778" y="666"/>
                </a:cubicBezTo>
                <a:cubicBezTo>
                  <a:pt x="1777" y="663"/>
                  <a:pt x="1777" y="655"/>
                  <a:pt x="1777" y="655"/>
                </a:cubicBezTo>
                <a:cubicBezTo>
                  <a:pt x="1775" y="654"/>
                  <a:pt x="1775" y="654"/>
                  <a:pt x="1775" y="654"/>
                </a:cubicBezTo>
                <a:cubicBezTo>
                  <a:pt x="1775" y="654"/>
                  <a:pt x="1775" y="645"/>
                  <a:pt x="1775" y="644"/>
                </a:cubicBezTo>
                <a:cubicBezTo>
                  <a:pt x="1775" y="643"/>
                  <a:pt x="1774" y="641"/>
                  <a:pt x="1774" y="641"/>
                </a:cubicBezTo>
                <a:cubicBezTo>
                  <a:pt x="1776" y="640"/>
                  <a:pt x="1776" y="640"/>
                  <a:pt x="1776" y="640"/>
                </a:cubicBezTo>
                <a:cubicBezTo>
                  <a:pt x="1776" y="640"/>
                  <a:pt x="1773" y="637"/>
                  <a:pt x="1772" y="635"/>
                </a:cubicBezTo>
                <a:cubicBezTo>
                  <a:pt x="1772" y="633"/>
                  <a:pt x="1774" y="630"/>
                  <a:pt x="1772" y="629"/>
                </a:cubicBezTo>
                <a:cubicBezTo>
                  <a:pt x="1770" y="628"/>
                  <a:pt x="1768" y="626"/>
                  <a:pt x="1768" y="626"/>
                </a:cubicBezTo>
                <a:cubicBezTo>
                  <a:pt x="1768" y="626"/>
                  <a:pt x="1766" y="623"/>
                  <a:pt x="1765" y="623"/>
                </a:cubicBezTo>
                <a:cubicBezTo>
                  <a:pt x="1764" y="622"/>
                  <a:pt x="1764" y="623"/>
                  <a:pt x="1763" y="622"/>
                </a:cubicBezTo>
                <a:cubicBezTo>
                  <a:pt x="1762" y="622"/>
                  <a:pt x="1761" y="620"/>
                  <a:pt x="1759" y="618"/>
                </a:cubicBezTo>
                <a:cubicBezTo>
                  <a:pt x="1759" y="617"/>
                  <a:pt x="1758" y="615"/>
                  <a:pt x="1758" y="614"/>
                </a:cubicBezTo>
                <a:cubicBezTo>
                  <a:pt x="1758" y="611"/>
                  <a:pt x="1758" y="608"/>
                  <a:pt x="1758" y="608"/>
                </a:cubicBezTo>
                <a:cubicBezTo>
                  <a:pt x="1761" y="608"/>
                  <a:pt x="1761" y="608"/>
                  <a:pt x="1761" y="608"/>
                </a:cubicBezTo>
                <a:cubicBezTo>
                  <a:pt x="1761" y="608"/>
                  <a:pt x="1755" y="604"/>
                  <a:pt x="1752" y="598"/>
                </a:cubicBezTo>
                <a:cubicBezTo>
                  <a:pt x="1749" y="592"/>
                  <a:pt x="1750" y="589"/>
                  <a:pt x="1748" y="587"/>
                </a:cubicBezTo>
                <a:cubicBezTo>
                  <a:pt x="1746" y="585"/>
                  <a:pt x="1745" y="584"/>
                  <a:pt x="1743" y="581"/>
                </a:cubicBezTo>
                <a:cubicBezTo>
                  <a:pt x="1742" y="578"/>
                  <a:pt x="1742" y="574"/>
                  <a:pt x="1742" y="574"/>
                </a:cubicBezTo>
                <a:cubicBezTo>
                  <a:pt x="1736" y="568"/>
                  <a:pt x="1736" y="568"/>
                  <a:pt x="1736" y="568"/>
                </a:cubicBezTo>
                <a:cubicBezTo>
                  <a:pt x="1736" y="568"/>
                  <a:pt x="1737" y="566"/>
                  <a:pt x="1736" y="564"/>
                </a:cubicBezTo>
                <a:cubicBezTo>
                  <a:pt x="1735" y="561"/>
                  <a:pt x="1729" y="557"/>
                  <a:pt x="1729" y="555"/>
                </a:cubicBezTo>
                <a:cubicBezTo>
                  <a:pt x="1728" y="553"/>
                  <a:pt x="1727" y="552"/>
                  <a:pt x="1727" y="552"/>
                </a:cubicBezTo>
                <a:cubicBezTo>
                  <a:pt x="1727" y="552"/>
                  <a:pt x="1728" y="550"/>
                  <a:pt x="1727" y="547"/>
                </a:cubicBezTo>
                <a:cubicBezTo>
                  <a:pt x="1725" y="545"/>
                  <a:pt x="1723" y="545"/>
                  <a:pt x="1723" y="545"/>
                </a:cubicBezTo>
                <a:cubicBezTo>
                  <a:pt x="1725" y="542"/>
                  <a:pt x="1725" y="542"/>
                  <a:pt x="1725" y="542"/>
                </a:cubicBezTo>
                <a:cubicBezTo>
                  <a:pt x="1728" y="544"/>
                  <a:pt x="1728" y="544"/>
                  <a:pt x="1728" y="544"/>
                </a:cubicBezTo>
                <a:cubicBezTo>
                  <a:pt x="1728" y="544"/>
                  <a:pt x="1727" y="547"/>
                  <a:pt x="1729" y="548"/>
                </a:cubicBezTo>
                <a:cubicBezTo>
                  <a:pt x="1731" y="550"/>
                  <a:pt x="1732" y="551"/>
                  <a:pt x="1732" y="551"/>
                </a:cubicBezTo>
                <a:cubicBezTo>
                  <a:pt x="1732" y="555"/>
                  <a:pt x="1732" y="555"/>
                  <a:pt x="1732" y="555"/>
                </a:cubicBezTo>
                <a:cubicBezTo>
                  <a:pt x="1732" y="555"/>
                  <a:pt x="1739" y="566"/>
                  <a:pt x="1741" y="564"/>
                </a:cubicBezTo>
                <a:cubicBezTo>
                  <a:pt x="1744" y="563"/>
                  <a:pt x="1745" y="562"/>
                  <a:pt x="1745" y="562"/>
                </a:cubicBezTo>
                <a:cubicBezTo>
                  <a:pt x="1744" y="559"/>
                  <a:pt x="1744" y="559"/>
                  <a:pt x="1744" y="559"/>
                </a:cubicBezTo>
                <a:cubicBezTo>
                  <a:pt x="1744" y="559"/>
                  <a:pt x="1746" y="554"/>
                  <a:pt x="1746" y="551"/>
                </a:cubicBezTo>
                <a:cubicBezTo>
                  <a:pt x="1746" y="548"/>
                  <a:pt x="1748" y="545"/>
                  <a:pt x="1748" y="545"/>
                </a:cubicBezTo>
                <a:cubicBezTo>
                  <a:pt x="1749" y="547"/>
                  <a:pt x="1749" y="547"/>
                  <a:pt x="1749" y="547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49" y="548"/>
                  <a:pt x="1749" y="549"/>
                  <a:pt x="1749" y="549"/>
                </a:cubicBezTo>
                <a:cubicBezTo>
                  <a:pt x="1749" y="549"/>
                  <a:pt x="1749" y="549"/>
                  <a:pt x="1749" y="549"/>
                </a:cubicBezTo>
                <a:cubicBezTo>
                  <a:pt x="1749" y="551"/>
                  <a:pt x="1746" y="565"/>
                  <a:pt x="1749" y="568"/>
                </a:cubicBezTo>
                <a:cubicBezTo>
                  <a:pt x="1751" y="570"/>
                  <a:pt x="1756" y="570"/>
                  <a:pt x="1757" y="573"/>
                </a:cubicBezTo>
                <a:cubicBezTo>
                  <a:pt x="1759" y="576"/>
                  <a:pt x="1762" y="583"/>
                  <a:pt x="1764" y="585"/>
                </a:cubicBezTo>
                <a:cubicBezTo>
                  <a:pt x="1766" y="587"/>
                  <a:pt x="1770" y="590"/>
                  <a:pt x="1771" y="593"/>
                </a:cubicBezTo>
                <a:cubicBezTo>
                  <a:pt x="1773" y="596"/>
                  <a:pt x="1774" y="604"/>
                  <a:pt x="1776" y="606"/>
                </a:cubicBezTo>
                <a:cubicBezTo>
                  <a:pt x="1779" y="609"/>
                  <a:pt x="1785" y="606"/>
                  <a:pt x="1788" y="610"/>
                </a:cubicBezTo>
                <a:cubicBezTo>
                  <a:pt x="1792" y="614"/>
                  <a:pt x="1795" y="627"/>
                  <a:pt x="1795" y="633"/>
                </a:cubicBezTo>
                <a:cubicBezTo>
                  <a:pt x="1795" y="639"/>
                  <a:pt x="1802" y="646"/>
                  <a:pt x="1802" y="646"/>
                </a:cubicBezTo>
                <a:cubicBezTo>
                  <a:pt x="1802" y="646"/>
                  <a:pt x="1807" y="646"/>
                  <a:pt x="1809" y="648"/>
                </a:cubicBezTo>
                <a:cubicBezTo>
                  <a:pt x="1811" y="649"/>
                  <a:pt x="1818" y="663"/>
                  <a:pt x="1821" y="668"/>
                </a:cubicBezTo>
                <a:cubicBezTo>
                  <a:pt x="1824" y="673"/>
                  <a:pt x="1834" y="685"/>
                  <a:pt x="1834" y="688"/>
                </a:cubicBezTo>
                <a:cubicBezTo>
                  <a:pt x="1834" y="690"/>
                  <a:pt x="1833" y="692"/>
                  <a:pt x="1833" y="694"/>
                </a:cubicBezTo>
                <a:cubicBezTo>
                  <a:pt x="1832" y="695"/>
                  <a:pt x="1832" y="697"/>
                  <a:pt x="1831" y="698"/>
                </a:cubicBezTo>
                <a:cubicBezTo>
                  <a:pt x="1831" y="700"/>
                  <a:pt x="1836" y="704"/>
                  <a:pt x="1836" y="704"/>
                </a:cubicBezTo>
                <a:cubicBezTo>
                  <a:pt x="1834" y="721"/>
                  <a:pt x="1834" y="721"/>
                  <a:pt x="1834" y="721"/>
                </a:cubicBezTo>
                <a:cubicBezTo>
                  <a:pt x="1839" y="725"/>
                  <a:pt x="1839" y="725"/>
                  <a:pt x="1839" y="725"/>
                </a:cubicBezTo>
                <a:cubicBezTo>
                  <a:pt x="1839" y="725"/>
                  <a:pt x="1840" y="731"/>
                  <a:pt x="1844" y="732"/>
                </a:cubicBezTo>
                <a:cubicBezTo>
                  <a:pt x="1848" y="733"/>
                  <a:pt x="1851" y="733"/>
                  <a:pt x="1853" y="731"/>
                </a:cubicBezTo>
                <a:cubicBezTo>
                  <a:pt x="1856" y="730"/>
                  <a:pt x="1857" y="724"/>
                  <a:pt x="1859" y="724"/>
                </a:cubicBezTo>
                <a:cubicBezTo>
                  <a:pt x="1861" y="724"/>
                  <a:pt x="1865" y="725"/>
                  <a:pt x="1869" y="725"/>
                </a:cubicBezTo>
                <a:cubicBezTo>
                  <a:pt x="1874" y="724"/>
                  <a:pt x="1879" y="723"/>
                  <a:pt x="1882" y="723"/>
                </a:cubicBezTo>
                <a:cubicBezTo>
                  <a:pt x="1885" y="723"/>
                  <a:pt x="1889" y="716"/>
                  <a:pt x="1892" y="715"/>
                </a:cubicBezTo>
                <a:cubicBezTo>
                  <a:pt x="1895" y="714"/>
                  <a:pt x="1897" y="710"/>
                  <a:pt x="1901" y="709"/>
                </a:cubicBezTo>
                <a:cubicBezTo>
                  <a:pt x="1905" y="707"/>
                  <a:pt x="1914" y="702"/>
                  <a:pt x="1914" y="702"/>
                </a:cubicBezTo>
                <a:cubicBezTo>
                  <a:pt x="1924" y="702"/>
                  <a:pt x="1924" y="702"/>
                  <a:pt x="1924" y="702"/>
                </a:cubicBezTo>
                <a:cubicBezTo>
                  <a:pt x="1924" y="702"/>
                  <a:pt x="1929" y="692"/>
                  <a:pt x="1931" y="690"/>
                </a:cubicBezTo>
                <a:cubicBezTo>
                  <a:pt x="1931" y="690"/>
                  <a:pt x="1932" y="690"/>
                  <a:pt x="1933" y="689"/>
                </a:cubicBezTo>
                <a:cubicBezTo>
                  <a:pt x="1939" y="687"/>
                  <a:pt x="1955" y="683"/>
                  <a:pt x="1956" y="682"/>
                </a:cubicBezTo>
                <a:cubicBezTo>
                  <a:pt x="1957" y="681"/>
                  <a:pt x="1957" y="674"/>
                  <a:pt x="1957" y="674"/>
                </a:cubicBezTo>
                <a:cubicBezTo>
                  <a:pt x="1957" y="674"/>
                  <a:pt x="1966" y="673"/>
                  <a:pt x="1968" y="671"/>
                </a:cubicBezTo>
                <a:cubicBezTo>
                  <a:pt x="1969" y="669"/>
                  <a:pt x="1969" y="665"/>
                  <a:pt x="1969" y="665"/>
                </a:cubicBezTo>
                <a:cubicBezTo>
                  <a:pt x="1969" y="665"/>
                  <a:pt x="1976" y="663"/>
                  <a:pt x="1978" y="660"/>
                </a:cubicBezTo>
                <a:cubicBezTo>
                  <a:pt x="1980" y="656"/>
                  <a:pt x="1979" y="648"/>
                  <a:pt x="1981" y="648"/>
                </a:cubicBezTo>
                <a:cubicBezTo>
                  <a:pt x="1983" y="648"/>
                  <a:pt x="1985" y="650"/>
                  <a:pt x="1987" y="648"/>
                </a:cubicBezTo>
                <a:cubicBezTo>
                  <a:pt x="1989" y="646"/>
                  <a:pt x="1988" y="642"/>
                  <a:pt x="1988" y="642"/>
                </a:cubicBezTo>
                <a:cubicBezTo>
                  <a:pt x="1996" y="635"/>
                  <a:pt x="1996" y="635"/>
                  <a:pt x="1996" y="635"/>
                </a:cubicBezTo>
                <a:cubicBezTo>
                  <a:pt x="1996" y="635"/>
                  <a:pt x="1998" y="626"/>
                  <a:pt x="1997" y="624"/>
                </a:cubicBezTo>
                <a:cubicBezTo>
                  <a:pt x="1996" y="622"/>
                  <a:pt x="1993" y="623"/>
                  <a:pt x="1993" y="623"/>
                </a:cubicBezTo>
                <a:cubicBezTo>
                  <a:pt x="1993" y="623"/>
                  <a:pt x="1988" y="614"/>
                  <a:pt x="1985" y="612"/>
                </a:cubicBezTo>
                <a:cubicBezTo>
                  <a:pt x="1982" y="609"/>
                  <a:pt x="1971" y="607"/>
                  <a:pt x="1971" y="607"/>
                </a:cubicBezTo>
                <a:cubicBezTo>
                  <a:pt x="1971" y="607"/>
                  <a:pt x="1962" y="604"/>
                  <a:pt x="1962" y="601"/>
                </a:cubicBezTo>
                <a:cubicBezTo>
                  <a:pt x="1961" y="600"/>
                  <a:pt x="1961" y="599"/>
                  <a:pt x="1960" y="597"/>
                </a:cubicBezTo>
                <a:cubicBezTo>
                  <a:pt x="1959" y="595"/>
                  <a:pt x="1958" y="592"/>
                  <a:pt x="1958" y="589"/>
                </a:cubicBezTo>
                <a:cubicBezTo>
                  <a:pt x="1959" y="586"/>
                  <a:pt x="1960" y="580"/>
                  <a:pt x="1958" y="579"/>
                </a:cubicBezTo>
                <a:cubicBezTo>
                  <a:pt x="1957" y="578"/>
                  <a:pt x="1952" y="589"/>
                  <a:pt x="1952" y="589"/>
                </a:cubicBezTo>
                <a:cubicBezTo>
                  <a:pt x="1952" y="589"/>
                  <a:pt x="1949" y="590"/>
                  <a:pt x="1948" y="591"/>
                </a:cubicBezTo>
                <a:cubicBezTo>
                  <a:pt x="1947" y="593"/>
                  <a:pt x="1941" y="600"/>
                  <a:pt x="1941" y="600"/>
                </a:cubicBezTo>
                <a:cubicBezTo>
                  <a:pt x="1941" y="600"/>
                  <a:pt x="1941" y="606"/>
                  <a:pt x="1939" y="606"/>
                </a:cubicBezTo>
                <a:cubicBezTo>
                  <a:pt x="1937" y="606"/>
                  <a:pt x="1928" y="605"/>
                  <a:pt x="1926" y="605"/>
                </a:cubicBezTo>
                <a:cubicBezTo>
                  <a:pt x="1925" y="605"/>
                  <a:pt x="1918" y="609"/>
                  <a:pt x="1917" y="608"/>
                </a:cubicBezTo>
                <a:cubicBezTo>
                  <a:pt x="1916" y="607"/>
                  <a:pt x="1914" y="606"/>
                  <a:pt x="1913" y="605"/>
                </a:cubicBezTo>
                <a:cubicBezTo>
                  <a:pt x="1913" y="605"/>
                  <a:pt x="1913" y="605"/>
                  <a:pt x="1913" y="605"/>
                </a:cubicBezTo>
                <a:cubicBezTo>
                  <a:pt x="1913" y="604"/>
                  <a:pt x="1912" y="603"/>
                  <a:pt x="1912" y="602"/>
                </a:cubicBezTo>
                <a:cubicBezTo>
                  <a:pt x="1912" y="602"/>
                  <a:pt x="1912" y="602"/>
                  <a:pt x="1912" y="602"/>
                </a:cubicBezTo>
                <a:cubicBezTo>
                  <a:pt x="1913" y="600"/>
                  <a:pt x="1916" y="594"/>
                  <a:pt x="1916" y="589"/>
                </a:cubicBezTo>
                <a:cubicBezTo>
                  <a:pt x="1915" y="585"/>
                  <a:pt x="1912" y="582"/>
                  <a:pt x="1911" y="582"/>
                </a:cubicBezTo>
                <a:cubicBezTo>
                  <a:pt x="1908" y="583"/>
                  <a:pt x="1908" y="588"/>
                  <a:pt x="1908" y="592"/>
                </a:cubicBezTo>
                <a:cubicBezTo>
                  <a:pt x="1908" y="595"/>
                  <a:pt x="1908" y="599"/>
                  <a:pt x="1906" y="599"/>
                </a:cubicBezTo>
                <a:cubicBezTo>
                  <a:pt x="1906" y="599"/>
                  <a:pt x="1906" y="599"/>
                  <a:pt x="1906" y="599"/>
                </a:cubicBezTo>
                <a:cubicBezTo>
                  <a:pt x="1904" y="599"/>
                  <a:pt x="1903" y="591"/>
                  <a:pt x="1902" y="590"/>
                </a:cubicBezTo>
                <a:cubicBezTo>
                  <a:pt x="1901" y="588"/>
                  <a:pt x="1897" y="588"/>
                  <a:pt x="1897" y="585"/>
                </a:cubicBezTo>
                <a:cubicBezTo>
                  <a:pt x="1896" y="582"/>
                  <a:pt x="1897" y="577"/>
                  <a:pt x="1894" y="575"/>
                </a:cubicBezTo>
                <a:cubicBezTo>
                  <a:pt x="1891" y="573"/>
                  <a:pt x="1887" y="573"/>
                  <a:pt x="1886" y="571"/>
                </a:cubicBezTo>
                <a:cubicBezTo>
                  <a:pt x="1885" y="568"/>
                  <a:pt x="1886" y="565"/>
                  <a:pt x="1885" y="565"/>
                </a:cubicBezTo>
                <a:cubicBezTo>
                  <a:pt x="1884" y="564"/>
                  <a:pt x="1881" y="561"/>
                  <a:pt x="1881" y="561"/>
                </a:cubicBezTo>
                <a:cubicBezTo>
                  <a:pt x="1881" y="558"/>
                  <a:pt x="1881" y="558"/>
                  <a:pt x="1881" y="558"/>
                </a:cubicBezTo>
                <a:cubicBezTo>
                  <a:pt x="1881" y="558"/>
                  <a:pt x="1880" y="557"/>
                  <a:pt x="1879" y="556"/>
                </a:cubicBezTo>
                <a:cubicBezTo>
                  <a:pt x="1877" y="555"/>
                  <a:pt x="1874" y="552"/>
                  <a:pt x="1874" y="549"/>
                </a:cubicBezTo>
                <a:cubicBezTo>
                  <a:pt x="1874" y="549"/>
                  <a:pt x="1874" y="549"/>
                  <a:pt x="1874" y="549"/>
                </a:cubicBezTo>
                <a:cubicBezTo>
                  <a:pt x="1872" y="548"/>
                  <a:pt x="1872" y="548"/>
                  <a:pt x="1872" y="548"/>
                </a:cubicBezTo>
                <a:cubicBezTo>
                  <a:pt x="1872" y="545"/>
                  <a:pt x="1872" y="545"/>
                  <a:pt x="1872" y="545"/>
                </a:cubicBezTo>
                <a:cubicBezTo>
                  <a:pt x="1872" y="545"/>
                  <a:pt x="1875" y="545"/>
                  <a:pt x="1876" y="545"/>
                </a:cubicBezTo>
                <a:cubicBezTo>
                  <a:pt x="1877" y="545"/>
                  <a:pt x="1877" y="543"/>
                  <a:pt x="1877" y="543"/>
                </a:cubicBezTo>
                <a:cubicBezTo>
                  <a:pt x="1877" y="543"/>
                  <a:pt x="1877" y="541"/>
                  <a:pt x="1875" y="541"/>
                </a:cubicBezTo>
                <a:cubicBezTo>
                  <a:pt x="1873" y="541"/>
                  <a:pt x="1873" y="542"/>
                  <a:pt x="1873" y="542"/>
                </a:cubicBezTo>
                <a:cubicBezTo>
                  <a:pt x="1872" y="540"/>
                  <a:pt x="1872" y="540"/>
                  <a:pt x="1872" y="540"/>
                </a:cubicBezTo>
                <a:cubicBezTo>
                  <a:pt x="1873" y="541"/>
                  <a:pt x="1873" y="541"/>
                  <a:pt x="1873" y="541"/>
                </a:cubicBezTo>
                <a:cubicBezTo>
                  <a:pt x="1876" y="539"/>
                  <a:pt x="1876" y="539"/>
                  <a:pt x="1876" y="539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9" y="540"/>
                  <a:pt x="1881" y="541"/>
                  <a:pt x="1882" y="540"/>
                </a:cubicBezTo>
                <a:cubicBezTo>
                  <a:pt x="1883" y="539"/>
                  <a:pt x="1879" y="537"/>
                  <a:pt x="1882" y="535"/>
                </a:cubicBezTo>
                <a:cubicBezTo>
                  <a:pt x="1885" y="534"/>
                  <a:pt x="1885" y="538"/>
                  <a:pt x="1885" y="538"/>
                </a:cubicBezTo>
                <a:cubicBezTo>
                  <a:pt x="1887" y="539"/>
                  <a:pt x="1887" y="539"/>
                  <a:pt x="1887" y="539"/>
                </a:cubicBezTo>
                <a:cubicBezTo>
                  <a:pt x="1887" y="539"/>
                  <a:pt x="1887" y="539"/>
                  <a:pt x="1888" y="539"/>
                </a:cubicBezTo>
                <a:cubicBezTo>
                  <a:pt x="1888" y="539"/>
                  <a:pt x="1889" y="539"/>
                  <a:pt x="1889" y="539"/>
                </a:cubicBezTo>
                <a:cubicBezTo>
                  <a:pt x="1889" y="539"/>
                  <a:pt x="1889" y="539"/>
                  <a:pt x="1889" y="538"/>
                </a:cubicBezTo>
                <a:cubicBezTo>
                  <a:pt x="1890" y="538"/>
                  <a:pt x="1892" y="537"/>
                  <a:pt x="1893" y="537"/>
                </a:cubicBezTo>
                <a:cubicBezTo>
                  <a:pt x="1893" y="538"/>
                  <a:pt x="1892" y="542"/>
                  <a:pt x="1894" y="543"/>
                </a:cubicBezTo>
                <a:cubicBezTo>
                  <a:pt x="1895" y="544"/>
                  <a:pt x="1898" y="546"/>
                  <a:pt x="1898" y="546"/>
                </a:cubicBezTo>
                <a:cubicBezTo>
                  <a:pt x="1898" y="546"/>
                  <a:pt x="1898" y="547"/>
                  <a:pt x="1898" y="548"/>
                </a:cubicBezTo>
                <a:cubicBezTo>
                  <a:pt x="1899" y="549"/>
                  <a:pt x="1900" y="550"/>
                  <a:pt x="1901" y="552"/>
                </a:cubicBezTo>
                <a:cubicBezTo>
                  <a:pt x="1901" y="552"/>
                  <a:pt x="1901" y="552"/>
                  <a:pt x="1901" y="552"/>
                </a:cubicBezTo>
                <a:cubicBezTo>
                  <a:pt x="1901" y="552"/>
                  <a:pt x="1902" y="553"/>
                  <a:pt x="1902" y="553"/>
                </a:cubicBezTo>
                <a:cubicBezTo>
                  <a:pt x="1904" y="555"/>
                  <a:pt x="1904" y="555"/>
                  <a:pt x="1904" y="555"/>
                </a:cubicBezTo>
                <a:cubicBezTo>
                  <a:pt x="1904" y="555"/>
                  <a:pt x="1904" y="560"/>
                  <a:pt x="1906" y="561"/>
                </a:cubicBezTo>
                <a:cubicBezTo>
                  <a:pt x="1908" y="561"/>
                  <a:pt x="1908" y="564"/>
                  <a:pt x="1908" y="564"/>
                </a:cubicBezTo>
                <a:cubicBezTo>
                  <a:pt x="1913" y="564"/>
                  <a:pt x="1913" y="564"/>
                  <a:pt x="1913" y="564"/>
                </a:cubicBezTo>
                <a:cubicBezTo>
                  <a:pt x="1916" y="567"/>
                  <a:pt x="1916" y="567"/>
                  <a:pt x="1916" y="567"/>
                </a:cubicBezTo>
                <a:cubicBezTo>
                  <a:pt x="1917" y="567"/>
                  <a:pt x="1919" y="566"/>
                  <a:pt x="1920" y="567"/>
                </a:cubicBezTo>
                <a:cubicBezTo>
                  <a:pt x="1922" y="568"/>
                  <a:pt x="1928" y="573"/>
                  <a:pt x="1933" y="577"/>
                </a:cubicBezTo>
                <a:cubicBezTo>
                  <a:pt x="1933" y="577"/>
                  <a:pt x="1933" y="577"/>
                  <a:pt x="1934" y="577"/>
                </a:cubicBezTo>
                <a:cubicBezTo>
                  <a:pt x="1935" y="577"/>
                  <a:pt x="1937" y="577"/>
                  <a:pt x="1937" y="577"/>
                </a:cubicBezTo>
                <a:cubicBezTo>
                  <a:pt x="1937" y="577"/>
                  <a:pt x="1938" y="580"/>
                  <a:pt x="1941" y="579"/>
                </a:cubicBezTo>
                <a:cubicBezTo>
                  <a:pt x="1944" y="578"/>
                  <a:pt x="1945" y="577"/>
                  <a:pt x="1945" y="577"/>
                </a:cubicBezTo>
                <a:cubicBezTo>
                  <a:pt x="1948" y="577"/>
                  <a:pt x="1948" y="577"/>
                  <a:pt x="1948" y="577"/>
                </a:cubicBezTo>
                <a:cubicBezTo>
                  <a:pt x="1950" y="574"/>
                  <a:pt x="1950" y="574"/>
                  <a:pt x="1950" y="574"/>
                </a:cubicBezTo>
                <a:cubicBezTo>
                  <a:pt x="1953" y="574"/>
                  <a:pt x="1953" y="574"/>
                  <a:pt x="1953" y="574"/>
                </a:cubicBezTo>
                <a:cubicBezTo>
                  <a:pt x="1956" y="571"/>
                  <a:pt x="1956" y="571"/>
                  <a:pt x="1956" y="571"/>
                </a:cubicBezTo>
                <a:cubicBezTo>
                  <a:pt x="1957" y="572"/>
                  <a:pt x="1957" y="572"/>
                  <a:pt x="1957" y="572"/>
                </a:cubicBezTo>
                <a:cubicBezTo>
                  <a:pt x="1959" y="572"/>
                  <a:pt x="1960" y="572"/>
                  <a:pt x="1961" y="573"/>
                </a:cubicBezTo>
                <a:cubicBezTo>
                  <a:pt x="1963" y="575"/>
                  <a:pt x="1966" y="580"/>
                  <a:pt x="1967" y="583"/>
                </a:cubicBezTo>
                <a:cubicBezTo>
                  <a:pt x="1967" y="587"/>
                  <a:pt x="1973" y="587"/>
                  <a:pt x="1973" y="587"/>
                </a:cubicBezTo>
                <a:cubicBezTo>
                  <a:pt x="1973" y="587"/>
                  <a:pt x="1973" y="588"/>
                  <a:pt x="1976" y="589"/>
                </a:cubicBezTo>
                <a:cubicBezTo>
                  <a:pt x="1978" y="590"/>
                  <a:pt x="1985" y="589"/>
                  <a:pt x="1985" y="589"/>
                </a:cubicBezTo>
                <a:cubicBezTo>
                  <a:pt x="1985" y="589"/>
                  <a:pt x="1990" y="593"/>
                  <a:pt x="1991" y="593"/>
                </a:cubicBezTo>
                <a:cubicBezTo>
                  <a:pt x="1992" y="593"/>
                  <a:pt x="1996" y="591"/>
                  <a:pt x="1996" y="591"/>
                </a:cubicBezTo>
                <a:cubicBezTo>
                  <a:pt x="1996" y="591"/>
                  <a:pt x="2002" y="595"/>
                  <a:pt x="2005" y="595"/>
                </a:cubicBezTo>
                <a:cubicBezTo>
                  <a:pt x="2007" y="595"/>
                  <a:pt x="2008" y="595"/>
                  <a:pt x="2009" y="594"/>
                </a:cubicBezTo>
                <a:cubicBezTo>
                  <a:pt x="2009" y="594"/>
                  <a:pt x="2009" y="594"/>
                  <a:pt x="2009" y="594"/>
                </a:cubicBezTo>
                <a:cubicBezTo>
                  <a:pt x="2011" y="593"/>
                  <a:pt x="2013" y="592"/>
                  <a:pt x="2013" y="592"/>
                </a:cubicBezTo>
                <a:cubicBezTo>
                  <a:pt x="2013" y="592"/>
                  <a:pt x="2017" y="594"/>
                  <a:pt x="2020" y="594"/>
                </a:cubicBezTo>
                <a:cubicBezTo>
                  <a:pt x="2022" y="594"/>
                  <a:pt x="2028" y="591"/>
                  <a:pt x="2028" y="591"/>
                </a:cubicBezTo>
                <a:cubicBezTo>
                  <a:pt x="2028" y="591"/>
                  <a:pt x="2031" y="592"/>
                  <a:pt x="2033" y="592"/>
                </a:cubicBezTo>
                <a:cubicBezTo>
                  <a:pt x="2035" y="591"/>
                  <a:pt x="2040" y="590"/>
                  <a:pt x="2040" y="590"/>
                </a:cubicBezTo>
                <a:cubicBezTo>
                  <a:pt x="2045" y="591"/>
                  <a:pt x="2045" y="591"/>
                  <a:pt x="2045" y="591"/>
                </a:cubicBezTo>
                <a:cubicBezTo>
                  <a:pt x="2045" y="591"/>
                  <a:pt x="2049" y="587"/>
                  <a:pt x="2052" y="589"/>
                </a:cubicBezTo>
                <a:cubicBezTo>
                  <a:pt x="2056" y="591"/>
                  <a:pt x="2056" y="599"/>
                  <a:pt x="2059" y="599"/>
                </a:cubicBezTo>
                <a:cubicBezTo>
                  <a:pt x="2062" y="600"/>
                  <a:pt x="2067" y="600"/>
                  <a:pt x="2069" y="602"/>
                </a:cubicBezTo>
                <a:cubicBezTo>
                  <a:pt x="2071" y="604"/>
                  <a:pt x="2072" y="608"/>
                  <a:pt x="2074" y="608"/>
                </a:cubicBezTo>
                <a:cubicBezTo>
                  <a:pt x="2075" y="608"/>
                  <a:pt x="2075" y="608"/>
                  <a:pt x="2076" y="608"/>
                </a:cubicBezTo>
                <a:cubicBezTo>
                  <a:pt x="2079" y="609"/>
                  <a:pt x="2081" y="609"/>
                  <a:pt x="2081" y="609"/>
                </a:cubicBezTo>
                <a:cubicBezTo>
                  <a:pt x="2081" y="609"/>
                  <a:pt x="2079" y="614"/>
                  <a:pt x="2082" y="615"/>
                </a:cubicBezTo>
                <a:cubicBezTo>
                  <a:pt x="2084" y="618"/>
                  <a:pt x="2091" y="618"/>
                  <a:pt x="2093" y="618"/>
                </a:cubicBezTo>
                <a:cubicBezTo>
                  <a:pt x="2094" y="617"/>
                  <a:pt x="2099" y="614"/>
                  <a:pt x="2099" y="614"/>
                </a:cubicBezTo>
                <a:cubicBezTo>
                  <a:pt x="2099" y="614"/>
                  <a:pt x="2101" y="616"/>
                  <a:pt x="2098" y="619"/>
                </a:cubicBezTo>
                <a:cubicBezTo>
                  <a:pt x="2096" y="621"/>
                  <a:pt x="2091" y="622"/>
                  <a:pt x="2091" y="622"/>
                </a:cubicBezTo>
                <a:cubicBezTo>
                  <a:pt x="2091" y="622"/>
                  <a:pt x="2083" y="623"/>
                  <a:pt x="2083" y="626"/>
                </a:cubicBezTo>
                <a:cubicBezTo>
                  <a:pt x="2082" y="628"/>
                  <a:pt x="2088" y="633"/>
                  <a:pt x="2091" y="635"/>
                </a:cubicBezTo>
                <a:cubicBezTo>
                  <a:pt x="2094" y="637"/>
                  <a:pt x="2098" y="643"/>
                  <a:pt x="2105" y="643"/>
                </a:cubicBezTo>
                <a:cubicBezTo>
                  <a:pt x="2111" y="644"/>
                  <a:pt x="2119" y="638"/>
                  <a:pt x="2118" y="634"/>
                </a:cubicBezTo>
                <a:cubicBezTo>
                  <a:pt x="2117" y="630"/>
                  <a:pt x="2120" y="627"/>
                  <a:pt x="2122" y="625"/>
                </a:cubicBezTo>
                <a:cubicBezTo>
                  <a:pt x="2124" y="623"/>
                  <a:pt x="2128" y="622"/>
                  <a:pt x="2126" y="626"/>
                </a:cubicBezTo>
                <a:cubicBezTo>
                  <a:pt x="2124" y="629"/>
                  <a:pt x="2119" y="632"/>
                  <a:pt x="2121" y="635"/>
                </a:cubicBezTo>
                <a:cubicBezTo>
                  <a:pt x="2122" y="638"/>
                  <a:pt x="2126" y="638"/>
                  <a:pt x="2126" y="641"/>
                </a:cubicBezTo>
                <a:cubicBezTo>
                  <a:pt x="2126" y="644"/>
                  <a:pt x="2125" y="647"/>
                  <a:pt x="2124" y="652"/>
                </a:cubicBezTo>
                <a:cubicBezTo>
                  <a:pt x="2122" y="657"/>
                  <a:pt x="2122" y="662"/>
                  <a:pt x="2124" y="668"/>
                </a:cubicBezTo>
                <a:cubicBezTo>
                  <a:pt x="2125" y="674"/>
                  <a:pt x="2128" y="684"/>
                  <a:pt x="2130" y="687"/>
                </a:cubicBezTo>
                <a:cubicBezTo>
                  <a:pt x="2133" y="691"/>
                  <a:pt x="2133" y="689"/>
                  <a:pt x="2132" y="694"/>
                </a:cubicBezTo>
                <a:cubicBezTo>
                  <a:pt x="2131" y="699"/>
                  <a:pt x="2139" y="700"/>
                  <a:pt x="2139" y="700"/>
                </a:cubicBezTo>
                <a:cubicBezTo>
                  <a:pt x="2139" y="700"/>
                  <a:pt x="2140" y="707"/>
                  <a:pt x="2142" y="709"/>
                </a:cubicBezTo>
                <a:cubicBezTo>
                  <a:pt x="2143" y="712"/>
                  <a:pt x="2147" y="714"/>
                  <a:pt x="2147" y="714"/>
                </a:cubicBezTo>
                <a:cubicBezTo>
                  <a:pt x="2147" y="714"/>
                  <a:pt x="2148" y="728"/>
                  <a:pt x="2150" y="734"/>
                </a:cubicBezTo>
                <a:cubicBezTo>
                  <a:pt x="2153" y="740"/>
                  <a:pt x="2160" y="749"/>
                  <a:pt x="2161" y="751"/>
                </a:cubicBezTo>
                <a:cubicBezTo>
                  <a:pt x="2162" y="754"/>
                  <a:pt x="2163" y="759"/>
                  <a:pt x="2163" y="762"/>
                </a:cubicBezTo>
                <a:cubicBezTo>
                  <a:pt x="2162" y="764"/>
                  <a:pt x="2176" y="786"/>
                  <a:pt x="2176" y="786"/>
                </a:cubicBezTo>
                <a:cubicBezTo>
                  <a:pt x="2176" y="786"/>
                  <a:pt x="2183" y="784"/>
                  <a:pt x="2185" y="782"/>
                </a:cubicBezTo>
                <a:cubicBezTo>
                  <a:pt x="2186" y="780"/>
                  <a:pt x="2184" y="776"/>
                  <a:pt x="2186" y="774"/>
                </a:cubicBezTo>
                <a:cubicBezTo>
                  <a:pt x="2188" y="773"/>
                  <a:pt x="2189" y="775"/>
                  <a:pt x="2191" y="774"/>
                </a:cubicBezTo>
                <a:cubicBezTo>
                  <a:pt x="2194" y="773"/>
                  <a:pt x="2197" y="771"/>
                  <a:pt x="2197" y="771"/>
                </a:cubicBezTo>
                <a:cubicBezTo>
                  <a:pt x="2197" y="771"/>
                  <a:pt x="2194" y="771"/>
                  <a:pt x="2195" y="768"/>
                </a:cubicBezTo>
                <a:cubicBezTo>
                  <a:pt x="2195" y="764"/>
                  <a:pt x="2197" y="764"/>
                  <a:pt x="2199" y="762"/>
                </a:cubicBezTo>
                <a:cubicBezTo>
                  <a:pt x="2202" y="761"/>
                  <a:pt x="2204" y="761"/>
                  <a:pt x="2204" y="759"/>
                </a:cubicBezTo>
                <a:cubicBezTo>
                  <a:pt x="2205" y="757"/>
                  <a:pt x="2202" y="750"/>
                  <a:pt x="2202" y="746"/>
                </a:cubicBezTo>
                <a:cubicBezTo>
                  <a:pt x="2202" y="743"/>
                  <a:pt x="2202" y="736"/>
                  <a:pt x="2203" y="736"/>
                </a:cubicBezTo>
                <a:cubicBezTo>
                  <a:pt x="2204" y="735"/>
                  <a:pt x="2204" y="733"/>
                  <a:pt x="2204" y="727"/>
                </a:cubicBezTo>
                <a:cubicBezTo>
                  <a:pt x="2204" y="720"/>
                  <a:pt x="2200" y="720"/>
                  <a:pt x="2200" y="717"/>
                </a:cubicBezTo>
                <a:cubicBezTo>
                  <a:pt x="2199" y="715"/>
                  <a:pt x="2201" y="713"/>
                  <a:pt x="2202" y="711"/>
                </a:cubicBezTo>
                <a:cubicBezTo>
                  <a:pt x="2202" y="708"/>
                  <a:pt x="2201" y="707"/>
                  <a:pt x="2201" y="704"/>
                </a:cubicBezTo>
                <a:cubicBezTo>
                  <a:pt x="2201" y="700"/>
                  <a:pt x="2208" y="700"/>
                  <a:pt x="2208" y="698"/>
                </a:cubicBezTo>
                <a:cubicBezTo>
                  <a:pt x="2208" y="697"/>
                  <a:pt x="2208" y="694"/>
                  <a:pt x="2210" y="692"/>
                </a:cubicBezTo>
                <a:cubicBezTo>
                  <a:pt x="2211" y="691"/>
                  <a:pt x="2214" y="692"/>
                  <a:pt x="2214" y="692"/>
                </a:cubicBezTo>
                <a:cubicBezTo>
                  <a:pt x="2215" y="690"/>
                  <a:pt x="2215" y="690"/>
                  <a:pt x="2215" y="690"/>
                </a:cubicBezTo>
                <a:cubicBezTo>
                  <a:pt x="2215" y="690"/>
                  <a:pt x="2220" y="693"/>
                  <a:pt x="2220" y="690"/>
                </a:cubicBezTo>
                <a:cubicBezTo>
                  <a:pt x="2221" y="688"/>
                  <a:pt x="2225" y="681"/>
                  <a:pt x="2226" y="679"/>
                </a:cubicBezTo>
                <a:cubicBezTo>
                  <a:pt x="2227" y="677"/>
                  <a:pt x="2232" y="677"/>
                  <a:pt x="2233" y="674"/>
                </a:cubicBezTo>
                <a:cubicBezTo>
                  <a:pt x="2235" y="671"/>
                  <a:pt x="2237" y="666"/>
                  <a:pt x="2239" y="664"/>
                </a:cubicBezTo>
                <a:cubicBezTo>
                  <a:pt x="2241" y="662"/>
                  <a:pt x="2249" y="657"/>
                  <a:pt x="2249" y="657"/>
                </a:cubicBezTo>
                <a:cubicBezTo>
                  <a:pt x="2248" y="653"/>
                  <a:pt x="2248" y="653"/>
                  <a:pt x="2248" y="653"/>
                </a:cubicBezTo>
                <a:cubicBezTo>
                  <a:pt x="2249" y="652"/>
                  <a:pt x="2249" y="652"/>
                  <a:pt x="2249" y="652"/>
                </a:cubicBezTo>
                <a:cubicBezTo>
                  <a:pt x="2252" y="656"/>
                  <a:pt x="2252" y="656"/>
                  <a:pt x="2252" y="656"/>
                </a:cubicBezTo>
                <a:cubicBezTo>
                  <a:pt x="2260" y="648"/>
                  <a:pt x="2260" y="648"/>
                  <a:pt x="2260" y="648"/>
                </a:cubicBezTo>
                <a:cubicBezTo>
                  <a:pt x="2262" y="644"/>
                  <a:pt x="2262" y="644"/>
                  <a:pt x="2262" y="644"/>
                </a:cubicBezTo>
                <a:cubicBezTo>
                  <a:pt x="2262" y="644"/>
                  <a:pt x="2259" y="641"/>
                  <a:pt x="2259" y="638"/>
                </a:cubicBezTo>
                <a:cubicBezTo>
                  <a:pt x="2259" y="636"/>
                  <a:pt x="2264" y="637"/>
                  <a:pt x="2266" y="634"/>
                </a:cubicBezTo>
                <a:cubicBezTo>
                  <a:pt x="2269" y="630"/>
                  <a:pt x="2268" y="628"/>
                  <a:pt x="2268" y="628"/>
                </a:cubicBezTo>
                <a:cubicBezTo>
                  <a:pt x="2270" y="629"/>
                  <a:pt x="2270" y="629"/>
                  <a:pt x="2270" y="629"/>
                </a:cubicBezTo>
                <a:cubicBezTo>
                  <a:pt x="2272" y="632"/>
                  <a:pt x="2272" y="632"/>
                  <a:pt x="2272" y="632"/>
                </a:cubicBezTo>
                <a:cubicBezTo>
                  <a:pt x="2273" y="628"/>
                  <a:pt x="2273" y="628"/>
                  <a:pt x="2273" y="628"/>
                </a:cubicBezTo>
                <a:cubicBezTo>
                  <a:pt x="2273" y="628"/>
                  <a:pt x="2275" y="636"/>
                  <a:pt x="2276" y="637"/>
                </a:cubicBezTo>
                <a:cubicBezTo>
                  <a:pt x="2278" y="637"/>
                  <a:pt x="2279" y="632"/>
                  <a:pt x="2279" y="632"/>
                </a:cubicBezTo>
                <a:cubicBezTo>
                  <a:pt x="2282" y="636"/>
                  <a:pt x="2282" y="636"/>
                  <a:pt x="2282" y="636"/>
                </a:cubicBezTo>
                <a:cubicBezTo>
                  <a:pt x="2283" y="628"/>
                  <a:pt x="2283" y="628"/>
                  <a:pt x="2283" y="628"/>
                </a:cubicBezTo>
                <a:cubicBezTo>
                  <a:pt x="2283" y="628"/>
                  <a:pt x="2292" y="632"/>
                  <a:pt x="2293" y="631"/>
                </a:cubicBezTo>
                <a:cubicBezTo>
                  <a:pt x="2295" y="631"/>
                  <a:pt x="2292" y="627"/>
                  <a:pt x="2293" y="626"/>
                </a:cubicBezTo>
                <a:cubicBezTo>
                  <a:pt x="2295" y="626"/>
                  <a:pt x="2299" y="630"/>
                  <a:pt x="2302" y="629"/>
                </a:cubicBezTo>
                <a:cubicBezTo>
                  <a:pt x="2304" y="628"/>
                  <a:pt x="2303" y="626"/>
                  <a:pt x="2303" y="626"/>
                </a:cubicBezTo>
                <a:cubicBezTo>
                  <a:pt x="2302" y="621"/>
                  <a:pt x="2302" y="621"/>
                  <a:pt x="2302" y="621"/>
                </a:cubicBezTo>
                <a:cubicBezTo>
                  <a:pt x="2308" y="628"/>
                  <a:pt x="2308" y="628"/>
                  <a:pt x="2308" y="628"/>
                </a:cubicBezTo>
                <a:cubicBezTo>
                  <a:pt x="2308" y="628"/>
                  <a:pt x="2306" y="636"/>
                  <a:pt x="2307" y="637"/>
                </a:cubicBezTo>
                <a:cubicBezTo>
                  <a:pt x="2308" y="638"/>
                  <a:pt x="2309" y="638"/>
                  <a:pt x="2310" y="638"/>
                </a:cubicBezTo>
                <a:cubicBezTo>
                  <a:pt x="2310" y="638"/>
                  <a:pt x="2310" y="638"/>
                  <a:pt x="2310" y="638"/>
                </a:cubicBezTo>
                <a:cubicBezTo>
                  <a:pt x="2311" y="638"/>
                  <a:pt x="2312" y="638"/>
                  <a:pt x="2312" y="638"/>
                </a:cubicBezTo>
                <a:cubicBezTo>
                  <a:pt x="2312" y="645"/>
                  <a:pt x="2312" y="645"/>
                  <a:pt x="2312" y="645"/>
                </a:cubicBezTo>
                <a:cubicBezTo>
                  <a:pt x="2312" y="645"/>
                  <a:pt x="2317" y="646"/>
                  <a:pt x="2319" y="648"/>
                </a:cubicBezTo>
                <a:cubicBezTo>
                  <a:pt x="2321" y="650"/>
                  <a:pt x="2322" y="655"/>
                  <a:pt x="2322" y="655"/>
                </a:cubicBezTo>
                <a:cubicBezTo>
                  <a:pt x="2327" y="654"/>
                  <a:pt x="2327" y="654"/>
                  <a:pt x="2327" y="654"/>
                </a:cubicBezTo>
                <a:cubicBezTo>
                  <a:pt x="2324" y="660"/>
                  <a:pt x="2324" y="660"/>
                  <a:pt x="2324" y="660"/>
                </a:cubicBezTo>
                <a:cubicBezTo>
                  <a:pt x="2324" y="660"/>
                  <a:pt x="2330" y="661"/>
                  <a:pt x="2333" y="663"/>
                </a:cubicBezTo>
                <a:cubicBezTo>
                  <a:pt x="2335" y="665"/>
                  <a:pt x="2337" y="673"/>
                  <a:pt x="2338" y="674"/>
                </a:cubicBezTo>
                <a:cubicBezTo>
                  <a:pt x="2338" y="675"/>
                  <a:pt x="2341" y="678"/>
                  <a:pt x="2341" y="678"/>
                </a:cubicBezTo>
                <a:cubicBezTo>
                  <a:pt x="2339" y="681"/>
                  <a:pt x="2339" y="681"/>
                  <a:pt x="2339" y="681"/>
                </a:cubicBezTo>
                <a:cubicBezTo>
                  <a:pt x="2340" y="693"/>
                  <a:pt x="2340" y="693"/>
                  <a:pt x="2340" y="693"/>
                </a:cubicBezTo>
                <a:cubicBezTo>
                  <a:pt x="2338" y="695"/>
                  <a:pt x="2338" y="695"/>
                  <a:pt x="2338" y="695"/>
                </a:cubicBezTo>
                <a:cubicBezTo>
                  <a:pt x="2338" y="695"/>
                  <a:pt x="2339" y="699"/>
                  <a:pt x="2341" y="699"/>
                </a:cubicBezTo>
                <a:cubicBezTo>
                  <a:pt x="2343" y="699"/>
                  <a:pt x="2345" y="697"/>
                  <a:pt x="2345" y="697"/>
                </a:cubicBezTo>
                <a:cubicBezTo>
                  <a:pt x="2345" y="697"/>
                  <a:pt x="2346" y="700"/>
                  <a:pt x="2348" y="699"/>
                </a:cubicBezTo>
                <a:cubicBezTo>
                  <a:pt x="2351" y="698"/>
                  <a:pt x="2353" y="693"/>
                  <a:pt x="2353" y="693"/>
                </a:cubicBezTo>
                <a:cubicBezTo>
                  <a:pt x="2353" y="693"/>
                  <a:pt x="2358" y="692"/>
                  <a:pt x="2360" y="691"/>
                </a:cubicBezTo>
                <a:cubicBezTo>
                  <a:pt x="2363" y="689"/>
                  <a:pt x="2360" y="682"/>
                  <a:pt x="2361" y="681"/>
                </a:cubicBezTo>
                <a:close/>
                <a:moveTo>
                  <a:pt x="1719" y="975"/>
                </a:moveTo>
                <a:cubicBezTo>
                  <a:pt x="1719" y="976"/>
                  <a:pt x="1718" y="977"/>
                  <a:pt x="1718" y="977"/>
                </a:cubicBezTo>
                <a:cubicBezTo>
                  <a:pt x="1716" y="978"/>
                  <a:pt x="1716" y="975"/>
                  <a:pt x="1716" y="975"/>
                </a:cubicBezTo>
                <a:cubicBezTo>
                  <a:pt x="1716" y="975"/>
                  <a:pt x="1714" y="974"/>
                  <a:pt x="1712" y="973"/>
                </a:cubicBezTo>
                <a:cubicBezTo>
                  <a:pt x="1710" y="972"/>
                  <a:pt x="1711" y="971"/>
                  <a:pt x="1712" y="969"/>
                </a:cubicBezTo>
                <a:cubicBezTo>
                  <a:pt x="1713" y="969"/>
                  <a:pt x="1713" y="968"/>
                  <a:pt x="1713" y="968"/>
                </a:cubicBezTo>
                <a:cubicBezTo>
                  <a:pt x="1713" y="968"/>
                  <a:pt x="1712" y="966"/>
                  <a:pt x="1711" y="965"/>
                </a:cubicBezTo>
                <a:cubicBezTo>
                  <a:pt x="1710" y="964"/>
                  <a:pt x="1711" y="960"/>
                  <a:pt x="1711" y="959"/>
                </a:cubicBezTo>
                <a:cubicBezTo>
                  <a:pt x="1711" y="957"/>
                  <a:pt x="1708" y="958"/>
                  <a:pt x="1707" y="958"/>
                </a:cubicBezTo>
                <a:cubicBezTo>
                  <a:pt x="1707" y="958"/>
                  <a:pt x="1706" y="956"/>
                  <a:pt x="1706" y="954"/>
                </a:cubicBezTo>
                <a:cubicBezTo>
                  <a:pt x="1706" y="952"/>
                  <a:pt x="1704" y="952"/>
                  <a:pt x="1703" y="951"/>
                </a:cubicBezTo>
                <a:cubicBezTo>
                  <a:pt x="1701" y="949"/>
                  <a:pt x="1701" y="946"/>
                  <a:pt x="1701" y="944"/>
                </a:cubicBezTo>
                <a:cubicBezTo>
                  <a:pt x="1701" y="943"/>
                  <a:pt x="1702" y="941"/>
                  <a:pt x="1702" y="940"/>
                </a:cubicBezTo>
                <a:cubicBezTo>
                  <a:pt x="1702" y="938"/>
                  <a:pt x="1700" y="938"/>
                  <a:pt x="1699" y="936"/>
                </a:cubicBezTo>
                <a:cubicBezTo>
                  <a:pt x="1699" y="934"/>
                  <a:pt x="1699" y="931"/>
                  <a:pt x="1700" y="929"/>
                </a:cubicBezTo>
                <a:cubicBezTo>
                  <a:pt x="1700" y="926"/>
                  <a:pt x="1700" y="924"/>
                  <a:pt x="1701" y="921"/>
                </a:cubicBezTo>
                <a:cubicBezTo>
                  <a:pt x="1701" y="920"/>
                  <a:pt x="1702" y="920"/>
                  <a:pt x="1703" y="921"/>
                </a:cubicBezTo>
                <a:cubicBezTo>
                  <a:pt x="1703" y="922"/>
                  <a:pt x="1703" y="926"/>
                  <a:pt x="1704" y="928"/>
                </a:cubicBezTo>
                <a:cubicBezTo>
                  <a:pt x="1705" y="928"/>
                  <a:pt x="1705" y="928"/>
                  <a:pt x="1706" y="928"/>
                </a:cubicBezTo>
                <a:cubicBezTo>
                  <a:pt x="1705" y="928"/>
                  <a:pt x="1705" y="928"/>
                  <a:pt x="1705" y="928"/>
                </a:cubicBezTo>
                <a:cubicBezTo>
                  <a:pt x="1705" y="930"/>
                  <a:pt x="1705" y="930"/>
                  <a:pt x="1705" y="930"/>
                </a:cubicBezTo>
                <a:cubicBezTo>
                  <a:pt x="1705" y="930"/>
                  <a:pt x="1706" y="932"/>
                  <a:pt x="1707" y="933"/>
                </a:cubicBezTo>
                <a:cubicBezTo>
                  <a:pt x="1707" y="934"/>
                  <a:pt x="1707" y="936"/>
                  <a:pt x="1707" y="936"/>
                </a:cubicBezTo>
                <a:cubicBezTo>
                  <a:pt x="1707" y="936"/>
                  <a:pt x="1709" y="943"/>
                  <a:pt x="1708" y="944"/>
                </a:cubicBezTo>
                <a:cubicBezTo>
                  <a:pt x="1707" y="945"/>
                  <a:pt x="1707" y="945"/>
                  <a:pt x="1707" y="948"/>
                </a:cubicBezTo>
                <a:cubicBezTo>
                  <a:pt x="1707" y="950"/>
                  <a:pt x="1709" y="951"/>
                  <a:pt x="1710" y="951"/>
                </a:cubicBezTo>
                <a:cubicBezTo>
                  <a:pt x="1711" y="952"/>
                  <a:pt x="1715" y="955"/>
                  <a:pt x="1716" y="957"/>
                </a:cubicBezTo>
                <a:cubicBezTo>
                  <a:pt x="1716" y="958"/>
                  <a:pt x="1716" y="960"/>
                  <a:pt x="1715" y="961"/>
                </a:cubicBezTo>
                <a:cubicBezTo>
                  <a:pt x="1715" y="963"/>
                  <a:pt x="1717" y="967"/>
                  <a:pt x="1717" y="967"/>
                </a:cubicBezTo>
                <a:cubicBezTo>
                  <a:pt x="1720" y="972"/>
                  <a:pt x="1720" y="972"/>
                  <a:pt x="1720" y="972"/>
                </a:cubicBezTo>
                <a:cubicBezTo>
                  <a:pt x="1720" y="972"/>
                  <a:pt x="1720" y="973"/>
                  <a:pt x="1719" y="975"/>
                </a:cubicBezTo>
                <a:close/>
                <a:moveTo>
                  <a:pt x="1763" y="1008"/>
                </a:moveTo>
                <a:cubicBezTo>
                  <a:pt x="1763" y="1008"/>
                  <a:pt x="1763" y="1008"/>
                  <a:pt x="1763" y="1008"/>
                </a:cubicBezTo>
                <a:cubicBezTo>
                  <a:pt x="1763" y="1008"/>
                  <a:pt x="1763" y="1008"/>
                  <a:pt x="1763" y="1008"/>
                </a:cubicBezTo>
                <a:close/>
                <a:moveTo>
                  <a:pt x="1763" y="1008"/>
                </a:moveTo>
                <a:cubicBezTo>
                  <a:pt x="1763" y="1008"/>
                  <a:pt x="1761" y="1008"/>
                  <a:pt x="1759" y="1008"/>
                </a:cubicBezTo>
                <a:cubicBezTo>
                  <a:pt x="1761" y="1008"/>
                  <a:pt x="1763" y="1008"/>
                  <a:pt x="1763" y="1008"/>
                </a:cubicBezTo>
                <a:close/>
                <a:moveTo>
                  <a:pt x="1757" y="1008"/>
                </a:moveTo>
                <a:cubicBezTo>
                  <a:pt x="1757" y="1008"/>
                  <a:pt x="1757" y="1008"/>
                  <a:pt x="1757" y="1008"/>
                </a:cubicBezTo>
                <a:cubicBezTo>
                  <a:pt x="1757" y="1009"/>
                  <a:pt x="1757" y="1010"/>
                  <a:pt x="1757" y="1010"/>
                </a:cubicBezTo>
                <a:cubicBezTo>
                  <a:pt x="1757" y="1011"/>
                  <a:pt x="1756" y="1012"/>
                  <a:pt x="1754" y="1014"/>
                </a:cubicBezTo>
                <a:cubicBezTo>
                  <a:pt x="1753" y="1016"/>
                  <a:pt x="1755" y="1017"/>
                  <a:pt x="1756" y="1018"/>
                </a:cubicBezTo>
                <a:cubicBezTo>
                  <a:pt x="1756" y="1019"/>
                  <a:pt x="1756" y="1023"/>
                  <a:pt x="1755" y="1025"/>
                </a:cubicBezTo>
                <a:cubicBezTo>
                  <a:pt x="1755" y="1027"/>
                  <a:pt x="1755" y="1029"/>
                  <a:pt x="1755" y="1030"/>
                </a:cubicBezTo>
                <a:cubicBezTo>
                  <a:pt x="1755" y="1031"/>
                  <a:pt x="1755" y="1031"/>
                  <a:pt x="1756" y="1031"/>
                </a:cubicBezTo>
                <a:cubicBezTo>
                  <a:pt x="1757" y="1032"/>
                  <a:pt x="1758" y="1033"/>
                  <a:pt x="1758" y="1033"/>
                </a:cubicBezTo>
                <a:cubicBezTo>
                  <a:pt x="1758" y="1033"/>
                  <a:pt x="1759" y="1038"/>
                  <a:pt x="1757" y="1039"/>
                </a:cubicBezTo>
                <a:cubicBezTo>
                  <a:pt x="1756" y="1039"/>
                  <a:pt x="1756" y="1037"/>
                  <a:pt x="1756" y="1037"/>
                </a:cubicBezTo>
                <a:cubicBezTo>
                  <a:pt x="1756" y="1037"/>
                  <a:pt x="1753" y="1038"/>
                  <a:pt x="1753" y="1037"/>
                </a:cubicBezTo>
                <a:cubicBezTo>
                  <a:pt x="1752" y="1037"/>
                  <a:pt x="1752" y="1034"/>
                  <a:pt x="1752" y="1033"/>
                </a:cubicBezTo>
                <a:cubicBezTo>
                  <a:pt x="1752" y="1031"/>
                  <a:pt x="1751" y="1030"/>
                  <a:pt x="1751" y="1030"/>
                </a:cubicBezTo>
                <a:cubicBezTo>
                  <a:pt x="1750" y="1029"/>
                  <a:pt x="1751" y="1026"/>
                  <a:pt x="1751" y="1024"/>
                </a:cubicBezTo>
                <a:cubicBezTo>
                  <a:pt x="1751" y="1023"/>
                  <a:pt x="1750" y="1021"/>
                  <a:pt x="1747" y="1019"/>
                </a:cubicBezTo>
                <a:cubicBezTo>
                  <a:pt x="1745" y="1017"/>
                  <a:pt x="1747" y="1018"/>
                  <a:pt x="1746" y="1016"/>
                </a:cubicBezTo>
                <a:cubicBezTo>
                  <a:pt x="1746" y="1014"/>
                  <a:pt x="1748" y="1012"/>
                  <a:pt x="1750" y="1010"/>
                </a:cubicBezTo>
                <a:cubicBezTo>
                  <a:pt x="1752" y="1008"/>
                  <a:pt x="1751" y="1007"/>
                  <a:pt x="1751" y="1006"/>
                </a:cubicBezTo>
                <a:cubicBezTo>
                  <a:pt x="1752" y="1005"/>
                  <a:pt x="1751" y="1004"/>
                  <a:pt x="1751" y="1002"/>
                </a:cubicBezTo>
                <a:cubicBezTo>
                  <a:pt x="1751" y="1001"/>
                  <a:pt x="1750" y="998"/>
                  <a:pt x="1750" y="994"/>
                </a:cubicBezTo>
                <a:cubicBezTo>
                  <a:pt x="1750" y="991"/>
                  <a:pt x="1749" y="993"/>
                  <a:pt x="1747" y="991"/>
                </a:cubicBezTo>
                <a:cubicBezTo>
                  <a:pt x="1745" y="990"/>
                  <a:pt x="1747" y="988"/>
                  <a:pt x="1746" y="986"/>
                </a:cubicBezTo>
                <a:cubicBezTo>
                  <a:pt x="1746" y="986"/>
                  <a:pt x="1747" y="983"/>
                  <a:pt x="1749" y="984"/>
                </a:cubicBezTo>
                <a:cubicBezTo>
                  <a:pt x="1751" y="985"/>
                  <a:pt x="1753" y="989"/>
                  <a:pt x="1753" y="989"/>
                </a:cubicBezTo>
                <a:cubicBezTo>
                  <a:pt x="1753" y="997"/>
                  <a:pt x="1753" y="997"/>
                  <a:pt x="1753" y="997"/>
                </a:cubicBezTo>
                <a:cubicBezTo>
                  <a:pt x="1753" y="997"/>
                  <a:pt x="1754" y="997"/>
                  <a:pt x="1754" y="998"/>
                </a:cubicBezTo>
                <a:cubicBezTo>
                  <a:pt x="1754" y="1000"/>
                  <a:pt x="1754" y="1000"/>
                  <a:pt x="1753" y="1002"/>
                </a:cubicBezTo>
                <a:cubicBezTo>
                  <a:pt x="1753" y="1004"/>
                  <a:pt x="1757" y="1006"/>
                  <a:pt x="1757" y="1006"/>
                </a:cubicBezTo>
                <a:cubicBezTo>
                  <a:pt x="1757" y="1008"/>
                  <a:pt x="1757" y="1008"/>
                  <a:pt x="1757" y="1008"/>
                </a:cubicBezTo>
                <a:cubicBezTo>
                  <a:pt x="1757" y="1008"/>
                  <a:pt x="1757" y="1008"/>
                  <a:pt x="1757" y="1008"/>
                </a:cubicBezTo>
                <a:close/>
                <a:moveTo>
                  <a:pt x="1726" y="898"/>
                </a:moveTo>
                <a:cubicBezTo>
                  <a:pt x="1726" y="895"/>
                  <a:pt x="1728" y="891"/>
                  <a:pt x="1728" y="890"/>
                </a:cubicBezTo>
                <a:cubicBezTo>
                  <a:pt x="1728" y="889"/>
                  <a:pt x="1728" y="889"/>
                  <a:pt x="1728" y="889"/>
                </a:cubicBezTo>
                <a:cubicBezTo>
                  <a:pt x="1728" y="888"/>
                  <a:pt x="1727" y="887"/>
                  <a:pt x="1727" y="886"/>
                </a:cubicBezTo>
                <a:cubicBezTo>
                  <a:pt x="1726" y="884"/>
                  <a:pt x="1728" y="882"/>
                  <a:pt x="1729" y="882"/>
                </a:cubicBezTo>
                <a:cubicBezTo>
                  <a:pt x="1729" y="881"/>
                  <a:pt x="1728" y="878"/>
                  <a:pt x="1730" y="877"/>
                </a:cubicBezTo>
                <a:cubicBezTo>
                  <a:pt x="1732" y="875"/>
                  <a:pt x="1738" y="876"/>
                  <a:pt x="1739" y="875"/>
                </a:cubicBezTo>
                <a:cubicBezTo>
                  <a:pt x="1739" y="875"/>
                  <a:pt x="1741" y="872"/>
                  <a:pt x="1742" y="872"/>
                </a:cubicBezTo>
                <a:cubicBezTo>
                  <a:pt x="1743" y="872"/>
                  <a:pt x="1743" y="876"/>
                  <a:pt x="1743" y="876"/>
                </a:cubicBezTo>
                <a:cubicBezTo>
                  <a:pt x="1743" y="876"/>
                  <a:pt x="1745" y="875"/>
                  <a:pt x="1747" y="875"/>
                </a:cubicBezTo>
                <a:cubicBezTo>
                  <a:pt x="1748" y="875"/>
                  <a:pt x="1748" y="875"/>
                  <a:pt x="1749" y="876"/>
                </a:cubicBezTo>
                <a:cubicBezTo>
                  <a:pt x="1749" y="876"/>
                  <a:pt x="1749" y="876"/>
                  <a:pt x="1749" y="876"/>
                </a:cubicBezTo>
                <a:cubicBezTo>
                  <a:pt x="1749" y="878"/>
                  <a:pt x="1750" y="880"/>
                  <a:pt x="1752" y="881"/>
                </a:cubicBezTo>
                <a:cubicBezTo>
                  <a:pt x="1753" y="881"/>
                  <a:pt x="1753" y="879"/>
                  <a:pt x="1753" y="879"/>
                </a:cubicBezTo>
                <a:cubicBezTo>
                  <a:pt x="1756" y="879"/>
                  <a:pt x="1756" y="879"/>
                  <a:pt x="1756" y="879"/>
                </a:cubicBezTo>
                <a:cubicBezTo>
                  <a:pt x="1757" y="881"/>
                  <a:pt x="1757" y="881"/>
                  <a:pt x="1757" y="881"/>
                </a:cubicBezTo>
                <a:cubicBezTo>
                  <a:pt x="1755" y="882"/>
                  <a:pt x="1755" y="882"/>
                  <a:pt x="1755" y="882"/>
                </a:cubicBezTo>
                <a:cubicBezTo>
                  <a:pt x="1753" y="883"/>
                  <a:pt x="1753" y="883"/>
                  <a:pt x="1753" y="883"/>
                </a:cubicBezTo>
                <a:cubicBezTo>
                  <a:pt x="1753" y="883"/>
                  <a:pt x="1752" y="881"/>
                  <a:pt x="1750" y="883"/>
                </a:cubicBezTo>
                <a:cubicBezTo>
                  <a:pt x="1748" y="885"/>
                  <a:pt x="1751" y="887"/>
                  <a:pt x="1751" y="887"/>
                </a:cubicBezTo>
                <a:cubicBezTo>
                  <a:pt x="1750" y="889"/>
                  <a:pt x="1750" y="889"/>
                  <a:pt x="1750" y="889"/>
                </a:cubicBezTo>
                <a:cubicBezTo>
                  <a:pt x="1749" y="889"/>
                  <a:pt x="1748" y="889"/>
                  <a:pt x="1748" y="889"/>
                </a:cubicBezTo>
                <a:cubicBezTo>
                  <a:pt x="1748" y="889"/>
                  <a:pt x="1748" y="889"/>
                  <a:pt x="1748" y="889"/>
                </a:cubicBezTo>
                <a:cubicBezTo>
                  <a:pt x="1748" y="891"/>
                  <a:pt x="1749" y="894"/>
                  <a:pt x="1749" y="894"/>
                </a:cubicBezTo>
                <a:cubicBezTo>
                  <a:pt x="1745" y="896"/>
                  <a:pt x="1745" y="896"/>
                  <a:pt x="1745" y="896"/>
                </a:cubicBezTo>
                <a:cubicBezTo>
                  <a:pt x="1745" y="896"/>
                  <a:pt x="1743" y="898"/>
                  <a:pt x="1742" y="901"/>
                </a:cubicBezTo>
                <a:cubicBezTo>
                  <a:pt x="1741" y="904"/>
                  <a:pt x="1748" y="902"/>
                  <a:pt x="1748" y="902"/>
                </a:cubicBezTo>
                <a:cubicBezTo>
                  <a:pt x="1748" y="902"/>
                  <a:pt x="1744" y="905"/>
                  <a:pt x="1743" y="906"/>
                </a:cubicBezTo>
                <a:cubicBezTo>
                  <a:pt x="1741" y="906"/>
                  <a:pt x="1741" y="904"/>
                  <a:pt x="1739" y="904"/>
                </a:cubicBezTo>
                <a:cubicBezTo>
                  <a:pt x="1737" y="904"/>
                  <a:pt x="1737" y="908"/>
                  <a:pt x="1737" y="908"/>
                </a:cubicBezTo>
                <a:cubicBezTo>
                  <a:pt x="1739" y="910"/>
                  <a:pt x="1739" y="910"/>
                  <a:pt x="1739" y="910"/>
                </a:cubicBezTo>
                <a:cubicBezTo>
                  <a:pt x="1739" y="910"/>
                  <a:pt x="1738" y="910"/>
                  <a:pt x="1736" y="910"/>
                </a:cubicBezTo>
                <a:cubicBezTo>
                  <a:pt x="1734" y="910"/>
                  <a:pt x="1736" y="904"/>
                  <a:pt x="1736" y="904"/>
                </a:cubicBezTo>
                <a:cubicBezTo>
                  <a:pt x="1734" y="906"/>
                  <a:pt x="1734" y="906"/>
                  <a:pt x="1734" y="906"/>
                </a:cubicBezTo>
                <a:cubicBezTo>
                  <a:pt x="1734" y="906"/>
                  <a:pt x="1732" y="903"/>
                  <a:pt x="1731" y="903"/>
                </a:cubicBezTo>
                <a:cubicBezTo>
                  <a:pt x="1729" y="903"/>
                  <a:pt x="1729" y="908"/>
                  <a:pt x="1728" y="908"/>
                </a:cubicBezTo>
                <a:cubicBezTo>
                  <a:pt x="1727" y="908"/>
                  <a:pt x="1727" y="906"/>
                  <a:pt x="1727" y="906"/>
                </a:cubicBezTo>
                <a:cubicBezTo>
                  <a:pt x="1727" y="906"/>
                  <a:pt x="1726" y="900"/>
                  <a:pt x="1726" y="898"/>
                </a:cubicBezTo>
                <a:close/>
                <a:moveTo>
                  <a:pt x="1796" y="411"/>
                </a:moveTo>
                <a:cubicBezTo>
                  <a:pt x="1795" y="413"/>
                  <a:pt x="1791" y="416"/>
                  <a:pt x="1789" y="417"/>
                </a:cubicBezTo>
                <a:cubicBezTo>
                  <a:pt x="1786" y="418"/>
                  <a:pt x="1777" y="417"/>
                  <a:pt x="1777" y="417"/>
                </a:cubicBezTo>
                <a:cubicBezTo>
                  <a:pt x="1769" y="419"/>
                  <a:pt x="1769" y="419"/>
                  <a:pt x="1769" y="419"/>
                </a:cubicBezTo>
                <a:cubicBezTo>
                  <a:pt x="1760" y="416"/>
                  <a:pt x="1760" y="416"/>
                  <a:pt x="1760" y="416"/>
                </a:cubicBezTo>
                <a:cubicBezTo>
                  <a:pt x="1756" y="417"/>
                  <a:pt x="1756" y="417"/>
                  <a:pt x="1756" y="417"/>
                </a:cubicBezTo>
                <a:cubicBezTo>
                  <a:pt x="1756" y="417"/>
                  <a:pt x="1754" y="412"/>
                  <a:pt x="1753" y="413"/>
                </a:cubicBezTo>
                <a:cubicBezTo>
                  <a:pt x="1751" y="413"/>
                  <a:pt x="1749" y="414"/>
                  <a:pt x="1749" y="414"/>
                </a:cubicBezTo>
                <a:cubicBezTo>
                  <a:pt x="1746" y="412"/>
                  <a:pt x="1746" y="412"/>
                  <a:pt x="1746" y="412"/>
                </a:cubicBezTo>
                <a:cubicBezTo>
                  <a:pt x="1745" y="409"/>
                  <a:pt x="1745" y="409"/>
                  <a:pt x="1745" y="409"/>
                </a:cubicBezTo>
                <a:cubicBezTo>
                  <a:pt x="1739" y="410"/>
                  <a:pt x="1739" y="410"/>
                  <a:pt x="1739" y="410"/>
                </a:cubicBezTo>
                <a:cubicBezTo>
                  <a:pt x="1735" y="408"/>
                  <a:pt x="1735" y="408"/>
                  <a:pt x="1735" y="408"/>
                </a:cubicBezTo>
                <a:cubicBezTo>
                  <a:pt x="1734" y="405"/>
                  <a:pt x="1734" y="405"/>
                  <a:pt x="1734" y="405"/>
                </a:cubicBezTo>
                <a:cubicBezTo>
                  <a:pt x="1734" y="405"/>
                  <a:pt x="1730" y="407"/>
                  <a:pt x="1727" y="407"/>
                </a:cubicBezTo>
                <a:cubicBezTo>
                  <a:pt x="1724" y="407"/>
                  <a:pt x="1721" y="406"/>
                  <a:pt x="1718" y="406"/>
                </a:cubicBezTo>
                <a:cubicBezTo>
                  <a:pt x="1716" y="406"/>
                  <a:pt x="1708" y="409"/>
                  <a:pt x="1707" y="411"/>
                </a:cubicBezTo>
                <a:cubicBezTo>
                  <a:pt x="1706" y="412"/>
                  <a:pt x="1703" y="413"/>
                  <a:pt x="1703" y="413"/>
                </a:cubicBezTo>
                <a:cubicBezTo>
                  <a:pt x="1702" y="416"/>
                  <a:pt x="1702" y="416"/>
                  <a:pt x="1702" y="416"/>
                </a:cubicBezTo>
                <a:cubicBezTo>
                  <a:pt x="1702" y="416"/>
                  <a:pt x="1702" y="417"/>
                  <a:pt x="1699" y="416"/>
                </a:cubicBezTo>
                <a:cubicBezTo>
                  <a:pt x="1696" y="415"/>
                  <a:pt x="1691" y="415"/>
                  <a:pt x="1689" y="415"/>
                </a:cubicBezTo>
                <a:cubicBezTo>
                  <a:pt x="1686" y="415"/>
                  <a:pt x="1678" y="413"/>
                  <a:pt x="1678" y="413"/>
                </a:cubicBezTo>
                <a:cubicBezTo>
                  <a:pt x="1678" y="413"/>
                  <a:pt x="1672" y="414"/>
                  <a:pt x="1672" y="411"/>
                </a:cubicBezTo>
                <a:cubicBezTo>
                  <a:pt x="1671" y="409"/>
                  <a:pt x="1671" y="408"/>
                  <a:pt x="1671" y="407"/>
                </a:cubicBezTo>
                <a:cubicBezTo>
                  <a:pt x="1669" y="407"/>
                  <a:pt x="1666" y="407"/>
                  <a:pt x="1666" y="407"/>
                </a:cubicBezTo>
                <a:cubicBezTo>
                  <a:pt x="1666" y="406"/>
                  <a:pt x="1666" y="406"/>
                  <a:pt x="1665" y="405"/>
                </a:cubicBezTo>
                <a:cubicBezTo>
                  <a:pt x="1667" y="404"/>
                  <a:pt x="1667" y="404"/>
                  <a:pt x="1667" y="404"/>
                </a:cubicBezTo>
                <a:cubicBezTo>
                  <a:pt x="1669" y="406"/>
                  <a:pt x="1669" y="406"/>
                  <a:pt x="1669" y="406"/>
                </a:cubicBezTo>
                <a:cubicBezTo>
                  <a:pt x="1669" y="406"/>
                  <a:pt x="1672" y="407"/>
                  <a:pt x="1674" y="406"/>
                </a:cubicBezTo>
                <a:cubicBezTo>
                  <a:pt x="1673" y="406"/>
                  <a:pt x="1673" y="405"/>
                  <a:pt x="1673" y="405"/>
                </a:cubicBezTo>
                <a:cubicBezTo>
                  <a:pt x="1668" y="400"/>
                  <a:pt x="1668" y="400"/>
                  <a:pt x="1668" y="400"/>
                </a:cubicBezTo>
                <a:cubicBezTo>
                  <a:pt x="1668" y="400"/>
                  <a:pt x="1671" y="398"/>
                  <a:pt x="1671" y="397"/>
                </a:cubicBezTo>
                <a:cubicBezTo>
                  <a:pt x="1672" y="396"/>
                  <a:pt x="1670" y="393"/>
                  <a:pt x="1672" y="391"/>
                </a:cubicBezTo>
                <a:cubicBezTo>
                  <a:pt x="1674" y="390"/>
                  <a:pt x="1677" y="391"/>
                  <a:pt x="1677" y="391"/>
                </a:cubicBezTo>
                <a:cubicBezTo>
                  <a:pt x="1677" y="391"/>
                  <a:pt x="1677" y="389"/>
                  <a:pt x="1677" y="386"/>
                </a:cubicBezTo>
                <a:cubicBezTo>
                  <a:pt x="1676" y="384"/>
                  <a:pt x="1676" y="381"/>
                  <a:pt x="1677" y="379"/>
                </a:cubicBezTo>
                <a:cubicBezTo>
                  <a:pt x="1679" y="377"/>
                  <a:pt x="1681" y="375"/>
                  <a:pt x="1681" y="375"/>
                </a:cubicBezTo>
                <a:cubicBezTo>
                  <a:pt x="1681" y="375"/>
                  <a:pt x="1687" y="377"/>
                  <a:pt x="1686" y="372"/>
                </a:cubicBezTo>
                <a:cubicBezTo>
                  <a:pt x="1686" y="369"/>
                  <a:pt x="1685" y="367"/>
                  <a:pt x="1684" y="366"/>
                </a:cubicBezTo>
                <a:cubicBezTo>
                  <a:pt x="1684" y="366"/>
                  <a:pt x="1684" y="366"/>
                  <a:pt x="1684" y="366"/>
                </a:cubicBezTo>
                <a:cubicBezTo>
                  <a:pt x="1684" y="366"/>
                  <a:pt x="1688" y="364"/>
                  <a:pt x="1689" y="363"/>
                </a:cubicBezTo>
                <a:cubicBezTo>
                  <a:pt x="1691" y="362"/>
                  <a:pt x="1694" y="357"/>
                  <a:pt x="1694" y="357"/>
                </a:cubicBezTo>
                <a:cubicBezTo>
                  <a:pt x="1698" y="355"/>
                  <a:pt x="1698" y="355"/>
                  <a:pt x="1698" y="355"/>
                </a:cubicBezTo>
                <a:cubicBezTo>
                  <a:pt x="1700" y="353"/>
                  <a:pt x="1700" y="353"/>
                  <a:pt x="1700" y="353"/>
                </a:cubicBezTo>
                <a:cubicBezTo>
                  <a:pt x="1702" y="354"/>
                  <a:pt x="1702" y="354"/>
                  <a:pt x="1702" y="354"/>
                </a:cubicBezTo>
                <a:cubicBezTo>
                  <a:pt x="1702" y="354"/>
                  <a:pt x="1707" y="355"/>
                  <a:pt x="1708" y="355"/>
                </a:cubicBezTo>
                <a:cubicBezTo>
                  <a:pt x="1708" y="355"/>
                  <a:pt x="1710" y="353"/>
                  <a:pt x="1710" y="353"/>
                </a:cubicBezTo>
                <a:cubicBezTo>
                  <a:pt x="1707" y="357"/>
                  <a:pt x="1707" y="357"/>
                  <a:pt x="1707" y="357"/>
                </a:cubicBezTo>
                <a:cubicBezTo>
                  <a:pt x="1707" y="357"/>
                  <a:pt x="1704" y="355"/>
                  <a:pt x="1704" y="357"/>
                </a:cubicBezTo>
                <a:cubicBezTo>
                  <a:pt x="1705" y="358"/>
                  <a:pt x="1709" y="359"/>
                  <a:pt x="1709" y="359"/>
                </a:cubicBezTo>
                <a:cubicBezTo>
                  <a:pt x="1716" y="360"/>
                  <a:pt x="1716" y="360"/>
                  <a:pt x="1716" y="360"/>
                </a:cubicBezTo>
                <a:cubicBezTo>
                  <a:pt x="1718" y="360"/>
                  <a:pt x="1718" y="360"/>
                  <a:pt x="1718" y="360"/>
                </a:cubicBezTo>
                <a:cubicBezTo>
                  <a:pt x="1720" y="362"/>
                  <a:pt x="1720" y="362"/>
                  <a:pt x="1720" y="362"/>
                </a:cubicBezTo>
                <a:cubicBezTo>
                  <a:pt x="1720" y="362"/>
                  <a:pt x="1710" y="368"/>
                  <a:pt x="1711" y="368"/>
                </a:cubicBezTo>
                <a:cubicBezTo>
                  <a:pt x="1712" y="369"/>
                  <a:pt x="1720" y="369"/>
                  <a:pt x="1721" y="372"/>
                </a:cubicBezTo>
                <a:cubicBezTo>
                  <a:pt x="1721" y="375"/>
                  <a:pt x="1719" y="378"/>
                  <a:pt x="1720" y="378"/>
                </a:cubicBezTo>
                <a:cubicBezTo>
                  <a:pt x="1721" y="378"/>
                  <a:pt x="1725" y="379"/>
                  <a:pt x="1725" y="379"/>
                </a:cubicBezTo>
                <a:cubicBezTo>
                  <a:pt x="1725" y="379"/>
                  <a:pt x="1728" y="375"/>
                  <a:pt x="1730" y="375"/>
                </a:cubicBezTo>
                <a:cubicBezTo>
                  <a:pt x="1731" y="375"/>
                  <a:pt x="1732" y="376"/>
                  <a:pt x="1734" y="375"/>
                </a:cubicBezTo>
                <a:cubicBezTo>
                  <a:pt x="1736" y="374"/>
                  <a:pt x="1736" y="371"/>
                  <a:pt x="1737" y="371"/>
                </a:cubicBezTo>
                <a:cubicBezTo>
                  <a:pt x="1739" y="371"/>
                  <a:pt x="1740" y="373"/>
                  <a:pt x="1740" y="373"/>
                </a:cubicBezTo>
                <a:cubicBezTo>
                  <a:pt x="1745" y="372"/>
                  <a:pt x="1745" y="372"/>
                  <a:pt x="1745" y="372"/>
                </a:cubicBezTo>
                <a:cubicBezTo>
                  <a:pt x="1745" y="369"/>
                  <a:pt x="1745" y="369"/>
                  <a:pt x="1745" y="369"/>
                </a:cubicBezTo>
                <a:cubicBezTo>
                  <a:pt x="1747" y="368"/>
                  <a:pt x="1747" y="368"/>
                  <a:pt x="1747" y="368"/>
                </a:cubicBezTo>
                <a:cubicBezTo>
                  <a:pt x="1747" y="368"/>
                  <a:pt x="1744" y="366"/>
                  <a:pt x="1742" y="368"/>
                </a:cubicBezTo>
                <a:cubicBezTo>
                  <a:pt x="1741" y="369"/>
                  <a:pt x="1736" y="369"/>
                  <a:pt x="1736" y="369"/>
                </a:cubicBezTo>
                <a:cubicBezTo>
                  <a:pt x="1736" y="369"/>
                  <a:pt x="1732" y="368"/>
                  <a:pt x="1732" y="366"/>
                </a:cubicBezTo>
                <a:cubicBezTo>
                  <a:pt x="1732" y="364"/>
                  <a:pt x="1729" y="364"/>
                  <a:pt x="1729" y="364"/>
                </a:cubicBezTo>
                <a:cubicBezTo>
                  <a:pt x="1727" y="361"/>
                  <a:pt x="1727" y="361"/>
                  <a:pt x="1727" y="361"/>
                </a:cubicBezTo>
                <a:cubicBezTo>
                  <a:pt x="1722" y="361"/>
                  <a:pt x="1722" y="361"/>
                  <a:pt x="1722" y="361"/>
                </a:cubicBezTo>
                <a:cubicBezTo>
                  <a:pt x="1720" y="359"/>
                  <a:pt x="1720" y="359"/>
                  <a:pt x="1720" y="359"/>
                </a:cubicBezTo>
                <a:cubicBezTo>
                  <a:pt x="1724" y="359"/>
                  <a:pt x="1724" y="359"/>
                  <a:pt x="1724" y="359"/>
                </a:cubicBezTo>
                <a:cubicBezTo>
                  <a:pt x="1724" y="359"/>
                  <a:pt x="1727" y="360"/>
                  <a:pt x="1729" y="359"/>
                </a:cubicBezTo>
                <a:cubicBezTo>
                  <a:pt x="1730" y="359"/>
                  <a:pt x="1733" y="356"/>
                  <a:pt x="1733" y="356"/>
                </a:cubicBezTo>
                <a:cubicBezTo>
                  <a:pt x="1735" y="357"/>
                  <a:pt x="1735" y="357"/>
                  <a:pt x="1735" y="357"/>
                </a:cubicBezTo>
                <a:cubicBezTo>
                  <a:pt x="1735" y="357"/>
                  <a:pt x="1738" y="355"/>
                  <a:pt x="1739" y="354"/>
                </a:cubicBezTo>
                <a:cubicBezTo>
                  <a:pt x="1741" y="353"/>
                  <a:pt x="1747" y="353"/>
                  <a:pt x="1747" y="353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4" y="349"/>
                </a:cubicBezTo>
                <a:cubicBezTo>
                  <a:pt x="1755" y="349"/>
                  <a:pt x="1757" y="350"/>
                  <a:pt x="1758" y="349"/>
                </a:cubicBezTo>
                <a:cubicBezTo>
                  <a:pt x="1758" y="349"/>
                  <a:pt x="1758" y="349"/>
                  <a:pt x="1758" y="349"/>
                </a:cubicBezTo>
                <a:cubicBezTo>
                  <a:pt x="1758" y="349"/>
                  <a:pt x="1758" y="349"/>
                  <a:pt x="1759" y="349"/>
                </a:cubicBezTo>
                <a:cubicBezTo>
                  <a:pt x="1761" y="348"/>
                  <a:pt x="1767" y="346"/>
                  <a:pt x="1767" y="348"/>
                </a:cubicBezTo>
                <a:cubicBezTo>
                  <a:pt x="1768" y="350"/>
                  <a:pt x="1763" y="353"/>
                  <a:pt x="1763" y="353"/>
                </a:cubicBezTo>
                <a:cubicBezTo>
                  <a:pt x="1756" y="355"/>
                  <a:pt x="1756" y="355"/>
                  <a:pt x="1756" y="355"/>
                </a:cubicBezTo>
                <a:cubicBezTo>
                  <a:pt x="1762" y="360"/>
                  <a:pt x="1762" y="360"/>
                  <a:pt x="1762" y="360"/>
                </a:cubicBezTo>
                <a:cubicBezTo>
                  <a:pt x="1762" y="360"/>
                  <a:pt x="1757" y="361"/>
                  <a:pt x="1757" y="363"/>
                </a:cubicBezTo>
                <a:cubicBezTo>
                  <a:pt x="1757" y="365"/>
                  <a:pt x="1757" y="367"/>
                  <a:pt x="1757" y="367"/>
                </a:cubicBezTo>
                <a:cubicBezTo>
                  <a:pt x="1757" y="367"/>
                  <a:pt x="1754" y="369"/>
                  <a:pt x="1753" y="369"/>
                </a:cubicBezTo>
                <a:cubicBezTo>
                  <a:pt x="1752" y="369"/>
                  <a:pt x="1749" y="367"/>
                  <a:pt x="1749" y="367"/>
                </a:cubicBezTo>
                <a:cubicBezTo>
                  <a:pt x="1748" y="369"/>
                  <a:pt x="1748" y="369"/>
                  <a:pt x="1748" y="369"/>
                </a:cubicBezTo>
                <a:cubicBezTo>
                  <a:pt x="1748" y="369"/>
                  <a:pt x="1751" y="372"/>
                  <a:pt x="1751" y="372"/>
                </a:cubicBezTo>
                <a:cubicBezTo>
                  <a:pt x="1752" y="372"/>
                  <a:pt x="1754" y="376"/>
                  <a:pt x="1754" y="376"/>
                </a:cubicBezTo>
                <a:cubicBezTo>
                  <a:pt x="1759" y="375"/>
                  <a:pt x="1759" y="375"/>
                  <a:pt x="1759" y="375"/>
                </a:cubicBezTo>
                <a:cubicBezTo>
                  <a:pt x="1759" y="375"/>
                  <a:pt x="1763" y="379"/>
                  <a:pt x="1764" y="379"/>
                </a:cubicBezTo>
                <a:cubicBezTo>
                  <a:pt x="1765" y="379"/>
                  <a:pt x="1768" y="380"/>
                  <a:pt x="1768" y="380"/>
                </a:cubicBezTo>
                <a:cubicBezTo>
                  <a:pt x="1768" y="380"/>
                  <a:pt x="1774" y="387"/>
                  <a:pt x="1776" y="388"/>
                </a:cubicBezTo>
                <a:cubicBezTo>
                  <a:pt x="1777" y="388"/>
                  <a:pt x="1778" y="389"/>
                  <a:pt x="1779" y="389"/>
                </a:cubicBezTo>
                <a:cubicBezTo>
                  <a:pt x="1779" y="389"/>
                  <a:pt x="1779" y="390"/>
                  <a:pt x="1779" y="390"/>
                </a:cubicBezTo>
                <a:cubicBezTo>
                  <a:pt x="1779" y="390"/>
                  <a:pt x="1779" y="390"/>
                  <a:pt x="1779" y="390"/>
                </a:cubicBezTo>
                <a:cubicBezTo>
                  <a:pt x="1779" y="390"/>
                  <a:pt x="1788" y="395"/>
                  <a:pt x="1790" y="396"/>
                </a:cubicBezTo>
                <a:cubicBezTo>
                  <a:pt x="1791" y="396"/>
                  <a:pt x="1794" y="399"/>
                  <a:pt x="1794" y="399"/>
                </a:cubicBezTo>
                <a:cubicBezTo>
                  <a:pt x="1794" y="399"/>
                  <a:pt x="1795" y="405"/>
                  <a:pt x="1795" y="406"/>
                </a:cubicBezTo>
                <a:cubicBezTo>
                  <a:pt x="1795" y="406"/>
                  <a:pt x="1798" y="410"/>
                  <a:pt x="1798" y="410"/>
                </a:cubicBezTo>
                <a:cubicBezTo>
                  <a:pt x="1798" y="410"/>
                  <a:pt x="1797" y="410"/>
                  <a:pt x="1796" y="411"/>
                </a:cubicBezTo>
                <a:close/>
                <a:moveTo>
                  <a:pt x="1835" y="337"/>
                </a:move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lose/>
                <a:moveTo>
                  <a:pt x="1835" y="313"/>
                </a:moveTo>
                <a:cubicBezTo>
                  <a:pt x="1835" y="312"/>
                  <a:pt x="1835" y="312"/>
                  <a:pt x="1834" y="312"/>
                </a:cubicBezTo>
                <a:cubicBezTo>
                  <a:pt x="1835" y="312"/>
                  <a:pt x="1835" y="312"/>
                  <a:pt x="1835" y="313"/>
                </a:cubicBezTo>
                <a:cubicBezTo>
                  <a:pt x="1835" y="313"/>
                  <a:pt x="1835" y="313"/>
                  <a:pt x="1835" y="313"/>
                </a:cubicBezTo>
                <a:close/>
                <a:moveTo>
                  <a:pt x="1908" y="405"/>
                </a:moveTo>
                <a:cubicBezTo>
                  <a:pt x="1908" y="406"/>
                  <a:pt x="1908" y="406"/>
                  <a:pt x="1910" y="409"/>
                </a:cubicBezTo>
                <a:cubicBezTo>
                  <a:pt x="1911" y="411"/>
                  <a:pt x="1919" y="413"/>
                  <a:pt x="1918" y="415"/>
                </a:cubicBezTo>
                <a:cubicBezTo>
                  <a:pt x="1918" y="418"/>
                  <a:pt x="1918" y="419"/>
                  <a:pt x="1916" y="418"/>
                </a:cubicBezTo>
                <a:cubicBezTo>
                  <a:pt x="1915" y="418"/>
                  <a:pt x="1912" y="415"/>
                  <a:pt x="1912" y="416"/>
                </a:cubicBezTo>
                <a:cubicBezTo>
                  <a:pt x="1913" y="417"/>
                  <a:pt x="1912" y="419"/>
                  <a:pt x="1912" y="419"/>
                </a:cubicBezTo>
                <a:cubicBezTo>
                  <a:pt x="1906" y="419"/>
                  <a:pt x="1906" y="419"/>
                  <a:pt x="1906" y="419"/>
                </a:cubicBezTo>
                <a:cubicBezTo>
                  <a:pt x="1904" y="416"/>
                  <a:pt x="1904" y="416"/>
                  <a:pt x="1904" y="416"/>
                </a:cubicBezTo>
                <a:cubicBezTo>
                  <a:pt x="1904" y="418"/>
                  <a:pt x="1904" y="418"/>
                  <a:pt x="1904" y="418"/>
                </a:cubicBezTo>
                <a:cubicBezTo>
                  <a:pt x="1904" y="418"/>
                  <a:pt x="1902" y="415"/>
                  <a:pt x="1900" y="413"/>
                </a:cubicBezTo>
                <a:cubicBezTo>
                  <a:pt x="1899" y="411"/>
                  <a:pt x="1900" y="408"/>
                  <a:pt x="1899" y="408"/>
                </a:cubicBezTo>
                <a:cubicBezTo>
                  <a:pt x="1899" y="408"/>
                  <a:pt x="1899" y="408"/>
                  <a:pt x="1898" y="408"/>
                </a:cubicBezTo>
                <a:cubicBezTo>
                  <a:pt x="1898" y="408"/>
                  <a:pt x="1898" y="408"/>
                  <a:pt x="1898" y="408"/>
                </a:cubicBezTo>
                <a:cubicBezTo>
                  <a:pt x="1899" y="406"/>
                  <a:pt x="1900" y="402"/>
                  <a:pt x="1902" y="402"/>
                </a:cubicBezTo>
                <a:cubicBezTo>
                  <a:pt x="1903" y="402"/>
                  <a:pt x="1904" y="402"/>
                  <a:pt x="1906" y="402"/>
                </a:cubicBezTo>
                <a:cubicBezTo>
                  <a:pt x="1906" y="403"/>
                  <a:pt x="1906" y="403"/>
                  <a:pt x="1906" y="403"/>
                </a:cubicBezTo>
                <a:cubicBezTo>
                  <a:pt x="1906" y="403"/>
                  <a:pt x="1908" y="405"/>
                  <a:pt x="1908" y="405"/>
                </a:cubicBezTo>
                <a:close/>
                <a:moveTo>
                  <a:pt x="1883" y="302"/>
                </a:moveTo>
                <a:cubicBezTo>
                  <a:pt x="1883" y="302"/>
                  <a:pt x="1882" y="302"/>
                  <a:pt x="1882" y="302"/>
                </a:cubicBezTo>
                <a:cubicBezTo>
                  <a:pt x="1882" y="302"/>
                  <a:pt x="1883" y="302"/>
                  <a:pt x="1883" y="302"/>
                </a:cubicBezTo>
                <a:close/>
                <a:moveTo>
                  <a:pt x="1882" y="301"/>
                </a:moveTo>
                <a:cubicBezTo>
                  <a:pt x="1881" y="301"/>
                  <a:pt x="1881" y="301"/>
                  <a:pt x="1881" y="301"/>
                </a:cubicBezTo>
                <a:cubicBezTo>
                  <a:pt x="1881" y="301"/>
                  <a:pt x="1881" y="301"/>
                  <a:pt x="1882" y="301"/>
                </a:cubicBezTo>
                <a:close/>
                <a:moveTo>
                  <a:pt x="1852" y="353"/>
                </a:moveTo>
                <a:cubicBezTo>
                  <a:pt x="1852" y="353"/>
                  <a:pt x="1852" y="353"/>
                  <a:pt x="1852" y="353"/>
                </a:cubicBezTo>
                <a:cubicBezTo>
                  <a:pt x="1852" y="353"/>
                  <a:pt x="1852" y="353"/>
                  <a:pt x="1851" y="353"/>
                </a:cubicBezTo>
                <a:cubicBezTo>
                  <a:pt x="1852" y="353"/>
                  <a:pt x="1852" y="353"/>
                  <a:pt x="1852" y="353"/>
                </a:cubicBezTo>
                <a:close/>
                <a:moveTo>
                  <a:pt x="1851" y="347"/>
                </a:moveTo>
                <a:cubicBezTo>
                  <a:pt x="1851" y="347"/>
                  <a:pt x="1851" y="347"/>
                  <a:pt x="1851" y="347"/>
                </a:cubicBezTo>
                <a:cubicBezTo>
                  <a:pt x="1850" y="352"/>
                  <a:pt x="1850" y="352"/>
                  <a:pt x="1850" y="352"/>
                </a:cubicBezTo>
                <a:cubicBezTo>
                  <a:pt x="1851" y="347"/>
                  <a:pt x="1851" y="347"/>
                  <a:pt x="1851" y="347"/>
                </a:cubicBezTo>
                <a:cubicBezTo>
                  <a:pt x="1851" y="347"/>
                  <a:pt x="1851" y="347"/>
                  <a:pt x="1851" y="347"/>
                </a:cubicBezTo>
                <a:close/>
                <a:moveTo>
                  <a:pt x="1845" y="313"/>
                </a:move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5" y="312"/>
                  <a:pt x="1845" y="312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4" y="312"/>
                  <a:pt x="1844" y="312"/>
                </a:cubicBezTo>
                <a:cubicBezTo>
                  <a:pt x="1844" y="312"/>
                  <a:pt x="1844" y="312"/>
                  <a:pt x="1845" y="312"/>
                </a:cubicBezTo>
                <a:close/>
                <a:moveTo>
                  <a:pt x="1844" y="311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1"/>
                </a:cubicBezTo>
                <a:cubicBezTo>
                  <a:pt x="1844" y="311"/>
                  <a:pt x="1844" y="311"/>
                  <a:pt x="1844" y="311"/>
                </a:cubicBezTo>
                <a:close/>
                <a:moveTo>
                  <a:pt x="1868" y="446"/>
                </a:moveTo>
                <a:cubicBezTo>
                  <a:pt x="1868" y="446"/>
                  <a:pt x="1868" y="447"/>
                  <a:pt x="1869" y="447"/>
                </a:cubicBezTo>
                <a:cubicBezTo>
                  <a:pt x="1868" y="447"/>
                  <a:pt x="1868" y="446"/>
                  <a:pt x="1868" y="446"/>
                </a:cubicBezTo>
                <a:close/>
                <a:moveTo>
                  <a:pt x="1919" y="463"/>
                </a:moveTo>
                <a:cubicBezTo>
                  <a:pt x="1917" y="464"/>
                  <a:pt x="1914" y="462"/>
                  <a:pt x="1914" y="462"/>
                </a:cubicBezTo>
                <a:cubicBezTo>
                  <a:pt x="1914" y="462"/>
                  <a:pt x="1909" y="463"/>
                  <a:pt x="1906" y="464"/>
                </a:cubicBezTo>
                <a:cubicBezTo>
                  <a:pt x="1904" y="465"/>
                  <a:pt x="1902" y="466"/>
                  <a:pt x="1901" y="466"/>
                </a:cubicBezTo>
                <a:cubicBezTo>
                  <a:pt x="1899" y="466"/>
                  <a:pt x="1897" y="464"/>
                  <a:pt x="1895" y="464"/>
                </a:cubicBezTo>
                <a:cubicBezTo>
                  <a:pt x="1893" y="464"/>
                  <a:pt x="1890" y="464"/>
                  <a:pt x="1888" y="462"/>
                </a:cubicBezTo>
                <a:cubicBezTo>
                  <a:pt x="1885" y="460"/>
                  <a:pt x="1883" y="456"/>
                  <a:pt x="1883" y="456"/>
                </a:cubicBezTo>
                <a:cubicBezTo>
                  <a:pt x="1883" y="456"/>
                  <a:pt x="1877" y="456"/>
                  <a:pt x="1876" y="456"/>
                </a:cubicBezTo>
                <a:cubicBezTo>
                  <a:pt x="1876" y="456"/>
                  <a:pt x="1873" y="454"/>
                  <a:pt x="1872" y="453"/>
                </a:cubicBezTo>
                <a:cubicBezTo>
                  <a:pt x="1871" y="451"/>
                  <a:pt x="1869" y="449"/>
                  <a:pt x="1869" y="447"/>
                </a:cubicBezTo>
                <a:cubicBezTo>
                  <a:pt x="1869" y="446"/>
                  <a:pt x="1870" y="444"/>
                  <a:pt x="1869" y="443"/>
                </a:cubicBezTo>
                <a:cubicBezTo>
                  <a:pt x="1869" y="442"/>
                  <a:pt x="1867" y="441"/>
                  <a:pt x="1867" y="441"/>
                </a:cubicBezTo>
                <a:cubicBezTo>
                  <a:pt x="1869" y="440"/>
                  <a:pt x="1869" y="440"/>
                  <a:pt x="1869" y="440"/>
                </a:cubicBezTo>
                <a:cubicBezTo>
                  <a:pt x="1869" y="436"/>
                  <a:pt x="1869" y="436"/>
                  <a:pt x="1869" y="436"/>
                </a:cubicBezTo>
                <a:cubicBezTo>
                  <a:pt x="1869" y="436"/>
                  <a:pt x="1872" y="439"/>
                  <a:pt x="1873" y="437"/>
                </a:cubicBezTo>
                <a:cubicBezTo>
                  <a:pt x="1874" y="436"/>
                  <a:pt x="1871" y="433"/>
                  <a:pt x="1871" y="433"/>
                </a:cubicBezTo>
                <a:cubicBezTo>
                  <a:pt x="1871" y="431"/>
                  <a:pt x="1871" y="431"/>
                  <a:pt x="1871" y="431"/>
                </a:cubicBezTo>
                <a:cubicBezTo>
                  <a:pt x="1871" y="426"/>
                  <a:pt x="1871" y="426"/>
                  <a:pt x="1871" y="426"/>
                </a:cubicBezTo>
                <a:cubicBezTo>
                  <a:pt x="1873" y="426"/>
                  <a:pt x="1873" y="426"/>
                  <a:pt x="1873" y="426"/>
                </a:cubicBezTo>
                <a:cubicBezTo>
                  <a:pt x="1875" y="424"/>
                  <a:pt x="1875" y="424"/>
                  <a:pt x="1875" y="424"/>
                </a:cubicBezTo>
                <a:cubicBezTo>
                  <a:pt x="1880" y="425"/>
                  <a:pt x="1880" y="425"/>
                  <a:pt x="1880" y="425"/>
                </a:cubicBezTo>
                <a:cubicBezTo>
                  <a:pt x="1880" y="425"/>
                  <a:pt x="1879" y="424"/>
                  <a:pt x="1879" y="422"/>
                </a:cubicBezTo>
                <a:cubicBezTo>
                  <a:pt x="1878" y="420"/>
                  <a:pt x="1874" y="422"/>
                  <a:pt x="1872" y="422"/>
                </a:cubicBezTo>
                <a:cubicBezTo>
                  <a:pt x="1870" y="422"/>
                  <a:pt x="1870" y="418"/>
                  <a:pt x="1870" y="418"/>
                </a:cubicBezTo>
                <a:cubicBezTo>
                  <a:pt x="1866" y="414"/>
                  <a:pt x="1866" y="414"/>
                  <a:pt x="1866" y="414"/>
                </a:cubicBezTo>
                <a:cubicBezTo>
                  <a:pt x="1866" y="413"/>
                  <a:pt x="1866" y="413"/>
                  <a:pt x="1866" y="413"/>
                </a:cubicBezTo>
                <a:cubicBezTo>
                  <a:pt x="1860" y="407"/>
                  <a:pt x="1860" y="407"/>
                  <a:pt x="1860" y="407"/>
                </a:cubicBezTo>
                <a:cubicBezTo>
                  <a:pt x="1858" y="406"/>
                  <a:pt x="1858" y="406"/>
                  <a:pt x="1858" y="406"/>
                </a:cubicBezTo>
                <a:cubicBezTo>
                  <a:pt x="1858" y="406"/>
                  <a:pt x="1857" y="403"/>
                  <a:pt x="1856" y="402"/>
                </a:cubicBezTo>
                <a:cubicBezTo>
                  <a:pt x="1855" y="400"/>
                  <a:pt x="1851" y="399"/>
                  <a:pt x="1851" y="399"/>
                </a:cubicBezTo>
                <a:cubicBezTo>
                  <a:pt x="1851" y="396"/>
                  <a:pt x="1851" y="396"/>
                  <a:pt x="1851" y="396"/>
                </a:cubicBezTo>
                <a:cubicBezTo>
                  <a:pt x="1851" y="396"/>
                  <a:pt x="1849" y="395"/>
                  <a:pt x="1848" y="393"/>
                </a:cubicBezTo>
                <a:cubicBezTo>
                  <a:pt x="1846" y="391"/>
                  <a:pt x="1848" y="388"/>
                  <a:pt x="1847" y="385"/>
                </a:cubicBezTo>
                <a:cubicBezTo>
                  <a:pt x="1846" y="382"/>
                  <a:pt x="1842" y="379"/>
                  <a:pt x="1842" y="379"/>
                </a:cubicBezTo>
                <a:cubicBezTo>
                  <a:pt x="1842" y="379"/>
                  <a:pt x="1840" y="379"/>
                  <a:pt x="1838" y="378"/>
                </a:cubicBezTo>
                <a:cubicBezTo>
                  <a:pt x="1836" y="377"/>
                  <a:pt x="1841" y="373"/>
                  <a:pt x="1841" y="373"/>
                </a:cubicBezTo>
                <a:cubicBezTo>
                  <a:pt x="1841" y="373"/>
                  <a:pt x="1844" y="370"/>
                  <a:pt x="1844" y="368"/>
                </a:cubicBezTo>
                <a:cubicBezTo>
                  <a:pt x="1845" y="367"/>
                  <a:pt x="1842" y="364"/>
                  <a:pt x="1842" y="364"/>
                </a:cubicBezTo>
                <a:cubicBezTo>
                  <a:pt x="1842" y="364"/>
                  <a:pt x="1845" y="365"/>
                  <a:pt x="1846" y="365"/>
                </a:cubicBezTo>
                <a:cubicBezTo>
                  <a:pt x="1846" y="365"/>
                  <a:pt x="1849" y="365"/>
                  <a:pt x="1849" y="364"/>
                </a:cubicBezTo>
                <a:cubicBezTo>
                  <a:pt x="1850" y="362"/>
                  <a:pt x="1851" y="364"/>
                  <a:pt x="1853" y="363"/>
                </a:cubicBezTo>
                <a:cubicBezTo>
                  <a:pt x="1856" y="363"/>
                  <a:pt x="1852" y="360"/>
                  <a:pt x="1852" y="360"/>
                </a:cubicBezTo>
                <a:cubicBezTo>
                  <a:pt x="1852" y="360"/>
                  <a:pt x="1856" y="360"/>
                  <a:pt x="1856" y="360"/>
                </a:cubicBezTo>
                <a:cubicBezTo>
                  <a:pt x="1857" y="360"/>
                  <a:pt x="1856" y="358"/>
                  <a:pt x="1856" y="357"/>
                </a:cubicBezTo>
                <a:cubicBezTo>
                  <a:pt x="1856" y="357"/>
                  <a:pt x="1857" y="358"/>
                  <a:pt x="1857" y="358"/>
                </a:cubicBezTo>
                <a:cubicBezTo>
                  <a:pt x="1858" y="356"/>
                  <a:pt x="1858" y="356"/>
                  <a:pt x="1858" y="356"/>
                </a:cubicBezTo>
                <a:cubicBezTo>
                  <a:pt x="1858" y="356"/>
                  <a:pt x="1860" y="356"/>
                  <a:pt x="1861" y="355"/>
                </a:cubicBezTo>
                <a:cubicBezTo>
                  <a:pt x="1863" y="353"/>
                  <a:pt x="1873" y="349"/>
                  <a:pt x="1874" y="349"/>
                </a:cubicBezTo>
                <a:cubicBezTo>
                  <a:pt x="1876" y="350"/>
                  <a:pt x="1880" y="353"/>
                  <a:pt x="1882" y="353"/>
                </a:cubicBezTo>
                <a:cubicBezTo>
                  <a:pt x="1884" y="353"/>
                  <a:pt x="1886" y="349"/>
                  <a:pt x="1890" y="355"/>
                </a:cubicBezTo>
                <a:cubicBezTo>
                  <a:pt x="1894" y="360"/>
                  <a:pt x="1891" y="361"/>
                  <a:pt x="1890" y="363"/>
                </a:cubicBezTo>
                <a:cubicBezTo>
                  <a:pt x="1890" y="365"/>
                  <a:pt x="1894" y="368"/>
                  <a:pt x="1896" y="369"/>
                </a:cubicBezTo>
                <a:cubicBezTo>
                  <a:pt x="1897" y="369"/>
                  <a:pt x="1899" y="366"/>
                  <a:pt x="1901" y="365"/>
                </a:cubicBezTo>
                <a:cubicBezTo>
                  <a:pt x="1903" y="365"/>
                  <a:pt x="1903" y="367"/>
                  <a:pt x="1903" y="369"/>
                </a:cubicBezTo>
                <a:cubicBezTo>
                  <a:pt x="1903" y="371"/>
                  <a:pt x="1906" y="373"/>
                  <a:pt x="1906" y="373"/>
                </a:cubicBezTo>
                <a:cubicBezTo>
                  <a:pt x="1900" y="373"/>
                  <a:pt x="1900" y="373"/>
                  <a:pt x="1900" y="373"/>
                </a:cubicBezTo>
                <a:cubicBezTo>
                  <a:pt x="1900" y="373"/>
                  <a:pt x="1900" y="377"/>
                  <a:pt x="1898" y="375"/>
                </a:cubicBezTo>
                <a:cubicBezTo>
                  <a:pt x="1895" y="373"/>
                  <a:pt x="1900" y="370"/>
                  <a:pt x="1900" y="370"/>
                </a:cubicBezTo>
                <a:cubicBezTo>
                  <a:pt x="1900" y="370"/>
                  <a:pt x="1890" y="370"/>
                  <a:pt x="1889" y="369"/>
                </a:cubicBezTo>
                <a:cubicBezTo>
                  <a:pt x="1887" y="369"/>
                  <a:pt x="1878" y="367"/>
                  <a:pt x="1878" y="367"/>
                </a:cubicBezTo>
                <a:cubicBezTo>
                  <a:pt x="1880" y="372"/>
                  <a:pt x="1880" y="372"/>
                  <a:pt x="1880" y="372"/>
                </a:cubicBezTo>
                <a:cubicBezTo>
                  <a:pt x="1880" y="372"/>
                  <a:pt x="1876" y="370"/>
                  <a:pt x="1875" y="373"/>
                </a:cubicBezTo>
                <a:cubicBezTo>
                  <a:pt x="1874" y="376"/>
                  <a:pt x="1882" y="376"/>
                  <a:pt x="1881" y="378"/>
                </a:cubicBezTo>
                <a:cubicBezTo>
                  <a:pt x="1881" y="380"/>
                  <a:pt x="1871" y="374"/>
                  <a:pt x="1870" y="377"/>
                </a:cubicBezTo>
                <a:cubicBezTo>
                  <a:pt x="1869" y="379"/>
                  <a:pt x="1876" y="381"/>
                  <a:pt x="1876" y="381"/>
                </a:cubicBezTo>
                <a:cubicBezTo>
                  <a:pt x="1876" y="381"/>
                  <a:pt x="1876" y="383"/>
                  <a:pt x="1877" y="384"/>
                </a:cubicBezTo>
                <a:cubicBezTo>
                  <a:pt x="1879" y="386"/>
                  <a:pt x="1881" y="389"/>
                  <a:pt x="1881" y="389"/>
                </a:cubicBezTo>
                <a:cubicBezTo>
                  <a:pt x="1881" y="392"/>
                  <a:pt x="1881" y="392"/>
                  <a:pt x="1881" y="392"/>
                </a:cubicBezTo>
                <a:cubicBezTo>
                  <a:pt x="1886" y="393"/>
                  <a:pt x="1886" y="393"/>
                  <a:pt x="1886" y="393"/>
                </a:cubicBezTo>
                <a:cubicBezTo>
                  <a:pt x="1887" y="396"/>
                  <a:pt x="1887" y="396"/>
                  <a:pt x="1887" y="396"/>
                </a:cubicBezTo>
                <a:cubicBezTo>
                  <a:pt x="1887" y="396"/>
                  <a:pt x="1894" y="396"/>
                  <a:pt x="1897" y="398"/>
                </a:cubicBezTo>
                <a:cubicBezTo>
                  <a:pt x="1899" y="401"/>
                  <a:pt x="1894" y="403"/>
                  <a:pt x="1894" y="405"/>
                </a:cubicBezTo>
                <a:cubicBezTo>
                  <a:pt x="1893" y="407"/>
                  <a:pt x="1896" y="407"/>
                  <a:pt x="1896" y="407"/>
                </a:cubicBezTo>
                <a:cubicBezTo>
                  <a:pt x="1895" y="409"/>
                  <a:pt x="1898" y="412"/>
                  <a:pt x="1898" y="412"/>
                </a:cubicBezTo>
                <a:cubicBezTo>
                  <a:pt x="1898" y="412"/>
                  <a:pt x="1902" y="417"/>
                  <a:pt x="1902" y="418"/>
                </a:cubicBezTo>
                <a:cubicBezTo>
                  <a:pt x="1902" y="418"/>
                  <a:pt x="1900" y="421"/>
                  <a:pt x="1900" y="422"/>
                </a:cubicBezTo>
                <a:cubicBezTo>
                  <a:pt x="1900" y="423"/>
                  <a:pt x="1904" y="428"/>
                  <a:pt x="1904" y="428"/>
                </a:cubicBezTo>
                <a:cubicBezTo>
                  <a:pt x="1908" y="428"/>
                  <a:pt x="1908" y="428"/>
                  <a:pt x="1908" y="428"/>
                </a:cubicBezTo>
                <a:cubicBezTo>
                  <a:pt x="1908" y="431"/>
                  <a:pt x="1908" y="431"/>
                  <a:pt x="1908" y="431"/>
                </a:cubicBezTo>
                <a:cubicBezTo>
                  <a:pt x="1911" y="433"/>
                  <a:pt x="1911" y="433"/>
                  <a:pt x="1911" y="433"/>
                </a:cubicBezTo>
                <a:cubicBezTo>
                  <a:pt x="1911" y="433"/>
                  <a:pt x="1905" y="432"/>
                  <a:pt x="1906" y="434"/>
                </a:cubicBezTo>
                <a:cubicBezTo>
                  <a:pt x="1907" y="436"/>
                  <a:pt x="1909" y="435"/>
                  <a:pt x="1910" y="436"/>
                </a:cubicBezTo>
                <a:cubicBezTo>
                  <a:pt x="1912" y="436"/>
                  <a:pt x="1914" y="439"/>
                  <a:pt x="1914" y="439"/>
                </a:cubicBezTo>
                <a:cubicBezTo>
                  <a:pt x="1915" y="446"/>
                  <a:pt x="1915" y="446"/>
                  <a:pt x="1915" y="446"/>
                </a:cubicBezTo>
                <a:cubicBezTo>
                  <a:pt x="1916" y="447"/>
                  <a:pt x="1916" y="447"/>
                  <a:pt x="1916" y="447"/>
                </a:cubicBezTo>
                <a:cubicBezTo>
                  <a:pt x="1916" y="447"/>
                  <a:pt x="1915" y="450"/>
                  <a:pt x="1915" y="451"/>
                </a:cubicBezTo>
                <a:cubicBezTo>
                  <a:pt x="1915" y="453"/>
                  <a:pt x="1917" y="457"/>
                  <a:pt x="1917" y="457"/>
                </a:cubicBezTo>
                <a:cubicBezTo>
                  <a:pt x="1917" y="457"/>
                  <a:pt x="1922" y="463"/>
                  <a:pt x="1919" y="463"/>
                </a:cubicBezTo>
                <a:close/>
                <a:moveTo>
                  <a:pt x="1964" y="358"/>
                </a:moveTo>
                <a:cubicBezTo>
                  <a:pt x="1963" y="359"/>
                  <a:pt x="1960" y="360"/>
                  <a:pt x="1960" y="360"/>
                </a:cubicBezTo>
                <a:cubicBezTo>
                  <a:pt x="1960" y="360"/>
                  <a:pt x="1959" y="361"/>
                  <a:pt x="1958" y="362"/>
                </a:cubicBezTo>
                <a:cubicBezTo>
                  <a:pt x="1957" y="363"/>
                  <a:pt x="1954" y="362"/>
                  <a:pt x="1953" y="362"/>
                </a:cubicBezTo>
                <a:cubicBezTo>
                  <a:pt x="1952" y="363"/>
                  <a:pt x="1952" y="365"/>
                  <a:pt x="1952" y="365"/>
                </a:cubicBezTo>
                <a:cubicBezTo>
                  <a:pt x="1952" y="365"/>
                  <a:pt x="1956" y="366"/>
                  <a:pt x="1956" y="367"/>
                </a:cubicBezTo>
                <a:cubicBezTo>
                  <a:pt x="1957" y="367"/>
                  <a:pt x="1958" y="369"/>
                  <a:pt x="1957" y="371"/>
                </a:cubicBezTo>
                <a:cubicBezTo>
                  <a:pt x="1956" y="371"/>
                  <a:pt x="1957" y="373"/>
                  <a:pt x="1957" y="374"/>
                </a:cubicBezTo>
                <a:cubicBezTo>
                  <a:pt x="1958" y="376"/>
                  <a:pt x="1959" y="378"/>
                  <a:pt x="1958" y="379"/>
                </a:cubicBezTo>
                <a:cubicBezTo>
                  <a:pt x="1957" y="381"/>
                  <a:pt x="1957" y="382"/>
                  <a:pt x="1957" y="382"/>
                </a:cubicBezTo>
                <a:cubicBezTo>
                  <a:pt x="1957" y="382"/>
                  <a:pt x="1954" y="382"/>
                  <a:pt x="1952" y="381"/>
                </a:cubicBezTo>
                <a:cubicBezTo>
                  <a:pt x="1951" y="380"/>
                  <a:pt x="1951" y="378"/>
                  <a:pt x="1951" y="378"/>
                </a:cubicBezTo>
                <a:cubicBezTo>
                  <a:pt x="1950" y="374"/>
                  <a:pt x="1950" y="374"/>
                  <a:pt x="1950" y="374"/>
                </a:cubicBezTo>
                <a:cubicBezTo>
                  <a:pt x="1951" y="371"/>
                  <a:pt x="1951" y="371"/>
                  <a:pt x="1951" y="371"/>
                </a:cubicBezTo>
                <a:cubicBezTo>
                  <a:pt x="1951" y="369"/>
                  <a:pt x="1951" y="369"/>
                  <a:pt x="1951" y="369"/>
                </a:cubicBezTo>
                <a:cubicBezTo>
                  <a:pt x="1951" y="369"/>
                  <a:pt x="1949" y="366"/>
                  <a:pt x="1948" y="365"/>
                </a:cubicBezTo>
                <a:cubicBezTo>
                  <a:pt x="1946" y="364"/>
                  <a:pt x="1946" y="363"/>
                  <a:pt x="1946" y="363"/>
                </a:cubicBezTo>
                <a:cubicBezTo>
                  <a:pt x="1944" y="366"/>
                  <a:pt x="1944" y="366"/>
                  <a:pt x="1944" y="366"/>
                </a:cubicBezTo>
                <a:cubicBezTo>
                  <a:pt x="1944" y="368"/>
                  <a:pt x="1944" y="368"/>
                  <a:pt x="1944" y="368"/>
                </a:cubicBezTo>
                <a:cubicBezTo>
                  <a:pt x="1942" y="370"/>
                  <a:pt x="1942" y="370"/>
                  <a:pt x="1942" y="370"/>
                </a:cubicBezTo>
                <a:cubicBezTo>
                  <a:pt x="1942" y="370"/>
                  <a:pt x="1945" y="372"/>
                  <a:pt x="1945" y="374"/>
                </a:cubicBezTo>
                <a:cubicBezTo>
                  <a:pt x="1945" y="376"/>
                  <a:pt x="1944" y="376"/>
                  <a:pt x="1944" y="376"/>
                </a:cubicBezTo>
                <a:cubicBezTo>
                  <a:pt x="1944" y="376"/>
                  <a:pt x="1945" y="378"/>
                  <a:pt x="1942" y="378"/>
                </a:cubicBezTo>
                <a:cubicBezTo>
                  <a:pt x="1940" y="379"/>
                  <a:pt x="1941" y="374"/>
                  <a:pt x="1939" y="374"/>
                </a:cubicBezTo>
                <a:cubicBezTo>
                  <a:pt x="1938" y="374"/>
                  <a:pt x="1941" y="371"/>
                  <a:pt x="1941" y="371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3" y="364"/>
                  <a:pt x="1943" y="362"/>
                </a:cubicBezTo>
                <a:cubicBezTo>
                  <a:pt x="1943" y="360"/>
                  <a:pt x="1947" y="361"/>
                  <a:pt x="1947" y="361"/>
                </a:cubicBezTo>
                <a:cubicBezTo>
                  <a:pt x="1948" y="364"/>
                  <a:pt x="1948" y="364"/>
                  <a:pt x="1948" y="364"/>
                </a:cubicBezTo>
                <a:cubicBezTo>
                  <a:pt x="1948" y="364"/>
                  <a:pt x="1951" y="363"/>
                  <a:pt x="1951" y="362"/>
                </a:cubicBezTo>
                <a:cubicBezTo>
                  <a:pt x="1952" y="362"/>
                  <a:pt x="1948" y="358"/>
                  <a:pt x="1948" y="358"/>
                </a:cubicBezTo>
                <a:cubicBezTo>
                  <a:pt x="1951" y="358"/>
                  <a:pt x="1951" y="358"/>
                  <a:pt x="1951" y="358"/>
                </a:cubicBezTo>
                <a:cubicBezTo>
                  <a:pt x="1952" y="360"/>
                  <a:pt x="1952" y="360"/>
                  <a:pt x="1952" y="360"/>
                </a:cubicBezTo>
                <a:cubicBezTo>
                  <a:pt x="1956" y="360"/>
                  <a:pt x="1956" y="360"/>
                  <a:pt x="1956" y="360"/>
                </a:cubicBezTo>
                <a:cubicBezTo>
                  <a:pt x="1956" y="360"/>
                  <a:pt x="1959" y="360"/>
                  <a:pt x="1959" y="360"/>
                </a:cubicBezTo>
                <a:cubicBezTo>
                  <a:pt x="1960" y="359"/>
                  <a:pt x="1959" y="358"/>
                  <a:pt x="1958" y="358"/>
                </a:cubicBezTo>
                <a:cubicBezTo>
                  <a:pt x="1957" y="358"/>
                  <a:pt x="1956" y="357"/>
                  <a:pt x="1956" y="357"/>
                </a:cubicBezTo>
                <a:cubicBezTo>
                  <a:pt x="1956" y="357"/>
                  <a:pt x="1952" y="358"/>
                  <a:pt x="1952" y="356"/>
                </a:cubicBezTo>
                <a:cubicBezTo>
                  <a:pt x="1951" y="353"/>
                  <a:pt x="1956" y="354"/>
                  <a:pt x="1956" y="354"/>
                </a:cubicBezTo>
                <a:cubicBezTo>
                  <a:pt x="1958" y="352"/>
                  <a:pt x="1958" y="352"/>
                  <a:pt x="1958" y="352"/>
                </a:cubicBezTo>
                <a:cubicBezTo>
                  <a:pt x="1958" y="352"/>
                  <a:pt x="1960" y="356"/>
                  <a:pt x="1961" y="356"/>
                </a:cubicBezTo>
                <a:cubicBezTo>
                  <a:pt x="1962" y="356"/>
                  <a:pt x="1963" y="355"/>
                  <a:pt x="1963" y="355"/>
                </a:cubicBezTo>
                <a:cubicBezTo>
                  <a:pt x="1963" y="355"/>
                  <a:pt x="1965" y="357"/>
                  <a:pt x="1964" y="358"/>
                </a:cubicBezTo>
                <a:close/>
                <a:moveTo>
                  <a:pt x="2119" y="357"/>
                </a:moveTo>
                <a:cubicBezTo>
                  <a:pt x="2118" y="358"/>
                  <a:pt x="2115" y="357"/>
                  <a:pt x="2115" y="357"/>
                </a:cubicBezTo>
                <a:cubicBezTo>
                  <a:pt x="2115" y="357"/>
                  <a:pt x="2114" y="358"/>
                  <a:pt x="2113" y="358"/>
                </a:cubicBezTo>
                <a:cubicBezTo>
                  <a:pt x="2112" y="359"/>
                  <a:pt x="2110" y="356"/>
                  <a:pt x="2110" y="356"/>
                </a:cubicBezTo>
                <a:cubicBezTo>
                  <a:pt x="2106" y="357"/>
                  <a:pt x="2106" y="357"/>
                  <a:pt x="2106" y="357"/>
                </a:cubicBezTo>
                <a:cubicBezTo>
                  <a:pt x="2101" y="356"/>
                  <a:pt x="2101" y="356"/>
                  <a:pt x="2101" y="356"/>
                </a:cubicBezTo>
                <a:cubicBezTo>
                  <a:pt x="2099" y="356"/>
                  <a:pt x="2099" y="356"/>
                  <a:pt x="2099" y="356"/>
                </a:cubicBezTo>
                <a:cubicBezTo>
                  <a:pt x="2095" y="355"/>
                  <a:pt x="2095" y="355"/>
                  <a:pt x="2095" y="355"/>
                </a:cubicBezTo>
                <a:cubicBezTo>
                  <a:pt x="2095" y="355"/>
                  <a:pt x="2093" y="356"/>
                  <a:pt x="2090" y="356"/>
                </a:cubicBezTo>
                <a:cubicBezTo>
                  <a:pt x="2088" y="356"/>
                  <a:pt x="2088" y="354"/>
                  <a:pt x="2088" y="354"/>
                </a:cubicBezTo>
                <a:cubicBezTo>
                  <a:pt x="2088" y="354"/>
                  <a:pt x="2086" y="356"/>
                  <a:pt x="2085" y="356"/>
                </a:cubicBezTo>
                <a:cubicBezTo>
                  <a:pt x="2084" y="357"/>
                  <a:pt x="2084" y="359"/>
                  <a:pt x="2083" y="361"/>
                </a:cubicBezTo>
                <a:cubicBezTo>
                  <a:pt x="2081" y="362"/>
                  <a:pt x="2080" y="362"/>
                  <a:pt x="2080" y="362"/>
                </a:cubicBezTo>
                <a:cubicBezTo>
                  <a:pt x="2080" y="365"/>
                  <a:pt x="2080" y="365"/>
                  <a:pt x="2080" y="365"/>
                </a:cubicBezTo>
                <a:cubicBezTo>
                  <a:pt x="2079" y="367"/>
                  <a:pt x="2079" y="367"/>
                  <a:pt x="2079" y="367"/>
                </a:cubicBezTo>
                <a:cubicBezTo>
                  <a:pt x="2081" y="369"/>
                  <a:pt x="2081" y="369"/>
                  <a:pt x="2081" y="369"/>
                </a:cubicBezTo>
                <a:cubicBezTo>
                  <a:pt x="2081" y="373"/>
                  <a:pt x="2081" y="373"/>
                  <a:pt x="2081" y="373"/>
                </a:cubicBezTo>
                <a:cubicBezTo>
                  <a:pt x="2080" y="373"/>
                  <a:pt x="2074" y="365"/>
                  <a:pt x="2074" y="365"/>
                </a:cubicBezTo>
                <a:cubicBezTo>
                  <a:pt x="2074" y="365"/>
                  <a:pt x="2073" y="362"/>
                  <a:pt x="2073" y="360"/>
                </a:cubicBezTo>
                <a:cubicBezTo>
                  <a:pt x="2073" y="358"/>
                  <a:pt x="2077" y="357"/>
                  <a:pt x="2077" y="357"/>
                </a:cubicBezTo>
                <a:cubicBezTo>
                  <a:pt x="2078" y="357"/>
                  <a:pt x="2078" y="354"/>
                  <a:pt x="2079" y="353"/>
                </a:cubicBezTo>
                <a:cubicBezTo>
                  <a:pt x="2080" y="352"/>
                  <a:pt x="2086" y="353"/>
                  <a:pt x="2086" y="353"/>
                </a:cubicBezTo>
                <a:cubicBezTo>
                  <a:pt x="2087" y="353"/>
                  <a:pt x="2089" y="352"/>
                  <a:pt x="2092" y="352"/>
                </a:cubicBezTo>
                <a:cubicBezTo>
                  <a:pt x="2094" y="352"/>
                  <a:pt x="2096" y="354"/>
                  <a:pt x="2098" y="354"/>
                </a:cubicBezTo>
                <a:cubicBezTo>
                  <a:pt x="2099" y="354"/>
                  <a:pt x="2100" y="355"/>
                  <a:pt x="2103" y="355"/>
                </a:cubicBezTo>
                <a:cubicBezTo>
                  <a:pt x="2106" y="356"/>
                  <a:pt x="2105" y="353"/>
                  <a:pt x="2107" y="353"/>
                </a:cubicBezTo>
                <a:cubicBezTo>
                  <a:pt x="2110" y="353"/>
                  <a:pt x="2114" y="354"/>
                  <a:pt x="2114" y="354"/>
                </a:cubicBezTo>
                <a:cubicBezTo>
                  <a:pt x="2114" y="354"/>
                  <a:pt x="2116" y="352"/>
                  <a:pt x="2119" y="352"/>
                </a:cubicBezTo>
                <a:cubicBezTo>
                  <a:pt x="2122" y="352"/>
                  <a:pt x="2120" y="356"/>
                  <a:pt x="2119" y="357"/>
                </a:cubicBezTo>
                <a:close/>
                <a:moveTo>
                  <a:pt x="2339" y="282"/>
                </a:moveTo>
                <a:cubicBezTo>
                  <a:pt x="2339" y="282"/>
                  <a:pt x="2339" y="285"/>
                  <a:pt x="2339" y="286"/>
                </a:cubicBezTo>
                <a:cubicBezTo>
                  <a:pt x="2338" y="286"/>
                  <a:pt x="2336" y="288"/>
                  <a:pt x="2336" y="288"/>
                </a:cubicBezTo>
                <a:cubicBezTo>
                  <a:pt x="2336" y="288"/>
                  <a:pt x="2333" y="289"/>
                  <a:pt x="2332" y="289"/>
                </a:cubicBezTo>
                <a:cubicBezTo>
                  <a:pt x="2331" y="289"/>
                  <a:pt x="2331" y="292"/>
                  <a:pt x="2331" y="292"/>
                </a:cubicBezTo>
                <a:cubicBezTo>
                  <a:pt x="2331" y="292"/>
                  <a:pt x="2331" y="290"/>
                  <a:pt x="2327" y="292"/>
                </a:cubicBezTo>
                <a:cubicBezTo>
                  <a:pt x="2322" y="293"/>
                  <a:pt x="2329" y="295"/>
                  <a:pt x="2329" y="295"/>
                </a:cubicBezTo>
                <a:cubicBezTo>
                  <a:pt x="2329" y="295"/>
                  <a:pt x="2326" y="297"/>
                  <a:pt x="2326" y="298"/>
                </a:cubicBezTo>
                <a:cubicBezTo>
                  <a:pt x="2326" y="301"/>
                  <a:pt x="2323" y="299"/>
                  <a:pt x="2323" y="299"/>
                </a:cubicBezTo>
                <a:cubicBezTo>
                  <a:pt x="2323" y="299"/>
                  <a:pt x="2322" y="302"/>
                  <a:pt x="2318" y="302"/>
                </a:cubicBezTo>
                <a:cubicBezTo>
                  <a:pt x="2313" y="302"/>
                  <a:pt x="2314" y="301"/>
                  <a:pt x="2314" y="301"/>
                </a:cubicBezTo>
                <a:cubicBezTo>
                  <a:pt x="2309" y="299"/>
                  <a:pt x="2309" y="299"/>
                  <a:pt x="2309" y="299"/>
                </a:cubicBezTo>
                <a:cubicBezTo>
                  <a:pt x="2311" y="298"/>
                  <a:pt x="2311" y="298"/>
                  <a:pt x="2311" y="298"/>
                </a:cubicBezTo>
                <a:cubicBezTo>
                  <a:pt x="2316" y="298"/>
                  <a:pt x="2316" y="298"/>
                  <a:pt x="2316" y="298"/>
                </a:cubicBezTo>
                <a:cubicBezTo>
                  <a:pt x="2316" y="297"/>
                  <a:pt x="2316" y="297"/>
                  <a:pt x="2316" y="297"/>
                </a:cubicBezTo>
                <a:cubicBezTo>
                  <a:pt x="2316" y="297"/>
                  <a:pt x="2319" y="297"/>
                  <a:pt x="2321" y="296"/>
                </a:cubicBezTo>
                <a:cubicBezTo>
                  <a:pt x="2322" y="294"/>
                  <a:pt x="2322" y="290"/>
                  <a:pt x="2322" y="290"/>
                </a:cubicBezTo>
                <a:cubicBezTo>
                  <a:pt x="2322" y="290"/>
                  <a:pt x="2323" y="290"/>
                  <a:pt x="2325" y="290"/>
                </a:cubicBezTo>
                <a:cubicBezTo>
                  <a:pt x="2327" y="289"/>
                  <a:pt x="2327" y="286"/>
                  <a:pt x="2327" y="286"/>
                </a:cubicBezTo>
                <a:cubicBezTo>
                  <a:pt x="2327" y="286"/>
                  <a:pt x="2325" y="285"/>
                  <a:pt x="2326" y="284"/>
                </a:cubicBezTo>
                <a:cubicBezTo>
                  <a:pt x="2326" y="283"/>
                  <a:pt x="2330" y="279"/>
                  <a:pt x="2330" y="279"/>
                </a:cubicBezTo>
                <a:cubicBezTo>
                  <a:pt x="2330" y="277"/>
                  <a:pt x="2330" y="277"/>
                  <a:pt x="2330" y="277"/>
                </a:cubicBezTo>
                <a:cubicBezTo>
                  <a:pt x="2333" y="274"/>
                  <a:pt x="2333" y="274"/>
                  <a:pt x="2333" y="274"/>
                </a:cubicBezTo>
                <a:cubicBezTo>
                  <a:pt x="2331" y="272"/>
                  <a:pt x="2331" y="272"/>
                  <a:pt x="2331" y="272"/>
                </a:cubicBezTo>
                <a:cubicBezTo>
                  <a:pt x="2331" y="261"/>
                  <a:pt x="2331" y="261"/>
                  <a:pt x="2331" y="261"/>
                </a:cubicBezTo>
                <a:cubicBezTo>
                  <a:pt x="2331" y="261"/>
                  <a:pt x="2328" y="256"/>
                  <a:pt x="2331" y="255"/>
                </a:cubicBezTo>
                <a:cubicBezTo>
                  <a:pt x="2335" y="254"/>
                  <a:pt x="2335" y="260"/>
                  <a:pt x="2335" y="260"/>
                </a:cubicBezTo>
                <a:cubicBezTo>
                  <a:pt x="2335" y="260"/>
                  <a:pt x="2337" y="261"/>
                  <a:pt x="2337" y="264"/>
                </a:cubicBezTo>
                <a:cubicBezTo>
                  <a:pt x="2338" y="267"/>
                  <a:pt x="2339" y="270"/>
                  <a:pt x="2339" y="270"/>
                </a:cubicBezTo>
                <a:cubicBezTo>
                  <a:pt x="2342" y="274"/>
                  <a:pt x="2342" y="274"/>
                  <a:pt x="2342" y="274"/>
                </a:cubicBezTo>
                <a:cubicBezTo>
                  <a:pt x="2340" y="276"/>
                  <a:pt x="2340" y="276"/>
                  <a:pt x="2340" y="276"/>
                </a:cubicBezTo>
                <a:cubicBezTo>
                  <a:pt x="2340" y="276"/>
                  <a:pt x="2338" y="277"/>
                  <a:pt x="2338" y="279"/>
                </a:cubicBezTo>
                <a:cubicBezTo>
                  <a:pt x="2338" y="280"/>
                  <a:pt x="2342" y="278"/>
                  <a:pt x="2342" y="278"/>
                </a:cubicBezTo>
                <a:cubicBezTo>
                  <a:pt x="2342" y="281"/>
                  <a:pt x="2342" y="281"/>
                  <a:pt x="2342" y="281"/>
                </a:cubicBezTo>
                <a:cubicBezTo>
                  <a:pt x="2339" y="282"/>
                  <a:pt x="2339" y="282"/>
                  <a:pt x="2339" y="282"/>
                </a:cubicBezTo>
                <a:cubicBezTo>
                  <a:pt x="2339" y="282"/>
                  <a:pt x="2339" y="282"/>
                  <a:pt x="2339" y="282"/>
                </a:cubicBezTo>
                <a:close/>
                <a:moveTo>
                  <a:pt x="2727" y="377"/>
                </a:moveTo>
                <a:cubicBezTo>
                  <a:pt x="2725" y="386"/>
                  <a:pt x="2725" y="386"/>
                  <a:pt x="2725" y="386"/>
                </a:cubicBezTo>
                <a:cubicBezTo>
                  <a:pt x="2727" y="385"/>
                  <a:pt x="2727" y="385"/>
                  <a:pt x="2727" y="385"/>
                </a:cubicBezTo>
                <a:cubicBezTo>
                  <a:pt x="2730" y="379"/>
                  <a:pt x="2730" y="379"/>
                  <a:pt x="2730" y="379"/>
                </a:cubicBezTo>
                <a:cubicBezTo>
                  <a:pt x="2727" y="377"/>
                  <a:pt x="2727" y="377"/>
                  <a:pt x="2727" y="377"/>
                </a:cubicBezTo>
                <a:cubicBezTo>
                  <a:pt x="2727" y="377"/>
                  <a:pt x="2727" y="377"/>
                  <a:pt x="2727" y="377"/>
                </a:cubicBezTo>
                <a:close/>
                <a:moveTo>
                  <a:pt x="2639" y="502"/>
                </a:moveTo>
                <a:cubicBezTo>
                  <a:pt x="2643" y="509"/>
                  <a:pt x="2643" y="509"/>
                  <a:pt x="2643" y="509"/>
                </a:cubicBezTo>
                <a:cubicBezTo>
                  <a:pt x="2645" y="508"/>
                  <a:pt x="2645" y="508"/>
                  <a:pt x="2645" y="508"/>
                </a:cubicBezTo>
                <a:cubicBezTo>
                  <a:pt x="2645" y="508"/>
                  <a:pt x="2644" y="504"/>
                  <a:pt x="2645" y="505"/>
                </a:cubicBezTo>
                <a:cubicBezTo>
                  <a:pt x="2647" y="506"/>
                  <a:pt x="2649" y="510"/>
                  <a:pt x="2649" y="510"/>
                </a:cubicBezTo>
                <a:cubicBezTo>
                  <a:pt x="2649" y="515"/>
                  <a:pt x="2649" y="515"/>
                  <a:pt x="2649" y="515"/>
                </a:cubicBezTo>
                <a:cubicBezTo>
                  <a:pt x="2647" y="517"/>
                  <a:pt x="2647" y="517"/>
                  <a:pt x="2647" y="517"/>
                </a:cubicBezTo>
                <a:cubicBezTo>
                  <a:pt x="2647" y="517"/>
                  <a:pt x="2649" y="526"/>
                  <a:pt x="2651" y="527"/>
                </a:cubicBezTo>
                <a:cubicBezTo>
                  <a:pt x="2653" y="527"/>
                  <a:pt x="2653" y="520"/>
                  <a:pt x="2653" y="520"/>
                </a:cubicBezTo>
                <a:cubicBezTo>
                  <a:pt x="2657" y="522"/>
                  <a:pt x="2657" y="522"/>
                  <a:pt x="2657" y="522"/>
                </a:cubicBezTo>
                <a:cubicBezTo>
                  <a:pt x="2657" y="522"/>
                  <a:pt x="2657" y="528"/>
                  <a:pt x="2657" y="528"/>
                </a:cubicBezTo>
                <a:cubicBezTo>
                  <a:pt x="2658" y="528"/>
                  <a:pt x="2661" y="523"/>
                  <a:pt x="2661" y="523"/>
                </a:cubicBezTo>
                <a:cubicBezTo>
                  <a:pt x="2661" y="523"/>
                  <a:pt x="2659" y="515"/>
                  <a:pt x="2659" y="513"/>
                </a:cubicBezTo>
                <a:cubicBezTo>
                  <a:pt x="2659" y="510"/>
                  <a:pt x="2662" y="509"/>
                  <a:pt x="2662" y="509"/>
                </a:cubicBezTo>
                <a:cubicBezTo>
                  <a:pt x="2662" y="506"/>
                  <a:pt x="2657" y="503"/>
                  <a:pt x="2657" y="503"/>
                </a:cubicBezTo>
                <a:cubicBezTo>
                  <a:pt x="2657" y="503"/>
                  <a:pt x="2657" y="501"/>
                  <a:pt x="2656" y="500"/>
                </a:cubicBezTo>
                <a:cubicBezTo>
                  <a:pt x="2654" y="500"/>
                  <a:pt x="2653" y="500"/>
                  <a:pt x="2653" y="500"/>
                </a:cubicBezTo>
                <a:cubicBezTo>
                  <a:pt x="2653" y="500"/>
                  <a:pt x="2649" y="497"/>
                  <a:pt x="2647" y="497"/>
                </a:cubicBezTo>
                <a:cubicBezTo>
                  <a:pt x="2646" y="497"/>
                  <a:pt x="2644" y="500"/>
                  <a:pt x="2644" y="500"/>
                </a:cubicBezTo>
                <a:cubicBezTo>
                  <a:pt x="2639" y="502"/>
                  <a:pt x="2639" y="502"/>
                  <a:pt x="2639" y="502"/>
                </a:cubicBezTo>
                <a:cubicBezTo>
                  <a:pt x="2639" y="502"/>
                  <a:pt x="2639" y="502"/>
                  <a:pt x="2639" y="502"/>
                </a:cubicBezTo>
                <a:close/>
                <a:moveTo>
                  <a:pt x="2697" y="453"/>
                </a:moveTo>
                <a:cubicBezTo>
                  <a:pt x="2699" y="453"/>
                  <a:pt x="2699" y="453"/>
                  <a:pt x="2699" y="453"/>
                </a:cubicBezTo>
                <a:cubicBezTo>
                  <a:pt x="2699" y="450"/>
                  <a:pt x="2699" y="450"/>
                  <a:pt x="2699" y="450"/>
                </a:cubicBezTo>
                <a:cubicBezTo>
                  <a:pt x="2698" y="449"/>
                  <a:pt x="2698" y="449"/>
                  <a:pt x="2698" y="449"/>
                </a:cubicBezTo>
                <a:cubicBezTo>
                  <a:pt x="2696" y="446"/>
                  <a:pt x="2696" y="446"/>
                  <a:pt x="2696" y="446"/>
                </a:cubicBezTo>
                <a:cubicBezTo>
                  <a:pt x="2695" y="448"/>
                  <a:pt x="2695" y="448"/>
                  <a:pt x="2695" y="448"/>
                </a:cubicBezTo>
                <a:cubicBezTo>
                  <a:pt x="2696" y="450"/>
                  <a:pt x="2696" y="450"/>
                  <a:pt x="2696" y="450"/>
                </a:cubicBezTo>
                <a:cubicBezTo>
                  <a:pt x="2697" y="453"/>
                  <a:pt x="2697" y="453"/>
                  <a:pt x="2697" y="453"/>
                </a:cubicBezTo>
                <a:cubicBezTo>
                  <a:pt x="2697" y="453"/>
                  <a:pt x="2697" y="453"/>
                  <a:pt x="2697" y="453"/>
                </a:cubicBezTo>
                <a:close/>
                <a:moveTo>
                  <a:pt x="2647" y="575"/>
                </a:moveTo>
                <a:cubicBezTo>
                  <a:pt x="2645" y="577"/>
                  <a:pt x="2643" y="584"/>
                  <a:pt x="2643" y="584"/>
                </a:cubicBezTo>
                <a:cubicBezTo>
                  <a:pt x="2646" y="585"/>
                  <a:pt x="2646" y="585"/>
                  <a:pt x="2646" y="585"/>
                </a:cubicBezTo>
                <a:cubicBezTo>
                  <a:pt x="2646" y="585"/>
                  <a:pt x="2648" y="580"/>
                  <a:pt x="2648" y="580"/>
                </a:cubicBezTo>
                <a:cubicBezTo>
                  <a:pt x="2647" y="580"/>
                  <a:pt x="2650" y="577"/>
                  <a:pt x="2650" y="577"/>
                </a:cubicBezTo>
                <a:cubicBezTo>
                  <a:pt x="2650" y="577"/>
                  <a:pt x="2649" y="573"/>
                  <a:pt x="2647" y="575"/>
                </a:cubicBezTo>
                <a:close/>
                <a:moveTo>
                  <a:pt x="2649" y="568"/>
                </a:moveTo>
                <a:cubicBezTo>
                  <a:pt x="2649" y="570"/>
                  <a:pt x="2649" y="570"/>
                  <a:pt x="2649" y="570"/>
                </a:cubicBezTo>
                <a:cubicBezTo>
                  <a:pt x="2652" y="570"/>
                  <a:pt x="2652" y="570"/>
                  <a:pt x="2652" y="570"/>
                </a:cubicBezTo>
                <a:cubicBezTo>
                  <a:pt x="2649" y="568"/>
                  <a:pt x="2649" y="568"/>
                  <a:pt x="2649" y="568"/>
                </a:cubicBezTo>
                <a:cubicBezTo>
                  <a:pt x="2649" y="568"/>
                  <a:pt x="2649" y="568"/>
                  <a:pt x="2649" y="568"/>
                </a:cubicBezTo>
                <a:close/>
                <a:moveTo>
                  <a:pt x="2721" y="381"/>
                </a:moveTo>
                <a:cubicBezTo>
                  <a:pt x="2719" y="379"/>
                  <a:pt x="2718" y="384"/>
                  <a:pt x="2718" y="384"/>
                </a:cubicBezTo>
                <a:cubicBezTo>
                  <a:pt x="2718" y="384"/>
                  <a:pt x="2704" y="381"/>
                  <a:pt x="2701" y="379"/>
                </a:cubicBezTo>
                <a:cubicBezTo>
                  <a:pt x="2697" y="377"/>
                  <a:pt x="2682" y="364"/>
                  <a:pt x="2680" y="367"/>
                </a:cubicBezTo>
                <a:cubicBezTo>
                  <a:pt x="2678" y="369"/>
                  <a:pt x="2687" y="376"/>
                  <a:pt x="2687" y="376"/>
                </a:cubicBezTo>
                <a:cubicBezTo>
                  <a:pt x="2687" y="379"/>
                  <a:pt x="2687" y="379"/>
                  <a:pt x="2687" y="379"/>
                </a:cubicBezTo>
                <a:cubicBezTo>
                  <a:pt x="2687" y="379"/>
                  <a:pt x="2690" y="382"/>
                  <a:pt x="2690" y="383"/>
                </a:cubicBezTo>
                <a:cubicBezTo>
                  <a:pt x="2690" y="385"/>
                  <a:pt x="2689" y="387"/>
                  <a:pt x="2689" y="387"/>
                </a:cubicBezTo>
                <a:cubicBezTo>
                  <a:pt x="2689" y="387"/>
                  <a:pt x="2693" y="392"/>
                  <a:pt x="2692" y="392"/>
                </a:cubicBezTo>
                <a:cubicBezTo>
                  <a:pt x="2690" y="392"/>
                  <a:pt x="2684" y="391"/>
                  <a:pt x="2683" y="390"/>
                </a:cubicBezTo>
                <a:cubicBezTo>
                  <a:pt x="2681" y="390"/>
                  <a:pt x="2686" y="394"/>
                  <a:pt x="2686" y="394"/>
                </a:cubicBezTo>
                <a:cubicBezTo>
                  <a:pt x="2682" y="398"/>
                  <a:pt x="2682" y="398"/>
                  <a:pt x="2682" y="398"/>
                </a:cubicBezTo>
                <a:cubicBezTo>
                  <a:pt x="2682" y="398"/>
                  <a:pt x="2684" y="401"/>
                  <a:pt x="2684" y="402"/>
                </a:cubicBezTo>
                <a:cubicBezTo>
                  <a:pt x="2685" y="403"/>
                  <a:pt x="2690" y="406"/>
                  <a:pt x="2690" y="406"/>
                </a:cubicBezTo>
                <a:cubicBezTo>
                  <a:pt x="2690" y="406"/>
                  <a:pt x="2688" y="413"/>
                  <a:pt x="2693" y="413"/>
                </a:cubicBezTo>
                <a:cubicBezTo>
                  <a:pt x="2695" y="412"/>
                  <a:pt x="2692" y="409"/>
                  <a:pt x="2694" y="409"/>
                </a:cubicBezTo>
                <a:cubicBezTo>
                  <a:pt x="2697" y="409"/>
                  <a:pt x="2699" y="409"/>
                  <a:pt x="2699" y="409"/>
                </a:cubicBezTo>
                <a:cubicBezTo>
                  <a:pt x="2700" y="407"/>
                  <a:pt x="2700" y="407"/>
                  <a:pt x="2700" y="407"/>
                </a:cubicBezTo>
                <a:cubicBezTo>
                  <a:pt x="2695" y="404"/>
                  <a:pt x="2695" y="404"/>
                  <a:pt x="2695" y="404"/>
                </a:cubicBezTo>
                <a:cubicBezTo>
                  <a:pt x="2692" y="404"/>
                  <a:pt x="2692" y="404"/>
                  <a:pt x="2692" y="404"/>
                </a:cubicBezTo>
                <a:cubicBezTo>
                  <a:pt x="2692" y="404"/>
                  <a:pt x="2685" y="401"/>
                  <a:pt x="2688" y="400"/>
                </a:cubicBezTo>
                <a:cubicBezTo>
                  <a:pt x="2692" y="398"/>
                  <a:pt x="2694" y="402"/>
                  <a:pt x="2694" y="402"/>
                </a:cubicBezTo>
                <a:cubicBezTo>
                  <a:pt x="2694" y="402"/>
                  <a:pt x="2697" y="400"/>
                  <a:pt x="2699" y="399"/>
                </a:cubicBezTo>
                <a:cubicBezTo>
                  <a:pt x="2701" y="399"/>
                  <a:pt x="2716" y="407"/>
                  <a:pt x="2717" y="406"/>
                </a:cubicBezTo>
                <a:cubicBezTo>
                  <a:pt x="2718" y="405"/>
                  <a:pt x="2714" y="397"/>
                  <a:pt x="2718" y="395"/>
                </a:cubicBezTo>
                <a:cubicBezTo>
                  <a:pt x="2722" y="394"/>
                  <a:pt x="2721" y="397"/>
                  <a:pt x="2725" y="395"/>
                </a:cubicBezTo>
                <a:cubicBezTo>
                  <a:pt x="2729" y="393"/>
                  <a:pt x="2730" y="392"/>
                  <a:pt x="2730" y="392"/>
                </a:cubicBezTo>
                <a:cubicBezTo>
                  <a:pt x="2722" y="387"/>
                  <a:pt x="2722" y="387"/>
                  <a:pt x="2722" y="387"/>
                </a:cubicBezTo>
                <a:cubicBezTo>
                  <a:pt x="2722" y="387"/>
                  <a:pt x="2722" y="382"/>
                  <a:pt x="2721" y="381"/>
                </a:cubicBezTo>
                <a:close/>
                <a:moveTo>
                  <a:pt x="1804" y="932"/>
                </a:moveTo>
                <a:cubicBezTo>
                  <a:pt x="1803" y="934"/>
                  <a:pt x="1803" y="939"/>
                  <a:pt x="1806" y="939"/>
                </a:cubicBezTo>
                <a:cubicBezTo>
                  <a:pt x="1809" y="938"/>
                  <a:pt x="1806" y="930"/>
                  <a:pt x="1804" y="932"/>
                </a:cubicBezTo>
                <a:close/>
                <a:moveTo>
                  <a:pt x="1801" y="942"/>
                </a:moveTo>
                <a:cubicBezTo>
                  <a:pt x="1797" y="942"/>
                  <a:pt x="1799" y="947"/>
                  <a:pt x="1799" y="947"/>
                </a:cubicBezTo>
                <a:cubicBezTo>
                  <a:pt x="1799" y="947"/>
                  <a:pt x="1803" y="951"/>
                  <a:pt x="1805" y="951"/>
                </a:cubicBezTo>
                <a:cubicBezTo>
                  <a:pt x="1807" y="950"/>
                  <a:pt x="1803" y="946"/>
                  <a:pt x="1803" y="946"/>
                </a:cubicBezTo>
                <a:cubicBezTo>
                  <a:pt x="1803" y="946"/>
                  <a:pt x="1804" y="942"/>
                  <a:pt x="1801" y="942"/>
                </a:cubicBezTo>
                <a:close/>
                <a:moveTo>
                  <a:pt x="1911" y="1038"/>
                </a:moveTo>
                <a:cubicBezTo>
                  <a:pt x="1911" y="1038"/>
                  <a:pt x="1906" y="1028"/>
                  <a:pt x="1906" y="1027"/>
                </a:cubicBezTo>
                <a:cubicBezTo>
                  <a:pt x="1906" y="1026"/>
                  <a:pt x="1906" y="1024"/>
                  <a:pt x="1906" y="1024"/>
                </a:cubicBezTo>
                <a:cubicBezTo>
                  <a:pt x="1898" y="1015"/>
                  <a:pt x="1898" y="1015"/>
                  <a:pt x="1898" y="1015"/>
                </a:cubicBezTo>
                <a:cubicBezTo>
                  <a:pt x="1894" y="1021"/>
                  <a:pt x="1894" y="1021"/>
                  <a:pt x="1894" y="1021"/>
                </a:cubicBezTo>
                <a:cubicBezTo>
                  <a:pt x="1894" y="1021"/>
                  <a:pt x="1894" y="1025"/>
                  <a:pt x="1893" y="1028"/>
                </a:cubicBezTo>
                <a:cubicBezTo>
                  <a:pt x="1892" y="1031"/>
                  <a:pt x="1888" y="1034"/>
                  <a:pt x="1888" y="1034"/>
                </a:cubicBezTo>
                <a:cubicBezTo>
                  <a:pt x="1888" y="1034"/>
                  <a:pt x="1886" y="1032"/>
                  <a:pt x="1885" y="1034"/>
                </a:cubicBezTo>
                <a:cubicBezTo>
                  <a:pt x="1883" y="1035"/>
                  <a:pt x="1886" y="1039"/>
                  <a:pt x="1884" y="1042"/>
                </a:cubicBezTo>
                <a:cubicBezTo>
                  <a:pt x="1882" y="1044"/>
                  <a:pt x="1881" y="1044"/>
                  <a:pt x="1881" y="1044"/>
                </a:cubicBezTo>
                <a:cubicBezTo>
                  <a:pt x="1881" y="1044"/>
                  <a:pt x="1880" y="1040"/>
                  <a:pt x="1879" y="1041"/>
                </a:cubicBezTo>
                <a:cubicBezTo>
                  <a:pt x="1877" y="1042"/>
                  <a:pt x="1878" y="1048"/>
                  <a:pt x="1878" y="1048"/>
                </a:cubicBezTo>
                <a:cubicBezTo>
                  <a:pt x="1876" y="1054"/>
                  <a:pt x="1876" y="1054"/>
                  <a:pt x="1876" y="1054"/>
                </a:cubicBezTo>
                <a:cubicBezTo>
                  <a:pt x="1875" y="1051"/>
                  <a:pt x="1875" y="1051"/>
                  <a:pt x="1875" y="1051"/>
                </a:cubicBezTo>
                <a:cubicBezTo>
                  <a:pt x="1875" y="1047"/>
                  <a:pt x="1875" y="1047"/>
                  <a:pt x="1875" y="1047"/>
                </a:cubicBezTo>
                <a:cubicBezTo>
                  <a:pt x="1873" y="1051"/>
                  <a:pt x="1873" y="1051"/>
                  <a:pt x="1873" y="1051"/>
                </a:cubicBezTo>
                <a:cubicBezTo>
                  <a:pt x="1873" y="1056"/>
                  <a:pt x="1873" y="1056"/>
                  <a:pt x="1873" y="1056"/>
                </a:cubicBezTo>
                <a:cubicBezTo>
                  <a:pt x="1867" y="1055"/>
                  <a:pt x="1867" y="1055"/>
                  <a:pt x="1867" y="1055"/>
                </a:cubicBezTo>
                <a:cubicBezTo>
                  <a:pt x="1864" y="1058"/>
                  <a:pt x="1864" y="1058"/>
                  <a:pt x="1864" y="1058"/>
                </a:cubicBezTo>
                <a:cubicBezTo>
                  <a:pt x="1856" y="1057"/>
                  <a:pt x="1856" y="1057"/>
                  <a:pt x="1856" y="1057"/>
                </a:cubicBezTo>
                <a:cubicBezTo>
                  <a:pt x="1856" y="1061"/>
                  <a:pt x="1856" y="1061"/>
                  <a:pt x="1856" y="1061"/>
                </a:cubicBezTo>
                <a:cubicBezTo>
                  <a:pt x="1850" y="1060"/>
                  <a:pt x="1850" y="1060"/>
                  <a:pt x="1850" y="1060"/>
                </a:cubicBezTo>
                <a:cubicBezTo>
                  <a:pt x="1846" y="1061"/>
                  <a:pt x="1846" y="1061"/>
                  <a:pt x="1846" y="1061"/>
                </a:cubicBezTo>
                <a:cubicBezTo>
                  <a:pt x="1848" y="1065"/>
                  <a:pt x="1848" y="1065"/>
                  <a:pt x="1848" y="1065"/>
                </a:cubicBezTo>
                <a:cubicBezTo>
                  <a:pt x="1848" y="1065"/>
                  <a:pt x="1845" y="1069"/>
                  <a:pt x="1842" y="1072"/>
                </a:cubicBezTo>
                <a:cubicBezTo>
                  <a:pt x="1839" y="1074"/>
                  <a:pt x="1842" y="1084"/>
                  <a:pt x="1843" y="1088"/>
                </a:cubicBezTo>
                <a:cubicBezTo>
                  <a:pt x="1843" y="1093"/>
                  <a:pt x="1844" y="1106"/>
                  <a:pt x="1844" y="1106"/>
                </a:cubicBezTo>
                <a:cubicBezTo>
                  <a:pt x="1844" y="1106"/>
                  <a:pt x="1839" y="1110"/>
                  <a:pt x="1836" y="1114"/>
                </a:cubicBezTo>
                <a:cubicBezTo>
                  <a:pt x="1833" y="1118"/>
                  <a:pt x="1828" y="1118"/>
                  <a:pt x="1829" y="1132"/>
                </a:cubicBezTo>
                <a:cubicBezTo>
                  <a:pt x="1830" y="1145"/>
                  <a:pt x="1836" y="1153"/>
                  <a:pt x="1836" y="1153"/>
                </a:cubicBezTo>
                <a:cubicBezTo>
                  <a:pt x="1834" y="1156"/>
                  <a:pt x="1834" y="1156"/>
                  <a:pt x="1834" y="1156"/>
                </a:cubicBezTo>
                <a:cubicBezTo>
                  <a:pt x="1834" y="1156"/>
                  <a:pt x="1834" y="1159"/>
                  <a:pt x="1840" y="1165"/>
                </a:cubicBezTo>
                <a:cubicBezTo>
                  <a:pt x="1847" y="1171"/>
                  <a:pt x="1856" y="1164"/>
                  <a:pt x="1856" y="1164"/>
                </a:cubicBezTo>
                <a:cubicBezTo>
                  <a:pt x="1856" y="1164"/>
                  <a:pt x="1857" y="1165"/>
                  <a:pt x="1859" y="1164"/>
                </a:cubicBezTo>
                <a:cubicBezTo>
                  <a:pt x="1861" y="1163"/>
                  <a:pt x="1862" y="1161"/>
                  <a:pt x="1867" y="1157"/>
                </a:cubicBezTo>
                <a:cubicBezTo>
                  <a:pt x="1873" y="1152"/>
                  <a:pt x="1872" y="1143"/>
                  <a:pt x="1872" y="1143"/>
                </a:cubicBezTo>
                <a:cubicBezTo>
                  <a:pt x="1872" y="1143"/>
                  <a:pt x="1876" y="1130"/>
                  <a:pt x="1884" y="1115"/>
                </a:cubicBezTo>
                <a:cubicBezTo>
                  <a:pt x="1892" y="1101"/>
                  <a:pt x="1897" y="1085"/>
                  <a:pt x="1899" y="1080"/>
                </a:cubicBezTo>
                <a:cubicBezTo>
                  <a:pt x="1900" y="1075"/>
                  <a:pt x="1897" y="1072"/>
                  <a:pt x="1898" y="1069"/>
                </a:cubicBezTo>
                <a:cubicBezTo>
                  <a:pt x="1898" y="1066"/>
                  <a:pt x="1903" y="1061"/>
                  <a:pt x="1903" y="1061"/>
                </a:cubicBezTo>
                <a:cubicBezTo>
                  <a:pt x="1902" y="1056"/>
                  <a:pt x="1902" y="1056"/>
                  <a:pt x="1902" y="1056"/>
                </a:cubicBezTo>
                <a:cubicBezTo>
                  <a:pt x="1906" y="1055"/>
                  <a:pt x="1906" y="1055"/>
                  <a:pt x="1906" y="1055"/>
                </a:cubicBezTo>
                <a:cubicBezTo>
                  <a:pt x="1906" y="1055"/>
                  <a:pt x="1911" y="1057"/>
                  <a:pt x="1912" y="1056"/>
                </a:cubicBezTo>
                <a:cubicBezTo>
                  <a:pt x="1913" y="1055"/>
                  <a:pt x="1908" y="1045"/>
                  <a:pt x="1908" y="1045"/>
                </a:cubicBezTo>
                <a:cubicBezTo>
                  <a:pt x="1911" y="1038"/>
                  <a:pt x="1911" y="1038"/>
                  <a:pt x="1911" y="1038"/>
                </a:cubicBezTo>
                <a:cubicBezTo>
                  <a:pt x="1911" y="1038"/>
                  <a:pt x="1911" y="1038"/>
                  <a:pt x="1911" y="1038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D15218BD-28B2-4DE3-A995-40C3CC49AD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404E7883-6F6D-4A3D-BE15-9778CCCAA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437DFCA6-B347-14B2-D923-DD6023A0E48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6E00E5B7-301B-852D-F766-E8B0BFDFC9B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402946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itat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270A7CFB-CCD3-4981-8A06-B30F0947B1D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326A4F2-777D-4195-9351-3B9DF3F17E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6875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">
            <a:extLst>
              <a:ext uri="{FF2B5EF4-FFF2-40B4-BE49-F238E27FC236}">
                <a16:creationId xmlns:a16="http://schemas.microsoft.com/office/drawing/2014/main" id="{D06AA6F0-F3ED-4B57-9FDE-B1A15B16DDE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0413" cy="3821202"/>
          </a:xfrm>
          <a:custGeom>
            <a:avLst/>
            <a:gdLst>
              <a:gd name="connsiteX0" fmla="*/ 0 w 12190413"/>
              <a:gd name="connsiteY0" fmla="*/ 0 h 3821202"/>
              <a:gd name="connsiteX1" fmla="*/ 12190413 w 12190413"/>
              <a:gd name="connsiteY1" fmla="*/ 0 h 3821202"/>
              <a:gd name="connsiteX2" fmla="*/ 12190413 w 12190413"/>
              <a:gd name="connsiteY2" fmla="*/ 3821202 h 3821202"/>
              <a:gd name="connsiteX3" fmla="*/ 10690162 w 12190413"/>
              <a:gd name="connsiteY3" fmla="*/ 3821202 h 3821202"/>
              <a:gd name="connsiteX4" fmla="*/ 10642943 w 12190413"/>
              <a:gd name="connsiteY4" fmla="*/ 3761233 h 3821202"/>
              <a:gd name="connsiteX5" fmla="*/ 9961809 w 12190413"/>
              <a:gd name="connsiteY5" fmla="*/ 3447111 h 3821202"/>
              <a:gd name="connsiteX6" fmla="*/ 9278328 w 12190413"/>
              <a:gd name="connsiteY6" fmla="*/ 3756478 h 3821202"/>
              <a:gd name="connsiteX7" fmla="*/ 9226686 w 12190413"/>
              <a:gd name="connsiteY7" fmla="*/ 3821202 h 3821202"/>
              <a:gd name="connsiteX8" fmla="*/ 0 w 12190413"/>
              <a:gd name="connsiteY8" fmla="*/ 3821202 h 382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3821202">
                <a:moveTo>
                  <a:pt x="0" y="0"/>
                </a:moveTo>
                <a:lnTo>
                  <a:pt x="12190413" y="0"/>
                </a:lnTo>
                <a:lnTo>
                  <a:pt x="12190413" y="3821202"/>
                </a:lnTo>
                <a:lnTo>
                  <a:pt x="10690162" y="3821202"/>
                </a:lnTo>
                <a:lnTo>
                  <a:pt x="10642943" y="3761233"/>
                </a:lnTo>
                <a:cubicBezTo>
                  <a:pt x="10467138" y="3562880"/>
                  <a:pt x="10221310" y="3448078"/>
                  <a:pt x="9961809" y="3447111"/>
                </a:cubicBezTo>
                <a:cubicBezTo>
                  <a:pt x="9702156" y="3446144"/>
                  <a:pt x="9455451" y="3559243"/>
                  <a:pt x="9278328" y="3756478"/>
                </a:cubicBezTo>
                <a:lnTo>
                  <a:pt x="9226686" y="3821202"/>
                </a:lnTo>
                <a:lnTo>
                  <a:pt x="0" y="38212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42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58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8C07F86-EDDE-4BE6-A55E-0A864D6618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9310845" y="3718061"/>
            <a:ext cx="2329984" cy="1259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97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">
            <a:extLst>
              <a:ext uri="{FF2B5EF4-FFF2-40B4-BE49-F238E27FC236}">
                <a16:creationId xmlns:a16="http://schemas.microsoft.com/office/drawing/2014/main" id="{86B94227-10D3-4E3D-BB8E-16CA0D837B27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068000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 cap="all" baseline="0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Untertitel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220000"/>
            <a:ext cx="8464168" cy="323851"/>
          </a:xfrm>
          <a:prstGeom prst="rect">
            <a:avLst/>
          </a:prstGeo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8" name="Rechteck">
            <a:extLst>
              <a:ext uri="{FF2B5EF4-FFF2-40B4-BE49-F238E27FC236}">
                <a16:creationId xmlns:a16="http://schemas.microsoft.com/office/drawing/2014/main" id="{DEE1A475-1444-4081-A5D1-AF1DD9BD59B6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822267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Zwischenfoli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E77C0D5E-6442-43CF-9A58-2F1D7F6B3CC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2518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Zwischenfolie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997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Zwischenfolie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7FAE27AA-FABE-4FCC-94B1-767587DF869D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78772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wischenfolie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B338E64A-FF2A-4099-814D-AA589E158985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99954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Zwischenfolie">
    <p:bg bwMode="lt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1DCAFF42-0775-4212-8BB9-A84E3BBF04F0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60190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Zwischenfolie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3997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">
            <a:extLst>
              <a:ext uri="{FF2B5EF4-FFF2-40B4-BE49-F238E27FC236}">
                <a16:creationId xmlns:a16="http://schemas.microsoft.com/office/drawing/2014/main" id="{2BFD5FE5-7AC4-4DFF-B92E-51E906EA65E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5" name="Text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5400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6" name="Text">
            <a:extLst>
              <a:ext uri="{FF2B5EF4-FFF2-40B4-BE49-F238E27FC236}">
                <a16:creationId xmlns:a16="http://schemas.microsoft.com/office/drawing/2014/main" id="{A6A55C99-A5B8-4FC7-858A-4806CC497751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28404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7" name="Text">
            <a:extLst>
              <a:ext uri="{FF2B5EF4-FFF2-40B4-BE49-F238E27FC236}">
                <a16:creationId xmlns:a16="http://schemas.microsoft.com/office/drawing/2014/main" id="{047E2E09-20FB-45EA-908F-8E846C5E3DB7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51408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382DFAF6-1140-4DB1-BA07-D4355A5782BD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 bwMode="gray">
          <a:xfrm>
            <a:off x="74412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6D0835F0-C127-4EA9-8620-6BDC9F4EDB42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 bwMode="gray">
          <a:xfrm>
            <a:off x="97416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41337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056585AD-BE4A-45E5-B743-D1AAD646B7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41403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CC65B678-D15E-4226-A0C4-8A0311FB67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141469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4">
            <a:extLst>
              <a:ext uri="{FF2B5EF4-FFF2-40B4-BE49-F238E27FC236}">
                <a16:creationId xmlns:a16="http://schemas.microsoft.com/office/drawing/2014/main" id="{6DC9A36B-B757-4910-AE6B-F24CC93D5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441535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5">
            <a:extLst>
              <a:ext uri="{FF2B5EF4-FFF2-40B4-BE49-F238E27FC236}">
                <a16:creationId xmlns:a16="http://schemas.microsoft.com/office/drawing/2014/main" id="{12A4ECE6-A95E-4BEE-93A3-2D319FB5E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9741600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E66337B0-C724-1B9E-1B11-78358312B44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5C9DC0C0-ACF9-FC56-B011-1C6CB32EFEA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4800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354112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grau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7" name="Datum">
            <a:extLst>
              <a:ext uri="{FF2B5EF4-FFF2-40B4-BE49-F238E27FC236}">
                <a16:creationId xmlns:a16="http://schemas.microsoft.com/office/drawing/2014/main" id="{CAC2EE2B-B04E-A6C7-0EDB-CBE486A1FCD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868C6EA0-7B0C-9923-87F6-6EBB53FAA1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41308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018E0BA7-027D-C0D4-BD87-434E0DDC691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D459CD97-E19E-AF6F-FF5E-8BAB960D729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128909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>
            <a:extLst>
              <a:ext uri="{FF2B5EF4-FFF2-40B4-BE49-F238E27FC236}">
                <a16:creationId xmlns:a16="http://schemas.microsoft.com/office/drawing/2014/main" id="{DDA5821A-C911-4CC6-9E95-72DDB14DA6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8" name="Inhalt">
            <a:extLst>
              <a:ext uri="{FF2B5EF4-FFF2-40B4-BE49-F238E27FC236}">
                <a16:creationId xmlns:a16="http://schemas.microsoft.com/office/drawing/2014/main" id="{F312635F-21A1-4AC8-9DC0-3D88457F76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540000" y="1512000"/>
            <a:ext cx="11109600" cy="4298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9DAA5B02-1E6E-49F6-B4D4-9BC509202F6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2DCF0BD0-3533-314F-C174-D9A5E5A4617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DB8704A3-8BC8-FC2E-E657-C7A20A74762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372295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C6555B80-FEC4-4F48-A8EB-528F7C8A0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 1"/>
          <p:cNvSpPr>
            <a:spLocks noGrp="1"/>
          </p:cNvSpPr>
          <p:nvPr>
            <p:ph sz="half" idx="1" hasCustomPrompt="1"/>
          </p:nvPr>
        </p:nvSpPr>
        <p:spPr bwMode="gray">
          <a:xfrm>
            <a:off x="54000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46A130D1-C529-4C85-B44C-67CCFCE21623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 bwMode="gray">
          <a:xfrm>
            <a:off x="246671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7" name="Inhalt 3"/>
          <p:cNvSpPr>
            <a:spLocks noGrp="1"/>
          </p:cNvSpPr>
          <p:nvPr>
            <p:ph sz="half" idx="14" hasCustomPrompt="1"/>
          </p:nvPr>
        </p:nvSpPr>
        <p:spPr bwMode="gray">
          <a:xfrm>
            <a:off x="439343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 algn="ctr">
              <a:buNone/>
              <a:defRPr sz="14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endParaRPr lang="de-DE" noProof="0"/>
          </a:p>
        </p:txBody>
      </p:sp>
      <p:sp>
        <p:nvSpPr>
          <p:cNvPr id="4" name="Inhalt 4"/>
          <p:cNvSpPr>
            <a:spLocks noGrp="1"/>
          </p:cNvSpPr>
          <p:nvPr>
            <p:ph sz="half" idx="2" hasCustomPrompt="1"/>
          </p:nvPr>
        </p:nvSpPr>
        <p:spPr bwMode="gray">
          <a:xfrm>
            <a:off x="6320145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Inhalt 5">
            <a:extLst>
              <a:ext uri="{FF2B5EF4-FFF2-40B4-BE49-F238E27FC236}">
                <a16:creationId xmlns:a16="http://schemas.microsoft.com/office/drawing/2014/main" id="{8721FB0B-FC51-49F3-8FB9-30799BCD8553}"/>
              </a:ext>
            </a:extLst>
          </p:cNvPr>
          <p:cNvSpPr>
            <a:spLocks noGrp="1"/>
          </p:cNvSpPr>
          <p:nvPr>
            <p:ph sz="half" idx="18" hasCustomPrompt="1"/>
          </p:nvPr>
        </p:nvSpPr>
        <p:spPr bwMode="gray">
          <a:xfrm>
            <a:off x="8246860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Inhalt 6">
            <a:extLst>
              <a:ext uri="{FF2B5EF4-FFF2-40B4-BE49-F238E27FC236}">
                <a16:creationId xmlns:a16="http://schemas.microsoft.com/office/drawing/2014/main" id="{ED5E96AF-7AAC-4335-9EE7-89A25628881C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 bwMode="gray">
          <a:xfrm>
            <a:off x="10173577" y="3821373"/>
            <a:ext cx="1460264" cy="198887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9984A72B-A91E-464D-8CB5-D8E43378CDE2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11" name="Foliennummer">
            <a:extLst>
              <a:ext uri="{FF2B5EF4-FFF2-40B4-BE49-F238E27FC236}">
                <a16:creationId xmlns:a16="http://schemas.microsoft.com/office/drawing/2014/main" id="{E3B297F5-648C-4D0A-81CD-05527CF0F63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99E37E64-3646-7ED7-1C44-F8B19CC3161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033FE5C2-EA34-A6E8-3B1E-6ACB9FF7A96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6042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Linie 1">
            <a:extLst>
              <a:ext uri="{FF2B5EF4-FFF2-40B4-BE49-F238E27FC236}">
                <a16:creationId xmlns:a16="http://schemas.microsoft.com/office/drawing/2014/main" id="{C9064D9F-B951-4C83-98B5-755EE70B546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BAD8EE41-403F-4A48-B1D9-59F5C8F2F10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2634C2BB-8434-4B74-B0E7-547A2713A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Kreis">
            <a:extLst>
              <a:ext uri="{FF2B5EF4-FFF2-40B4-BE49-F238E27FC236}">
                <a16:creationId xmlns:a16="http://schemas.microsoft.com/office/drawing/2014/main" id="{90E9D527-DFF9-4F85-B1A2-0169589ACE74}"/>
              </a:ext>
            </a:extLst>
          </p:cNvPr>
          <p:cNvSpPr>
            <a:spLocks noGrp="1" noChangeAspect="1"/>
          </p:cNvSpPr>
          <p:nvPr>
            <p:ph type="body" sz="quarter" idx="32"/>
          </p:nvPr>
        </p:nvSpPr>
        <p:spPr bwMode="gray">
          <a:xfrm>
            <a:off x="5015206" y="2635200"/>
            <a:ext cx="2160000" cy="2160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txBody>
          <a:bodyPr lIns="0" rIns="0" anchor="ctr"/>
          <a:lstStyle>
            <a:lvl1pPr marL="0" indent="0" algn="ctr">
              <a:buNone/>
              <a:defRPr lang="de-DE" sz="2000" b="1" kern="120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5" name="Foliennummer">
            <a:extLst>
              <a:ext uri="{FF2B5EF4-FFF2-40B4-BE49-F238E27FC236}">
                <a16:creationId xmlns:a16="http://schemas.microsoft.com/office/drawing/2014/main" id="{79FE2F73-4C50-4BEA-BA8C-06EF1BBA314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6DE21123-9AF5-F9F0-59E2-A0A51B8D95F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8" name="Fußzeile">
            <a:extLst>
              <a:ext uri="{FF2B5EF4-FFF2-40B4-BE49-F238E27FC236}">
                <a16:creationId xmlns:a16="http://schemas.microsoft.com/office/drawing/2014/main" id="{754F22DF-91F2-0896-1EAB-20C7ADA6AF2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265782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Zwischenfolie">
    <p:bg bwMode="lt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9561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Zwischenfolie">
    <p:bg bwMode="ltGray"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 cap="all" baseline="0">
                <a:solidFill>
                  <a:schemeClr val="bg2"/>
                </a:solidFill>
              </a:defRPr>
            </a:lvl1pPr>
          </a:lstStyle>
          <a:p>
            <a:r>
              <a:rPr lang="de-DE" noProof="0"/>
              <a:t>Nr</a:t>
            </a:r>
          </a:p>
        </p:txBody>
      </p:sp>
      <p:sp>
        <p:nvSpPr>
          <p:cNvPr id="7" name="Untertitel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4634328"/>
            <a:ext cx="8464168" cy="702846"/>
          </a:xfrm>
          <a:prstGeom prst="rect">
            <a:avLst/>
          </a:prstGeo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" name="Rechteck">
            <a:extLst>
              <a:ext uri="{FF2B5EF4-FFF2-40B4-BE49-F238E27FC236}">
                <a16:creationId xmlns:a16="http://schemas.microsoft.com/office/drawing/2014/main" id="{F9923838-7BBA-44DC-8411-4AB4ECAA6BA4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359561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Hintergrund_Bild_Text">
    <p:bg bwMode="ltGray"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">
            <a:extLst>
              <a:ext uri="{FF2B5EF4-FFF2-40B4-BE49-F238E27FC236}">
                <a16:creationId xmlns:a16="http://schemas.microsoft.com/office/drawing/2014/main" id="{39ED2CFF-8044-4FC6-93C8-45C3C10A1E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835206" y="1512000"/>
            <a:ext cx="2520000" cy="25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4" name="Form">
            <a:extLst>
              <a:ext uri="{FF2B5EF4-FFF2-40B4-BE49-F238E27FC236}">
                <a16:creationId xmlns:a16="http://schemas.microsoft.com/office/drawing/2014/main" id="{1BBF12AD-3D4E-4B29-88B9-E5A3E5F3F5B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36813" y="1512000"/>
            <a:ext cx="718393" cy="540000"/>
          </a:xfrm>
          <a:custGeom>
            <a:avLst/>
            <a:gdLst>
              <a:gd name="connsiteX0" fmla="*/ 604287 w 718393"/>
              <a:gd name="connsiteY0" fmla="*/ 0 h 540000"/>
              <a:gd name="connsiteX1" fmla="*/ 657322 w 718393"/>
              <a:gd name="connsiteY1" fmla="*/ 3215 h 540000"/>
              <a:gd name="connsiteX2" fmla="*/ 692679 w 718393"/>
              <a:gd name="connsiteY2" fmla="*/ 16071 h 540000"/>
              <a:gd name="connsiteX3" fmla="*/ 713572 w 718393"/>
              <a:gd name="connsiteY3" fmla="*/ 45000 h 540000"/>
              <a:gd name="connsiteX4" fmla="*/ 718393 w 718393"/>
              <a:gd name="connsiteY4" fmla="*/ 98036 h 540000"/>
              <a:gd name="connsiteX5" fmla="*/ 715179 w 718393"/>
              <a:gd name="connsiteY5" fmla="*/ 163929 h 540000"/>
              <a:gd name="connsiteX6" fmla="*/ 705536 w 718393"/>
              <a:gd name="connsiteY6" fmla="*/ 221786 h 540000"/>
              <a:gd name="connsiteX7" fmla="*/ 684643 w 718393"/>
              <a:gd name="connsiteY7" fmla="*/ 274821 h 540000"/>
              <a:gd name="connsiteX8" fmla="*/ 654108 w 718393"/>
              <a:gd name="connsiteY8" fmla="*/ 326250 h 540000"/>
              <a:gd name="connsiteX9" fmla="*/ 533572 w 718393"/>
              <a:gd name="connsiteY9" fmla="*/ 506250 h 540000"/>
              <a:gd name="connsiteX10" fmla="*/ 520714 w 718393"/>
              <a:gd name="connsiteY10" fmla="*/ 522321 h 540000"/>
              <a:gd name="connsiteX11" fmla="*/ 501429 w 718393"/>
              <a:gd name="connsiteY11" fmla="*/ 531964 h 540000"/>
              <a:gd name="connsiteX12" fmla="*/ 475715 w 718393"/>
              <a:gd name="connsiteY12" fmla="*/ 538393 h 540000"/>
              <a:gd name="connsiteX13" fmla="*/ 438750 w 718393"/>
              <a:gd name="connsiteY13" fmla="*/ 540000 h 540000"/>
              <a:gd name="connsiteX14" fmla="*/ 398572 w 718393"/>
              <a:gd name="connsiteY14" fmla="*/ 538393 h 540000"/>
              <a:gd name="connsiteX15" fmla="*/ 377679 w 718393"/>
              <a:gd name="connsiteY15" fmla="*/ 531964 h 540000"/>
              <a:gd name="connsiteX16" fmla="*/ 369643 w 718393"/>
              <a:gd name="connsiteY16" fmla="*/ 519108 h 540000"/>
              <a:gd name="connsiteX17" fmla="*/ 372858 w 718393"/>
              <a:gd name="connsiteY17" fmla="*/ 501429 h 540000"/>
              <a:gd name="connsiteX18" fmla="*/ 483751 w 718393"/>
              <a:gd name="connsiteY18" fmla="*/ 244286 h 540000"/>
              <a:gd name="connsiteX19" fmla="*/ 483751 w 718393"/>
              <a:gd name="connsiteY19" fmla="*/ 98036 h 540000"/>
              <a:gd name="connsiteX20" fmla="*/ 490179 w 718393"/>
              <a:gd name="connsiteY20" fmla="*/ 46608 h 540000"/>
              <a:gd name="connsiteX21" fmla="*/ 511071 w 718393"/>
              <a:gd name="connsiteY21" fmla="*/ 17679 h 540000"/>
              <a:gd name="connsiteX22" fmla="*/ 548036 w 718393"/>
              <a:gd name="connsiteY22" fmla="*/ 4821 h 540000"/>
              <a:gd name="connsiteX23" fmla="*/ 604287 w 718393"/>
              <a:gd name="connsiteY23" fmla="*/ 0 h 540000"/>
              <a:gd name="connsiteX24" fmla="*/ 234643 w 718393"/>
              <a:gd name="connsiteY24" fmla="*/ 0 h 540000"/>
              <a:gd name="connsiteX25" fmla="*/ 287678 w 718393"/>
              <a:gd name="connsiteY25" fmla="*/ 3215 h 540000"/>
              <a:gd name="connsiteX26" fmla="*/ 323036 w 718393"/>
              <a:gd name="connsiteY26" fmla="*/ 16071 h 540000"/>
              <a:gd name="connsiteX27" fmla="*/ 343929 w 718393"/>
              <a:gd name="connsiteY27" fmla="*/ 45000 h 540000"/>
              <a:gd name="connsiteX28" fmla="*/ 350357 w 718393"/>
              <a:gd name="connsiteY28" fmla="*/ 98036 h 540000"/>
              <a:gd name="connsiteX29" fmla="*/ 347144 w 718393"/>
              <a:gd name="connsiteY29" fmla="*/ 163929 h 540000"/>
              <a:gd name="connsiteX30" fmla="*/ 335893 w 718393"/>
              <a:gd name="connsiteY30" fmla="*/ 221786 h 540000"/>
              <a:gd name="connsiteX31" fmla="*/ 315000 w 718393"/>
              <a:gd name="connsiteY31" fmla="*/ 274821 h 540000"/>
              <a:gd name="connsiteX32" fmla="*/ 284465 w 718393"/>
              <a:gd name="connsiteY32" fmla="*/ 326250 h 540000"/>
              <a:gd name="connsiteX33" fmla="*/ 163929 w 718393"/>
              <a:gd name="connsiteY33" fmla="*/ 506250 h 540000"/>
              <a:gd name="connsiteX34" fmla="*/ 151071 w 718393"/>
              <a:gd name="connsiteY34" fmla="*/ 522321 h 540000"/>
              <a:gd name="connsiteX35" fmla="*/ 131786 w 718393"/>
              <a:gd name="connsiteY35" fmla="*/ 531964 h 540000"/>
              <a:gd name="connsiteX36" fmla="*/ 106072 w 718393"/>
              <a:gd name="connsiteY36" fmla="*/ 538393 h 540000"/>
              <a:gd name="connsiteX37" fmla="*/ 70715 w 718393"/>
              <a:gd name="connsiteY37" fmla="*/ 540000 h 540000"/>
              <a:gd name="connsiteX38" fmla="*/ 30535 w 718393"/>
              <a:gd name="connsiteY38" fmla="*/ 538393 h 540000"/>
              <a:gd name="connsiteX39" fmla="*/ 8036 w 718393"/>
              <a:gd name="connsiteY39" fmla="*/ 531964 h 540000"/>
              <a:gd name="connsiteX40" fmla="*/ 0 w 718393"/>
              <a:gd name="connsiteY40" fmla="*/ 519108 h 540000"/>
              <a:gd name="connsiteX41" fmla="*/ 4821 w 718393"/>
              <a:gd name="connsiteY41" fmla="*/ 501429 h 540000"/>
              <a:gd name="connsiteX42" fmla="*/ 115715 w 718393"/>
              <a:gd name="connsiteY42" fmla="*/ 244286 h 540000"/>
              <a:gd name="connsiteX43" fmla="*/ 115715 w 718393"/>
              <a:gd name="connsiteY43" fmla="*/ 98036 h 540000"/>
              <a:gd name="connsiteX44" fmla="*/ 122143 w 718393"/>
              <a:gd name="connsiteY44" fmla="*/ 46608 h 540000"/>
              <a:gd name="connsiteX45" fmla="*/ 143036 w 718393"/>
              <a:gd name="connsiteY45" fmla="*/ 17679 h 540000"/>
              <a:gd name="connsiteX46" fmla="*/ 180000 w 718393"/>
              <a:gd name="connsiteY46" fmla="*/ 4821 h 540000"/>
              <a:gd name="connsiteX47" fmla="*/ 234643 w 718393"/>
              <a:gd name="connsiteY47" fmla="*/ 0 h 54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718393" h="540000">
                <a:moveTo>
                  <a:pt x="604287" y="0"/>
                </a:moveTo>
                <a:cubicBezTo>
                  <a:pt x="625179" y="0"/>
                  <a:pt x="642858" y="1607"/>
                  <a:pt x="657322" y="3215"/>
                </a:cubicBezTo>
                <a:cubicBezTo>
                  <a:pt x="671786" y="6428"/>
                  <a:pt x="683036" y="9643"/>
                  <a:pt x="692679" y="16071"/>
                </a:cubicBezTo>
                <a:cubicBezTo>
                  <a:pt x="702322" y="22500"/>
                  <a:pt x="708750" y="32143"/>
                  <a:pt x="713572" y="45000"/>
                </a:cubicBezTo>
                <a:cubicBezTo>
                  <a:pt x="718393" y="57857"/>
                  <a:pt x="718393" y="77143"/>
                  <a:pt x="718393" y="98036"/>
                </a:cubicBezTo>
                <a:cubicBezTo>
                  <a:pt x="718393" y="122143"/>
                  <a:pt x="716786" y="144643"/>
                  <a:pt x="715179" y="163929"/>
                </a:cubicBezTo>
                <a:cubicBezTo>
                  <a:pt x="713572" y="183215"/>
                  <a:pt x="710357" y="204107"/>
                  <a:pt x="705536" y="221786"/>
                </a:cubicBezTo>
                <a:cubicBezTo>
                  <a:pt x="700715" y="239464"/>
                  <a:pt x="692679" y="257143"/>
                  <a:pt x="684643" y="274821"/>
                </a:cubicBezTo>
                <a:cubicBezTo>
                  <a:pt x="676608" y="292500"/>
                  <a:pt x="666965" y="308571"/>
                  <a:pt x="654108" y="326250"/>
                </a:cubicBezTo>
                <a:lnTo>
                  <a:pt x="533572" y="506250"/>
                </a:lnTo>
                <a:cubicBezTo>
                  <a:pt x="528750" y="512678"/>
                  <a:pt x="523929" y="517500"/>
                  <a:pt x="520714" y="522321"/>
                </a:cubicBezTo>
                <a:cubicBezTo>
                  <a:pt x="517501" y="527143"/>
                  <a:pt x="509465" y="530357"/>
                  <a:pt x="501429" y="531964"/>
                </a:cubicBezTo>
                <a:cubicBezTo>
                  <a:pt x="493393" y="533572"/>
                  <a:pt x="485357" y="536786"/>
                  <a:pt x="475715" y="538393"/>
                </a:cubicBezTo>
                <a:cubicBezTo>
                  <a:pt x="466072" y="540000"/>
                  <a:pt x="453215" y="540000"/>
                  <a:pt x="438750" y="540000"/>
                </a:cubicBezTo>
                <a:cubicBezTo>
                  <a:pt x="422679" y="540000"/>
                  <a:pt x="409822" y="540000"/>
                  <a:pt x="398572" y="538393"/>
                </a:cubicBezTo>
                <a:cubicBezTo>
                  <a:pt x="387322" y="536786"/>
                  <a:pt x="382500" y="535179"/>
                  <a:pt x="377679" y="531964"/>
                </a:cubicBezTo>
                <a:cubicBezTo>
                  <a:pt x="372858" y="528751"/>
                  <a:pt x="369643" y="523929"/>
                  <a:pt x="369643" y="519108"/>
                </a:cubicBezTo>
                <a:cubicBezTo>
                  <a:pt x="369643" y="514286"/>
                  <a:pt x="369643" y="507857"/>
                  <a:pt x="372858" y="501429"/>
                </a:cubicBezTo>
                <a:lnTo>
                  <a:pt x="483751" y="244286"/>
                </a:lnTo>
                <a:lnTo>
                  <a:pt x="483751" y="98036"/>
                </a:lnTo>
                <a:cubicBezTo>
                  <a:pt x="483751" y="77143"/>
                  <a:pt x="485357" y="59464"/>
                  <a:pt x="490179" y="46608"/>
                </a:cubicBezTo>
                <a:cubicBezTo>
                  <a:pt x="495000" y="33750"/>
                  <a:pt x="501429" y="24107"/>
                  <a:pt x="511071" y="17679"/>
                </a:cubicBezTo>
                <a:cubicBezTo>
                  <a:pt x="520714" y="11250"/>
                  <a:pt x="533572" y="6428"/>
                  <a:pt x="548036" y="4821"/>
                </a:cubicBezTo>
                <a:cubicBezTo>
                  <a:pt x="562500" y="3215"/>
                  <a:pt x="583393" y="0"/>
                  <a:pt x="604287" y="0"/>
                </a:cubicBezTo>
                <a:close/>
                <a:moveTo>
                  <a:pt x="234643" y="0"/>
                </a:moveTo>
                <a:cubicBezTo>
                  <a:pt x="255536" y="0"/>
                  <a:pt x="273214" y="1607"/>
                  <a:pt x="287678" y="3215"/>
                </a:cubicBezTo>
                <a:cubicBezTo>
                  <a:pt x="302143" y="4821"/>
                  <a:pt x="313393" y="9643"/>
                  <a:pt x="323036" y="16071"/>
                </a:cubicBezTo>
                <a:cubicBezTo>
                  <a:pt x="332679" y="22500"/>
                  <a:pt x="339107" y="32143"/>
                  <a:pt x="343929" y="45000"/>
                </a:cubicBezTo>
                <a:cubicBezTo>
                  <a:pt x="348750" y="57857"/>
                  <a:pt x="350357" y="77143"/>
                  <a:pt x="350357" y="98036"/>
                </a:cubicBezTo>
                <a:cubicBezTo>
                  <a:pt x="350357" y="122143"/>
                  <a:pt x="348750" y="144643"/>
                  <a:pt x="347144" y="163929"/>
                </a:cubicBezTo>
                <a:cubicBezTo>
                  <a:pt x="345536" y="183215"/>
                  <a:pt x="340714" y="204107"/>
                  <a:pt x="335893" y="221786"/>
                </a:cubicBezTo>
                <a:cubicBezTo>
                  <a:pt x="331071" y="239464"/>
                  <a:pt x="324643" y="257143"/>
                  <a:pt x="315000" y="274821"/>
                </a:cubicBezTo>
                <a:cubicBezTo>
                  <a:pt x="305357" y="292500"/>
                  <a:pt x="297321" y="308571"/>
                  <a:pt x="284465" y="326250"/>
                </a:cubicBezTo>
                <a:lnTo>
                  <a:pt x="163929" y="506250"/>
                </a:lnTo>
                <a:cubicBezTo>
                  <a:pt x="160714" y="512678"/>
                  <a:pt x="155893" y="517500"/>
                  <a:pt x="151071" y="522321"/>
                </a:cubicBezTo>
                <a:cubicBezTo>
                  <a:pt x="146250" y="527143"/>
                  <a:pt x="139822" y="530357"/>
                  <a:pt x="131786" y="531964"/>
                </a:cubicBezTo>
                <a:cubicBezTo>
                  <a:pt x="123751" y="533572"/>
                  <a:pt x="115715" y="536786"/>
                  <a:pt x="106072" y="538393"/>
                </a:cubicBezTo>
                <a:cubicBezTo>
                  <a:pt x="96429" y="540000"/>
                  <a:pt x="85179" y="540000"/>
                  <a:pt x="70715" y="540000"/>
                </a:cubicBezTo>
                <a:cubicBezTo>
                  <a:pt x="54643" y="540000"/>
                  <a:pt x="41786" y="540000"/>
                  <a:pt x="30535" y="538393"/>
                </a:cubicBezTo>
                <a:cubicBezTo>
                  <a:pt x="19286" y="536786"/>
                  <a:pt x="12858" y="535179"/>
                  <a:pt x="8036" y="531964"/>
                </a:cubicBezTo>
                <a:cubicBezTo>
                  <a:pt x="3215" y="528751"/>
                  <a:pt x="0" y="523929"/>
                  <a:pt x="0" y="519108"/>
                </a:cubicBezTo>
                <a:cubicBezTo>
                  <a:pt x="0" y="514286"/>
                  <a:pt x="1607" y="507857"/>
                  <a:pt x="4821" y="501429"/>
                </a:cubicBezTo>
                <a:lnTo>
                  <a:pt x="115715" y="244286"/>
                </a:lnTo>
                <a:lnTo>
                  <a:pt x="115715" y="98036"/>
                </a:lnTo>
                <a:cubicBezTo>
                  <a:pt x="115715" y="77143"/>
                  <a:pt x="117321" y="59464"/>
                  <a:pt x="122143" y="46608"/>
                </a:cubicBezTo>
                <a:cubicBezTo>
                  <a:pt x="126964" y="33750"/>
                  <a:pt x="133393" y="24107"/>
                  <a:pt x="143036" y="17679"/>
                </a:cubicBezTo>
                <a:cubicBezTo>
                  <a:pt x="152679" y="11250"/>
                  <a:pt x="165536" y="6428"/>
                  <a:pt x="180000" y="4821"/>
                </a:cubicBezTo>
                <a:cubicBezTo>
                  <a:pt x="194464" y="3215"/>
                  <a:pt x="213750" y="0"/>
                  <a:pt x="234643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e-DE" noProof="0"/>
              <a:t> 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595206" y="4212000"/>
            <a:ext cx="9000000" cy="720000"/>
          </a:xfrm>
          <a:prstGeom prst="rect">
            <a:avLst/>
          </a:prstGeom>
        </p:spPr>
        <p:txBody>
          <a:bodyPr rIns="0" anchor="b" anchorCtr="0"/>
          <a:lstStyle>
            <a:lvl1pPr marL="0" indent="0" algn="ctr">
              <a:buFontTx/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F96C59BA-BE22-4B29-AD36-09FA94D9680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595206" y="5112000"/>
            <a:ext cx="9000000" cy="445838"/>
          </a:xfrm>
          <a:prstGeom prst="rect">
            <a:avLst/>
          </a:prstGeom>
        </p:spPr>
        <p:txBody>
          <a:bodyPr rIns="0" anchor="t" anchorCtr="0"/>
          <a:lstStyle>
            <a:lvl1pPr marL="0" indent="0" algn="ctr">
              <a:buFontTx/>
              <a:buNone/>
              <a:defRPr sz="1800" b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842A2E9A-2F1C-FC57-9EDB-E1F55EB440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670F89A9-3B9A-286F-0B71-B8D65F3D34C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26111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Linie 1">
            <a:extLst>
              <a:ext uri="{FF2B5EF4-FFF2-40B4-BE49-F238E27FC236}">
                <a16:creationId xmlns:a16="http://schemas.microsoft.com/office/drawing/2014/main" id="{460BAA3B-171B-4D22-B9AB-DC36BFCA0518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715200"/>
            <a:ext cx="12190413" cy="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Linie 2">
            <a:extLst>
              <a:ext uri="{FF2B5EF4-FFF2-40B4-BE49-F238E27FC236}">
                <a16:creationId xmlns:a16="http://schemas.microsoft.com/office/drawing/2014/main" id="{F9661A75-ABF9-4098-B4E4-22976361ACF2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CA4056E2-86C5-4903-A2D5-BA5FD40B3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5" name="Text 1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 bwMode="gray">
          <a:xfrm>
            <a:off x="539188" y="1872562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6" name="Text 2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gray">
          <a:xfrm>
            <a:off x="539188" y="4463464"/>
            <a:ext cx="3114587" cy="1094374"/>
          </a:xfrm>
          <a:prstGeom prst="rect">
            <a:avLst/>
          </a:prstGeo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0" name="Text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 bwMode="gray">
          <a:xfrm>
            <a:off x="8535824" y="1872562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Text 4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 bwMode="gray">
          <a:xfrm>
            <a:off x="8535824" y="4463464"/>
            <a:ext cx="3114587" cy="1094374"/>
          </a:xfrm>
          <a:prstGeom prst="rect">
            <a:avLst/>
          </a:prstGeo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8" name="Bild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 bwMode="gray">
          <a:xfrm>
            <a:off x="4251741" y="1872562"/>
            <a:ext cx="3686932" cy="368527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noFill/>
          </a:ln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7" name="Foliennummer">
            <a:extLst>
              <a:ext uri="{FF2B5EF4-FFF2-40B4-BE49-F238E27FC236}">
                <a16:creationId xmlns:a16="http://schemas.microsoft.com/office/drawing/2014/main" id="{4C1D2ACF-529C-4292-9D08-FD20D2D8593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0A113605-5587-C64E-88E1-9CBC49928BA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8136169A-4F79-2F7D-6DAB-B1F91E1011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3012134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Hintergrund_Bild_Text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"/>
          <p:cNvSpPr>
            <a:spLocks noGrp="1"/>
          </p:cNvSpPr>
          <p:nvPr>
            <p:ph type="title" hasCustomPrompt="1"/>
          </p:nvPr>
        </p:nvSpPr>
        <p:spPr bwMode="gray">
          <a:xfrm>
            <a:off x="540000" y="432000"/>
            <a:ext cx="11109600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14" name="Text 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39999" y="2736139"/>
            <a:ext cx="3600000" cy="1597561"/>
          </a:xfrm>
          <a:prstGeom prst="rect">
            <a:avLst/>
          </a:prstGeom>
        </p:spPr>
        <p:txBody>
          <a:bodyPr rIns="0" anchor="ctr"/>
          <a:lstStyle>
            <a:lvl1pPr marL="0" indent="0" algn="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Bild"/>
          <p:cNvSpPr>
            <a:spLocks noGrp="1" noChangeAspect="1"/>
          </p:cNvSpPr>
          <p:nvPr>
            <p:ph type="pic" sz="quarter" idx="34"/>
          </p:nvPr>
        </p:nvSpPr>
        <p:spPr bwMode="gray">
          <a:xfrm>
            <a:off x="4673206" y="2112919"/>
            <a:ext cx="2844000" cy="2844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0" name="Text 2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049600" y="2736139"/>
            <a:ext cx="3600000" cy="1597561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7" name="Foliennummer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7E9A5A3E-69E8-7A3B-6A13-0AA10852CD7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D8ED3A72-CE24-BC7A-A6CF-5DED927214B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168516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Tex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">
            <a:extLst>
              <a:ext uri="{FF2B5EF4-FFF2-40B4-BE49-F238E27FC236}">
                <a16:creationId xmlns:a16="http://schemas.microsoft.com/office/drawing/2014/main" id="{E956635E-5F2E-40B8-B86F-C5BD10005B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1" y="1512000"/>
            <a:ext cx="12190412" cy="4578144"/>
          </a:xfrm>
          <a:custGeom>
            <a:avLst/>
            <a:gdLst>
              <a:gd name="connsiteX0" fmla="*/ 0 w 12190412"/>
              <a:gd name="connsiteY0" fmla="*/ 0 h 4578144"/>
              <a:gd name="connsiteX1" fmla="*/ 12190412 w 12190412"/>
              <a:gd name="connsiteY1" fmla="*/ 0 h 4578144"/>
              <a:gd name="connsiteX2" fmla="*/ 12190412 w 12190412"/>
              <a:gd name="connsiteY2" fmla="*/ 4578144 h 4578144"/>
              <a:gd name="connsiteX3" fmla="*/ 11205890 w 12190412"/>
              <a:gd name="connsiteY3" fmla="*/ 4578144 h 4578144"/>
              <a:gd name="connsiteX4" fmla="*/ 11165942 w 12190412"/>
              <a:gd name="connsiteY4" fmla="*/ 4529727 h 4578144"/>
              <a:gd name="connsiteX5" fmla="*/ 10780975 w 12190412"/>
              <a:gd name="connsiteY5" fmla="*/ 4370268 h 4578144"/>
              <a:gd name="connsiteX6" fmla="*/ 10396008 w 12190412"/>
              <a:gd name="connsiteY6" fmla="*/ 4529727 h 4578144"/>
              <a:gd name="connsiteX7" fmla="*/ 10356060 w 12190412"/>
              <a:gd name="connsiteY7" fmla="*/ 4578144 h 4578144"/>
              <a:gd name="connsiteX8" fmla="*/ 0 w 12190412"/>
              <a:gd name="connsiteY8" fmla="*/ 4578144 h 4578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2" h="4578144">
                <a:moveTo>
                  <a:pt x="0" y="0"/>
                </a:moveTo>
                <a:lnTo>
                  <a:pt x="12190412" y="0"/>
                </a:lnTo>
                <a:lnTo>
                  <a:pt x="12190412" y="4578144"/>
                </a:lnTo>
                <a:lnTo>
                  <a:pt x="11205890" y="4578144"/>
                </a:lnTo>
                <a:lnTo>
                  <a:pt x="11165942" y="4529727"/>
                </a:lnTo>
                <a:cubicBezTo>
                  <a:pt x="11067420" y="4431205"/>
                  <a:pt x="10931314" y="4370268"/>
                  <a:pt x="10780975" y="4370268"/>
                </a:cubicBezTo>
                <a:cubicBezTo>
                  <a:pt x="10630636" y="4370268"/>
                  <a:pt x="10494530" y="4431205"/>
                  <a:pt x="10396008" y="4529727"/>
                </a:cubicBezTo>
                <a:lnTo>
                  <a:pt x="10356060" y="4578144"/>
                </a:lnTo>
                <a:lnTo>
                  <a:pt x="0" y="457814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3" name="Inhalt 4">
            <a:extLst>
              <a:ext uri="{FF2B5EF4-FFF2-40B4-BE49-F238E27FC236}">
                <a16:creationId xmlns:a16="http://schemas.microsoft.com/office/drawing/2014/main" id="{90E260A5-FC78-4681-900F-E826056781CE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>
          <a:xfrm>
            <a:off x="7594809" y="2167101"/>
            <a:ext cx="3096000" cy="3096000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marL="0" indent="0" algn="ctr">
              <a:buFontTx/>
              <a:buNone/>
              <a:defRPr sz="1600">
                <a:solidFill>
                  <a:schemeClr val="accent1"/>
                </a:solidFill>
              </a:defRPr>
            </a:lvl1pPr>
            <a:lvl2pPr marL="450000" indent="0" algn="ctr">
              <a:buFontTx/>
              <a:buNone/>
              <a:defRPr sz="1400">
                <a:solidFill>
                  <a:schemeClr val="bg1"/>
                </a:solidFill>
              </a:defRPr>
            </a:lvl2pPr>
            <a:lvl3pPr marL="810000" indent="0" algn="ctr">
              <a:buFontTx/>
              <a:buNone/>
              <a:defRPr sz="1200">
                <a:solidFill>
                  <a:schemeClr val="bg1"/>
                </a:solidFill>
              </a:defRPr>
            </a:lvl3pPr>
            <a:lvl4pPr marL="1170000" indent="0" algn="ctr">
              <a:buFontTx/>
              <a:buNone/>
              <a:defRPr sz="1100">
                <a:solidFill>
                  <a:schemeClr val="bg1"/>
                </a:solidFill>
              </a:defRPr>
            </a:lvl4pPr>
            <a:lvl5pPr marL="1530000" indent="0" algn="ctr">
              <a:buFontTx/>
              <a:buNone/>
              <a:defRPr sz="1100">
                <a:solidFill>
                  <a:schemeClr val="bg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DE16B58-0925-41DB-A230-1382938C8B3F}"/>
              </a:ext>
            </a:extLst>
          </p:cNvPr>
          <p:cNvSpPr>
            <a:spLocks noGrp="1"/>
          </p:cNvSpPr>
          <p:nvPr>
            <p:ph type="dt" sz="half" idx="18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B3679B3-7B75-488F-908D-EFC7A5CEA67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 bwMode="gray">
          <a:xfrm>
            <a:off x="2186099" y="6300000"/>
            <a:ext cx="7509835" cy="360000"/>
          </a:xfrm>
        </p:spPr>
        <p:txBody>
          <a:bodyPr/>
          <a:lstStyle/>
          <a:p>
            <a:r>
              <a:rPr lang="de-DE"/>
              <a:t>Vorstellung E-Rezept KV Sachsen</a:t>
            </a:r>
            <a:endParaRPr lang="de-DE" noProof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12E5462-67E8-4410-9603-B69E836A41A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E4F04A3-91D6-4B74-A940-C963B9FE2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9821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Linie">
            <a:extLst>
              <a:ext uri="{FF2B5EF4-FFF2-40B4-BE49-F238E27FC236}">
                <a16:creationId xmlns:a16="http://schemas.microsoft.com/office/drawing/2014/main" id="{CFD4C627-3EDC-40D2-829D-1FEDFB67E21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3672000"/>
            <a:ext cx="0" cy="3186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Ellipse">
            <a:extLst>
              <a:ext uri="{FF2B5EF4-FFF2-40B4-BE49-F238E27FC236}">
                <a16:creationId xmlns:a16="http://schemas.microsoft.com/office/drawing/2014/main" id="{B2324544-18CB-4ADE-A361-AE4771C6402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8872C575-800C-481B-9E21-57874F011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12" name="Bild">
            <a:extLst>
              <a:ext uri="{FF2B5EF4-FFF2-40B4-BE49-F238E27FC236}">
                <a16:creationId xmlns:a16="http://schemas.microsoft.com/office/drawing/2014/main" id="{9B363C7E-AB4B-415C-AA91-3D39EEE1FF5D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 bwMode="gray">
          <a:xfrm>
            <a:off x="5015206" y="1512000"/>
            <a:ext cx="2160000" cy="216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lIns="144000" tIns="144000" rIns="144000" bIns="144000" anchor="ctr"/>
          <a:lstStyle>
            <a:lvl1pPr marL="0" indent="0" algn="ctr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15" name="Inhalt 1">
            <a:extLst>
              <a:ext uri="{FF2B5EF4-FFF2-40B4-BE49-F238E27FC236}">
                <a16:creationId xmlns:a16="http://schemas.microsoft.com/office/drawing/2014/main" id="{5ADECE05-E3F2-4E59-9CD3-A06F4A44B684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Inhalt 2">
            <a:extLst>
              <a:ext uri="{FF2B5EF4-FFF2-40B4-BE49-F238E27FC236}">
                <a16:creationId xmlns:a16="http://schemas.microsoft.com/office/drawing/2014/main" id="{27A749E6-4642-4BD2-9222-2FCE78385565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Form">
            <a:extLst>
              <a:ext uri="{FF2B5EF4-FFF2-40B4-BE49-F238E27FC236}">
                <a16:creationId xmlns:a16="http://schemas.microsoft.com/office/drawing/2014/main" id="{1091B776-F8FF-4514-B227-23880F01DC5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01593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223378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6" name="Form">
            <a:extLst>
              <a:ext uri="{FF2B5EF4-FFF2-40B4-BE49-F238E27FC236}">
                <a16:creationId xmlns:a16="http://schemas.microsoft.com/office/drawing/2014/main" id="{ABE7071D-F074-45F7-B1B6-E48BC4775EE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1A5E8948-395F-E33A-EFC8-2D828404DA9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A3B67453-CBDC-D43A-334F-21ACFF148B2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2370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Timelin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Linie">
            <a:extLst>
              <a:ext uri="{FF2B5EF4-FFF2-40B4-BE49-F238E27FC236}">
                <a16:creationId xmlns:a16="http://schemas.microsoft.com/office/drawing/2014/main" id="{8B39E3E8-0B3B-44AA-A1A8-DBEBA1EA389B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0" y="3534919"/>
            <a:ext cx="12190413" cy="0"/>
          </a:xfrm>
          <a:prstGeom prst="line">
            <a:avLst/>
          </a:prstGeom>
          <a:noFill/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71487B3C-19CD-4E72-BB4D-CB6B07261F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Text 1">
            <a:extLst>
              <a:ext uri="{FF2B5EF4-FFF2-40B4-BE49-F238E27FC236}">
                <a16:creationId xmlns:a16="http://schemas.microsoft.com/office/drawing/2014/main" id="{1FC398EE-07AF-4810-A8E3-AC8A93CF18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547549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3" name="Text 2">
            <a:extLst>
              <a:ext uri="{FF2B5EF4-FFF2-40B4-BE49-F238E27FC236}">
                <a16:creationId xmlns:a16="http://schemas.microsoft.com/office/drawing/2014/main" id="{48476530-50C1-4086-894B-DCCB4876E7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90030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1" name="Text 3">
            <a:extLst>
              <a:ext uri="{FF2B5EF4-FFF2-40B4-BE49-F238E27FC236}">
                <a16:creationId xmlns:a16="http://schemas.microsoft.com/office/drawing/2014/main" id="{EB72858B-F30C-433B-AAF7-C485E5E74DE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011157" y="3084863"/>
            <a:ext cx="900113" cy="900113"/>
          </a:xfrm>
          <a:prstGeom prst="ellipse">
            <a:avLst/>
          </a:prstGeom>
          <a:solidFill>
            <a:schemeClr val="accent6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25" name="Text 4">
            <a:extLst>
              <a:ext uri="{FF2B5EF4-FFF2-40B4-BE49-F238E27FC236}">
                <a16:creationId xmlns:a16="http://schemas.microsoft.com/office/drawing/2014/main" id="{675EAB77-7BDA-487D-B64B-21223787B84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732285" y="3084863"/>
            <a:ext cx="900113" cy="900113"/>
          </a:xfrm>
          <a:prstGeom prst="ellipse">
            <a:avLst/>
          </a:prstGeo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2000" b="1">
                <a:solidFill>
                  <a:schemeClr val="bg2"/>
                </a:solidFill>
              </a:defRPr>
            </a:lvl1pPr>
            <a:lvl2pPr marL="450000" indent="0" algn="ctr">
              <a:buNone/>
              <a:defRPr/>
            </a:lvl2pPr>
            <a:lvl3pPr marL="810000" indent="0" algn="ctr">
              <a:buNone/>
              <a:defRPr/>
            </a:lvl3pPr>
            <a:lvl4pPr marL="1170000" indent="0" algn="ctr">
              <a:buNone/>
              <a:defRPr/>
            </a:lvl4pPr>
            <a:lvl5pPr marL="1530000" indent="0" algn="ctr">
              <a:buNone/>
              <a:defRPr/>
            </a:lvl5pPr>
          </a:lstStyle>
          <a:p>
            <a:pPr lvl="0"/>
            <a:r>
              <a:rPr lang="de-DE" noProof="0"/>
              <a:t>Zahl</a:t>
            </a:r>
          </a:p>
        </p:txBody>
      </p:sp>
      <p:sp>
        <p:nvSpPr>
          <p:cNvPr id="32" name="Inhalt 1">
            <a:extLst>
              <a:ext uri="{FF2B5EF4-FFF2-40B4-BE49-F238E27FC236}">
                <a16:creationId xmlns:a16="http://schemas.microsoft.com/office/drawing/2014/main" id="{5CD4594B-88B1-45C8-BC92-3CDB8FD2AAA0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27605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7" name="Inhalt 2">
            <a:extLst>
              <a:ext uri="{FF2B5EF4-FFF2-40B4-BE49-F238E27FC236}">
                <a16:creationId xmlns:a16="http://schemas.microsoft.com/office/drawing/2014/main" id="{EEBCAC68-DF39-4D56-85D7-1D13D8E6F88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3570086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3" name="Inhalt 3">
            <a:extLst>
              <a:ext uri="{FF2B5EF4-FFF2-40B4-BE49-F238E27FC236}">
                <a16:creationId xmlns:a16="http://schemas.microsoft.com/office/drawing/2014/main" id="{F85AE3D7-2D61-423F-9336-2E401136C8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269860" y="42984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29" name="Inhalt 4">
            <a:extLst>
              <a:ext uri="{FF2B5EF4-FFF2-40B4-BE49-F238E27FC236}">
                <a16:creationId xmlns:a16="http://schemas.microsoft.com/office/drawing/2014/main" id="{E63201B7-F38D-4135-AA23-910466EA22C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9012341" y="1872000"/>
            <a:ext cx="2340000" cy="900000"/>
          </a:xfrm>
          <a:prstGeom prst="rect">
            <a:avLst/>
          </a:prstGeom>
        </p:spPr>
        <p:txBody>
          <a:bodyPr lIns="0" anchor="ctr"/>
          <a:lstStyle>
            <a:lvl1pPr marL="0" indent="0" algn="ctr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Foliennummer">
            <a:extLst>
              <a:ext uri="{FF2B5EF4-FFF2-40B4-BE49-F238E27FC236}">
                <a16:creationId xmlns:a16="http://schemas.microsoft.com/office/drawing/2014/main" id="{6FD835B2-8E64-49FD-BA8D-D0E6A25538A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16D7D751-2D8F-C0B5-C604-7365226F79F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5" name="Fußzeile">
            <a:extLst>
              <a:ext uri="{FF2B5EF4-FFF2-40B4-BE49-F238E27FC236}">
                <a16:creationId xmlns:a16="http://schemas.microsoft.com/office/drawing/2014/main" id="{7E42C0BF-EBE6-E80D-579D-BE3702CDB11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479293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dkl_blau_Weltkart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Weltkarte">
            <a:extLst>
              <a:ext uri="{FF2B5EF4-FFF2-40B4-BE49-F238E27FC236}">
                <a16:creationId xmlns:a16="http://schemas.microsoft.com/office/drawing/2014/main" id="{A4477C10-B2A8-4541-BCA5-CD24548967F5}"/>
              </a:ext>
            </a:extLst>
          </p:cNvPr>
          <p:cNvSpPr>
            <a:spLocks noChangeAspect="1" noEditPoints="1"/>
          </p:cNvSpPr>
          <p:nvPr userDrawn="1"/>
        </p:nvSpPr>
        <p:spPr bwMode="gray">
          <a:xfrm>
            <a:off x="1947018" y="1512000"/>
            <a:ext cx="8296377" cy="4046400"/>
          </a:xfrm>
          <a:custGeom>
            <a:avLst/>
            <a:gdLst>
              <a:gd name="T0" fmla="*/ 2629 w 3071"/>
              <a:gd name="T1" fmla="*/ 937 h 1498"/>
              <a:gd name="T2" fmla="*/ 2624 w 3071"/>
              <a:gd name="T3" fmla="*/ 809 h 1498"/>
              <a:gd name="T4" fmla="*/ 2682 w 3071"/>
              <a:gd name="T5" fmla="*/ 915 h 1498"/>
              <a:gd name="T6" fmla="*/ 2547 w 3071"/>
              <a:gd name="T7" fmla="*/ 953 h 1498"/>
              <a:gd name="T8" fmla="*/ 2461 w 3071"/>
              <a:gd name="T9" fmla="*/ 919 h 1498"/>
              <a:gd name="T10" fmla="*/ 2747 w 3071"/>
              <a:gd name="T11" fmla="*/ 1052 h 1498"/>
              <a:gd name="T12" fmla="*/ 2583 w 3071"/>
              <a:gd name="T13" fmla="*/ 1255 h 1498"/>
              <a:gd name="T14" fmla="*/ 2387 w 3071"/>
              <a:gd name="T15" fmla="*/ 878 h 1498"/>
              <a:gd name="T16" fmla="*/ 2948 w 3071"/>
              <a:gd name="T17" fmla="*/ 1383 h 1498"/>
              <a:gd name="T18" fmla="*/ 1378 w 3071"/>
              <a:gd name="T19" fmla="*/ 255 h 1498"/>
              <a:gd name="T20" fmla="*/ 1659 w 3071"/>
              <a:gd name="T21" fmla="*/ 449 h 1498"/>
              <a:gd name="T22" fmla="*/ 1415 w 3071"/>
              <a:gd name="T23" fmla="*/ 257 h 1498"/>
              <a:gd name="T24" fmla="*/ 1829 w 3071"/>
              <a:gd name="T25" fmla="*/ 60 h 1498"/>
              <a:gd name="T26" fmla="*/ 1433 w 3071"/>
              <a:gd name="T27" fmla="*/ 438 h 1498"/>
              <a:gd name="T28" fmla="*/ 183 w 3071"/>
              <a:gd name="T29" fmla="*/ 237 h 1498"/>
              <a:gd name="T30" fmla="*/ 623 w 3071"/>
              <a:gd name="T31" fmla="*/ 92 h 1498"/>
              <a:gd name="T32" fmla="*/ 765 w 3071"/>
              <a:gd name="T33" fmla="*/ 95 h 1498"/>
              <a:gd name="T34" fmla="*/ 650 w 3071"/>
              <a:gd name="T35" fmla="*/ 65 h 1498"/>
              <a:gd name="T36" fmla="*/ 890 w 3071"/>
              <a:gd name="T37" fmla="*/ 182 h 1498"/>
              <a:gd name="T38" fmla="*/ 1040 w 3071"/>
              <a:gd name="T39" fmla="*/ 15 h 1498"/>
              <a:gd name="T40" fmla="*/ 1280 w 3071"/>
              <a:gd name="T41" fmla="*/ 82 h 1498"/>
              <a:gd name="T42" fmla="*/ 986 w 3071"/>
              <a:gd name="T43" fmla="*/ 48 h 1498"/>
              <a:gd name="T44" fmla="*/ 1077 w 3071"/>
              <a:gd name="T45" fmla="*/ 200 h 1498"/>
              <a:gd name="T46" fmla="*/ 329 w 3071"/>
              <a:gd name="T47" fmla="*/ 266 h 1498"/>
              <a:gd name="T48" fmla="*/ 908 w 3071"/>
              <a:gd name="T49" fmla="*/ 878 h 1498"/>
              <a:gd name="T50" fmla="*/ 1059 w 3071"/>
              <a:gd name="T51" fmla="*/ 935 h 1498"/>
              <a:gd name="T52" fmla="*/ 650 w 3071"/>
              <a:gd name="T53" fmla="*/ 785 h 1498"/>
              <a:gd name="T54" fmla="*/ 571 w 3071"/>
              <a:gd name="T55" fmla="*/ 536 h 1498"/>
              <a:gd name="T56" fmla="*/ 846 w 3071"/>
              <a:gd name="T57" fmla="*/ 370 h 1498"/>
              <a:gd name="T58" fmla="*/ 882 w 3071"/>
              <a:gd name="T59" fmla="*/ 203 h 1498"/>
              <a:gd name="T60" fmla="*/ 761 w 3071"/>
              <a:gd name="T61" fmla="*/ 106 h 1498"/>
              <a:gd name="T62" fmla="*/ 190 w 3071"/>
              <a:gd name="T63" fmla="*/ 165 h 1498"/>
              <a:gd name="T64" fmla="*/ 294 w 3071"/>
              <a:gd name="T65" fmla="*/ 210 h 1498"/>
              <a:gd name="T66" fmla="*/ 312 w 3071"/>
              <a:gd name="T67" fmla="*/ 536 h 1498"/>
              <a:gd name="T68" fmla="*/ 645 w 3071"/>
              <a:gd name="T69" fmla="*/ 814 h 1498"/>
              <a:gd name="T70" fmla="*/ 761 w 3071"/>
              <a:gd name="T71" fmla="*/ 1395 h 1498"/>
              <a:gd name="T72" fmla="*/ 887 w 3071"/>
              <a:gd name="T73" fmla="*/ 1307 h 1498"/>
              <a:gd name="T74" fmla="*/ 634 w 3071"/>
              <a:gd name="T75" fmla="*/ 384 h 1498"/>
              <a:gd name="T76" fmla="*/ 604 w 3071"/>
              <a:gd name="T77" fmla="*/ 286 h 1498"/>
              <a:gd name="T78" fmla="*/ 759 w 3071"/>
              <a:gd name="T79" fmla="*/ 1370 h 1498"/>
              <a:gd name="T80" fmla="*/ 1654 w 3071"/>
              <a:gd name="T81" fmla="*/ 426 h 1498"/>
              <a:gd name="T82" fmla="*/ 2428 w 3071"/>
              <a:gd name="T83" fmla="*/ 63 h 1498"/>
              <a:gd name="T84" fmla="*/ 2628 w 3071"/>
              <a:gd name="T85" fmla="*/ 294 h 1498"/>
              <a:gd name="T86" fmla="*/ 2448 w 3071"/>
              <a:gd name="T87" fmla="*/ 780 h 1498"/>
              <a:gd name="T88" fmla="*/ 2558 w 3071"/>
              <a:gd name="T89" fmla="*/ 427 h 1498"/>
              <a:gd name="T90" fmla="*/ 2670 w 3071"/>
              <a:gd name="T91" fmla="*/ 219 h 1498"/>
              <a:gd name="T92" fmla="*/ 2813 w 3071"/>
              <a:gd name="T93" fmla="*/ 144 h 1498"/>
              <a:gd name="T94" fmla="*/ 2186 w 3071"/>
              <a:gd name="T95" fmla="*/ 83 h 1498"/>
              <a:gd name="T96" fmla="*/ 1934 w 3071"/>
              <a:gd name="T97" fmla="*/ 126 h 1498"/>
              <a:gd name="T98" fmla="*/ 1560 w 3071"/>
              <a:gd name="T99" fmla="*/ 124 h 1498"/>
              <a:gd name="T100" fmla="*/ 1562 w 3071"/>
              <a:gd name="T101" fmla="*/ 228 h 1498"/>
              <a:gd name="T102" fmla="*/ 1502 w 3071"/>
              <a:gd name="T103" fmla="*/ 269 h 1498"/>
              <a:gd name="T104" fmla="*/ 1515 w 3071"/>
              <a:gd name="T105" fmla="*/ 391 h 1498"/>
              <a:gd name="T106" fmla="*/ 1752 w 3071"/>
              <a:gd name="T107" fmla="*/ 472 h 1498"/>
              <a:gd name="T108" fmla="*/ 1252 w 3071"/>
              <a:gd name="T109" fmla="*/ 626 h 1498"/>
              <a:gd name="T110" fmla="*/ 1498 w 3071"/>
              <a:gd name="T111" fmla="*/ 885 h 1498"/>
              <a:gd name="T112" fmla="*/ 1805 w 3071"/>
              <a:gd name="T113" fmla="*/ 989 h 1498"/>
              <a:gd name="T114" fmla="*/ 1957 w 3071"/>
              <a:gd name="T115" fmla="*/ 674 h 1498"/>
              <a:gd name="T116" fmla="*/ 2200 w 3071"/>
              <a:gd name="T117" fmla="*/ 717 h 1498"/>
              <a:gd name="T118" fmla="*/ 1755 w 3071"/>
              <a:gd name="T119" fmla="*/ 882 h 1498"/>
              <a:gd name="T120" fmla="*/ 1835 w 3071"/>
              <a:gd name="T121" fmla="*/ 313 h 1498"/>
              <a:gd name="T122" fmla="*/ 1906 w 3071"/>
              <a:gd name="T123" fmla="*/ 434 h 1498"/>
              <a:gd name="T124" fmla="*/ 2656 w 3071"/>
              <a:gd name="T125" fmla="*/ 500 h 1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071" h="1498">
                <a:moveTo>
                  <a:pt x="2691" y="854"/>
                </a:moveTo>
                <a:cubicBezTo>
                  <a:pt x="2694" y="851"/>
                  <a:pt x="2693" y="850"/>
                  <a:pt x="2690" y="849"/>
                </a:cubicBezTo>
                <a:cubicBezTo>
                  <a:pt x="2688" y="848"/>
                  <a:pt x="2687" y="849"/>
                  <a:pt x="2687" y="849"/>
                </a:cubicBezTo>
                <a:cubicBezTo>
                  <a:pt x="2687" y="849"/>
                  <a:pt x="2690" y="855"/>
                  <a:pt x="2691" y="854"/>
                </a:cubicBezTo>
                <a:close/>
                <a:moveTo>
                  <a:pt x="2678" y="874"/>
                </a:moveTo>
                <a:cubicBezTo>
                  <a:pt x="2678" y="876"/>
                  <a:pt x="2676" y="878"/>
                  <a:pt x="2678" y="880"/>
                </a:cubicBezTo>
                <a:cubicBezTo>
                  <a:pt x="2679" y="881"/>
                  <a:pt x="2687" y="888"/>
                  <a:pt x="2689" y="888"/>
                </a:cubicBezTo>
                <a:cubicBezTo>
                  <a:pt x="2691" y="887"/>
                  <a:pt x="2689" y="884"/>
                  <a:pt x="2687" y="883"/>
                </a:cubicBezTo>
                <a:cubicBezTo>
                  <a:pt x="2685" y="882"/>
                  <a:pt x="2683" y="879"/>
                  <a:pt x="2685" y="877"/>
                </a:cubicBezTo>
                <a:cubicBezTo>
                  <a:pt x="2688" y="875"/>
                  <a:pt x="2692" y="877"/>
                  <a:pt x="2692" y="877"/>
                </a:cubicBezTo>
                <a:cubicBezTo>
                  <a:pt x="2694" y="876"/>
                  <a:pt x="2694" y="876"/>
                  <a:pt x="2694" y="876"/>
                </a:cubicBezTo>
                <a:cubicBezTo>
                  <a:pt x="2690" y="873"/>
                  <a:pt x="2690" y="873"/>
                  <a:pt x="2690" y="873"/>
                </a:cubicBezTo>
                <a:cubicBezTo>
                  <a:pt x="2690" y="873"/>
                  <a:pt x="2693" y="872"/>
                  <a:pt x="2694" y="869"/>
                </a:cubicBezTo>
                <a:cubicBezTo>
                  <a:pt x="2694" y="867"/>
                  <a:pt x="2691" y="865"/>
                  <a:pt x="2689" y="865"/>
                </a:cubicBezTo>
                <a:cubicBezTo>
                  <a:pt x="2687" y="865"/>
                  <a:pt x="2685" y="870"/>
                  <a:pt x="2682" y="871"/>
                </a:cubicBezTo>
                <a:cubicBezTo>
                  <a:pt x="2680" y="871"/>
                  <a:pt x="2680" y="865"/>
                  <a:pt x="2680" y="865"/>
                </a:cubicBezTo>
                <a:cubicBezTo>
                  <a:pt x="2680" y="865"/>
                  <a:pt x="2683" y="863"/>
                  <a:pt x="2683" y="861"/>
                </a:cubicBezTo>
                <a:cubicBezTo>
                  <a:pt x="2684" y="858"/>
                  <a:pt x="2683" y="857"/>
                  <a:pt x="2683" y="857"/>
                </a:cubicBezTo>
                <a:cubicBezTo>
                  <a:pt x="2684" y="852"/>
                  <a:pt x="2684" y="852"/>
                  <a:pt x="2684" y="852"/>
                </a:cubicBezTo>
                <a:cubicBezTo>
                  <a:pt x="2679" y="857"/>
                  <a:pt x="2679" y="857"/>
                  <a:pt x="2679" y="857"/>
                </a:cubicBezTo>
                <a:cubicBezTo>
                  <a:pt x="2679" y="861"/>
                  <a:pt x="2679" y="861"/>
                  <a:pt x="2679" y="861"/>
                </a:cubicBezTo>
                <a:cubicBezTo>
                  <a:pt x="2679" y="861"/>
                  <a:pt x="2674" y="863"/>
                  <a:pt x="2674" y="868"/>
                </a:cubicBezTo>
                <a:cubicBezTo>
                  <a:pt x="2675" y="872"/>
                  <a:pt x="2677" y="872"/>
                  <a:pt x="2678" y="874"/>
                </a:cubicBezTo>
                <a:close/>
                <a:moveTo>
                  <a:pt x="2683" y="895"/>
                </a:moveTo>
                <a:cubicBezTo>
                  <a:pt x="2681" y="893"/>
                  <a:pt x="2677" y="890"/>
                  <a:pt x="2677" y="890"/>
                </a:cubicBezTo>
                <a:cubicBezTo>
                  <a:pt x="2677" y="897"/>
                  <a:pt x="2677" y="897"/>
                  <a:pt x="2677" y="897"/>
                </a:cubicBezTo>
                <a:cubicBezTo>
                  <a:pt x="2679" y="898"/>
                  <a:pt x="2685" y="898"/>
                  <a:pt x="2683" y="895"/>
                </a:cubicBezTo>
                <a:close/>
                <a:moveTo>
                  <a:pt x="2700" y="905"/>
                </a:moveTo>
                <a:cubicBezTo>
                  <a:pt x="2705" y="903"/>
                  <a:pt x="2705" y="899"/>
                  <a:pt x="2705" y="899"/>
                </a:cubicBezTo>
                <a:cubicBezTo>
                  <a:pt x="2695" y="899"/>
                  <a:pt x="2695" y="899"/>
                  <a:pt x="2695" y="899"/>
                </a:cubicBezTo>
                <a:cubicBezTo>
                  <a:pt x="2695" y="899"/>
                  <a:pt x="2696" y="907"/>
                  <a:pt x="2700" y="905"/>
                </a:cubicBezTo>
                <a:close/>
                <a:moveTo>
                  <a:pt x="2635" y="995"/>
                </a:moveTo>
                <a:cubicBezTo>
                  <a:pt x="2638" y="997"/>
                  <a:pt x="2646" y="989"/>
                  <a:pt x="2649" y="986"/>
                </a:cubicBezTo>
                <a:cubicBezTo>
                  <a:pt x="2650" y="986"/>
                  <a:pt x="2650" y="985"/>
                  <a:pt x="2650" y="985"/>
                </a:cubicBezTo>
                <a:cubicBezTo>
                  <a:pt x="2652" y="985"/>
                  <a:pt x="2652" y="985"/>
                  <a:pt x="2652" y="985"/>
                </a:cubicBezTo>
                <a:cubicBezTo>
                  <a:pt x="2657" y="981"/>
                  <a:pt x="2657" y="981"/>
                  <a:pt x="2657" y="981"/>
                </a:cubicBezTo>
                <a:cubicBezTo>
                  <a:pt x="2657" y="981"/>
                  <a:pt x="2659" y="983"/>
                  <a:pt x="2662" y="983"/>
                </a:cubicBezTo>
                <a:cubicBezTo>
                  <a:pt x="2664" y="982"/>
                  <a:pt x="2674" y="972"/>
                  <a:pt x="2674" y="972"/>
                </a:cubicBezTo>
                <a:cubicBezTo>
                  <a:pt x="2670" y="970"/>
                  <a:pt x="2670" y="970"/>
                  <a:pt x="2670" y="970"/>
                </a:cubicBezTo>
                <a:cubicBezTo>
                  <a:pt x="2667" y="973"/>
                  <a:pt x="2667" y="973"/>
                  <a:pt x="2667" y="973"/>
                </a:cubicBezTo>
                <a:cubicBezTo>
                  <a:pt x="2667" y="973"/>
                  <a:pt x="2658" y="973"/>
                  <a:pt x="2656" y="973"/>
                </a:cubicBezTo>
                <a:cubicBezTo>
                  <a:pt x="2654" y="973"/>
                  <a:pt x="2652" y="977"/>
                  <a:pt x="2652" y="977"/>
                </a:cubicBezTo>
                <a:cubicBezTo>
                  <a:pt x="2652" y="977"/>
                  <a:pt x="2651" y="977"/>
                  <a:pt x="2649" y="977"/>
                </a:cubicBezTo>
                <a:cubicBezTo>
                  <a:pt x="2649" y="977"/>
                  <a:pt x="2649" y="977"/>
                  <a:pt x="2649" y="977"/>
                </a:cubicBezTo>
                <a:cubicBezTo>
                  <a:pt x="2648" y="977"/>
                  <a:pt x="2647" y="978"/>
                  <a:pt x="2646" y="978"/>
                </a:cubicBezTo>
                <a:cubicBezTo>
                  <a:pt x="2645" y="979"/>
                  <a:pt x="2644" y="980"/>
                  <a:pt x="2644" y="980"/>
                </a:cubicBezTo>
                <a:cubicBezTo>
                  <a:pt x="2644" y="980"/>
                  <a:pt x="2644" y="980"/>
                  <a:pt x="2644" y="980"/>
                </a:cubicBezTo>
                <a:cubicBezTo>
                  <a:pt x="2641" y="980"/>
                  <a:pt x="2641" y="980"/>
                  <a:pt x="2641" y="980"/>
                </a:cubicBezTo>
                <a:cubicBezTo>
                  <a:pt x="2638" y="982"/>
                  <a:pt x="2638" y="982"/>
                  <a:pt x="2638" y="982"/>
                </a:cubicBezTo>
                <a:cubicBezTo>
                  <a:pt x="2639" y="984"/>
                  <a:pt x="2639" y="984"/>
                  <a:pt x="2639" y="984"/>
                </a:cubicBezTo>
                <a:cubicBezTo>
                  <a:pt x="2639" y="984"/>
                  <a:pt x="2639" y="984"/>
                  <a:pt x="2639" y="985"/>
                </a:cubicBezTo>
                <a:cubicBezTo>
                  <a:pt x="2636" y="987"/>
                  <a:pt x="2631" y="992"/>
                  <a:pt x="2635" y="995"/>
                </a:cubicBezTo>
                <a:close/>
                <a:moveTo>
                  <a:pt x="2609" y="943"/>
                </a:moveTo>
                <a:cubicBezTo>
                  <a:pt x="2605" y="950"/>
                  <a:pt x="2605" y="950"/>
                  <a:pt x="2605" y="950"/>
                </a:cubicBezTo>
                <a:cubicBezTo>
                  <a:pt x="2608" y="950"/>
                  <a:pt x="2608" y="950"/>
                  <a:pt x="2608" y="950"/>
                </a:cubicBezTo>
                <a:cubicBezTo>
                  <a:pt x="2610" y="946"/>
                  <a:pt x="2610" y="946"/>
                  <a:pt x="2610" y="946"/>
                </a:cubicBezTo>
                <a:cubicBezTo>
                  <a:pt x="2609" y="943"/>
                  <a:pt x="2609" y="943"/>
                  <a:pt x="2609" y="943"/>
                </a:cubicBezTo>
                <a:cubicBezTo>
                  <a:pt x="2609" y="943"/>
                  <a:pt x="2609" y="943"/>
                  <a:pt x="2609" y="943"/>
                </a:cubicBezTo>
                <a:close/>
                <a:moveTo>
                  <a:pt x="2609" y="976"/>
                </a:moveTo>
                <a:cubicBezTo>
                  <a:pt x="2622" y="976"/>
                  <a:pt x="2622" y="976"/>
                  <a:pt x="2622" y="976"/>
                </a:cubicBezTo>
                <a:cubicBezTo>
                  <a:pt x="2628" y="975"/>
                  <a:pt x="2628" y="975"/>
                  <a:pt x="2628" y="975"/>
                </a:cubicBezTo>
                <a:cubicBezTo>
                  <a:pt x="2634" y="970"/>
                  <a:pt x="2634" y="970"/>
                  <a:pt x="2634" y="970"/>
                </a:cubicBezTo>
                <a:cubicBezTo>
                  <a:pt x="2634" y="968"/>
                  <a:pt x="2634" y="968"/>
                  <a:pt x="2634" y="968"/>
                </a:cubicBezTo>
                <a:cubicBezTo>
                  <a:pt x="2629" y="970"/>
                  <a:pt x="2629" y="970"/>
                  <a:pt x="2629" y="970"/>
                </a:cubicBezTo>
                <a:cubicBezTo>
                  <a:pt x="2625" y="974"/>
                  <a:pt x="2625" y="974"/>
                  <a:pt x="2625" y="974"/>
                </a:cubicBezTo>
                <a:cubicBezTo>
                  <a:pt x="2625" y="974"/>
                  <a:pt x="2623" y="971"/>
                  <a:pt x="2621" y="971"/>
                </a:cubicBezTo>
                <a:cubicBezTo>
                  <a:pt x="2619" y="972"/>
                  <a:pt x="2616" y="974"/>
                  <a:pt x="2616" y="974"/>
                </a:cubicBezTo>
                <a:cubicBezTo>
                  <a:pt x="2616" y="974"/>
                  <a:pt x="2614" y="969"/>
                  <a:pt x="2610" y="970"/>
                </a:cubicBezTo>
                <a:cubicBezTo>
                  <a:pt x="2607" y="970"/>
                  <a:pt x="2602" y="976"/>
                  <a:pt x="2602" y="976"/>
                </a:cubicBezTo>
                <a:cubicBezTo>
                  <a:pt x="2597" y="975"/>
                  <a:pt x="2597" y="975"/>
                  <a:pt x="2597" y="975"/>
                </a:cubicBezTo>
                <a:cubicBezTo>
                  <a:pt x="2596" y="978"/>
                  <a:pt x="2596" y="978"/>
                  <a:pt x="2596" y="978"/>
                </a:cubicBezTo>
                <a:cubicBezTo>
                  <a:pt x="2599" y="977"/>
                  <a:pt x="2599" y="977"/>
                  <a:pt x="2599" y="977"/>
                </a:cubicBezTo>
                <a:cubicBezTo>
                  <a:pt x="2599" y="977"/>
                  <a:pt x="2601" y="978"/>
                  <a:pt x="2604" y="979"/>
                </a:cubicBezTo>
                <a:cubicBezTo>
                  <a:pt x="2606" y="980"/>
                  <a:pt x="2609" y="976"/>
                  <a:pt x="2609" y="976"/>
                </a:cubicBezTo>
                <a:close/>
                <a:moveTo>
                  <a:pt x="2636" y="933"/>
                </a:moveTo>
                <a:cubicBezTo>
                  <a:pt x="2636" y="930"/>
                  <a:pt x="2635" y="927"/>
                  <a:pt x="2635" y="927"/>
                </a:cubicBezTo>
                <a:cubicBezTo>
                  <a:pt x="2635" y="927"/>
                  <a:pt x="2627" y="921"/>
                  <a:pt x="2627" y="918"/>
                </a:cubicBezTo>
                <a:cubicBezTo>
                  <a:pt x="2628" y="916"/>
                  <a:pt x="2632" y="913"/>
                  <a:pt x="2629" y="911"/>
                </a:cubicBezTo>
                <a:cubicBezTo>
                  <a:pt x="2627" y="909"/>
                  <a:pt x="2625" y="908"/>
                  <a:pt x="2625" y="906"/>
                </a:cubicBezTo>
                <a:cubicBezTo>
                  <a:pt x="2625" y="904"/>
                  <a:pt x="2628" y="900"/>
                  <a:pt x="2625" y="899"/>
                </a:cubicBezTo>
                <a:cubicBezTo>
                  <a:pt x="2622" y="898"/>
                  <a:pt x="2618" y="895"/>
                  <a:pt x="2618" y="895"/>
                </a:cubicBezTo>
                <a:cubicBezTo>
                  <a:pt x="2618" y="895"/>
                  <a:pt x="2622" y="896"/>
                  <a:pt x="2624" y="894"/>
                </a:cubicBezTo>
                <a:cubicBezTo>
                  <a:pt x="2626" y="892"/>
                  <a:pt x="2628" y="887"/>
                  <a:pt x="2628" y="887"/>
                </a:cubicBezTo>
                <a:cubicBezTo>
                  <a:pt x="2628" y="887"/>
                  <a:pt x="2637" y="888"/>
                  <a:pt x="2637" y="886"/>
                </a:cubicBezTo>
                <a:cubicBezTo>
                  <a:pt x="2637" y="884"/>
                  <a:pt x="2635" y="881"/>
                  <a:pt x="2633" y="881"/>
                </a:cubicBezTo>
                <a:cubicBezTo>
                  <a:pt x="2630" y="881"/>
                  <a:pt x="2629" y="884"/>
                  <a:pt x="2629" y="884"/>
                </a:cubicBezTo>
                <a:cubicBezTo>
                  <a:pt x="2629" y="884"/>
                  <a:pt x="2623" y="883"/>
                  <a:pt x="2620" y="884"/>
                </a:cubicBezTo>
                <a:cubicBezTo>
                  <a:pt x="2618" y="884"/>
                  <a:pt x="2617" y="890"/>
                  <a:pt x="2614" y="890"/>
                </a:cubicBezTo>
                <a:cubicBezTo>
                  <a:pt x="2612" y="890"/>
                  <a:pt x="2612" y="886"/>
                  <a:pt x="2608" y="884"/>
                </a:cubicBezTo>
                <a:cubicBezTo>
                  <a:pt x="2605" y="882"/>
                  <a:pt x="2603" y="883"/>
                  <a:pt x="2603" y="883"/>
                </a:cubicBezTo>
                <a:cubicBezTo>
                  <a:pt x="2603" y="883"/>
                  <a:pt x="2604" y="870"/>
                  <a:pt x="2608" y="870"/>
                </a:cubicBezTo>
                <a:cubicBezTo>
                  <a:pt x="2611" y="870"/>
                  <a:pt x="2617" y="872"/>
                  <a:pt x="2620" y="871"/>
                </a:cubicBezTo>
                <a:cubicBezTo>
                  <a:pt x="2623" y="871"/>
                  <a:pt x="2621" y="868"/>
                  <a:pt x="2623" y="869"/>
                </a:cubicBezTo>
                <a:cubicBezTo>
                  <a:pt x="2626" y="869"/>
                  <a:pt x="2637" y="874"/>
                  <a:pt x="2639" y="875"/>
                </a:cubicBezTo>
                <a:cubicBezTo>
                  <a:pt x="2641" y="875"/>
                  <a:pt x="2642" y="873"/>
                  <a:pt x="2643" y="872"/>
                </a:cubicBezTo>
                <a:cubicBezTo>
                  <a:pt x="2645" y="871"/>
                  <a:pt x="2647" y="872"/>
                  <a:pt x="2649" y="871"/>
                </a:cubicBezTo>
                <a:cubicBezTo>
                  <a:pt x="2651" y="870"/>
                  <a:pt x="2649" y="869"/>
                  <a:pt x="2651" y="867"/>
                </a:cubicBezTo>
                <a:cubicBezTo>
                  <a:pt x="2652" y="865"/>
                  <a:pt x="2657" y="863"/>
                  <a:pt x="2657" y="863"/>
                </a:cubicBezTo>
                <a:cubicBezTo>
                  <a:pt x="2655" y="859"/>
                  <a:pt x="2655" y="859"/>
                  <a:pt x="2655" y="859"/>
                </a:cubicBezTo>
                <a:cubicBezTo>
                  <a:pt x="2644" y="864"/>
                  <a:pt x="2644" y="864"/>
                  <a:pt x="2644" y="864"/>
                </a:cubicBezTo>
                <a:cubicBezTo>
                  <a:pt x="2644" y="864"/>
                  <a:pt x="2647" y="866"/>
                  <a:pt x="2644" y="867"/>
                </a:cubicBezTo>
                <a:cubicBezTo>
                  <a:pt x="2640" y="867"/>
                  <a:pt x="2638" y="865"/>
                  <a:pt x="2636" y="865"/>
                </a:cubicBezTo>
                <a:cubicBezTo>
                  <a:pt x="2634" y="865"/>
                  <a:pt x="2631" y="868"/>
                  <a:pt x="2629" y="867"/>
                </a:cubicBezTo>
                <a:cubicBezTo>
                  <a:pt x="2627" y="867"/>
                  <a:pt x="2621" y="864"/>
                  <a:pt x="2620" y="864"/>
                </a:cubicBezTo>
                <a:cubicBezTo>
                  <a:pt x="2619" y="864"/>
                  <a:pt x="2615" y="864"/>
                  <a:pt x="2615" y="864"/>
                </a:cubicBezTo>
                <a:cubicBezTo>
                  <a:pt x="2617" y="862"/>
                  <a:pt x="2617" y="862"/>
                  <a:pt x="2617" y="862"/>
                </a:cubicBezTo>
                <a:cubicBezTo>
                  <a:pt x="2617" y="862"/>
                  <a:pt x="2611" y="860"/>
                  <a:pt x="2611" y="861"/>
                </a:cubicBezTo>
                <a:cubicBezTo>
                  <a:pt x="2610" y="862"/>
                  <a:pt x="2611" y="865"/>
                  <a:pt x="2608" y="867"/>
                </a:cubicBezTo>
                <a:cubicBezTo>
                  <a:pt x="2606" y="868"/>
                  <a:pt x="2601" y="868"/>
                  <a:pt x="2601" y="869"/>
                </a:cubicBezTo>
                <a:cubicBezTo>
                  <a:pt x="2601" y="870"/>
                  <a:pt x="2601" y="873"/>
                  <a:pt x="2601" y="873"/>
                </a:cubicBezTo>
                <a:cubicBezTo>
                  <a:pt x="2598" y="874"/>
                  <a:pt x="2598" y="874"/>
                  <a:pt x="2598" y="874"/>
                </a:cubicBezTo>
                <a:cubicBezTo>
                  <a:pt x="2600" y="883"/>
                  <a:pt x="2600" y="883"/>
                  <a:pt x="2600" y="883"/>
                </a:cubicBezTo>
                <a:cubicBezTo>
                  <a:pt x="2598" y="883"/>
                  <a:pt x="2598" y="883"/>
                  <a:pt x="2598" y="883"/>
                </a:cubicBezTo>
                <a:cubicBezTo>
                  <a:pt x="2598" y="883"/>
                  <a:pt x="2595" y="888"/>
                  <a:pt x="2594" y="890"/>
                </a:cubicBezTo>
                <a:cubicBezTo>
                  <a:pt x="2594" y="893"/>
                  <a:pt x="2598" y="897"/>
                  <a:pt x="2596" y="899"/>
                </a:cubicBezTo>
                <a:cubicBezTo>
                  <a:pt x="2594" y="900"/>
                  <a:pt x="2589" y="902"/>
                  <a:pt x="2589" y="904"/>
                </a:cubicBezTo>
                <a:cubicBezTo>
                  <a:pt x="2589" y="907"/>
                  <a:pt x="2591" y="910"/>
                  <a:pt x="2591" y="910"/>
                </a:cubicBezTo>
                <a:cubicBezTo>
                  <a:pt x="2591" y="910"/>
                  <a:pt x="2588" y="913"/>
                  <a:pt x="2590" y="915"/>
                </a:cubicBezTo>
                <a:cubicBezTo>
                  <a:pt x="2592" y="916"/>
                  <a:pt x="2596" y="913"/>
                  <a:pt x="2597" y="915"/>
                </a:cubicBezTo>
                <a:cubicBezTo>
                  <a:pt x="2598" y="918"/>
                  <a:pt x="2596" y="920"/>
                  <a:pt x="2596" y="920"/>
                </a:cubicBezTo>
                <a:cubicBezTo>
                  <a:pt x="2598" y="923"/>
                  <a:pt x="2598" y="923"/>
                  <a:pt x="2598" y="923"/>
                </a:cubicBezTo>
                <a:cubicBezTo>
                  <a:pt x="2597" y="932"/>
                  <a:pt x="2597" y="932"/>
                  <a:pt x="2597" y="932"/>
                </a:cubicBezTo>
                <a:cubicBezTo>
                  <a:pt x="2597" y="932"/>
                  <a:pt x="2592" y="935"/>
                  <a:pt x="2594" y="940"/>
                </a:cubicBezTo>
                <a:cubicBezTo>
                  <a:pt x="2597" y="945"/>
                  <a:pt x="2600" y="945"/>
                  <a:pt x="2604" y="941"/>
                </a:cubicBezTo>
                <a:cubicBezTo>
                  <a:pt x="2607" y="938"/>
                  <a:pt x="2603" y="931"/>
                  <a:pt x="2603" y="931"/>
                </a:cubicBezTo>
                <a:cubicBezTo>
                  <a:pt x="2603" y="931"/>
                  <a:pt x="2608" y="928"/>
                  <a:pt x="2608" y="924"/>
                </a:cubicBezTo>
                <a:cubicBezTo>
                  <a:pt x="2607" y="919"/>
                  <a:pt x="2609" y="915"/>
                  <a:pt x="2608" y="913"/>
                </a:cubicBezTo>
                <a:cubicBezTo>
                  <a:pt x="2606" y="910"/>
                  <a:pt x="2605" y="905"/>
                  <a:pt x="2606" y="904"/>
                </a:cubicBezTo>
                <a:cubicBezTo>
                  <a:pt x="2606" y="903"/>
                  <a:pt x="2607" y="897"/>
                  <a:pt x="2609" y="901"/>
                </a:cubicBezTo>
                <a:cubicBezTo>
                  <a:pt x="2612" y="904"/>
                  <a:pt x="2612" y="911"/>
                  <a:pt x="2612" y="911"/>
                </a:cubicBezTo>
                <a:cubicBezTo>
                  <a:pt x="2616" y="916"/>
                  <a:pt x="2616" y="916"/>
                  <a:pt x="2616" y="916"/>
                </a:cubicBezTo>
                <a:cubicBezTo>
                  <a:pt x="2616" y="924"/>
                  <a:pt x="2616" y="924"/>
                  <a:pt x="2616" y="924"/>
                </a:cubicBezTo>
                <a:cubicBezTo>
                  <a:pt x="2619" y="928"/>
                  <a:pt x="2619" y="928"/>
                  <a:pt x="2619" y="928"/>
                </a:cubicBezTo>
                <a:cubicBezTo>
                  <a:pt x="2620" y="933"/>
                  <a:pt x="2620" y="933"/>
                  <a:pt x="2620" y="933"/>
                </a:cubicBezTo>
                <a:cubicBezTo>
                  <a:pt x="2621" y="944"/>
                  <a:pt x="2621" y="944"/>
                  <a:pt x="2621" y="944"/>
                </a:cubicBezTo>
                <a:cubicBezTo>
                  <a:pt x="2624" y="942"/>
                  <a:pt x="2624" y="942"/>
                  <a:pt x="2624" y="942"/>
                </a:cubicBezTo>
                <a:cubicBezTo>
                  <a:pt x="2629" y="943"/>
                  <a:pt x="2629" y="943"/>
                  <a:pt x="2629" y="943"/>
                </a:cubicBezTo>
                <a:cubicBezTo>
                  <a:pt x="2629" y="943"/>
                  <a:pt x="2630" y="940"/>
                  <a:pt x="2629" y="937"/>
                </a:cubicBezTo>
                <a:cubicBezTo>
                  <a:pt x="2629" y="934"/>
                  <a:pt x="2631" y="933"/>
                  <a:pt x="2631" y="933"/>
                </a:cubicBezTo>
                <a:cubicBezTo>
                  <a:pt x="2632" y="936"/>
                  <a:pt x="2632" y="936"/>
                  <a:pt x="2632" y="936"/>
                </a:cubicBezTo>
                <a:cubicBezTo>
                  <a:pt x="2632" y="936"/>
                  <a:pt x="2635" y="936"/>
                  <a:pt x="2636" y="933"/>
                </a:cubicBezTo>
                <a:close/>
                <a:moveTo>
                  <a:pt x="2633" y="894"/>
                </a:moveTo>
                <a:cubicBezTo>
                  <a:pt x="2633" y="897"/>
                  <a:pt x="2633" y="897"/>
                  <a:pt x="2633" y="897"/>
                </a:cubicBezTo>
                <a:cubicBezTo>
                  <a:pt x="2633" y="897"/>
                  <a:pt x="2636" y="899"/>
                  <a:pt x="2637" y="896"/>
                </a:cubicBezTo>
                <a:cubicBezTo>
                  <a:pt x="2639" y="892"/>
                  <a:pt x="2633" y="894"/>
                  <a:pt x="2633" y="894"/>
                </a:cubicBezTo>
                <a:close/>
                <a:moveTo>
                  <a:pt x="2738" y="1322"/>
                </a:moveTo>
                <a:cubicBezTo>
                  <a:pt x="2737" y="1328"/>
                  <a:pt x="2737" y="1328"/>
                  <a:pt x="2737" y="1328"/>
                </a:cubicBezTo>
                <a:cubicBezTo>
                  <a:pt x="2744" y="1321"/>
                  <a:pt x="2744" y="1321"/>
                  <a:pt x="2744" y="1321"/>
                </a:cubicBezTo>
                <a:cubicBezTo>
                  <a:pt x="2738" y="1322"/>
                  <a:pt x="2738" y="1322"/>
                  <a:pt x="2738" y="1322"/>
                </a:cubicBezTo>
                <a:cubicBezTo>
                  <a:pt x="2738" y="1322"/>
                  <a:pt x="2738" y="1322"/>
                  <a:pt x="2738" y="1322"/>
                </a:cubicBezTo>
                <a:close/>
                <a:moveTo>
                  <a:pt x="2453" y="876"/>
                </a:moveTo>
                <a:cubicBezTo>
                  <a:pt x="2450" y="873"/>
                  <a:pt x="2450" y="873"/>
                  <a:pt x="2450" y="873"/>
                </a:cubicBezTo>
                <a:cubicBezTo>
                  <a:pt x="2449" y="878"/>
                  <a:pt x="2449" y="878"/>
                  <a:pt x="2449" y="878"/>
                </a:cubicBezTo>
                <a:cubicBezTo>
                  <a:pt x="2453" y="880"/>
                  <a:pt x="2453" y="880"/>
                  <a:pt x="2453" y="880"/>
                </a:cubicBezTo>
                <a:cubicBezTo>
                  <a:pt x="2453" y="876"/>
                  <a:pt x="2453" y="876"/>
                  <a:pt x="2453" y="876"/>
                </a:cubicBezTo>
                <a:cubicBezTo>
                  <a:pt x="2453" y="876"/>
                  <a:pt x="2453" y="876"/>
                  <a:pt x="2453" y="876"/>
                </a:cubicBezTo>
                <a:close/>
                <a:moveTo>
                  <a:pt x="2451" y="865"/>
                </a:moveTo>
                <a:cubicBezTo>
                  <a:pt x="2450" y="863"/>
                  <a:pt x="2447" y="864"/>
                  <a:pt x="2449" y="867"/>
                </a:cubicBezTo>
                <a:cubicBezTo>
                  <a:pt x="2451" y="871"/>
                  <a:pt x="2452" y="868"/>
                  <a:pt x="2451" y="865"/>
                </a:cubicBezTo>
                <a:close/>
                <a:moveTo>
                  <a:pt x="2420" y="857"/>
                </a:moveTo>
                <a:cubicBezTo>
                  <a:pt x="2420" y="860"/>
                  <a:pt x="2426" y="857"/>
                  <a:pt x="2423" y="855"/>
                </a:cubicBezTo>
                <a:cubicBezTo>
                  <a:pt x="2421" y="853"/>
                  <a:pt x="2418" y="854"/>
                  <a:pt x="2420" y="857"/>
                </a:cubicBezTo>
                <a:close/>
                <a:moveTo>
                  <a:pt x="2362" y="845"/>
                </a:moveTo>
                <a:cubicBezTo>
                  <a:pt x="2361" y="846"/>
                  <a:pt x="2361" y="849"/>
                  <a:pt x="2363" y="849"/>
                </a:cubicBezTo>
                <a:cubicBezTo>
                  <a:pt x="2366" y="850"/>
                  <a:pt x="2366" y="853"/>
                  <a:pt x="2369" y="851"/>
                </a:cubicBezTo>
                <a:cubicBezTo>
                  <a:pt x="2370" y="850"/>
                  <a:pt x="2363" y="844"/>
                  <a:pt x="2362" y="845"/>
                </a:cubicBezTo>
                <a:close/>
                <a:moveTo>
                  <a:pt x="2712" y="879"/>
                </a:moveTo>
                <a:cubicBezTo>
                  <a:pt x="2708" y="878"/>
                  <a:pt x="2706" y="879"/>
                  <a:pt x="2706" y="879"/>
                </a:cubicBezTo>
                <a:cubicBezTo>
                  <a:pt x="2707" y="883"/>
                  <a:pt x="2707" y="883"/>
                  <a:pt x="2707" y="883"/>
                </a:cubicBezTo>
                <a:cubicBezTo>
                  <a:pt x="2709" y="883"/>
                  <a:pt x="2715" y="882"/>
                  <a:pt x="2715" y="882"/>
                </a:cubicBezTo>
                <a:cubicBezTo>
                  <a:pt x="2715" y="882"/>
                  <a:pt x="2716" y="879"/>
                  <a:pt x="2712" y="879"/>
                </a:cubicBezTo>
                <a:close/>
                <a:moveTo>
                  <a:pt x="2451" y="889"/>
                </a:moveTo>
                <a:cubicBezTo>
                  <a:pt x="2450" y="882"/>
                  <a:pt x="2450" y="882"/>
                  <a:pt x="2450" y="882"/>
                </a:cubicBezTo>
                <a:cubicBezTo>
                  <a:pt x="2447" y="885"/>
                  <a:pt x="2447" y="885"/>
                  <a:pt x="2447" y="885"/>
                </a:cubicBezTo>
                <a:cubicBezTo>
                  <a:pt x="2451" y="889"/>
                  <a:pt x="2451" y="889"/>
                  <a:pt x="2451" y="889"/>
                </a:cubicBezTo>
                <a:cubicBezTo>
                  <a:pt x="2451" y="889"/>
                  <a:pt x="2451" y="889"/>
                  <a:pt x="2451" y="889"/>
                </a:cubicBezTo>
                <a:close/>
                <a:moveTo>
                  <a:pt x="2597" y="989"/>
                </a:moveTo>
                <a:cubicBezTo>
                  <a:pt x="2600" y="989"/>
                  <a:pt x="2598" y="991"/>
                  <a:pt x="2600" y="993"/>
                </a:cubicBezTo>
                <a:cubicBezTo>
                  <a:pt x="2602" y="995"/>
                  <a:pt x="2607" y="994"/>
                  <a:pt x="2607" y="994"/>
                </a:cubicBezTo>
                <a:cubicBezTo>
                  <a:pt x="2607" y="994"/>
                  <a:pt x="2606" y="990"/>
                  <a:pt x="2603" y="986"/>
                </a:cubicBezTo>
                <a:cubicBezTo>
                  <a:pt x="2600" y="982"/>
                  <a:pt x="2595" y="985"/>
                  <a:pt x="2595" y="985"/>
                </a:cubicBezTo>
                <a:cubicBezTo>
                  <a:pt x="2590" y="984"/>
                  <a:pt x="2590" y="984"/>
                  <a:pt x="2590" y="984"/>
                </a:cubicBezTo>
                <a:cubicBezTo>
                  <a:pt x="2589" y="985"/>
                  <a:pt x="2589" y="985"/>
                  <a:pt x="2591" y="988"/>
                </a:cubicBezTo>
                <a:cubicBezTo>
                  <a:pt x="2593" y="992"/>
                  <a:pt x="2595" y="989"/>
                  <a:pt x="2597" y="989"/>
                </a:cubicBezTo>
                <a:close/>
                <a:moveTo>
                  <a:pt x="2481" y="906"/>
                </a:moveTo>
                <a:cubicBezTo>
                  <a:pt x="2477" y="907"/>
                  <a:pt x="2478" y="911"/>
                  <a:pt x="2479" y="914"/>
                </a:cubicBezTo>
                <a:cubicBezTo>
                  <a:pt x="2483" y="913"/>
                  <a:pt x="2483" y="913"/>
                  <a:pt x="2483" y="913"/>
                </a:cubicBezTo>
                <a:cubicBezTo>
                  <a:pt x="2485" y="916"/>
                  <a:pt x="2485" y="916"/>
                  <a:pt x="2485" y="916"/>
                </a:cubicBezTo>
                <a:cubicBezTo>
                  <a:pt x="2487" y="912"/>
                  <a:pt x="2487" y="912"/>
                  <a:pt x="2487" y="912"/>
                </a:cubicBezTo>
                <a:cubicBezTo>
                  <a:pt x="2487" y="912"/>
                  <a:pt x="2485" y="906"/>
                  <a:pt x="2481" y="906"/>
                </a:cubicBezTo>
                <a:close/>
                <a:moveTo>
                  <a:pt x="2455" y="901"/>
                </a:moveTo>
                <a:cubicBezTo>
                  <a:pt x="2461" y="900"/>
                  <a:pt x="2461" y="900"/>
                  <a:pt x="2461" y="900"/>
                </a:cubicBezTo>
                <a:cubicBezTo>
                  <a:pt x="2461" y="900"/>
                  <a:pt x="2462" y="907"/>
                  <a:pt x="2464" y="909"/>
                </a:cubicBezTo>
                <a:cubicBezTo>
                  <a:pt x="2466" y="912"/>
                  <a:pt x="2472" y="912"/>
                  <a:pt x="2472" y="912"/>
                </a:cubicBezTo>
                <a:cubicBezTo>
                  <a:pt x="2471" y="906"/>
                  <a:pt x="2471" y="906"/>
                  <a:pt x="2471" y="906"/>
                </a:cubicBezTo>
                <a:cubicBezTo>
                  <a:pt x="2469" y="904"/>
                  <a:pt x="2469" y="904"/>
                  <a:pt x="2469" y="904"/>
                </a:cubicBezTo>
                <a:cubicBezTo>
                  <a:pt x="2469" y="900"/>
                  <a:pt x="2469" y="900"/>
                  <a:pt x="2469" y="900"/>
                </a:cubicBezTo>
                <a:cubicBezTo>
                  <a:pt x="2469" y="900"/>
                  <a:pt x="2466" y="895"/>
                  <a:pt x="2461" y="893"/>
                </a:cubicBezTo>
                <a:cubicBezTo>
                  <a:pt x="2456" y="892"/>
                  <a:pt x="2457" y="897"/>
                  <a:pt x="2457" y="897"/>
                </a:cubicBezTo>
                <a:cubicBezTo>
                  <a:pt x="2457" y="897"/>
                  <a:pt x="2454" y="897"/>
                  <a:pt x="2455" y="901"/>
                </a:cubicBezTo>
                <a:close/>
                <a:moveTo>
                  <a:pt x="2662" y="776"/>
                </a:moveTo>
                <a:cubicBezTo>
                  <a:pt x="2660" y="775"/>
                  <a:pt x="2654" y="768"/>
                  <a:pt x="2652" y="770"/>
                </a:cubicBezTo>
                <a:cubicBezTo>
                  <a:pt x="2651" y="771"/>
                  <a:pt x="2657" y="776"/>
                  <a:pt x="2656" y="777"/>
                </a:cubicBezTo>
                <a:cubicBezTo>
                  <a:pt x="2655" y="777"/>
                  <a:pt x="2648" y="778"/>
                  <a:pt x="2648" y="778"/>
                </a:cubicBezTo>
                <a:cubicBezTo>
                  <a:pt x="2648" y="782"/>
                  <a:pt x="2648" y="782"/>
                  <a:pt x="2648" y="782"/>
                </a:cubicBezTo>
                <a:cubicBezTo>
                  <a:pt x="2645" y="782"/>
                  <a:pt x="2645" y="782"/>
                  <a:pt x="2645" y="782"/>
                </a:cubicBezTo>
                <a:cubicBezTo>
                  <a:pt x="2644" y="785"/>
                  <a:pt x="2644" y="785"/>
                  <a:pt x="2644" y="785"/>
                </a:cubicBezTo>
                <a:cubicBezTo>
                  <a:pt x="2641" y="787"/>
                  <a:pt x="2641" y="787"/>
                  <a:pt x="2641" y="787"/>
                </a:cubicBezTo>
                <a:cubicBezTo>
                  <a:pt x="2641" y="787"/>
                  <a:pt x="2636" y="784"/>
                  <a:pt x="2634" y="786"/>
                </a:cubicBezTo>
                <a:cubicBezTo>
                  <a:pt x="2632" y="787"/>
                  <a:pt x="2629" y="793"/>
                  <a:pt x="2629" y="793"/>
                </a:cubicBezTo>
                <a:cubicBezTo>
                  <a:pt x="2629" y="793"/>
                  <a:pt x="2627" y="789"/>
                  <a:pt x="2626" y="791"/>
                </a:cubicBezTo>
                <a:cubicBezTo>
                  <a:pt x="2625" y="793"/>
                  <a:pt x="2622" y="798"/>
                  <a:pt x="2622" y="798"/>
                </a:cubicBezTo>
                <a:cubicBezTo>
                  <a:pt x="2625" y="801"/>
                  <a:pt x="2625" y="801"/>
                  <a:pt x="2625" y="801"/>
                </a:cubicBezTo>
                <a:cubicBezTo>
                  <a:pt x="2628" y="798"/>
                  <a:pt x="2628" y="798"/>
                  <a:pt x="2628" y="798"/>
                </a:cubicBezTo>
                <a:cubicBezTo>
                  <a:pt x="2630" y="801"/>
                  <a:pt x="2630" y="801"/>
                  <a:pt x="2630" y="801"/>
                </a:cubicBezTo>
                <a:cubicBezTo>
                  <a:pt x="2630" y="801"/>
                  <a:pt x="2635" y="797"/>
                  <a:pt x="2637" y="797"/>
                </a:cubicBezTo>
                <a:cubicBezTo>
                  <a:pt x="2638" y="797"/>
                  <a:pt x="2643" y="801"/>
                  <a:pt x="2643" y="801"/>
                </a:cubicBezTo>
                <a:cubicBezTo>
                  <a:pt x="2643" y="801"/>
                  <a:pt x="2641" y="802"/>
                  <a:pt x="2641" y="804"/>
                </a:cubicBezTo>
                <a:cubicBezTo>
                  <a:pt x="2641" y="806"/>
                  <a:pt x="2644" y="813"/>
                  <a:pt x="2646" y="814"/>
                </a:cubicBezTo>
                <a:cubicBezTo>
                  <a:pt x="2648" y="815"/>
                  <a:pt x="2653" y="816"/>
                  <a:pt x="2653" y="816"/>
                </a:cubicBezTo>
                <a:cubicBezTo>
                  <a:pt x="2656" y="813"/>
                  <a:pt x="2656" y="813"/>
                  <a:pt x="2656" y="813"/>
                </a:cubicBezTo>
                <a:cubicBezTo>
                  <a:pt x="2656" y="817"/>
                  <a:pt x="2656" y="817"/>
                  <a:pt x="2656" y="817"/>
                </a:cubicBezTo>
                <a:cubicBezTo>
                  <a:pt x="2659" y="817"/>
                  <a:pt x="2659" y="817"/>
                  <a:pt x="2659" y="817"/>
                </a:cubicBezTo>
                <a:cubicBezTo>
                  <a:pt x="2660" y="812"/>
                  <a:pt x="2660" y="812"/>
                  <a:pt x="2660" y="812"/>
                </a:cubicBezTo>
                <a:cubicBezTo>
                  <a:pt x="2660" y="812"/>
                  <a:pt x="2655" y="807"/>
                  <a:pt x="2656" y="804"/>
                </a:cubicBezTo>
                <a:cubicBezTo>
                  <a:pt x="2657" y="802"/>
                  <a:pt x="2659" y="801"/>
                  <a:pt x="2659" y="801"/>
                </a:cubicBezTo>
                <a:cubicBezTo>
                  <a:pt x="2662" y="808"/>
                  <a:pt x="2662" y="808"/>
                  <a:pt x="2662" y="808"/>
                </a:cubicBezTo>
                <a:cubicBezTo>
                  <a:pt x="2662" y="808"/>
                  <a:pt x="2666" y="803"/>
                  <a:pt x="2666" y="799"/>
                </a:cubicBezTo>
                <a:cubicBezTo>
                  <a:pt x="2666" y="796"/>
                  <a:pt x="2664" y="792"/>
                  <a:pt x="2664" y="792"/>
                </a:cubicBezTo>
                <a:cubicBezTo>
                  <a:pt x="2664" y="784"/>
                  <a:pt x="2664" y="784"/>
                  <a:pt x="2664" y="784"/>
                </a:cubicBezTo>
                <a:cubicBezTo>
                  <a:pt x="2664" y="784"/>
                  <a:pt x="2664" y="777"/>
                  <a:pt x="2662" y="776"/>
                </a:cubicBezTo>
                <a:close/>
                <a:moveTo>
                  <a:pt x="2653" y="900"/>
                </a:moveTo>
                <a:cubicBezTo>
                  <a:pt x="2664" y="898"/>
                  <a:pt x="2664" y="898"/>
                  <a:pt x="2664" y="898"/>
                </a:cubicBezTo>
                <a:cubicBezTo>
                  <a:pt x="2653" y="897"/>
                  <a:pt x="2653" y="897"/>
                  <a:pt x="2653" y="897"/>
                </a:cubicBezTo>
                <a:cubicBezTo>
                  <a:pt x="2653" y="897"/>
                  <a:pt x="2649" y="895"/>
                  <a:pt x="2647" y="895"/>
                </a:cubicBezTo>
                <a:cubicBezTo>
                  <a:pt x="2646" y="896"/>
                  <a:pt x="2645" y="898"/>
                  <a:pt x="2645" y="898"/>
                </a:cubicBezTo>
                <a:cubicBezTo>
                  <a:pt x="2647" y="901"/>
                  <a:pt x="2653" y="900"/>
                  <a:pt x="2653" y="900"/>
                </a:cubicBezTo>
                <a:close/>
                <a:moveTo>
                  <a:pt x="2648" y="972"/>
                </a:moveTo>
                <a:cubicBezTo>
                  <a:pt x="2648" y="968"/>
                  <a:pt x="2648" y="968"/>
                  <a:pt x="2648" y="968"/>
                </a:cubicBezTo>
                <a:cubicBezTo>
                  <a:pt x="2643" y="971"/>
                  <a:pt x="2643" y="971"/>
                  <a:pt x="2643" y="971"/>
                </a:cubicBezTo>
                <a:cubicBezTo>
                  <a:pt x="2648" y="972"/>
                  <a:pt x="2648" y="972"/>
                  <a:pt x="2648" y="972"/>
                </a:cubicBezTo>
                <a:cubicBezTo>
                  <a:pt x="2648" y="972"/>
                  <a:pt x="2648" y="972"/>
                  <a:pt x="2648" y="972"/>
                </a:cubicBezTo>
                <a:close/>
                <a:moveTo>
                  <a:pt x="2658" y="963"/>
                </a:moveTo>
                <a:cubicBezTo>
                  <a:pt x="2655" y="968"/>
                  <a:pt x="2655" y="968"/>
                  <a:pt x="2655" y="968"/>
                </a:cubicBezTo>
                <a:cubicBezTo>
                  <a:pt x="2666" y="965"/>
                  <a:pt x="2666" y="965"/>
                  <a:pt x="2666" y="965"/>
                </a:cubicBezTo>
                <a:cubicBezTo>
                  <a:pt x="2658" y="963"/>
                  <a:pt x="2658" y="963"/>
                  <a:pt x="2658" y="963"/>
                </a:cubicBezTo>
                <a:cubicBezTo>
                  <a:pt x="2658" y="963"/>
                  <a:pt x="2658" y="963"/>
                  <a:pt x="2658" y="963"/>
                </a:cubicBezTo>
                <a:close/>
                <a:moveTo>
                  <a:pt x="2671" y="826"/>
                </a:moveTo>
                <a:cubicBezTo>
                  <a:pt x="2669" y="826"/>
                  <a:pt x="2669" y="826"/>
                  <a:pt x="2669" y="826"/>
                </a:cubicBezTo>
                <a:cubicBezTo>
                  <a:pt x="2668" y="830"/>
                  <a:pt x="2668" y="830"/>
                  <a:pt x="2668" y="830"/>
                </a:cubicBezTo>
                <a:cubicBezTo>
                  <a:pt x="2669" y="834"/>
                  <a:pt x="2669" y="834"/>
                  <a:pt x="2669" y="834"/>
                </a:cubicBezTo>
                <a:cubicBezTo>
                  <a:pt x="2671" y="832"/>
                  <a:pt x="2671" y="832"/>
                  <a:pt x="2671" y="832"/>
                </a:cubicBezTo>
                <a:cubicBezTo>
                  <a:pt x="2671" y="826"/>
                  <a:pt x="2671" y="826"/>
                  <a:pt x="2671" y="826"/>
                </a:cubicBezTo>
                <a:cubicBezTo>
                  <a:pt x="2671" y="826"/>
                  <a:pt x="2671" y="826"/>
                  <a:pt x="2671" y="826"/>
                </a:cubicBezTo>
                <a:close/>
                <a:moveTo>
                  <a:pt x="2618" y="758"/>
                </a:moveTo>
                <a:cubicBezTo>
                  <a:pt x="2619" y="760"/>
                  <a:pt x="2621" y="762"/>
                  <a:pt x="2621" y="762"/>
                </a:cubicBezTo>
                <a:cubicBezTo>
                  <a:pt x="2621" y="762"/>
                  <a:pt x="2624" y="758"/>
                  <a:pt x="2625" y="759"/>
                </a:cubicBezTo>
                <a:cubicBezTo>
                  <a:pt x="2626" y="760"/>
                  <a:pt x="2626" y="764"/>
                  <a:pt x="2626" y="764"/>
                </a:cubicBezTo>
                <a:cubicBezTo>
                  <a:pt x="2628" y="766"/>
                  <a:pt x="2628" y="766"/>
                  <a:pt x="2628" y="766"/>
                </a:cubicBezTo>
                <a:cubicBezTo>
                  <a:pt x="2628" y="766"/>
                  <a:pt x="2623" y="773"/>
                  <a:pt x="2623" y="774"/>
                </a:cubicBezTo>
                <a:cubicBezTo>
                  <a:pt x="2623" y="775"/>
                  <a:pt x="2623" y="780"/>
                  <a:pt x="2627" y="779"/>
                </a:cubicBezTo>
                <a:cubicBezTo>
                  <a:pt x="2630" y="778"/>
                  <a:pt x="2635" y="777"/>
                  <a:pt x="2633" y="774"/>
                </a:cubicBezTo>
                <a:cubicBezTo>
                  <a:pt x="2631" y="771"/>
                  <a:pt x="2631" y="768"/>
                  <a:pt x="2632" y="764"/>
                </a:cubicBezTo>
                <a:cubicBezTo>
                  <a:pt x="2634" y="759"/>
                  <a:pt x="2633" y="755"/>
                  <a:pt x="2631" y="757"/>
                </a:cubicBezTo>
                <a:cubicBezTo>
                  <a:pt x="2630" y="758"/>
                  <a:pt x="2627" y="760"/>
                  <a:pt x="2627" y="758"/>
                </a:cubicBezTo>
                <a:cubicBezTo>
                  <a:pt x="2627" y="757"/>
                  <a:pt x="2631" y="750"/>
                  <a:pt x="2629" y="749"/>
                </a:cubicBezTo>
                <a:cubicBezTo>
                  <a:pt x="2626" y="749"/>
                  <a:pt x="2622" y="746"/>
                  <a:pt x="2622" y="746"/>
                </a:cubicBezTo>
                <a:cubicBezTo>
                  <a:pt x="2622" y="746"/>
                  <a:pt x="2617" y="745"/>
                  <a:pt x="2617" y="746"/>
                </a:cubicBezTo>
                <a:cubicBezTo>
                  <a:pt x="2617" y="748"/>
                  <a:pt x="2620" y="750"/>
                  <a:pt x="2620" y="750"/>
                </a:cubicBezTo>
                <a:cubicBezTo>
                  <a:pt x="2620" y="750"/>
                  <a:pt x="2617" y="755"/>
                  <a:pt x="2618" y="758"/>
                </a:cubicBezTo>
                <a:close/>
                <a:moveTo>
                  <a:pt x="2624" y="809"/>
                </a:moveTo>
                <a:cubicBezTo>
                  <a:pt x="2621" y="807"/>
                  <a:pt x="2621" y="807"/>
                  <a:pt x="2621" y="807"/>
                </a:cubicBezTo>
                <a:cubicBezTo>
                  <a:pt x="2618" y="810"/>
                  <a:pt x="2618" y="810"/>
                  <a:pt x="2618" y="810"/>
                </a:cubicBezTo>
                <a:cubicBezTo>
                  <a:pt x="2623" y="814"/>
                  <a:pt x="2623" y="814"/>
                  <a:pt x="2623" y="814"/>
                </a:cubicBezTo>
                <a:cubicBezTo>
                  <a:pt x="2624" y="809"/>
                  <a:pt x="2624" y="809"/>
                  <a:pt x="2624" y="809"/>
                </a:cubicBezTo>
                <a:cubicBezTo>
                  <a:pt x="2624" y="809"/>
                  <a:pt x="2624" y="809"/>
                  <a:pt x="2624" y="809"/>
                </a:cubicBezTo>
                <a:close/>
                <a:moveTo>
                  <a:pt x="2651" y="759"/>
                </a:moveTo>
                <a:cubicBezTo>
                  <a:pt x="2647" y="758"/>
                  <a:pt x="2647" y="758"/>
                  <a:pt x="2647" y="758"/>
                </a:cubicBezTo>
                <a:cubicBezTo>
                  <a:pt x="2647" y="758"/>
                  <a:pt x="2646" y="755"/>
                  <a:pt x="2645" y="754"/>
                </a:cubicBezTo>
                <a:cubicBezTo>
                  <a:pt x="2644" y="752"/>
                  <a:pt x="2639" y="753"/>
                  <a:pt x="2639" y="753"/>
                </a:cubicBezTo>
                <a:cubicBezTo>
                  <a:pt x="2640" y="759"/>
                  <a:pt x="2640" y="759"/>
                  <a:pt x="2640" y="759"/>
                </a:cubicBezTo>
                <a:cubicBezTo>
                  <a:pt x="2643" y="758"/>
                  <a:pt x="2643" y="758"/>
                  <a:pt x="2643" y="758"/>
                </a:cubicBezTo>
                <a:cubicBezTo>
                  <a:pt x="2644" y="761"/>
                  <a:pt x="2644" y="761"/>
                  <a:pt x="2644" y="761"/>
                </a:cubicBezTo>
                <a:cubicBezTo>
                  <a:pt x="2651" y="767"/>
                  <a:pt x="2651" y="767"/>
                  <a:pt x="2651" y="767"/>
                </a:cubicBezTo>
                <a:cubicBezTo>
                  <a:pt x="2651" y="759"/>
                  <a:pt x="2651" y="759"/>
                  <a:pt x="2651" y="759"/>
                </a:cubicBezTo>
                <a:cubicBezTo>
                  <a:pt x="2651" y="759"/>
                  <a:pt x="2651" y="759"/>
                  <a:pt x="2651" y="759"/>
                </a:cubicBezTo>
                <a:close/>
                <a:moveTo>
                  <a:pt x="2665" y="912"/>
                </a:moveTo>
                <a:cubicBezTo>
                  <a:pt x="2665" y="912"/>
                  <a:pt x="2663" y="916"/>
                  <a:pt x="2666" y="918"/>
                </a:cubicBezTo>
                <a:cubicBezTo>
                  <a:pt x="2669" y="920"/>
                  <a:pt x="2673" y="920"/>
                  <a:pt x="2673" y="920"/>
                </a:cubicBezTo>
                <a:cubicBezTo>
                  <a:pt x="2675" y="917"/>
                  <a:pt x="2672" y="912"/>
                  <a:pt x="2672" y="912"/>
                </a:cubicBezTo>
                <a:cubicBezTo>
                  <a:pt x="2670" y="912"/>
                  <a:pt x="2670" y="912"/>
                  <a:pt x="2670" y="912"/>
                </a:cubicBezTo>
                <a:cubicBezTo>
                  <a:pt x="2668" y="910"/>
                  <a:pt x="2668" y="910"/>
                  <a:pt x="2668" y="910"/>
                </a:cubicBezTo>
                <a:cubicBezTo>
                  <a:pt x="2665" y="912"/>
                  <a:pt x="2665" y="912"/>
                  <a:pt x="2665" y="912"/>
                </a:cubicBezTo>
                <a:cubicBezTo>
                  <a:pt x="2665" y="912"/>
                  <a:pt x="2665" y="912"/>
                  <a:pt x="2665" y="912"/>
                </a:cubicBezTo>
                <a:close/>
                <a:moveTo>
                  <a:pt x="2653" y="831"/>
                </a:moveTo>
                <a:cubicBezTo>
                  <a:pt x="2655" y="826"/>
                  <a:pt x="2655" y="826"/>
                  <a:pt x="2655" y="826"/>
                </a:cubicBezTo>
                <a:cubicBezTo>
                  <a:pt x="2652" y="825"/>
                  <a:pt x="2652" y="825"/>
                  <a:pt x="2652" y="825"/>
                </a:cubicBezTo>
                <a:cubicBezTo>
                  <a:pt x="2653" y="831"/>
                  <a:pt x="2653" y="831"/>
                  <a:pt x="2653" y="831"/>
                </a:cubicBezTo>
                <a:cubicBezTo>
                  <a:pt x="2653" y="831"/>
                  <a:pt x="2653" y="831"/>
                  <a:pt x="2653" y="831"/>
                </a:cubicBezTo>
                <a:close/>
                <a:moveTo>
                  <a:pt x="2640" y="770"/>
                </a:moveTo>
                <a:cubicBezTo>
                  <a:pt x="2644" y="770"/>
                  <a:pt x="2644" y="770"/>
                  <a:pt x="2644" y="770"/>
                </a:cubicBezTo>
                <a:cubicBezTo>
                  <a:pt x="2645" y="766"/>
                  <a:pt x="2645" y="766"/>
                  <a:pt x="2645" y="766"/>
                </a:cubicBezTo>
                <a:cubicBezTo>
                  <a:pt x="2641" y="765"/>
                  <a:pt x="2641" y="765"/>
                  <a:pt x="2641" y="765"/>
                </a:cubicBezTo>
                <a:cubicBezTo>
                  <a:pt x="2640" y="770"/>
                  <a:pt x="2640" y="770"/>
                  <a:pt x="2640" y="770"/>
                </a:cubicBezTo>
                <a:cubicBezTo>
                  <a:pt x="2640" y="770"/>
                  <a:pt x="2640" y="770"/>
                  <a:pt x="2640" y="770"/>
                </a:cubicBezTo>
                <a:close/>
                <a:moveTo>
                  <a:pt x="2592" y="975"/>
                </a:moveTo>
                <a:cubicBezTo>
                  <a:pt x="2593" y="972"/>
                  <a:pt x="2592" y="969"/>
                  <a:pt x="2590" y="969"/>
                </a:cubicBezTo>
                <a:cubicBezTo>
                  <a:pt x="2589" y="968"/>
                  <a:pt x="2587" y="969"/>
                  <a:pt x="2587" y="969"/>
                </a:cubicBezTo>
                <a:cubicBezTo>
                  <a:pt x="2581" y="968"/>
                  <a:pt x="2581" y="968"/>
                  <a:pt x="2581" y="968"/>
                </a:cubicBezTo>
                <a:cubicBezTo>
                  <a:pt x="2585" y="973"/>
                  <a:pt x="2585" y="973"/>
                  <a:pt x="2585" y="973"/>
                </a:cubicBezTo>
                <a:cubicBezTo>
                  <a:pt x="2585" y="973"/>
                  <a:pt x="2590" y="979"/>
                  <a:pt x="2592" y="975"/>
                </a:cubicBezTo>
                <a:close/>
                <a:moveTo>
                  <a:pt x="2573" y="983"/>
                </a:moveTo>
                <a:cubicBezTo>
                  <a:pt x="2576" y="982"/>
                  <a:pt x="2576" y="982"/>
                  <a:pt x="2576" y="982"/>
                </a:cubicBezTo>
                <a:cubicBezTo>
                  <a:pt x="2577" y="979"/>
                  <a:pt x="2577" y="979"/>
                  <a:pt x="2577" y="979"/>
                </a:cubicBezTo>
                <a:cubicBezTo>
                  <a:pt x="2581" y="981"/>
                  <a:pt x="2581" y="981"/>
                  <a:pt x="2581" y="981"/>
                </a:cubicBezTo>
                <a:cubicBezTo>
                  <a:pt x="2585" y="977"/>
                  <a:pt x="2585" y="977"/>
                  <a:pt x="2585" y="977"/>
                </a:cubicBezTo>
                <a:cubicBezTo>
                  <a:pt x="2578" y="974"/>
                  <a:pt x="2578" y="974"/>
                  <a:pt x="2578" y="974"/>
                </a:cubicBezTo>
                <a:cubicBezTo>
                  <a:pt x="2576" y="975"/>
                  <a:pt x="2576" y="975"/>
                  <a:pt x="2576" y="975"/>
                </a:cubicBezTo>
                <a:cubicBezTo>
                  <a:pt x="2576" y="975"/>
                  <a:pt x="2573" y="972"/>
                  <a:pt x="2571" y="972"/>
                </a:cubicBezTo>
                <a:cubicBezTo>
                  <a:pt x="2569" y="972"/>
                  <a:pt x="2565" y="979"/>
                  <a:pt x="2565" y="979"/>
                </a:cubicBezTo>
                <a:cubicBezTo>
                  <a:pt x="2572" y="980"/>
                  <a:pt x="2572" y="980"/>
                  <a:pt x="2572" y="980"/>
                </a:cubicBezTo>
                <a:cubicBezTo>
                  <a:pt x="2573" y="983"/>
                  <a:pt x="2573" y="983"/>
                  <a:pt x="2573" y="983"/>
                </a:cubicBezTo>
                <a:cubicBezTo>
                  <a:pt x="2573" y="983"/>
                  <a:pt x="2573" y="983"/>
                  <a:pt x="2573" y="983"/>
                </a:cubicBezTo>
                <a:close/>
                <a:moveTo>
                  <a:pt x="2572" y="787"/>
                </a:moveTo>
                <a:cubicBezTo>
                  <a:pt x="2576" y="783"/>
                  <a:pt x="2576" y="783"/>
                  <a:pt x="2576" y="783"/>
                </a:cubicBezTo>
                <a:cubicBezTo>
                  <a:pt x="2576" y="783"/>
                  <a:pt x="2575" y="780"/>
                  <a:pt x="2577" y="780"/>
                </a:cubicBezTo>
                <a:cubicBezTo>
                  <a:pt x="2579" y="780"/>
                  <a:pt x="2581" y="780"/>
                  <a:pt x="2583" y="778"/>
                </a:cubicBezTo>
                <a:cubicBezTo>
                  <a:pt x="2584" y="777"/>
                  <a:pt x="2583" y="774"/>
                  <a:pt x="2584" y="772"/>
                </a:cubicBezTo>
                <a:cubicBezTo>
                  <a:pt x="2586" y="770"/>
                  <a:pt x="2596" y="767"/>
                  <a:pt x="2596" y="764"/>
                </a:cubicBezTo>
                <a:cubicBezTo>
                  <a:pt x="2596" y="762"/>
                  <a:pt x="2594" y="760"/>
                  <a:pt x="2594" y="758"/>
                </a:cubicBezTo>
                <a:cubicBezTo>
                  <a:pt x="2593" y="755"/>
                  <a:pt x="2594" y="751"/>
                  <a:pt x="2594" y="751"/>
                </a:cubicBezTo>
                <a:cubicBezTo>
                  <a:pt x="2592" y="748"/>
                  <a:pt x="2592" y="748"/>
                  <a:pt x="2592" y="748"/>
                </a:cubicBezTo>
                <a:cubicBezTo>
                  <a:pt x="2591" y="752"/>
                  <a:pt x="2591" y="752"/>
                  <a:pt x="2591" y="752"/>
                </a:cubicBezTo>
                <a:cubicBezTo>
                  <a:pt x="2591" y="752"/>
                  <a:pt x="2587" y="755"/>
                  <a:pt x="2589" y="758"/>
                </a:cubicBezTo>
                <a:cubicBezTo>
                  <a:pt x="2590" y="761"/>
                  <a:pt x="2594" y="761"/>
                  <a:pt x="2592" y="762"/>
                </a:cubicBezTo>
                <a:cubicBezTo>
                  <a:pt x="2589" y="764"/>
                  <a:pt x="2586" y="766"/>
                  <a:pt x="2586" y="766"/>
                </a:cubicBezTo>
                <a:cubicBezTo>
                  <a:pt x="2585" y="769"/>
                  <a:pt x="2585" y="769"/>
                  <a:pt x="2585" y="769"/>
                </a:cubicBezTo>
                <a:cubicBezTo>
                  <a:pt x="2581" y="771"/>
                  <a:pt x="2581" y="771"/>
                  <a:pt x="2581" y="771"/>
                </a:cubicBezTo>
                <a:cubicBezTo>
                  <a:pt x="2581" y="771"/>
                  <a:pt x="2583" y="773"/>
                  <a:pt x="2581" y="774"/>
                </a:cubicBezTo>
                <a:cubicBezTo>
                  <a:pt x="2580" y="776"/>
                  <a:pt x="2574" y="778"/>
                  <a:pt x="2574" y="778"/>
                </a:cubicBezTo>
                <a:cubicBezTo>
                  <a:pt x="2574" y="778"/>
                  <a:pt x="2570" y="786"/>
                  <a:pt x="2572" y="787"/>
                </a:cubicBezTo>
                <a:close/>
                <a:moveTo>
                  <a:pt x="2590" y="678"/>
                </a:moveTo>
                <a:cubicBezTo>
                  <a:pt x="2589" y="680"/>
                  <a:pt x="2589" y="679"/>
                  <a:pt x="2591" y="681"/>
                </a:cubicBezTo>
                <a:cubicBezTo>
                  <a:pt x="2591" y="682"/>
                  <a:pt x="2592" y="684"/>
                  <a:pt x="2593" y="685"/>
                </a:cubicBezTo>
                <a:cubicBezTo>
                  <a:pt x="2593" y="687"/>
                  <a:pt x="2593" y="688"/>
                  <a:pt x="2593" y="690"/>
                </a:cubicBezTo>
                <a:cubicBezTo>
                  <a:pt x="2593" y="691"/>
                  <a:pt x="2591" y="692"/>
                  <a:pt x="2591" y="693"/>
                </a:cubicBezTo>
                <a:cubicBezTo>
                  <a:pt x="2591" y="695"/>
                  <a:pt x="2593" y="695"/>
                  <a:pt x="2593" y="697"/>
                </a:cubicBezTo>
                <a:cubicBezTo>
                  <a:pt x="2592" y="698"/>
                  <a:pt x="2590" y="699"/>
                  <a:pt x="2589" y="699"/>
                </a:cubicBezTo>
                <a:cubicBezTo>
                  <a:pt x="2589" y="697"/>
                  <a:pt x="2588" y="696"/>
                  <a:pt x="2587" y="696"/>
                </a:cubicBezTo>
                <a:cubicBezTo>
                  <a:pt x="2587" y="700"/>
                  <a:pt x="2588" y="703"/>
                  <a:pt x="2591" y="707"/>
                </a:cubicBezTo>
                <a:cubicBezTo>
                  <a:pt x="2594" y="710"/>
                  <a:pt x="2596" y="712"/>
                  <a:pt x="2598" y="716"/>
                </a:cubicBezTo>
                <a:cubicBezTo>
                  <a:pt x="2599" y="718"/>
                  <a:pt x="2602" y="724"/>
                  <a:pt x="2605" y="724"/>
                </a:cubicBezTo>
                <a:cubicBezTo>
                  <a:pt x="2607" y="724"/>
                  <a:pt x="2608" y="721"/>
                  <a:pt x="2611" y="721"/>
                </a:cubicBezTo>
                <a:cubicBezTo>
                  <a:pt x="2613" y="721"/>
                  <a:pt x="2614" y="723"/>
                  <a:pt x="2615" y="724"/>
                </a:cubicBezTo>
                <a:cubicBezTo>
                  <a:pt x="2620" y="728"/>
                  <a:pt x="2620" y="724"/>
                  <a:pt x="2618" y="721"/>
                </a:cubicBezTo>
                <a:cubicBezTo>
                  <a:pt x="2621" y="720"/>
                  <a:pt x="2623" y="722"/>
                  <a:pt x="2624" y="725"/>
                </a:cubicBezTo>
                <a:cubicBezTo>
                  <a:pt x="2624" y="728"/>
                  <a:pt x="2626" y="730"/>
                  <a:pt x="2629" y="731"/>
                </a:cubicBezTo>
                <a:cubicBezTo>
                  <a:pt x="2635" y="734"/>
                  <a:pt x="2635" y="721"/>
                  <a:pt x="2629" y="722"/>
                </a:cubicBezTo>
                <a:cubicBezTo>
                  <a:pt x="2628" y="721"/>
                  <a:pt x="2629" y="720"/>
                  <a:pt x="2630" y="719"/>
                </a:cubicBezTo>
                <a:cubicBezTo>
                  <a:pt x="2627" y="719"/>
                  <a:pt x="2626" y="716"/>
                  <a:pt x="2624" y="717"/>
                </a:cubicBezTo>
                <a:cubicBezTo>
                  <a:pt x="2622" y="721"/>
                  <a:pt x="2619" y="716"/>
                  <a:pt x="2616" y="716"/>
                </a:cubicBezTo>
                <a:cubicBezTo>
                  <a:pt x="2613" y="716"/>
                  <a:pt x="2612" y="721"/>
                  <a:pt x="2609" y="717"/>
                </a:cubicBezTo>
                <a:cubicBezTo>
                  <a:pt x="2607" y="714"/>
                  <a:pt x="2608" y="711"/>
                  <a:pt x="2608" y="709"/>
                </a:cubicBezTo>
                <a:cubicBezTo>
                  <a:pt x="2608" y="706"/>
                  <a:pt x="2607" y="702"/>
                  <a:pt x="2608" y="700"/>
                </a:cubicBezTo>
                <a:cubicBezTo>
                  <a:pt x="2610" y="697"/>
                  <a:pt x="2612" y="698"/>
                  <a:pt x="2612" y="694"/>
                </a:cubicBezTo>
                <a:cubicBezTo>
                  <a:pt x="2612" y="691"/>
                  <a:pt x="2610" y="689"/>
                  <a:pt x="2610" y="686"/>
                </a:cubicBezTo>
                <a:cubicBezTo>
                  <a:pt x="2610" y="683"/>
                  <a:pt x="2612" y="680"/>
                  <a:pt x="2611" y="677"/>
                </a:cubicBezTo>
                <a:cubicBezTo>
                  <a:pt x="2610" y="676"/>
                  <a:pt x="2609" y="675"/>
                  <a:pt x="2608" y="674"/>
                </a:cubicBezTo>
                <a:cubicBezTo>
                  <a:pt x="2608" y="673"/>
                  <a:pt x="2608" y="671"/>
                  <a:pt x="2608" y="670"/>
                </a:cubicBezTo>
                <a:cubicBezTo>
                  <a:pt x="2608" y="669"/>
                  <a:pt x="2607" y="667"/>
                  <a:pt x="2606" y="667"/>
                </a:cubicBezTo>
                <a:cubicBezTo>
                  <a:pt x="2605" y="667"/>
                  <a:pt x="2604" y="669"/>
                  <a:pt x="2603" y="669"/>
                </a:cubicBezTo>
                <a:cubicBezTo>
                  <a:pt x="2600" y="672"/>
                  <a:pt x="2599" y="669"/>
                  <a:pt x="2596" y="669"/>
                </a:cubicBezTo>
                <a:cubicBezTo>
                  <a:pt x="2594" y="669"/>
                  <a:pt x="2594" y="669"/>
                  <a:pt x="2594" y="669"/>
                </a:cubicBezTo>
                <a:cubicBezTo>
                  <a:pt x="2593" y="671"/>
                  <a:pt x="2594" y="672"/>
                  <a:pt x="2594" y="674"/>
                </a:cubicBezTo>
                <a:cubicBezTo>
                  <a:pt x="2593" y="675"/>
                  <a:pt x="2591" y="677"/>
                  <a:pt x="2590" y="678"/>
                </a:cubicBezTo>
                <a:close/>
                <a:moveTo>
                  <a:pt x="2606" y="812"/>
                </a:moveTo>
                <a:cubicBezTo>
                  <a:pt x="2609" y="813"/>
                  <a:pt x="2609" y="813"/>
                  <a:pt x="2609" y="813"/>
                </a:cubicBezTo>
                <a:cubicBezTo>
                  <a:pt x="2611" y="809"/>
                  <a:pt x="2611" y="809"/>
                  <a:pt x="2611" y="809"/>
                </a:cubicBezTo>
                <a:cubicBezTo>
                  <a:pt x="2608" y="807"/>
                  <a:pt x="2608" y="807"/>
                  <a:pt x="2608" y="807"/>
                </a:cubicBezTo>
                <a:cubicBezTo>
                  <a:pt x="2606" y="812"/>
                  <a:pt x="2606" y="812"/>
                  <a:pt x="2606" y="812"/>
                </a:cubicBezTo>
                <a:cubicBezTo>
                  <a:pt x="2606" y="812"/>
                  <a:pt x="2606" y="812"/>
                  <a:pt x="2606" y="812"/>
                </a:cubicBezTo>
                <a:close/>
                <a:moveTo>
                  <a:pt x="2637" y="737"/>
                </a:moveTo>
                <a:cubicBezTo>
                  <a:pt x="2635" y="741"/>
                  <a:pt x="2642" y="745"/>
                  <a:pt x="2642" y="745"/>
                </a:cubicBezTo>
                <a:cubicBezTo>
                  <a:pt x="2647" y="747"/>
                  <a:pt x="2647" y="747"/>
                  <a:pt x="2647" y="747"/>
                </a:cubicBezTo>
                <a:cubicBezTo>
                  <a:pt x="2647" y="751"/>
                  <a:pt x="2642" y="749"/>
                  <a:pt x="2642" y="749"/>
                </a:cubicBezTo>
                <a:cubicBezTo>
                  <a:pt x="2651" y="756"/>
                  <a:pt x="2651" y="756"/>
                  <a:pt x="2651" y="756"/>
                </a:cubicBezTo>
                <a:cubicBezTo>
                  <a:pt x="2651" y="753"/>
                  <a:pt x="2651" y="753"/>
                  <a:pt x="2651" y="753"/>
                </a:cubicBezTo>
                <a:cubicBezTo>
                  <a:pt x="2655" y="754"/>
                  <a:pt x="2655" y="754"/>
                  <a:pt x="2655" y="754"/>
                </a:cubicBezTo>
                <a:cubicBezTo>
                  <a:pt x="2652" y="749"/>
                  <a:pt x="2652" y="749"/>
                  <a:pt x="2652" y="749"/>
                </a:cubicBezTo>
                <a:cubicBezTo>
                  <a:pt x="2652" y="749"/>
                  <a:pt x="2651" y="744"/>
                  <a:pt x="2649" y="741"/>
                </a:cubicBezTo>
                <a:cubicBezTo>
                  <a:pt x="2646" y="739"/>
                  <a:pt x="2638" y="734"/>
                  <a:pt x="2637" y="737"/>
                </a:cubicBezTo>
                <a:close/>
                <a:moveTo>
                  <a:pt x="2610" y="733"/>
                </a:moveTo>
                <a:cubicBezTo>
                  <a:pt x="2610" y="733"/>
                  <a:pt x="2609" y="728"/>
                  <a:pt x="2608" y="727"/>
                </a:cubicBezTo>
                <a:cubicBezTo>
                  <a:pt x="2606" y="726"/>
                  <a:pt x="2600" y="726"/>
                  <a:pt x="2600" y="726"/>
                </a:cubicBezTo>
                <a:cubicBezTo>
                  <a:pt x="2605" y="732"/>
                  <a:pt x="2605" y="732"/>
                  <a:pt x="2605" y="732"/>
                </a:cubicBezTo>
                <a:cubicBezTo>
                  <a:pt x="2607" y="741"/>
                  <a:pt x="2607" y="741"/>
                  <a:pt x="2607" y="741"/>
                </a:cubicBezTo>
                <a:cubicBezTo>
                  <a:pt x="2607" y="741"/>
                  <a:pt x="2610" y="739"/>
                  <a:pt x="2611" y="738"/>
                </a:cubicBezTo>
                <a:cubicBezTo>
                  <a:pt x="2612" y="736"/>
                  <a:pt x="2610" y="733"/>
                  <a:pt x="2610" y="733"/>
                </a:cubicBezTo>
                <a:close/>
                <a:moveTo>
                  <a:pt x="2636" y="760"/>
                </a:moveTo>
                <a:cubicBezTo>
                  <a:pt x="2638" y="771"/>
                  <a:pt x="2638" y="771"/>
                  <a:pt x="2638" y="771"/>
                </a:cubicBezTo>
                <a:cubicBezTo>
                  <a:pt x="2639" y="761"/>
                  <a:pt x="2639" y="761"/>
                  <a:pt x="2639" y="761"/>
                </a:cubicBezTo>
                <a:cubicBezTo>
                  <a:pt x="2636" y="753"/>
                  <a:pt x="2636" y="753"/>
                  <a:pt x="2636" y="753"/>
                </a:cubicBezTo>
                <a:cubicBezTo>
                  <a:pt x="2633" y="753"/>
                  <a:pt x="2633" y="753"/>
                  <a:pt x="2633" y="753"/>
                </a:cubicBezTo>
                <a:cubicBezTo>
                  <a:pt x="2636" y="760"/>
                  <a:pt x="2636" y="760"/>
                  <a:pt x="2636" y="760"/>
                </a:cubicBezTo>
                <a:cubicBezTo>
                  <a:pt x="2636" y="760"/>
                  <a:pt x="2636" y="760"/>
                  <a:pt x="2636" y="760"/>
                </a:cubicBezTo>
                <a:close/>
                <a:moveTo>
                  <a:pt x="2378" y="859"/>
                </a:moveTo>
                <a:cubicBezTo>
                  <a:pt x="2376" y="859"/>
                  <a:pt x="2374" y="862"/>
                  <a:pt x="2377" y="864"/>
                </a:cubicBezTo>
                <a:cubicBezTo>
                  <a:pt x="2379" y="865"/>
                  <a:pt x="2380" y="872"/>
                  <a:pt x="2383" y="872"/>
                </a:cubicBezTo>
                <a:cubicBezTo>
                  <a:pt x="2384" y="872"/>
                  <a:pt x="2384" y="865"/>
                  <a:pt x="2384" y="864"/>
                </a:cubicBezTo>
                <a:cubicBezTo>
                  <a:pt x="2383" y="863"/>
                  <a:pt x="2380" y="859"/>
                  <a:pt x="2378" y="859"/>
                </a:cubicBezTo>
                <a:close/>
                <a:moveTo>
                  <a:pt x="2697" y="907"/>
                </a:moveTo>
                <a:cubicBezTo>
                  <a:pt x="2693" y="906"/>
                  <a:pt x="2691" y="908"/>
                  <a:pt x="2689" y="909"/>
                </a:cubicBezTo>
                <a:cubicBezTo>
                  <a:pt x="2688" y="909"/>
                  <a:pt x="2686" y="909"/>
                  <a:pt x="2685" y="909"/>
                </a:cubicBezTo>
                <a:cubicBezTo>
                  <a:pt x="2682" y="911"/>
                  <a:pt x="2681" y="914"/>
                  <a:pt x="2682" y="915"/>
                </a:cubicBezTo>
                <a:cubicBezTo>
                  <a:pt x="2684" y="916"/>
                  <a:pt x="2685" y="913"/>
                  <a:pt x="2685" y="913"/>
                </a:cubicBezTo>
                <a:cubicBezTo>
                  <a:pt x="2685" y="913"/>
                  <a:pt x="2685" y="917"/>
                  <a:pt x="2688" y="917"/>
                </a:cubicBezTo>
                <a:cubicBezTo>
                  <a:pt x="2690" y="917"/>
                  <a:pt x="2690" y="913"/>
                  <a:pt x="2690" y="913"/>
                </a:cubicBezTo>
                <a:cubicBezTo>
                  <a:pt x="2690" y="913"/>
                  <a:pt x="2692" y="915"/>
                  <a:pt x="2693" y="915"/>
                </a:cubicBezTo>
                <a:cubicBezTo>
                  <a:pt x="2695" y="915"/>
                  <a:pt x="2699" y="912"/>
                  <a:pt x="2699" y="912"/>
                </a:cubicBezTo>
                <a:cubicBezTo>
                  <a:pt x="2701" y="920"/>
                  <a:pt x="2701" y="920"/>
                  <a:pt x="2701" y="920"/>
                </a:cubicBezTo>
                <a:cubicBezTo>
                  <a:pt x="2705" y="917"/>
                  <a:pt x="2705" y="917"/>
                  <a:pt x="2705" y="917"/>
                </a:cubicBezTo>
                <a:cubicBezTo>
                  <a:pt x="2709" y="922"/>
                  <a:pt x="2709" y="922"/>
                  <a:pt x="2709" y="922"/>
                </a:cubicBezTo>
                <a:cubicBezTo>
                  <a:pt x="2710" y="918"/>
                  <a:pt x="2710" y="918"/>
                  <a:pt x="2710" y="918"/>
                </a:cubicBezTo>
                <a:cubicBezTo>
                  <a:pt x="2707" y="916"/>
                  <a:pt x="2707" y="916"/>
                  <a:pt x="2707" y="916"/>
                </a:cubicBezTo>
                <a:cubicBezTo>
                  <a:pt x="2708" y="913"/>
                  <a:pt x="2708" y="913"/>
                  <a:pt x="2708" y="913"/>
                </a:cubicBezTo>
                <a:cubicBezTo>
                  <a:pt x="2708" y="913"/>
                  <a:pt x="2706" y="909"/>
                  <a:pt x="2697" y="907"/>
                </a:cubicBezTo>
                <a:close/>
                <a:moveTo>
                  <a:pt x="2968" y="966"/>
                </a:moveTo>
                <a:cubicBezTo>
                  <a:pt x="2964" y="967"/>
                  <a:pt x="2964" y="967"/>
                  <a:pt x="2964" y="967"/>
                </a:cubicBezTo>
                <a:cubicBezTo>
                  <a:pt x="2964" y="970"/>
                  <a:pt x="2964" y="970"/>
                  <a:pt x="2964" y="970"/>
                </a:cubicBezTo>
                <a:cubicBezTo>
                  <a:pt x="2966" y="971"/>
                  <a:pt x="2966" y="971"/>
                  <a:pt x="2966" y="971"/>
                </a:cubicBezTo>
                <a:cubicBezTo>
                  <a:pt x="2968" y="966"/>
                  <a:pt x="2968" y="966"/>
                  <a:pt x="2968" y="966"/>
                </a:cubicBezTo>
                <a:cubicBezTo>
                  <a:pt x="2968" y="966"/>
                  <a:pt x="2968" y="966"/>
                  <a:pt x="2968" y="966"/>
                </a:cubicBezTo>
                <a:close/>
                <a:moveTo>
                  <a:pt x="2756" y="887"/>
                </a:moveTo>
                <a:cubicBezTo>
                  <a:pt x="2760" y="889"/>
                  <a:pt x="2762" y="887"/>
                  <a:pt x="2758" y="885"/>
                </a:cubicBezTo>
                <a:cubicBezTo>
                  <a:pt x="2756" y="884"/>
                  <a:pt x="2754" y="886"/>
                  <a:pt x="2756" y="887"/>
                </a:cubicBezTo>
                <a:close/>
                <a:moveTo>
                  <a:pt x="2968" y="955"/>
                </a:moveTo>
                <a:cubicBezTo>
                  <a:pt x="2965" y="952"/>
                  <a:pt x="2965" y="952"/>
                  <a:pt x="2965" y="952"/>
                </a:cubicBezTo>
                <a:cubicBezTo>
                  <a:pt x="2964" y="956"/>
                  <a:pt x="2964" y="956"/>
                  <a:pt x="2964" y="956"/>
                </a:cubicBezTo>
                <a:cubicBezTo>
                  <a:pt x="2967" y="959"/>
                  <a:pt x="2967" y="959"/>
                  <a:pt x="2967" y="959"/>
                </a:cubicBezTo>
                <a:cubicBezTo>
                  <a:pt x="2968" y="955"/>
                  <a:pt x="2968" y="955"/>
                  <a:pt x="2968" y="955"/>
                </a:cubicBezTo>
                <a:cubicBezTo>
                  <a:pt x="2968" y="955"/>
                  <a:pt x="2968" y="955"/>
                  <a:pt x="2968" y="955"/>
                </a:cubicBezTo>
                <a:close/>
                <a:moveTo>
                  <a:pt x="2770" y="898"/>
                </a:moveTo>
                <a:cubicBezTo>
                  <a:pt x="2770" y="898"/>
                  <a:pt x="2765" y="896"/>
                  <a:pt x="2764" y="896"/>
                </a:cubicBezTo>
                <a:cubicBezTo>
                  <a:pt x="2763" y="895"/>
                  <a:pt x="2757" y="897"/>
                  <a:pt x="2757" y="897"/>
                </a:cubicBezTo>
                <a:cubicBezTo>
                  <a:pt x="2757" y="897"/>
                  <a:pt x="2761" y="899"/>
                  <a:pt x="2763" y="899"/>
                </a:cubicBezTo>
                <a:cubicBezTo>
                  <a:pt x="2765" y="899"/>
                  <a:pt x="2770" y="898"/>
                  <a:pt x="2770" y="898"/>
                </a:cubicBezTo>
                <a:close/>
                <a:moveTo>
                  <a:pt x="2944" y="944"/>
                </a:moveTo>
                <a:cubicBezTo>
                  <a:pt x="2948" y="950"/>
                  <a:pt x="2948" y="950"/>
                  <a:pt x="2948" y="950"/>
                </a:cubicBezTo>
                <a:cubicBezTo>
                  <a:pt x="2957" y="959"/>
                  <a:pt x="2957" y="959"/>
                  <a:pt x="2957" y="959"/>
                </a:cubicBezTo>
                <a:cubicBezTo>
                  <a:pt x="2956" y="949"/>
                  <a:pt x="2956" y="949"/>
                  <a:pt x="2956" y="949"/>
                </a:cubicBezTo>
                <a:cubicBezTo>
                  <a:pt x="2948" y="939"/>
                  <a:pt x="2948" y="939"/>
                  <a:pt x="2948" y="939"/>
                </a:cubicBezTo>
                <a:cubicBezTo>
                  <a:pt x="2948" y="939"/>
                  <a:pt x="2947" y="934"/>
                  <a:pt x="2943" y="935"/>
                </a:cubicBezTo>
                <a:cubicBezTo>
                  <a:pt x="2940" y="936"/>
                  <a:pt x="2942" y="940"/>
                  <a:pt x="2942" y="940"/>
                </a:cubicBezTo>
                <a:cubicBezTo>
                  <a:pt x="2944" y="944"/>
                  <a:pt x="2944" y="944"/>
                  <a:pt x="2944" y="944"/>
                </a:cubicBezTo>
                <a:cubicBezTo>
                  <a:pt x="2944" y="944"/>
                  <a:pt x="2944" y="944"/>
                  <a:pt x="2944" y="944"/>
                </a:cubicBezTo>
                <a:close/>
                <a:moveTo>
                  <a:pt x="3068" y="1300"/>
                </a:moveTo>
                <a:cubicBezTo>
                  <a:pt x="3066" y="1298"/>
                  <a:pt x="3064" y="1302"/>
                  <a:pt x="3064" y="1302"/>
                </a:cubicBezTo>
                <a:cubicBezTo>
                  <a:pt x="3064" y="1302"/>
                  <a:pt x="3063" y="1302"/>
                  <a:pt x="3061" y="1302"/>
                </a:cubicBezTo>
                <a:cubicBezTo>
                  <a:pt x="3060" y="1301"/>
                  <a:pt x="3056" y="1304"/>
                  <a:pt x="3053" y="1303"/>
                </a:cubicBezTo>
                <a:cubicBezTo>
                  <a:pt x="3051" y="1303"/>
                  <a:pt x="3052" y="1293"/>
                  <a:pt x="3052" y="1293"/>
                </a:cubicBezTo>
                <a:cubicBezTo>
                  <a:pt x="3055" y="1288"/>
                  <a:pt x="3055" y="1288"/>
                  <a:pt x="3055" y="1288"/>
                </a:cubicBezTo>
                <a:cubicBezTo>
                  <a:pt x="3055" y="1288"/>
                  <a:pt x="3055" y="1284"/>
                  <a:pt x="3053" y="1285"/>
                </a:cubicBezTo>
                <a:cubicBezTo>
                  <a:pt x="3051" y="1285"/>
                  <a:pt x="3051" y="1288"/>
                  <a:pt x="3051" y="1290"/>
                </a:cubicBezTo>
                <a:cubicBezTo>
                  <a:pt x="3051" y="1292"/>
                  <a:pt x="3048" y="1294"/>
                  <a:pt x="3048" y="1294"/>
                </a:cubicBezTo>
                <a:cubicBezTo>
                  <a:pt x="3047" y="1290"/>
                  <a:pt x="3047" y="1290"/>
                  <a:pt x="3047" y="1290"/>
                </a:cubicBezTo>
                <a:cubicBezTo>
                  <a:pt x="3044" y="1287"/>
                  <a:pt x="3044" y="1287"/>
                  <a:pt x="3044" y="1287"/>
                </a:cubicBezTo>
                <a:cubicBezTo>
                  <a:pt x="3044" y="1287"/>
                  <a:pt x="3049" y="1280"/>
                  <a:pt x="3049" y="1276"/>
                </a:cubicBezTo>
                <a:cubicBezTo>
                  <a:pt x="3050" y="1272"/>
                  <a:pt x="3043" y="1272"/>
                  <a:pt x="3043" y="1272"/>
                </a:cubicBezTo>
                <a:cubicBezTo>
                  <a:pt x="3043" y="1269"/>
                  <a:pt x="3043" y="1269"/>
                  <a:pt x="3043" y="1269"/>
                </a:cubicBezTo>
                <a:cubicBezTo>
                  <a:pt x="3041" y="1268"/>
                  <a:pt x="3041" y="1268"/>
                  <a:pt x="3041" y="1268"/>
                </a:cubicBezTo>
                <a:cubicBezTo>
                  <a:pt x="3037" y="1265"/>
                  <a:pt x="3037" y="1265"/>
                  <a:pt x="3037" y="1265"/>
                </a:cubicBezTo>
                <a:cubicBezTo>
                  <a:pt x="3039" y="1263"/>
                  <a:pt x="3039" y="1263"/>
                  <a:pt x="3039" y="1263"/>
                </a:cubicBezTo>
                <a:cubicBezTo>
                  <a:pt x="3035" y="1266"/>
                  <a:pt x="3035" y="1266"/>
                  <a:pt x="3035" y="1266"/>
                </a:cubicBezTo>
                <a:cubicBezTo>
                  <a:pt x="3037" y="1270"/>
                  <a:pt x="3037" y="1270"/>
                  <a:pt x="3037" y="1270"/>
                </a:cubicBezTo>
                <a:cubicBezTo>
                  <a:pt x="3036" y="1276"/>
                  <a:pt x="3036" y="1276"/>
                  <a:pt x="3036" y="1276"/>
                </a:cubicBezTo>
                <a:cubicBezTo>
                  <a:pt x="3039" y="1277"/>
                  <a:pt x="3039" y="1277"/>
                  <a:pt x="3039" y="1277"/>
                </a:cubicBezTo>
                <a:cubicBezTo>
                  <a:pt x="3037" y="1278"/>
                  <a:pt x="3037" y="1278"/>
                  <a:pt x="3037" y="1278"/>
                </a:cubicBezTo>
                <a:cubicBezTo>
                  <a:pt x="3038" y="1281"/>
                  <a:pt x="3038" y="1281"/>
                  <a:pt x="3038" y="1281"/>
                </a:cubicBezTo>
                <a:cubicBezTo>
                  <a:pt x="3042" y="1282"/>
                  <a:pt x="3042" y="1282"/>
                  <a:pt x="3042" y="1282"/>
                </a:cubicBezTo>
                <a:cubicBezTo>
                  <a:pt x="3038" y="1283"/>
                  <a:pt x="3038" y="1283"/>
                  <a:pt x="3038" y="1283"/>
                </a:cubicBezTo>
                <a:cubicBezTo>
                  <a:pt x="3040" y="1284"/>
                  <a:pt x="3040" y="1284"/>
                  <a:pt x="3040" y="1284"/>
                </a:cubicBezTo>
                <a:cubicBezTo>
                  <a:pt x="3040" y="1284"/>
                  <a:pt x="3039" y="1287"/>
                  <a:pt x="3039" y="1289"/>
                </a:cubicBezTo>
                <a:cubicBezTo>
                  <a:pt x="3039" y="1290"/>
                  <a:pt x="3042" y="1292"/>
                  <a:pt x="3042" y="1292"/>
                </a:cubicBezTo>
                <a:cubicBezTo>
                  <a:pt x="3039" y="1292"/>
                  <a:pt x="3039" y="1292"/>
                  <a:pt x="3039" y="1292"/>
                </a:cubicBezTo>
                <a:cubicBezTo>
                  <a:pt x="3038" y="1294"/>
                  <a:pt x="3038" y="1294"/>
                  <a:pt x="3038" y="1294"/>
                </a:cubicBezTo>
                <a:cubicBezTo>
                  <a:pt x="3040" y="1295"/>
                  <a:pt x="3040" y="1295"/>
                  <a:pt x="3040" y="1295"/>
                </a:cubicBezTo>
                <a:cubicBezTo>
                  <a:pt x="3040" y="1295"/>
                  <a:pt x="3036" y="1300"/>
                  <a:pt x="3035" y="1302"/>
                </a:cubicBezTo>
                <a:cubicBezTo>
                  <a:pt x="3035" y="1304"/>
                  <a:pt x="3037" y="1305"/>
                  <a:pt x="3037" y="1305"/>
                </a:cubicBezTo>
                <a:cubicBezTo>
                  <a:pt x="3037" y="1305"/>
                  <a:pt x="3033" y="1306"/>
                  <a:pt x="3030" y="1307"/>
                </a:cubicBezTo>
                <a:cubicBezTo>
                  <a:pt x="3027" y="1308"/>
                  <a:pt x="3028" y="1309"/>
                  <a:pt x="3024" y="1311"/>
                </a:cubicBezTo>
                <a:cubicBezTo>
                  <a:pt x="3021" y="1314"/>
                  <a:pt x="3018" y="1314"/>
                  <a:pt x="3014" y="1316"/>
                </a:cubicBezTo>
                <a:cubicBezTo>
                  <a:pt x="3009" y="1319"/>
                  <a:pt x="3013" y="1326"/>
                  <a:pt x="3013" y="1326"/>
                </a:cubicBezTo>
                <a:cubicBezTo>
                  <a:pt x="3013" y="1326"/>
                  <a:pt x="3018" y="1326"/>
                  <a:pt x="3020" y="1326"/>
                </a:cubicBezTo>
                <a:cubicBezTo>
                  <a:pt x="3022" y="1327"/>
                  <a:pt x="3020" y="1331"/>
                  <a:pt x="3020" y="1334"/>
                </a:cubicBezTo>
                <a:cubicBezTo>
                  <a:pt x="3020" y="1337"/>
                  <a:pt x="3017" y="1337"/>
                  <a:pt x="3013" y="1338"/>
                </a:cubicBezTo>
                <a:cubicBezTo>
                  <a:pt x="3010" y="1340"/>
                  <a:pt x="3011" y="1341"/>
                  <a:pt x="3011" y="1341"/>
                </a:cubicBezTo>
                <a:cubicBezTo>
                  <a:pt x="3009" y="1343"/>
                  <a:pt x="3009" y="1343"/>
                  <a:pt x="3009" y="1343"/>
                </a:cubicBezTo>
                <a:cubicBezTo>
                  <a:pt x="3009" y="1343"/>
                  <a:pt x="3013" y="1346"/>
                  <a:pt x="3016" y="1345"/>
                </a:cubicBezTo>
                <a:cubicBezTo>
                  <a:pt x="3019" y="1344"/>
                  <a:pt x="3025" y="1337"/>
                  <a:pt x="3027" y="1334"/>
                </a:cubicBezTo>
                <a:cubicBezTo>
                  <a:pt x="3030" y="1332"/>
                  <a:pt x="3035" y="1330"/>
                  <a:pt x="3036" y="1330"/>
                </a:cubicBezTo>
                <a:cubicBezTo>
                  <a:pt x="3037" y="1330"/>
                  <a:pt x="3038" y="1328"/>
                  <a:pt x="3038" y="1328"/>
                </a:cubicBezTo>
                <a:cubicBezTo>
                  <a:pt x="3038" y="1328"/>
                  <a:pt x="3040" y="1327"/>
                  <a:pt x="3042" y="1326"/>
                </a:cubicBezTo>
                <a:cubicBezTo>
                  <a:pt x="3044" y="1325"/>
                  <a:pt x="3042" y="1321"/>
                  <a:pt x="3042" y="1321"/>
                </a:cubicBezTo>
                <a:cubicBezTo>
                  <a:pt x="3042" y="1321"/>
                  <a:pt x="3044" y="1319"/>
                  <a:pt x="3047" y="1318"/>
                </a:cubicBezTo>
                <a:cubicBezTo>
                  <a:pt x="3050" y="1317"/>
                  <a:pt x="3052" y="1319"/>
                  <a:pt x="3055" y="1319"/>
                </a:cubicBezTo>
                <a:cubicBezTo>
                  <a:pt x="3057" y="1318"/>
                  <a:pt x="3056" y="1313"/>
                  <a:pt x="3056" y="1313"/>
                </a:cubicBezTo>
                <a:cubicBezTo>
                  <a:pt x="3056" y="1313"/>
                  <a:pt x="3058" y="1313"/>
                  <a:pt x="3061" y="1313"/>
                </a:cubicBezTo>
                <a:cubicBezTo>
                  <a:pt x="3063" y="1312"/>
                  <a:pt x="3062" y="1309"/>
                  <a:pt x="3063" y="1308"/>
                </a:cubicBezTo>
                <a:cubicBezTo>
                  <a:pt x="3065" y="1307"/>
                  <a:pt x="3066" y="1308"/>
                  <a:pt x="3069" y="1306"/>
                </a:cubicBezTo>
                <a:cubicBezTo>
                  <a:pt x="3071" y="1304"/>
                  <a:pt x="3070" y="1301"/>
                  <a:pt x="3068" y="1300"/>
                </a:cubicBezTo>
                <a:close/>
                <a:moveTo>
                  <a:pt x="2873" y="898"/>
                </a:moveTo>
                <a:cubicBezTo>
                  <a:pt x="2870" y="897"/>
                  <a:pt x="2866" y="900"/>
                  <a:pt x="2866" y="900"/>
                </a:cubicBezTo>
                <a:cubicBezTo>
                  <a:pt x="2870" y="903"/>
                  <a:pt x="2870" y="903"/>
                  <a:pt x="2870" y="903"/>
                </a:cubicBezTo>
                <a:cubicBezTo>
                  <a:pt x="2874" y="904"/>
                  <a:pt x="2876" y="899"/>
                  <a:pt x="2873" y="898"/>
                </a:cubicBezTo>
                <a:close/>
                <a:moveTo>
                  <a:pt x="2972" y="979"/>
                </a:moveTo>
                <a:cubicBezTo>
                  <a:pt x="2977" y="978"/>
                  <a:pt x="2977" y="978"/>
                  <a:pt x="2977" y="978"/>
                </a:cubicBezTo>
                <a:cubicBezTo>
                  <a:pt x="2970" y="974"/>
                  <a:pt x="2970" y="974"/>
                  <a:pt x="2970" y="974"/>
                </a:cubicBezTo>
                <a:cubicBezTo>
                  <a:pt x="2972" y="979"/>
                  <a:pt x="2972" y="979"/>
                  <a:pt x="2972" y="979"/>
                </a:cubicBezTo>
                <a:cubicBezTo>
                  <a:pt x="2972" y="979"/>
                  <a:pt x="2972" y="979"/>
                  <a:pt x="2972" y="979"/>
                </a:cubicBezTo>
                <a:close/>
                <a:moveTo>
                  <a:pt x="2918" y="918"/>
                </a:moveTo>
                <a:cubicBezTo>
                  <a:pt x="2919" y="919"/>
                  <a:pt x="2923" y="919"/>
                  <a:pt x="2924" y="922"/>
                </a:cubicBezTo>
                <a:cubicBezTo>
                  <a:pt x="2925" y="925"/>
                  <a:pt x="2921" y="934"/>
                  <a:pt x="2927" y="934"/>
                </a:cubicBezTo>
                <a:cubicBezTo>
                  <a:pt x="2930" y="935"/>
                  <a:pt x="2932" y="928"/>
                  <a:pt x="2929" y="924"/>
                </a:cubicBezTo>
                <a:cubicBezTo>
                  <a:pt x="2926" y="920"/>
                  <a:pt x="2922" y="916"/>
                  <a:pt x="2922" y="916"/>
                </a:cubicBezTo>
                <a:cubicBezTo>
                  <a:pt x="2920" y="916"/>
                  <a:pt x="2920" y="916"/>
                  <a:pt x="2920" y="916"/>
                </a:cubicBezTo>
                <a:cubicBezTo>
                  <a:pt x="2920" y="916"/>
                  <a:pt x="2914" y="909"/>
                  <a:pt x="2913" y="909"/>
                </a:cubicBezTo>
                <a:cubicBezTo>
                  <a:pt x="2912" y="908"/>
                  <a:pt x="2910" y="908"/>
                  <a:pt x="2910" y="908"/>
                </a:cubicBezTo>
                <a:cubicBezTo>
                  <a:pt x="2907" y="903"/>
                  <a:pt x="2907" y="903"/>
                  <a:pt x="2907" y="903"/>
                </a:cubicBezTo>
                <a:cubicBezTo>
                  <a:pt x="2906" y="910"/>
                  <a:pt x="2906" y="910"/>
                  <a:pt x="2906" y="910"/>
                </a:cubicBezTo>
                <a:cubicBezTo>
                  <a:pt x="2912" y="911"/>
                  <a:pt x="2912" y="911"/>
                  <a:pt x="2912" y="911"/>
                </a:cubicBezTo>
                <a:cubicBezTo>
                  <a:pt x="2912" y="911"/>
                  <a:pt x="2917" y="917"/>
                  <a:pt x="2918" y="918"/>
                </a:cubicBezTo>
                <a:close/>
                <a:moveTo>
                  <a:pt x="2901" y="951"/>
                </a:moveTo>
                <a:cubicBezTo>
                  <a:pt x="2903" y="949"/>
                  <a:pt x="2903" y="949"/>
                  <a:pt x="2903" y="949"/>
                </a:cubicBezTo>
                <a:cubicBezTo>
                  <a:pt x="2903" y="949"/>
                  <a:pt x="2906" y="949"/>
                  <a:pt x="2908" y="949"/>
                </a:cubicBezTo>
                <a:cubicBezTo>
                  <a:pt x="2911" y="948"/>
                  <a:pt x="2913" y="944"/>
                  <a:pt x="2913" y="944"/>
                </a:cubicBezTo>
                <a:cubicBezTo>
                  <a:pt x="2917" y="943"/>
                  <a:pt x="2917" y="943"/>
                  <a:pt x="2917" y="943"/>
                </a:cubicBezTo>
                <a:cubicBezTo>
                  <a:pt x="2916" y="940"/>
                  <a:pt x="2916" y="940"/>
                  <a:pt x="2916" y="940"/>
                </a:cubicBezTo>
                <a:cubicBezTo>
                  <a:pt x="2920" y="940"/>
                  <a:pt x="2920" y="940"/>
                  <a:pt x="2920" y="940"/>
                </a:cubicBezTo>
                <a:cubicBezTo>
                  <a:pt x="2920" y="940"/>
                  <a:pt x="2921" y="929"/>
                  <a:pt x="2920" y="926"/>
                </a:cubicBezTo>
                <a:cubicBezTo>
                  <a:pt x="2919" y="922"/>
                  <a:pt x="2912" y="926"/>
                  <a:pt x="2910" y="928"/>
                </a:cubicBezTo>
                <a:cubicBezTo>
                  <a:pt x="2908" y="930"/>
                  <a:pt x="2913" y="932"/>
                  <a:pt x="2913" y="932"/>
                </a:cubicBezTo>
                <a:cubicBezTo>
                  <a:pt x="2913" y="935"/>
                  <a:pt x="2913" y="935"/>
                  <a:pt x="2913" y="935"/>
                </a:cubicBezTo>
                <a:cubicBezTo>
                  <a:pt x="2903" y="940"/>
                  <a:pt x="2903" y="940"/>
                  <a:pt x="2903" y="940"/>
                </a:cubicBezTo>
                <a:cubicBezTo>
                  <a:pt x="2903" y="940"/>
                  <a:pt x="2898" y="940"/>
                  <a:pt x="2895" y="940"/>
                </a:cubicBezTo>
                <a:cubicBezTo>
                  <a:pt x="2892" y="941"/>
                  <a:pt x="2890" y="943"/>
                  <a:pt x="2888" y="944"/>
                </a:cubicBezTo>
                <a:cubicBezTo>
                  <a:pt x="2886" y="945"/>
                  <a:pt x="2885" y="943"/>
                  <a:pt x="2884" y="945"/>
                </a:cubicBezTo>
                <a:cubicBezTo>
                  <a:pt x="2887" y="950"/>
                  <a:pt x="2887" y="950"/>
                  <a:pt x="2887" y="950"/>
                </a:cubicBezTo>
                <a:cubicBezTo>
                  <a:pt x="2901" y="951"/>
                  <a:pt x="2901" y="951"/>
                  <a:pt x="2901" y="951"/>
                </a:cubicBezTo>
                <a:cubicBezTo>
                  <a:pt x="2901" y="951"/>
                  <a:pt x="2901" y="951"/>
                  <a:pt x="2901" y="951"/>
                </a:cubicBezTo>
                <a:close/>
                <a:moveTo>
                  <a:pt x="2535" y="955"/>
                </a:moveTo>
                <a:cubicBezTo>
                  <a:pt x="2534" y="960"/>
                  <a:pt x="2539" y="959"/>
                  <a:pt x="2539" y="959"/>
                </a:cubicBezTo>
                <a:cubicBezTo>
                  <a:pt x="2547" y="953"/>
                  <a:pt x="2547" y="953"/>
                  <a:pt x="2547" y="953"/>
                </a:cubicBezTo>
                <a:cubicBezTo>
                  <a:pt x="2546" y="952"/>
                  <a:pt x="2546" y="952"/>
                  <a:pt x="2546" y="952"/>
                </a:cubicBezTo>
                <a:cubicBezTo>
                  <a:pt x="2546" y="952"/>
                  <a:pt x="2535" y="953"/>
                  <a:pt x="2535" y="955"/>
                </a:cubicBezTo>
                <a:close/>
                <a:moveTo>
                  <a:pt x="2975" y="971"/>
                </a:moveTo>
                <a:cubicBezTo>
                  <a:pt x="2974" y="969"/>
                  <a:pt x="2974" y="969"/>
                  <a:pt x="2974" y="969"/>
                </a:cubicBezTo>
                <a:cubicBezTo>
                  <a:pt x="2969" y="969"/>
                  <a:pt x="2969" y="969"/>
                  <a:pt x="2969" y="969"/>
                </a:cubicBezTo>
                <a:cubicBezTo>
                  <a:pt x="2969" y="972"/>
                  <a:pt x="2969" y="972"/>
                  <a:pt x="2969" y="972"/>
                </a:cubicBezTo>
                <a:cubicBezTo>
                  <a:pt x="2975" y="971"/>
                  <a:pt x="2975" y="971"/>
                  <a:pt x="2975" y="971"/>
                </a:cubicBezTo>
                <a:cubicBezTo>
                  <a:pt x="2975" y="971"/>
                  <a:pt x="2975" y="971"/>
                  <a:pt x="2975" y="971"/>
                </a:cubicBezTo>
                <a:close/>
                <a:moveTo>
                  <a:pt x="2992" y="974"/>
                </a:moveTo>
                <a:cubicBezTo>
                  <a:pt x="2996" y="973"/>
                  <a:pt x="2982" y="958"/>
                  <a:pt x="2980" y="961"/>
                </a:cubicBezTo>
                <a:cubicBezTo>
                  <a:pt x="2979" y="963"/>
                  <a:pt x="2991" y="974"/>
                  <a:pt x="2992" y="974"/>
                </a:cubicBezTo>
                <a:close/>
                <a:moveTo>
                  <a:pt x="3015" y="997"/>
                </a:moveTo>
                <a:cubicBezTo>
                  <a:pt x="3006" y="993"/>
                  <a:pt x="3006" y="993"/>
                  <a:pt x="3006" y="993"/>
                </a:cubicBezTo>
                <a:cubicBezTo>
                  <a:pt x="3013" y="1001"/>
                  <a:pt x="3013" y="1001"/>
                  <a:pt x="3013" y="1001"/>
                </a:cubicBezTo>
                <a:cubicBezTo>
                  <a:pt x="3015" y="997"/>
                  <a:pt x="3015" y="997"/>
                  <a:pt x="3015" y="997"/>
                </a:cubicBezTo>
                <a:cubicBezTo>
                  <a:pt x="3015" y="997"/>
                  <a:pt x="3015" y="997"/>
                  <a:pt x="3015" y="997"/>
                </a:cubicBezTo>
                <a:close/>
                <a:moveTo>
                  <a:pt x="2990" y="982"/>
                </a:moveTo>
                <a:cubicBezTo>
                  <a:pt x="2990" y="982"/>
                  <a:pt x="2989" y="986"/>
                  <a:pt x="2993" y="988"/>
                </a:cubicBezTo>
                <a:cubicBezTo>
                  <a:pt x="2999" y="990"/>
                  <a:pt x="3002" y="988"/>
                  <a:pt x="3002" y="988"/>
                </a:cubicBezTo>
                <a:cubicBezTo>
                  <a:pt x="3002" y="988"/>
                  <a:pt x="3002" y="986"/>
                  <a:pt x="2998" y="983"/>
                </a:cubicBezTo>
                <a:cubicBezTo>
                  <a:pt x="2994" y="981"/>
                  <a:pt x="2990" y="982"/>
                  <a:pt x="2990" y="982"/>
                </a:cubicBezTo>
                <a:close/>
                <a:moveTo>
                  <a:pt x="2570" y="909"/>
                </a:moveTo>
                <a:cubicBezTo>
                  <a:pt x="2571" y="908"/>
                  <a:pt x="2575" y="897"/>
                  <a:pt x="2575" y="897"/>
                </a:cubicBezTo>
                <a:cubicBezTo>
                  <a:pt x="2575" y="897"/>
                  <a:pt x="2572" y="897"/>
                  <a:pt x="2571" y="894"/>
                </a:cubicBezTo>
                <a:cubicBezTo>
                  <a:pt x="2570" y="892"/>
                  <a:pt x="2572" y="889"/>
                  <a:pt x="2573" y="886"/>
                </a:cubicBezTo>
                <a:cubicBezTo>
                  <a:pt x="2574" y="883"/>
                  <a:pt x="2579" y="883"/>
                  <a:pt x="2581" y="883"/>
                </a:cubicBezTo>
                <a:cubicBezTo>
                  <a:pt x="2584" y="883"/>
                  <a:pt x="2585" y="878"/>
                  <a:pt x="2585" y="876"/>
                </a:cubicBezTo>
                <a:cubicBezTo>
                  <a:pt x="2585" y="874"/>
                  <a:pt x="2580" y="876"/>
                  <a:pt x="2580" y="876"/>
                </a:cubicBezTo>
                <a:cubicBezTo>
                  <a:pt x="2580" y="876"/>
                  <a:pt x="2580" y="873"/>
                  <a:pt x="2582" y="871"/>
                </a:cubicBezTo>
                <a:cubicBezTo>
                  <a:pt x="2585" y="868"/>
                  <a:pt x="2591" y="869"/>
                  <a:pt x="2593" y="870"/>
                </a:cubicBezTo>
                <a:cubicBezTo>
                  <a:pt x="2595" y="870"/>
                  <a:pt x="2595" y="867"/>
                  <a:pt x="2595" y="867"/>
                </a:cubicBezTo>
                <a:cubicBezTo>
                  <a:pt x="2590" y="862"/>
                  <a:pt x="2590" y="862"/>
                  <a:pt x="2590" y="862"/>
                </a:cubicBezTo>
                <a:cubicBezTo>
                  <a:pt x="2590" y="857"/>
                  <a:pt x="2590" y="857"/>
                  <a:pt x="2590" y="857"/>
                </a:cubicBezTo>
                <a:cubicBezTo>
                  <a:pt x="2590" y="857"/>
                  <a:pt x="2586" y="856"/>
                  <a:pt x="2586" y="855"/>
                </a:cubicBezTo>
                <a:cubicBezTo>
                  <a:pt x="2586" y="853"/>
                  <a:pt x="2588" y="850"/>
                  <a:pt x="2588" y="848"/>
                </a:cubicBezTo>
                <a:cubicBezTo>
                  <a:pt x="2588" y="846"/>
                  <a:pt x="2581" y="845"/>
                  <a:pt x="2581" y="845"/>
                </a:cubicBezTo>
                <a:cubicBezTo>
                  <a:pt x="2583" y="841"/>
                  <a:pt x="2583" y="841"/>
                  <a:pt x="2583" y="841"/>
                </a:cubicBezTo>
                <a:cubicBezTo>
                  <a:pt x="2581" y="840"/>
                  <a:pt x="2581" y="840"/>
                  <a:pt x="2581" y="840"/>
                </a:cubicBezTo>
                <a:cubicBezTo>
                  <a:pt x="2582" y="836"/>
                  <a:pt x="2582" y="836"/>
                  <a:pt x="2582" y="836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0" y="834"/>
                  <a:pt x="2580" y="834"/>
                  <a:pt x="2580" y="834"/>
                </a:cubicBezTo>
                <a:cubicBezTo>
                  <a:pt x="2583" y="833"/>
                  <a:pt x="2583" y="833"/>
                  <a:pt x="2583" y="833"/>
                </a:cubicBezTo>
                <a:cubicBezTo>
                  <a:pt x="2581" y="824"/>
                  <a:pt x="2581" y="824"/>
                  <a:pt x="2581" y="824"/>
                </a:cubicBezTo>
                <a:cubicBezTo>
                  <a:pt x="2581" y="824"/>
                  <a:pt x="2584" y="827"/>
                  <a:pt x="2586" y="828"/>
                </a:cubicBezTo>
                <a:cubicBezTo>
                  <a:pt x="2588" y="828"/>
                  <a:pt x="2591" y="827"/>
                  <a:pt x="2591" y="827"/>
                </a:cubicBezTo>
                <a:cubicBezTo>
                  <a:pt x="2591" y="827"/>
                  <a:pt x="2586" y="822"/>
                  <a:pt x="2587" y="820"/>
                </a:cubicBezTo>
                <a:cubicBezTo>
                  <a:pt x="2588" y="818"/>
                  <a:pt x="2595" y="821"/>
                  <a:pt x="2595" y="821"/>
                </a:cubicBezTo>
                <a:cubicBezTo>
                  <a:pt x="2598" y="817"/>
                  <a:pt x="2598" y="817"/>
                  <a:pt x="2598" y="817"/>
                </a:cubicBezTo>
                <a:cubicBezTo>
                  <a:pt x="2595" y="816"/>
                  <a:pt x="2595" y="816"/>
                  <a:pt x="2595" y="816"/>
                </a:cubicBezTo>
                <a:cubicBezTo>
                  <a:pt x="2595" y="816"/>
                  <a:pt x="2594" y="813"/>
                  <a:pt x="2592" y="812"/>
                </a:cubicBezTo>
                <a:cubicBezTo>
                  <a:pt x="2591" y="811"/>
                  <a:pt x="2584" y="810"/>
                  <a:pt x="2584" y="810"/>
                </a:cubicBezTo>
                <a:cubicBezTo>
                  <a:pt x="2584" y="810"/>
                  <a:pt x="2584" y="806"/>
                  <a:pt x="2581" y="804"/>
                </a:cubicBezTo>
                <a:cubicBezTo>
                  <a:pt x="2579" y="801"/>
                  <a:pt x="2576" y="803"/>
                  <a:pt x="2576" y="803"/>
                </a:cubicBezTo>
                <a:cubicBezTo>
                  <a:pt x="2574" y="794"/>
                  <a:pt x="2574" y="794"/>
                  <a:pt x="2574" y="794"/>
                </a:cubicBezTo>
                <a:cubicBezTo>
                  <a:pt x="2573" y="797"/>
                  <a:pt x="2573" y="797"/>
                  <a:pt x="2573" y="797"/>
                </a:cubicBezTo>
                <a:cubicBezTo>
                  <a:pt x="2571" y="794"/>
                  <a:pt x="2571" y="794"/>
                  <a:pt x="2571" y="794"/>
                </a:cubicBezTo>
                <a:cubicBezTo>
                  <a:pt x="2569" y="803"/>
                  <a:pt x="2569" y="803"/>
                  <a:pt x="2569" y="803"/>
                </a:cubicBezTo>
                <a:cubicBezTo>
                  <a:pt x="2569" y="803"/>
                  <a:pt x="2566" y="803"/>
                  <a:pt x="2565" y="804"/>
                </a:cubicBezTo>
                <a:cubicBezTo>
                  <a:pt x="2563" y="805"/>
                  <a:pt x="2563" y="810"/>
                  <a:pt x="2563" y="810"/>
                </a:cubicBezTo>
                <a:cubicBezTo>
                  <a:pt x="2560" y="811"/>
                  <a:pt x="2560" y="811"/>
                  <a:pt x="2560" y="811"/>
                </a:cubicBezTo>
                <a:cubicBezTo>
                  <a:pt x="2561" y="816"/>
                  <a:pt x="2561" y="816"/>
                  <a:pt x="2561" y="816"/>
                </a:cubicBezTo>
                <a:cubicBezTo>
                  <a:pt x="2561" y="816"/>
                  <a:pt x="2556" y="816"/>
                  <a:pt x="2553" y="815"/>
                </a:cubicBezTo>
                <a:cubicBezTo>
                  <a:pt x="2549" y="814"/>
                  <a:pt x="2549" y="822"/>
                  <a:pt x="2549" y="822"/>
                </a:cubicBezTo>
                <a:cubicBezTo>
                  <a:pt x="2544" y="829"/>
                  <a:pt x="2544" y="829"/>
                  <a:pt x="2544" y="829"/>
                </a:cubicBezTo>
                <a:cubicBezTo>
                  <a:pt x="2544" y="829"/>
                  <a:pt x="2542" y="836"/>
                  <a:pt x="2539" y="839"/>
                </a:cubicBezTo>
                <a:cubicBezTo>
                  <a:pt x="2535" y="841"/>
                  <a:pt x="2527" y="843"/>
                  <a:pt x="2525" y="843"/>
                </a:cubicBezTo>
                <a:cubicBezTo>
                  <a:pt x="2523" y="844"/>
                  <a:pt x="2516" y="849"/>
                  <a:pt x="2516" y="849"/>
                </a:cubicBezTo>
                <a:cubicBezTo>
                  <a:pt x="2514" y="854"/>
                  <a:pt x="2514" y="854"/>
                  <a:pt x="2514" y="854"/>
                </a:cubicBezTo>
                <a:cubicBezTo>
                  <a:pt x="2514" y="854"/>
                  <a:pt x="2519" y="857"/>
                  <a:pt x="2515" y="860"/>
                </a:cubicBezTo>
                <a:cubicBezTo>
                  <a:pt x="2512" y="863"/>
                  <a:pt x="2509" y="858"/>
                  <a:pt x="2507" y="858"/>
                </a:cubicBezTo>
                <a:cubicBezTo>
                  <a:pt x="2504" y="857"/>
                  <a:pt x="2502" y="861"/>
                  <a:pt x="2502" y="861"/>
                </a:cubicBezTo>
                <a:cubicBezTo>
                  <a:pt x="2502" y="861"/>
                  <a:pt x="2498" y="858"/>
                  <a:pt x="2495" y="861"/>
                </a:cubicBezTo>
                <a:cubicBezTo>
                  <a:pt x="2492" y="864"/>
                  <a:pt x="2491" y="871"/>
                  <a:pt x="2491" y="871"/>
                </a:cubicBezTo>
                <a:cubicBezTo>
                  <a:pt x="2494" y="876"/>
                  <a:pt x="2494" y="876"/>
                  <a:pt x="2494" y="876"/>
                </a:cubicBezTo>
                <a:cubicBezTo>
                  <a:pt x="2496" y="883"/>
                  <a:pt x="2496" y="883"/>
                  <a:pt x="2496" y="883"/>
                </a:cubicBezTo>
                <a:cubicBezTo>
                  <a:pt x="2502" y="887"/>
                  <a:pt x="2502" y="887"/>
                  <a:pt x="2502" y="887"/>
                </a:cubicBezTo>
                <a:cubicBezTo>
                  <a:pt x="2501" y="892"/>
                  <a:pt x="2501" y="892"/>
                  <a:pt x="2501" y="892"/>
                </a:cubicBezTo>
                <a:cubicBezTo>
                  <a:pt x="2504" y="894"/>
                  <a:pt x="2504" y="894"/>
                  <a:pt x="2504" y="894"/>
                </a:cubicBezTo>
                <a:cubicBezTo>
                  <a:pt x="2502" y="898"/>
                  <a:pt x="2502" y="898"/>
                  <a:pt x="2502" y="898"/>
                </a:cubicBezTo>
                <a:cubicBezTo>
                  <a:pt x="2505" y="902"/>
                  <a:pt x="2505" y="902"/>
                  <a:pt x="2505" y="902"/>
                </a:cubicBezTo>
                <a:cubicBezTo>
                  <a:pt x="2503" y="903"/>
                  <a:pt x="2503" y="903"/>
                  <a:pt x="2503" y="903"/>
                </a:cubicBezTo>
                <a:cubicBezTo>
                  <a:pt x="2505" y="911"/>
                  <a:pt x="2505" y="911"/>
                  <a:pt x="2505" y="911"/>
                </a:cubicBezTo>
                <a:cubicBezTo>
                  <a:pt x="2511" y="911"/>
                  <a:pt x="2511" y="911"/>
                  <a:pt x="2511" y="911"/>
                </a:cubicBezTo>
                <a:cubicBezTo>
                  <a:pt x="2515" y="912"/>
                  <a:pt x="2515" y="912"/>
                  <a:pt x="2515" y="912"/>
                </a:cubicBezTo>
                <a:cubicBezTo>
                  <a:pt x="2515" y="912"/>
                  <a:pt x="2517" y="907"/>
                  <a:pt x="2520" y="907"/>
                </a:cubicBezTo>
                <a:cubicBezTo>
                  <a:pt x="2522" y="907"/>
                  <a:pt x="2520" y="914"/>
                  <a:pt x="2522" y="916"/>
                </a:cubicBezTo>
                <a:cubicBezTo>
                  <a:pt x="2525" y="918"/>
                  <a:pt x="2527" y="912"/>
                  <a:pt x="2527" y="912"/>
                </a:cubicBezTo>
                <a:cubicBezTo>
                  <a:pt x="2530" y="914"/>
                  <a:pt x="2530" y="914"/>
                  <a:pt x="2530" y="914"/>
                </a:cubicBezTo>
                <a:cubicBezTo>
                  <a:pt x="2530" y="914"/>
                  <a:pt x="2534" y="911"/>
                  <a:pt x="2536" y="911"/>
                </a:cubicBezTo>
                <a:cubicBezTo>
                  <a:pt x="2538" y="911"/>
                  <a:pt x="2536" y="917"/>
                  <a:pt x="2538" y="917"/>
                </a:cubicBezTo>
                <a:cubicBezTo>
                  <a:pt x="2540" y="918"/>
                  <a:pt x="2547" y="915"/>
                  <a:pt x="2550" y="915"/>
                </a:cubicBezTo>
                <a:cubicBezTo>
                  <a:pt x="2554" y="916"/>
                  <a:pt x="2551" y="926"/>
                  <a:pt x="2551" y="926"/>
                </a:cubicBezTo>
                <a:cubicBezTo>
                  <a:pt x="2551" y="926"/>
                  <a:pt x="2553" y="926"/>
                  <a:pt x="2557" y="924"/>
                </a:cubicBezTo>
                <a:cubicBezTo>
                  <a:pt x="2560" y="922"/>
                  <a:pt x="2565" y="914"/>
                  <a:pt x="2565" y="914"/>
                </a:cubicBezTo>
                <a:cubicBezTo>
                  <a:pt x="2565" y="914"/>
                  <a:pt x="2569" y="911"/>
                  <a:pt x="2570" y="909"/>
                </a:cubicBezTo>
                <a:close/>
                <a:moveTo>
                  <a:pt x="2711" y="969"/>
                </a:moveTo>
                <a:cubicBezTo>
                  <a:pt x="2715" y="966"/>
                  <a:pt x="2715" y="966"/>
                  <a:pt x="2715" y="966"/>
                </a:cubicBezTo>
                <a:cubicBezTo>
                  <a:pt x="2715" y="966"/>
                  <a:pt x="2719" y="967"/>
                  <a:pt x="2719" y="963"/>
                </a:cubicBezTo>
                <a:cubicBezTo>
                  <a:pt x="2719" y="958"/>
                  <a:pt x="2708" y="964"/>
                  <a:pt x="2708" y="968"/>
                </a:cubicBezTo>
                <a:cubicBezTo>
                  <a:pt x="2711" y="969"/>
                  <a:pt x="2711" y="969"/>
                  <a:pt x="2711" y="969"/>
                </a:cubicBezTo>
                <a:cubicBezTo>
                  <a:pt x="2711" y="969"/>
                  <a:pt x="2711" y="969"/>
                  <a:pt x="2711" y="969"/>
                </a:cubicBezTo>
                <a:close/>
                <a:moveTo>
                  <a:pt x="2550" y="969"/>
                </a:moveTo>
                <a:cubicBezTo>
                  <a:pt x="2549" y="973"/>
                  <a:pt x="2549" y="973"/>
                  <a:pt x="2549" y="973"/>
                </a:cubicBezTo>
                <a:cubicBezTo>
                  <a:pt x="2549" y="973"/>
                  <a:pt x="2551" y="979"/>
                  <a:pt x="2554" y="977"/>
                </a:cubicBezTo>
                <a:cubicBezTo>
                  <a:pt x="2557" y="975"/>
                  <a:pt x="2557" y="969"/>
                  <a:pt x="2555" y="969"/>
                </a:cubicBezTo>
                <a:cubicBezTo>
                  <a:pt x="2553" y="969"/>
                  <a:pt x="2550" y="969"/>
                  <a:pt x="2550" y="969"/>
                </a:cubicBezTo>
                <a:close/>
                <a:moveTo>
                  <a:pt x="2700" y="1011"/>
                </a:moveTo>
                <a:cubicBezTo>
                  <a:pt x="2702" y="1013"/>
                  <a:pt x="2705" y="1006"/>
                  <a:pt x="2705" y="1006"/>
                </a:cubicBezTo>
                <a:cubicBezTo>
                  <a:pt x="2703" y="1003"/>
                  <a:pt x="2698" y="1008"/>
                  <a:pt x="2700" y="1011"/>
                </a:cubicBezTo>
                <a:close/>
                <a:moveTo>
                  <a:pt x="2562" y="969"/>
                </a:moveTo>
                <a:cubicBezTo>
                  <a:pt x="2560" y="969"/>
                  <a:pt x="2558" y="971"/>
                  <a:pt x="2558" y="971"/>
                </a:cubicBezTo>
                <a:cubicBezTo>
                  <a:pt x="2558" y="971"/>
                  <a:pt x="2562" y="974"/>
                  <a:pt x="2564" y="973"/>
                </a:cubicBezTo>
                <a:cubicBezTo>
                  <a:pt x="2566" y="971"/>
                  <a:pt x="2564" y="969"/>
                  <a:pt x="2562" y="969"/>
                </a:cubicBezTo>
                <a:close/>
                <a:moveTo>
                  <a:pt x="2748" y="940"/>
                </a:moveTo>
                <a:cubicBezTo>
                  <a:pt x="2744" y="941"/>
                  <a:pt x="2744" y="941"/>
                  <a:pt x="2744" y="941"/>
                </a:cubicBezTo>
                <a:cubicBezTo>
                  <a:pt x="2743" y="945"/>
                  <a:pt x="2743" y="945"/>
                  <a:pt x="2743" y="945"/>
                </a:cubicBezTo>
                <a:cubicBezTo>
                  <a:pt x="2741" y="947"/>
                  <a:pt x="2741" y="947"/>
                  <a:pt x="2741" y="947"/>
                </a:cubicBezTo>
                <a:cubicBezTo>
                  <a:pt x="2742" y="954"/>
                  <a:pt x="2742" y="954"/>
                  <a:pt x="2742" y="954"/>
                </a:cubicBezTo>
                <a:cubicBezTo>
                  <a:pt x="2744" y="955"/>
                  <a:pt x="2744" y="955"/>
                  <a:pt x="2744" y="955"/>
                </a:cubicBezTo>
                <a:cubicBezTo>
                  <a:pt x="2744" y="952"/>
                  <a:pt x="2744" y="952"/>
                  <a:pt x="2744" y="952"/>
                </a:cubicBezTo>
                <a:cubicBezTo>
                  <a:pt x="2745" y="952"/>
                  <a:pt x="2745" y="952"/>
                  <a:pt x="2745" y="952"/>
                </a:cubicBezTo>
                <a:cubicBezTo>
                  <a:pt x="2745" y="949"/>
                  <a:pt x="2745" y="949"/>
                  <a:pt x="2745" y="949"/>
                </a:cubicBezTo>
                <a:cubicBezTo>
                  <a:pt x="2743" y="949"/>
                  <a:pt x="2743" y="949"/>
                  <a:pt x="2743" y="949"/>
                </a:cubicBezTo>
                <a:cubicBezTo>
                  <a:pt x="2746" y="944"/>
                  <a:pt x="2746" y="944"/>
                  <a:pt x="2746" y="944"/>
                </a:cubicBezTo>
                <a:cubicBezTo>
                  <a:pt x="2748" y="940"/>
                  <a:pt x="2748" y="940"/>
                  <a:pt x="2748" y="940"/>
                </a:cubicBezTo>
                <a:cubicBezTo>
                  <a:pt x="2748" y="940"/>
                  <a:pt x="2748" y="940"/>
                  <a:pt x="2748" y="940"/>
                </a:cubicBezTo>
                <a:close/>
                <a:moveTo>
                  <a:pt x="3003" y="970"/>
                </a:moveTo>
                <a:cubicBezTo>
                  <a:pt x="3003" y="970"/>
                  <a:pt x="3001" y="977"/>
                  <a:pt x="3002" y="979"/>
                </a:cubicBezTo>
                <a:cubicBezTo>
                  <a:pt x="3003" y="981"/>
                  <a:pt x="3009" y="986"/>
                  <a:pt x="3009" y="986"/>
                </a:cubicBezTo>
                <a:cubicBezTo>
                  <a:pt x="3003" y="970"/>
                  <a:pt x="3003" y="970"/>
                  <a:pt x="3003" y="970"/>
                </a:cubicBezTo>
                <a:cubicBezTo>
                  <a:pt x="3003" y="970"/>
                  <a:pt x="3003" y="970"/>
                  <a:pt x="3003" y="970"/>
                </a:cubicBezTo>
                <a:close/>
                <a:moveTo>
                  <a:pt x="2454" y="943"/>
                </a:moveTo>
                <a:cubicBezTo>
                  <a:pt x="2455" y="942"/>
                  <a:pt x="2455" y="939"/>
                  <a:pt x="2455" y="939"/>
                </a:cubicBezTo>
                <a:cubicBezTo>
                  <a:pt x="2459" y="943"/>
                  <a:pt x="2459" y="943"/>
                  <a:pt x="2459" y="943"/>
                </a:cubicBezTo>
                <a:cubicBezTo>
                  <a:pt x="2459" y="943"/>
                  <a:pt x="2461" y="938"/>
                  <a:pt x="2461" y="935"/>
                </a:cubicBezTo>
                <a:cubicBezTo>
                  <a:pt x="2461" y="931"/>
                  <a:pt x="2463" y="922"/>
                  <a:pt x="2463" y="922"/>
                </a:cubicBezTo>
                <a:cubicBezTo>
                  <a:pt x="2463" y="922"/>
                  <a:pt x="2461" y="921"/>
                  <a:pt x="2461" y="919"/>
                </a:cubicBezTo>
                <a:cubicBezTo>
                  <a:pt x="2461" y="917"/>
                  <a:pt x="2465" y="914"/>
                  <a:pt x="2463" y="913"/>
                </a:cubicBezTo>
                <a:cubicBezTo>
                  <a:pt x="2462" y="912"/>
                  <a:pt x="2461" y="911"/>
                  <a:pt x="2461" y="911"/>
                </a:cubicBezTo>
                <a:cubicBezTo>
                  <a:pt x="2460" y="904"/>
                  <a:pt x="2460" y="904"/>
                  <a:pt x="2460" y="904"/>
                </a:cubicBezTo>
                <a:cubicBezTo>
                  <a:pt x="2454" y="905"/>
                  <a:pt x="2454" y="905"/>
                  <a:pt x="2454" y="905"/>
                </a:cubicBezTo>
                <a:cubicBezTo>
                  <a:pt x="2454" y="905"/>
                  <a:pt x="2455" y="901"/>
                  <a:pt x="2453" y="900"/>
                </a:cubicBezTo>
                <a:cubicBezTo>
                  <a:pt x="2452" y="899"/>
                  <a:pt x="2449" y="899"/>
                  <a:pt x="2449" y="899"/>
                </a:cubicBezTo>
                <a:cubicBezTo>
                  <a:pt x="2448" y="890"/>
                  <a:pt x="2448" y="890"/>
                  <a:pt x="2448" y="890"/>
                </a:cubicBezTo>
                <a:cubicBezTo>
                  <a:pt x="2448" y="890"/>
                  <a:pt x="2439" y="890"/>
                  <a:pt x="2438" y="888"/>
                </a:cubicBezTo>
                <a:cubicBezTo>
                  <a:pt x="2438" y="885"/>
                  <a:pt x="2440" y="882"/>
                  <a:pt x="2440" y="882"/>
                </a:cubicBezTo>
                <a:cubicBezTo>
                  <a:pt x="2437" y="881"/>
                  <a:pt x="2437" y="881"/>
                  <a:pt x="2437" y="881"/>
                </a:cubicBezTo>
                <a:cubicBezTo>
                  <a:pt x="2437" y="881"/>
                  <a:pt x="2442" y="875"/>
                  <a:pt x="2440" y="874"/>
                </a:cubicBezTo>
                <a:cubicBezTo>
                  <a:pt x="2438" y="872"/>
                  <a:pt x="2430" y="876"/>
                  <a:pt x="2430" y="876"/>
                </a:cubicBezTo>
                <a:cubicBezTo>
                  <a:pt x="2430" y="876"/>
                  <a:pt x="2435" y="871"/>
                  <a:pt x="2433" y="870"/>
                </a:cubicBezTo>
                <a:cubicBezTo>
                  <a:pt x="2431" y="869"/>
                  <a:pt x="2426" y="868"/>
                  <a:pt x="2426" y="868"/>
                </a:cubicBezTo>
                <a:cubicBezTo>
                  <a:pt x="2426" y="868"/>
                  <a:pt x="2429" y="867"/>
                  <a:pt x="2426" y="863"/>
                </a:cubicBezTo>
                <a:cubicBezTo>
                  <a:pt x="2423" y="859"/>
                  <a:pt x="2418" y="859"/>
                  <a:pt x="2418" y="859"/>
                </a:cubicBezTo>
                <a:cubicBezTo>
                  <a:pt x="2418" y="859"/>
                  <a:pt x="2417" y="855"/>
                  <a:pt x="2416" y="853"/>
                </a:cubicBezTo>
                <a:cubicBezTo>
                  <a:pt x="2414" y="852"/>
                  <a:pt x="2412" y="853"/>
                  <a:pt x="2412" y="853"/>
                </a:cubicBezTo>
                <a:cubicBezTo>
                  <a:pt x="2413" y="856"/>
                  <a:pt x="2413" y="856"/>
                  <a:pt x="2413" y="856"/>
                </a:cubicBezTo>
                <a:cubicBezTo>
                  <a:pt x="2413" y="856"/>
                  <a:pt x="2408" y="852"/>
                  <a:pt x="2407" y="851"/>
                </a:cubicBezTo>
                <a:cubicBezTo>
                  <a:pt x="2406" y="849"/>
                  <a:pt x="2403" y="844"/>
                  <a:pt x="2403" y="844"/>
                </a:cubicBezTo>
                <a:cubicBezTo>
                  <a:pt x="2403" y="844"/>
                  <a:pt x="2397" y="839"/>
                  <a:pt x="2394" y="837"/>
                </a:cubicBezTo>
                <a:cubicBezTo>
                  <a:pt x="2391" y="834"/>
                  <a:pt x="2387" y="830"/>
                  <a:pt x="2387" y="830"/>
                </a:cubicBezTo>
                <a:cubicBezTo>
                  <a:pt x="2387" y="830"/>
                  <a:pt x="2387" y="829"/>
                  <a:pt x="2386" y="828"/>
                </a:cubicBezTo>
                <a:cubicBezTo>
                  <a:pt x="2385" y="827"/>
                  <a:pt x="2384" y="826"/>
                  <a:pt x="2384" y="826"/>
                </a:cubicBezTo>
                <a:cubicBezTo>
                  <a:pt x="2384" y="826"/>
                  <a:pt x="2381" y="822"/>
                  <a:pt x="2380" y="820"/>
                </a:cubicBezTo>
                <a:cubicBezTo>
                  <a:pt x="2378" y="819"/>
                  <a:pt x="2376" y="819"/>
                  <a:pt x="2376" y="819"/>
                </a:cubicBezTo>
                <a:cubicBezTo>
                  <a:pt x="2365" y="818"/>
                  <a:pt x="2365" y="818"/>
                  <a:pt x="2365" y="818"/>
                </a:cubicBezTo>
                <a:cubicBezTo>
                  <a:pt x="2365" y="818"/>
                  <a:pt x="2360" y="813"/>
                  <a:pt x="2358" y="813"/>
                </a:cubicBezTo>
                <a:cubicBezTo>
                  <a:pt x="2356" y="814"/>
                  <a:pt x="2355" y="819"/>
                  <a:pt x="2356" y="822"/>
                </a:cubicBezTo>
                <a:cubicBezTo>
                  <a:pt x="2358" y="824"/>
                  <a:pt x="2373" y="838"/>
                  <a:pt x="2373" y="838"/>
                </a:cubicBezTo>
                <a:cubicBezTo>
                  <a:pt x="2378" y="846"/>
                  <a:pt x="2378" y="846"/>
                  <a:pt x="2378" y="846"/>
                </a:cubicBezTo>
                <a:cubicBezTo>
                  <a:pt x="2380" y="845"/>
                  <a:pt x="2380" y="845"/>
                  <a:pt x="2380" y="845"/>
                </a:cubicBezTo>
                <a:cubicBezTo>
                  <a:pt x="2380" y="845"/>
                  <a:pt x="2380" y="850"/>
                  <a:pt x="2381" y="852"/>
                </a:cubicBezTo>
                <a:cubicBezTo>
                  <a:pt x="2383" y="853"/>
                  <a:pt x="2390" y="855"/>
                  <a:pt x="2392" y="859"/>
                </a:cubicBezTo>
                <a:cubicBezTo>
                  <a:pt x="2394" y="862"/>
                  <a:pt x="2395" y="869"/>
                  <a:pt x="2395" y="869"/>
                </a:cubicBezTo>
                <a:cubicBezTo>
                  <a:pt x="2395" y="869"/>
                  <a:pt x="2395" y="876"/>
                  <a:pt x="2396" y="876"/>
                </a:cubicBezTo>
                <a:cubicBezTo>
                  <a:pt x="2398" y="876"/>
                  <a:pt x="2401" y="874"/>
                  <a:pt x="2401" y="876"/>
                </a:cubicBezTo>
                <a:cubicBezTo>
                  <a:pt x="2402" y="878"/>
                  <a:pt x="2403" y="882"/>
                  <a:pt x="2403" y="882"/>
                </a:cubicBezTo>
                <a:cubicBezTo>
                  <a:pt x="2408" y="886"/>
                  <a:pt x="2408" y="886"/>
                  <a:pt x="2408" y="886"/>
                </a:cubicBezTo>
                <a:cubicBezTo>
                  <a:pt x="2408" y="889"/>
                  <a:pt x="2408" y="889"/>
                  <a:pt x="2408" y="889"/>
                </a:cubicBezTo>
                <a:cubicBezTo>
                  <a:pt x="2412" y="898"/>
                  <a:pt x="2412" y="898"/>
                  <a:pt x="2412" y="898"/>
                </a:cubicBezTo>
                <a:cubicBezTo>
                  <a:pt x="2412" y="898"/>
                  <a:pt x="2411" y="901"/>
                  <a:pt x="2413" y="904"/>
                </a:cubicBezTo>
                <a:cubicBezTo>
                  <a:pt x="2415" y="907"/>
                  <a:pt x="2417" y="908"/>
                  <a:pt x="2417" y="908"/>
                </a:cubicBezTo>
                <a:cubicBezTo>
                  <a:pt x="2417" y="908"/>
                  <a:pt x="2419" y="913"/>
                  <a:pt x="2420" y="915"/>
                </a:cubicBezTo>
                <a:cubicBezTo>
                  <a:pt x="2422" y="916"/>
                  <a:pt x="2426" y="918"/>
                  <a:pt x="2426" y="918"/>
                </a:cubicBezTo>
                <a:cubicBezTo>
                  <a:pt x="2426" y="923"/>
                  <a:pt x="2426" y="923"/>
                  <a:pt x="2426" y="923"/>
                </a:cubicBezTo>
                <a:cubicBezTo>
                  <a:pt x="2426" y="923"/>
                  <a:pt x="2437" y="932"/>
                  <a:pt x="2437" y="933"/>
                </a:cubicBezTo>
                <a:cubicBezTo>
                  <a:pt x="2438" y="934"/>
                  <a:pt x="2441" y="934"/>
                  <a:pt x="2441" y="934"/>
                </a:cubicBezTo>
                <a:cubicBezTo>
                  <a:pt x="2441" y="934"/>
                  <a:pt x="2443" y="939"/>
                  <a:pt x="2445" y="940"/>
                </a:cubicBezTo>
                <a:cubicBezTo>
                  <a:pt x="2446" y="941"/>
                  <a:pt x="2447" y="945"/>
                  <a:pt x="2448" y="945"/>
                </a:cubicBezTo>
                <a:cubicBezTo>
                  <a:pt x="2448" y="945"/>
                  <a:pt x="2447" y="940"/>
                  <a:pt x="2448" y="940"/>
                </a:cubicBezTo>
                <a:cubicBezTo>
                  <a:pt x="2449" y="939"/>
                  <a:pt x="2453" y="944"/>
                  <a:pt x="2454" y="943"/>
                </a:cubicBezTo>
                <a:close/>
                <a:moveTo>
                  <a:pt x="2770" y="1339"/>
                </a:moveTo>
                <a:cubicBezTo>
                  <a:pt x="2768" y="1337"/>
                  <a:pt x="2765" y="1342"/>
                  <a:pt x="2765" y="1342"/>
                </a:cubicBezTo>
                <a:cubicBezTo>
                  <a:pt x="2765" y="1342"/>
                  <a:pt x="2765" y="1340"/>
                  <a:pt x="2764" y="1340"/>
                </a:cubicBezTo>
                <a:cubicBezTo>
                  <a:pt x="2763" y="1340"/>
                  <a:pt x="2758" y="1341"/>
                  <a:pt x="2758" y="1341"/>
                </a:cubicBezTo>
                <a:cubicBezTo>
                  <a:pt x="2757" y="1343"/>
                  <a:pt x="2757" y="1343"/>
                  <a:pt x="2757" y="1343"/>
                </a:cubicBezTo>
                <a:cubicBezTo>
                  <a:pt x="2755" y="1340"/>
                  <a:pt x="2755" y="1340"/>
                  <a:pt x="2755" y="1340"/>
                </a:cubicBezTo>
                <a:cubicBezTo>
                  <a:pt x="2749" y="1340"/>
                  <a:pt x="2749" y="1340"/>
                  <a:pt x="2749" y="1340"/>
                </a:cubicBezTo>
                <a:cubicBezTo>
                  <a:pt x="2746" y="1336"/>
                  <a:pt x="2746" y="1336"/>
                  <a:pt x="2746" y="1336"/>
                </a:cubicBezTo>
                <a:cubicBezTo>
                  <a:pt x="2746" y="1336"/>
                  <a:pt x="2745" y="1337"/>
                  <a:pt x="2744" y="1337"/>
                </a:cubicBezTo>
                <a:cubicBezTo>
                  <a:pt x="2743" y="1337"/>
                  <a:pt x="2739" y="1333"/>
                  <a:pt x="2739" y="1333"/>
                </a:cubicBezTo>
                <a:cubicBezTo>
                  <a:pt x="2739" y="1335"/>
                  <a:pt x="2739" y="1335"/>
                  <a:pt x="2739" y="1335"/>
                </a:cubicBezTo>
                <a:cubicBezTo>
                  <a:pt x="2739" y="1338"/>
                  <a:pt x="2739" y="1338"/>
                  <a:pt x="2739" y="1338"/>
                </a:cubicBezTo>
                <a:cubicBezTo>
                  <a:pt x="2739" y="1338"/>
                  <a:pt x="2740" y="1341"/>
                  <a:pt x="2739" y="1342"/>
                </a:cubicBezTo>
                <a:cubicBezTo>
                  <a:pt x="2739" y="1343"/>
                  <a:pt x="2738" y="1345"/>
                  <a:pt x="2739" y="1347"/>
                </a:cubicBezTo>
                <a:cubicBezTo>
                  <a:pt x="2740" y="1350"/>
                  <a:pt x="2739" y="1351"/>
                  <a:pt x="2737" y="1352"/>
                </a:cubicBezTo>
                <a:cubicBezTo>
                  <a:pt x="2735" y="1352"/>
                  <a:pt x="2734" y="1350"/>
                  <a:pt x="2734" y="1350"/>
                </a:cubicBezTo>
                <a:cubicBezTo>
                  <a:pt x="2734" y="1350"/>
                  <a:pt x="2733" y="1353"/>
                  <a:pt x="2733" y="1356"/>
                </a:cubicBezTo>
                <a:cubicBezTo>
                  <a:pt x="2732" y="1359"/>
                  <a:pt x="2735" y="1363"/>
                  <a:pt x="2735" y="1363"/>
                </a:cubicBezTo>
                <a:cubicBezTo>
                  <a:pt x="2738" y="1363"/>
                  <a:pt x="2738" y="1363"/>
                  <a:pt x="2738" y="1363"/>
                </a:cubicBezTo>
                <a:cubicBezTo>
                  <a:pt x="2735" y="1365"/>
                  <a:pt x="2735" y="1365"/>
                  <a:pt x="2735" y="1365"/>
                </a:cubicBezTo>
                <a:cubicBezTo>
                  <a:pt x="2736" y="1368"/>
                  <a:pt x="2736" y="1368"/>
                  <a:pt x="2736" y="1368"/>
                </a:cubicBezTo>
                <a:cubicBezTo>
                  <a:pt x="2736" y="1368"/>
                  <a:pt x="2739" y="1367"/>
                  <a:pt x="2740" y="1367"/>
                </a:cubicBezTo>
                <a:cubicBezTo>
                  <a:pt x="2742" y="1366"/>
                  <a:pt x="2743" y="1368"/>
                  <a:pt x="2745" y="1367"/>
                </a:cubicBezTo>
                <a:cubicBezTo>
                  <a:pt x="2747" y="1366"/>
                  <a:pt x="2749" y="1363"/>
                  <a:pt x="2750" y="1364"/>
                </a:cubicBezTo>
                <a:cubicBezTo>
                  <a:pt x="2752" y="1365"/>
                  <a:pt x="2749" y="1367"/>
                  <a:pt x="2749" y="1367"/>
                </a:cubicBezTo>
                <a:cubicBezTo>
                  <a:pt x="2752" y="1368"/>
                  <a:pt x="2752" y="1368"/>
                  <a:pt x="2752" y="1368"/>
                </a:cubicBezTo>
                <a:cubicBezTo>
                  <a:pt x="2752" y="1368"/>
                  <a:pt x="2756" y="1362"/>
                  <a:pt x="2758" y="1361"/>
                </a:cubicBezTo>
                <a:cubicBezTo>
                  <a:pt x="2760" y="1360"/>
                  <a:pt x="2756" y="1358"/>
                  <a:pt x="2756" y="1358"/>
                </a:cubicBezTo>
                <a:cubicBezTo>
                  <a:pt x="2759" y="1354"/>
                  <a:pt x="2759" y="1354"/>
                  <a:pt x="2759" y="1354"/>
                </a:cubicBezTo>
                <a:cubicBezTo>
                  <a:pt x="2759" y="1354"/>
                  <a:pt x="2761" y="1355"/>
                  <a:pt x="2764" y="1354"/>
                </a:cubicBezTo>
                <a:cubicBezTo>
                  <a:pt x="2766" y="1353"/>
                  <a:pt x="2764" y="1348"/>
                  <a:pt x="2766" y="1346"/>
                </a:cubicBezTo>
                <a:cubicBezTo>
                  <a:pt x="2768" y="1344"/>
                  <a:pt x="2771" y="1340"/>
                  <a:pt x="2770" y="1339"/>
                </a:cubicBezTo>
                <a:close/>
                <a:moveTo>
                  <a:pt x="2402" y="906"/>
                </a:moveTo>
                <a:cubicBezTo>
                  <a:pt x="2401" y="908"/>
                  <a:pt x="2404" y="910"/>
                  <a:pt x="2404" y="910"/>
                </a:cubicBezTo>
                <a:cubicBezTo>
                  <a:pt x="2404" y="910"/>
                  <a:pt x="2407" y="915"/>
                  <a:pt x="2409" y="913"/>
                </a:cubicBezTo>
                <a:cubicBezTo>
                  <a:pt x="2410" y="911"/>
                  <a:pt x="2404" y="906"/>
                  <a:pt x="2402" y="906"/>
                </a:cubicBezTo>
                <a:close/>
                <a:moveTo>
                  <a:pt x="2882" y="1159"/>
                </a:moveTo>
                <a:cubicBezTo>
                  <a:pt x="2882" y="1159"/>
                  <a:pt x="2881" y="1151"/>
                  <a:pt x="2881" y="1149"/>
                </a:cubicBezTo>
                <a:cubicBezTo>
                  <a:pt x="2881" y="1148"/>
                  <a:pt x="2876" y="1148"/>
                  <a:pt x="2876" y="1148"/>
                </a:cubicBezTo>
                <a:cubicBezTo>
                  <a:pt x="2876" y="1145"/>
                  <a:pt x="2876" y="1145"/>
                  <a:pt x="2876" y="1145"/>
                </a:cubicBezTo>
                <a:cubicBezTo>
                  <a:pt x="2874" y="1143"/>
                  <a:pt x="2874" y="1143"/>
                  <a:pt x="2874" y="1143"/>
                </a:cubicBezTo>
                <a:cubicBezTo>
                  <a:pt x="2874" y="1143"/>
                  <a:pt x="2875" y="1140"/>
                  <a:pt x="2874" y="1138"/>
                </a:cubicBezTo>
                <a:cubicBezTo>
                  <a:pt x="2873" y="1137"/>
                  <a:pt x="2869" y="1135"/>
                  <a:pt x="2869" y="1135"/>
                </a:cubicBezTo>
                <a:cubicBezTo>
                  <a:pt x="2869" y="1135"/>
                  <a:pt x="2876" y="1134"/>
                  <a:pt x="2876" y="1131"/>
                </a:cubicBezTo>
                <a:cubicBezTo>
                  <a:pt x="2877" y="1128"/>
                  <a:pt x="2872" y="1128"/>
                  <a:pt x="2872" y="1128"/>
                </a:cubicBezTo>
                <a:cubicBezTo>
                  <a:pt x="2872" y="1128"/>
                  <a:pt x="2871" y="1123"/>
                  <a:pt x="2868" y="1123"/>
                </a:cubicBezTo>
                <a:cubicBezTo>
                  <a:pt x="2866" y="1124"/>
                  <a:pt x="2867" y="1127"/>
                  <a:pt x="2867" y="1127"/>
                </a:cubicBezTo>
                <a:cubicBezTo>
                  <a:pt x="2864" y="1127"/>
                  <a:pt x="2864" y="1127"/>
                  <a:pt x="2864" y="1127"/>
                </a:cubicBezTo>
                <a:cubicBezTo>
                  <a:pt x="2864" y="1127"/>
                  <a:pt x="2867" y="1118"/>
                  <a:pt x="2867" y="1116"/>
                </a:cubicBezTo>
                <a:cubicBezTo>
                  <a:pt x="2866" y="1114"/>
                  <a:pt x="2862" y="1114"/>
                  <a:pt x="2861" y="1112"/>
                </a:cubicBezTo>
                <a:cubicBezTo>
                  <a:pt x="2861" y="1110"/>
                  <a:pt x="2864" y="1106"/>
                  <a:pt x="2863" y="1103"/>
                </a:cubicBezTo>
                <a:cubicBezTo>
                  <a:pt x="2862" y="1101"/>
                  <a:pt x="2849" y="1094"/>
                  <a:pt x="2849" y="1094"/>
                </a:cubicBezTo>
                <a:cubicBezTo>
                  <a:pt x="2848" y="1096"/>
                  <a:pt x="2848" y="1096"/>
                  <a:pt x="2848" y="1096"/>
                </a:cubicBezTo>
                <a:cubicBezTo>
                  <a:pt x="2848" y="1096"/>
                  <a:pt x="2842" y="1089"/>
                  <a:pt x="2842" y="1084"/>
                </a:cubicBezTo>
                <a:cubicBezTo>
                  <a:pt x="2842" y="1080"/>
                  <a:pt x="2843" y="1077"/>
                  <a:pt x="2843" y="1073"/>
                </a:cubicBezTo>
                <a:cubicBezTo>
                  <a:pt x="2843" y="1069"/>
                  <a:pt x="2839" y="1060"/>
                  <a:pt x="2839" y="1056"/>
                </a:cubicBezTo>
                <a:cubicBezTo>
                  <a:pt x="2838" y="1053"/>
                  <a:pt x="2840" y="1051"/>
                  <a:pt x="2840" y="1049"/>
                </a:cubicBezTo>
                <a:cubicBezTo>
                  <a:pt x="2841" y="1047"/>
                  <a:pt x="2839" y="1039"/>
                  <a:pt x="2839" y="1039"/>
                </a:cubicBezTo>
                <a:cubicBezTo>
                  <a:pt x="2836" y="1037"/>
                  <a:pt x="2836" y="1037"/>
                  <a:pt x="2836" y="1037"/>
                </a:cubicBezTo>
                <a:cubicBezTo>
                  <a:pt x="2836" y="1037"/>
                  <a:pt x="2833" y="1034"/>
                  <a:pt x="2831" y="1034"/>
                </a:cubicBezTo>
                <a:cubicBezTo>
                  <a:pt x="2829" y="1034"/>
                  <a:pt x="2828" y="1037"/>
                  <a:pt x="2828" y="1037"/>
                </a:cubicBezTo>
                <a:cubicBezTo>
                  <a:pt x="2828" y="1037"/>
                  <a:pt x="2826" y="1034"/>
                  <a:pt x="2826" y="1032"/>
                </a:cubicBezTo>
                <a:cubicBezTo>
                  <a:pt x="2826" y="1030"/>
                  <a:pt x="2827" y="1025"/>
                  <a:pt x="2827" y="1025"/>
                </a:cubicBezTo>
                <a:cubicBezTo>
                  <a:pt x="2825" y="1022"/>
                  <a:pt x="2825" y="1022"/>
                  <a:pt x="2825" y="1022"/>
                </a:cubicBezTo>
                <a:cubicBezTo>
                  <a:pt x="2825" y="1011"/>
                  <a:pt x="2825" y="1011"/>
                  <a:pt x="2825" y="1011"/>
                </a:cubicBezTo>
                <a:cubicBezTo>
                  <a:pt x="2825" y="1011"/>
                  <a:pt x="2820" y="1008"/>
                  <a:pt x="2821" y="1006"/>
                </a:cubicBezTo>
                <a:cubicBezTo>
                  <a:pt x="2822" y="1004"/>
                  <a:pt x="2823" y="1001"/>
                  <a:pt x="2822" y="1000"/>
                </a:cubicBezTo>
                <a:cubicBezTo>
                  <a:pt x="2821" y="999"/>
                  <a:pt x="2818" y="999"/>
                  <a:pt x="2818" y="999"/>
                </a:cubicBezTo>
                <a:cubicBezTo>
                  <a:pt x="2818" y="997"/>
                  <a:pt x="2818" y="997"/>
                  <a:pt x="2818" y="997"/>
                </a:cubicBezTo>
                <a:cubicBezTo>
                  <a:pt x="2814" y="998"/>
                  <a:pt x="2814" y="998"/>
                  <a:pt x="2814" y="998"/>
                </a:cubicBezTo>
                <a:cubicBezTo>
                  <a:pt x="2813" y="1001"/>
                  <a:pt x="2813" y="1001"/>
                  <a:pt x="2813" y="1001"/>
                </a:cubicBezTo>
                <a:cubicBezTo>
                  <a:pt x="2813" y="1001"/>
                  <a:pt x="2811" y="1003"/>
                  <a:pt x="2810" y="1003"/>
                </a:cubicBezTo>
                <a:cubicBezTo>
                  <a:pt x="2808" y="1004"/>
                  <a:pt x="2811" y="1010"/>
                  <a:pt x="2811" y="1012"/>
                </a:cubicBezTo>
                <a:cubicBezTo>
                  <a:pt x="2811" y="1014"/>
                  <a:pt x="2804" y="1022"/>
                  <a:pt x="2804" y="1022"/>
                </a:cubicBezTo>
                <a:cubicBezTo>
                  <a:pt x="2806" y="1024"/>
                  <a:pt x="2806" y="1024"/>
                  <a:pt x="2806" y="1024"/>
                </a:cubicBezTo>
                <a:cubicBezTo>
                  <a:pt x="2806" y="1024"/>
                  <a:pt x="2803" y="1028"/>
                  <a:pt x="2803" y="1030"/>
                </a:cubicBezTo>
                <a:cubicBezTo>
                  <a:pt x="2802" y="1031"/>
                  <a:pt x="2803" y="1037"/>
                  <a:pt x="2803" y="1037"/>
                </a:cubicBezTo>
                <a:cubicBezTo>
                  <a:pt x="2803" y="1037"/>
                  <a:pt x="2799" y="1054"/>
                  <a:pt x="2799" y="1057"/>
                </a:cubicBezTo>
                <a:cubicBezTo>
                  <a:pt x="2799" y="1059"/>
                  <a:pt x="2793" y="1065"/>
                  <a:pt x="2793" y="1065"/>
                </a:cubicBezTo>
                <a:cubicBezTo>
                  <a:pt x="2793" y="1065"/>
                  <a:pt x="2793" y="1072"/>
                  <a:pt x="2790" y="1074"/>
                </a:cubicBezTo>
                <a:cubicBezTo>
                  <a:pt x="2786" y="1075"/>
                  <a:pt x="2779" y="1077"/>
                  <a:pt x="2779" y="1077"/>
                </a:cubicBezTo>
                <a:cubicBezTo>
                  <a:pt x="2779" y="1077"/>
                  <a:pt x="2774" y="1070"/>
                  <a:pt x="2773" y="1068"/>
                </a:cubicBezTo>
                <a:cubicBezTo>
                  <a:pt x="2772" y="1066"/>
                  <a:pt x="2764" y="1063"/>
                  <a:pt x="2759" y="1061"/>
                </a:cubicBezTo>
                <a:cubicBezTo>
                  <a:pt x="2755" y="1060"/>
                  <a:pt x="2752" y="1053"/>
                  <a:pt x="2752" y="1052"/>
                </a:cubicBezTo>
                <a:cubicBezTo>
                  <a:pt x="2751" y="1051"/>
                  <a:pt x="2747" y="1052"/>
                  <a:pt x="2747" y="1052"/>
                </a:cubicBezTo>
                <a:cubicBezTo>
                  <a:pt x="2743" y="1046"/>
                  <a:pt x="2743" y="1046"/>
                  <a:pt x="2743" y="1046"/>
                </a:cubicBezTo>
                <a:cubicBezTo>
                  <a:pt x="2746" y="1043"/>
                  <a:pt x="2746" y="1043"/>
                  <a:pt x="2746" y="1043"/>
                </a:cubicBezTo>
                <a:cubicBezTo>
                  <a:pt x="2746" y="1043"/>
                  <a:pt x="2745" y="1040"/>
                  <a:pt x="2746" y="1038"/>
                </a:cubicBezTo>
                <a:cubicBezTo>
                  <a:pt x="2748" y="1036"/>
                  <a:pt x="2750" y="1035"/>
                  <a:pt x="2750" y="1035"/>
                </a:cubicBezTo>
                <a:cubicBezTo>
                  <a:pt x="2749" y="1029"/>
                  <a:pt x="2749" y="1029"/>
                  <a:pt x="2749" y="1029"/>
                </a:cubicBezTo>
                <a:cubicBezTo>
                  <a:pt x="2752" y="1026"/>
                  <a:pt x="2752" y="1026"/>
                  <a:pt x="2752" y="1026"/>
                </a:cubicBezTo>
                <a:cubicBezTo>
                  <a:pt x="2752" y="1026"/>
                  <a:pt x="2755" y="1028"/>
                  <a:pt x="2756" y="1027"/>
                </a:cubicBezTo>
                <a:cubicBezTo>
                  <a:pt x="2757" y="1027"/>
                  <a:pt x="2757" y="1022"/>
                  <a:pt x="2757" y="1022"/>
                </a:cubicBezTo>
                <a:cubicBezTo>
                  <a:pt x="2763" y="1017"/>
                  <a:pt x="2763" y="1017"/>
                  <a:pt x="2763" y="1017"/>
                </a:cubicBezTo>
                <a:cubicBezTo>
                  <a:pt x="2763" y="1017"/>
                  <a:pt x="2760" y="1012"/>
                  <a:pt x="2756" y="1012"/>
                </a:cubicBezTo>
                <a:cubicBezTo>
                  <a:pt x="2753" y="1011"/>
                  <a:pt x="2748" y="1016"/>
                  <a:pt x="2748" y="1016"/>
                </a:cubicBezTo>
                <a:cubicBezTo>
                  <a:pt x="2748" y="1013"/>
                  <a:pt x="2748" y="1013"/>
                  <a:pt x="2748" y="1013"/>
                </a:cubicBezTo>
                <a:cubicBezTo>
                  <a:pt x="2744" y="1014"/>
                  <a:pt x="2744" y="1014"/>
                  <a:pt x="2744" y="1014"/>
                </a:cubicBezTo>
                <a:cubicBezTo>
                  <a:pt x="2742" y="1016"/>
                  <a:pt x="2742" y="1016"/>
                  <a:pt x="2742" y="1016"/>
                </a:cubicBezTo>
                <a:cubicBezTo>
                  <a:pt x="2741" y="1013"/>
                  <a:pt x="2741" y="1013"/>
                  <a:pt x="2741" y="1013"/>
                </a:cubicBezTo>
                <a:cubicBezTo>
                  <a:pt x="2736" y="1013"/>
                  <a:pt x="2736" y="1013"/>
                  <a:pt x="2736" y="1013"/>
                </a:cubicBezTo>
                <a:cubicBezTo>
                  <a:pt x="2736" y="1013"/>
                  <a:pt x="2730" y="1009"/>
                  <a:pt x="2729" y="1009"/>
                </a:cubicBezTo>
                <a:cubicBezTo>
                  <a:pt x="2728" y="1009"/>
                  <a:pt x="2721" y="1008"/>
                  <a:pt x="2721" y="1008"/>
                </a:cubicBezTo>
                <a:cubicBezTo>
                  <a:pt x="2721" y="1008"/>
                  <a:pt x="2720" y="1004"/>
                  <a:pt x="2718" y="1003"/>
                </a:cubicBezTo>
                <a:cubicBezTo>
                  <a:pt x="2717" y="1002"/>
                  <a:pt x="2716" y="1005"/>
                  <a:pt x="2716" y="1005"/>
                </a:cubicBezTo>
                <a:cubicBezTo>
                  <a:pt x="2716" y="1005"/>
                  <a:pt x="2711" y="1002"/>
                  <a:pt x="2710" y="1003"/>
                </a:cubicBezTo>
                <a:cubicBezTo>
                  <a:pt x="2709" y="1004"/>
                  <a:pt x="2711" y="1006"/>
                  <a:pt x="2711" y="1006"/>
                </a:cubicBezTo>
                <a:cubicBezTo>
                  <a:pt x="2711" y="1006"/>
                  <a:pt x="2708" y="1006"/>
                  <a:pt x="2707" y="1007"/>
                </a:cubicBezTo>
                <a:cubicBezTo>
                  <a:pt x="2707" y="1008"/>
                  <a:pt x="2710" y="1009"/>
                  <a:pt x="2713" y="1010"/>
                </a:cubicBezTo>
                <a:cubicBezTo>
                  <a:pt x="2715" y="1011"/>
                  <a:pt x="2716" y="1009"/>
                  <a:pt x="2716" y="1009"/>
                </a:cubicBezTo>
                <a:cubicBezTo>
                  <a:pt x="2721" y="1011"/>
                  <a:pt x="2721" y="1011"/>
                  <a:pt x="2721" y="1011"/>
                </a:cubicBezTo>
                <a:cubicBezTo>
                  <a:pt x="2721" y="1011"/>
                  <a:pt x="2716" y="1013"/>
                  <a:pt x="2714" y="1015"/>
                </a:cubicBezTo>
                <a:cubicBezTo>
                  <a:pt x="2711" y="1016"/>
                  <a:pt x="2704" y="1015"/>
                  <a:pt x="2703" y="1015"/>
                </a:cubicBezTo>
                <a:cubicBezTo>
                  <a:pt x="2701" y="1016"/>
                  <a:pt x="2691" y="1021"/>
                  <a:pt x="2691" y="1021"/>
                </a:cubicBezTo>
                <a:cubicBezTo>
                  <a:pt x="2691" y="1021"/>
                  <a:pt x="2689" y="1025"/>
                  <a:pt x="2689" y="1027"/>
                </a:cubicBezTo>
                <a:cubicBezTo>
                  <a:pt x="2689" y="1029"/>
                  <a:pt x="2693" y="1031"/>
                  <a:pt x="2693" y="1031"/>
                </a:cubicBezTo>
                <a:cubicBezTo>
                  <a:pt x="2687" y="1031"/>
                  <a:pt x="2687" y="1031"/>
                  <a:pt x="2687" y="1031"/>
                </a:cubicBezTo>
                <a:cubicBezTo>
                  <a:pt x="2682" y="1036"/>
                  <a:pt x="2682" y="1036"/>
                  <a:pt x="2682" y="1036"/>
                </a:cubicBezTo>
                <a:cubicBezTo>
                  <a:pt x="2682" y="1036"/>
                  <a:pt x="2683" y="1040"/>
                  <a:pt x="2681" y="1042"/>
                </a:cubicBezTo>
                <a:cubicBezTo>
                  <a:pt x="2680" y="1043"/>
                  <a:pt x="2685" y="1044"/>
                  <a:pt x="2687" y="1046"/>
                </a:cubicBezTo>
                <a:cubicBezTo>
                  <a:pt x="2689" y="1046"/>
                  <a:pt x="2688" y="1051"/>
                  <a:pt x="2688" y="1051"/>
                </a:cubicBezTo>
                <a:cubicBezTo>
                  <a:pt x="2685" y="1048"/>
                  <a:pt x="2685" y="1048"/>
                  <a:pt x="2685" y="1048"/>
                </a:cubicBezTo>
                <a:cubicBezTo>
                  <a:pt x="2681" y="1048"/>
                  <a:pt x="2681" y="1048"/>
                  <a:pt x="2681" y="1048"/>
                </a:cubicBezTo>
                <a:cubicBezTo>
                  <a:pt x="2679" y="1051"/>
                  <a:pt x="2679" y="1051"/>
                  <a:pt x="2679" y="1051"/>
                </a:cubicBezTo>
                <a:cubicBezTo>
                  <a:pt x="2673" y="1046"/>
                  <a:pt x="2673" y="1046"/>
                  <a:pt x="2673" y="1046"/>
                </a:cubicBezTo>
                <a:cubicBezTo>
                  <a:pt x="2673" y="1051"/>
                  <a:pt x="2673" y="1051"/>
                  <a:pt x="2673" y="1051"/>
                </a:cubicBezTo>
                <a:cubicBezTo>
                  <a:pt x="2669" y="1052"/>
                  <a:pt x="2669" y="1052"/>
                  <a:pt x="2669" y="1052"/>
                </a:cubicBezTo>
                <a:cubicBezTo>
                  <a:pt x="2670" y="1056"/>
                  <a:pt x="2670" y="1056"/>
                  <a:pt x="2670" y="1056"/>
                </a:cubicBezTo>
                <a:cubicBezTo>
                  <a:pt x="2666" y="1055"/>
                  <a:pt x="2666" y="1055"/>
                  <a:pt x="2666" y="1055"/>
                </a:cubicBezTo>
                <a:cubicBezTo>
                  <a:pt x="2670" y="1046"/>
                  <a:pt x="2670" y="1046"/>
                  <a:pt x="2670" y="1046"/>
                </a:cubicBezTo>
                <a:cubicBezTo>
                  <a:pt x="2670" y="1046"/>
                  <a:pt x="2669" y="1044"/>
                  <a:pt x="2668" y="1042"/>
                </a:cubicBezTo>
                <a:cubicBezTo>
                  <a:pt x="2668" y="1040"/>
                  <a:pt x="2664" y="1040"/>
                  <a:pt x="2664" y="1040"/>
                </a:cubicBezTo>
                <a:cubicBezTo>
                  <a:pt x="2662" y="1036"/>
                  <a:pt x="2662" y="1036"/>
                  <a:pt x="2662" y="1036"/>
                </a:cubicBezTo>
                <a:cubicBezTo>
                  <a:pt x="2662" y="1036"/>
                  <a:pt x="2663" y="1032"/>
                  <a:pt x="2661" y="1030"/>
                </a:cubicBezTo>
                <a:cubicBezTo>
                  <a:pt x="2659" y="1029"/>
                  <a:pt x="2656" y="1031"/>
                  <a:pt x="2656" y="1033"/>
                </a:cubicBezTo>
                <a:cubicBezTo>
                  <a:pt x="2655" y="1034"/>
                  <a:pt x="2657" y="1034"/>
                  <a:pt x="2657" y="1034"/>
                </a:cubicBezTo>
                <a:cubicBezTo>
                  <a:pt x="2656" y="1036"/>
                  <a:pt x="2656" y="1036"/>
                  <a:pt x="2656" y="1036"/>
                </a:cubicBezTo>
                <a:cubicBezTo>
                  <a:pt x="2652" y="1036"/>
                  <a:pt x="2652" y="1036"/>
                  <a:pt x="2652" y="1036"/>
                </a:cubicBezTo>
                <a:cubicBezTo>
                  <a:pt x="2652" y="1039"/>
                  <a:pt x="2652" y="1039"/>
                  <a:pt x="2652" y="1039"/>
                </a:cubicBezTo>
                <a:cubicBezTo>
                  <a:pt x="2649" y="1038"/>
                  <a:pt x="2649" y="1038"/>
                  <a:pt x="2649" y="1038"/>
                </a:cubicBezTo>
                <a:cubicBezTo>
                  <a:pt x="2647" y="1039"/>
                  <a:pt x="2647" y="1039"/>
                  <a:pt x="2647" y="1039"/>
                </a:cubicBezTo>
                <a:cubicBezTo>
                  <a:pt x="2647" y="1039"/>
                  <a:pt x="2648" y="1041"/>
                  <a:pt x="2648" y="1043"/>
                </a:cubicBezTo>
                <a:cubicBezTo>
                  <a:pt x="2647" y="1045"/>
                  <a:pt x="2644" y="1047"/>
                  <a:pt x="2644" y="1047"/>
                </a:cubicBezTo>
                <a:cubicBezTo>
                  <a:pt x="2645" y="1042"/>
                  <a:pt x="2645" y="1042"/>
                  <a:pt x="2645" y="1042"/>
                </a:cubicBezTo>
                <a:cubicBezTo>
                  <a:pt x="2642" y="1045"/>
                  <a:pt x="2642" y="1045"/>
                  <a:pt x="2642" y="1045"/>
                </a:cubicBezTo>
                <a:cubicBezTo>
                  <a:pt x="2642" y="1045"/>
                  <a:pt x="2640" y="1045"/>
                  <a:pt x="2639" y="1047"/>
                </a:cubicBezTo>
                <a:cubicBezTo>
                  <a:pt x="2637" y="1049"/>
                  <a:pt x="2639" y="1053"/>
                  <a:pt x="2639" y="1053"/>
                </a:cubicBezTo>
                <a:cubicBezTo>
                  <a:pt x="2633" y="1051"/>
                  <a:pt x="2633" y="1051"/>
                  <a:pt x="2633" y="1051"/>
                </a:cubicBezTo>
                <a:cubicBezTo>
                  <a:pt x="2632" y="1056"/>
                  <a:pt x="2632" y="1056"/>
                  <a:pt x="2632" y="1056"/>
                </a:cubicBezTo>
                <a:cubicBezTo>
                  <a:pt x="2630" y="1056"/>
                  <a:pt x="2630" y="1056"/>
                  <a:pt x="2630" y="1056"/>
                </a:cubicBezTo>
                <a:cubicBezTo>
                  <a:pt x="2632" y="1060"/>
                  <a:pt x="2632" y="1060"/>
                  <a:pt x="2632" y="1060"/>
                </a:cubicBezTo>
                <a:cubicBezTo>
                  <a:pt x="2635" y="1059"/>
                  <a:pt x="2635" y="1059"/>
                  <a:pt x="2635" y="1059"/>
                </a:cubicBezTo>
                <a:cubicBezTo>
                  <a:pt x="2634" y="1062"/>
                  <a:pt x="2634" y="1062"/>
                  <a:pt x="2634" y="1062"/>
                </a:cubicBezTo>
                <a:cubicBezTo>
                  <a:pt x="2624" y="1062"/>
                  <a:pt x="2624" y="1062"/>
                  <a:pt x="2624" y="1062"/>
                </a:cubicBezTo>
                <a:cubicBezTo>
                  <a:pt x="2624" y="1062"/>
                  <a:pt x="2621" y="1060"/>
                  <a:pt x="2619" y="1062"/>
                </a:cubicBezTo>
                <a:cubicBezTo>
                  <a:pt x="2617" y="1064"/>
                  <a:pt x="2621" y="1068"/>
                  <a:pt x="2621" y="1068"/>
                </a:cubicBezTo>
                <a:cubicBezTo>
                  <a:pt x="2621" y="1072"/>
                  <a:pt x="2621" y="1072"/>
                  <a:pt x="2621" y="1072"/>
                </a:cubicBezTo>
                <a:cubicBezTo>
                  <a:pt x="2620" y="1075"/>
                  <a:pt x="2620" y="1075"/>
                  <a:pt x="2620" y="1075"/>
                </a:cubicBezTo>
                <a:cubicBezTo>
                  <a:pt x="2621" y="1081"/>
                  <a:pt x="2621" y="1081"/>
                  <a:pt x="2621" y="1081"/>
                </a:cubicBezTo>
                <a:cubicBezTo>
                  <a:pt x="2618" y="1081"/>
                  <a:pt x="2618" y="1081"/>
                  <a:pt x="2618" y="1081"/>
                </a:cubicBezTo>
                <a:cubicBezTo>
                  <a:pt x="2618" y="1070"/>
                  <a:pt x="2618" y="1070"/>
                  <a:pt x="2618" y="1070"/>
                </a:cubicBezTo>
                <a:cubicBezTo>
                  <a:pt x="2615" y="1068"/>
                  <a:pt x="2615" y="1068"/>
                  <a:pt x="2615" y="1068"/>
                </a:cubicBezTo>
                <a:cubicBezTo>
                  <a:pt x="2615" y="1063"/>
                  <a:pt x="2615" y="1063"/>
                  <a:pt x="2615" y="1063"/>
                </a:cubicBezTo>
                <a:cubicBezTo>
                  <a:pt x="2612" y="1064"/>
                  <a:pt x="2612" y="1064"/>
                  <a:pt x="2612" y="1064"/>
                </a:cubicBezTo>
                <a:cubicBezTo>
                  <a:pt x="2610" y="1067"/>
                  <a:pt x="2610" y="1067"/>
                  <a:pt x="2610" y="1067"/>
                </a:cubicBezTo>
                <a:cubicBezTo>
                  <a:pt x="2610" y="1067"/>
                  <a:pt x="2607" y="1069"/>
                  <a:pt x="2603" y="1073"/>
                </a:cubicBezTo>
                <a:cubicBezTo>
                  <a:pt x="2599" y="1076"/>
                  <a:pt x="2602" y="1083"/>
                  <a:pt x="2602" y="1083"/>
                </a:cubicBezTo>
                <a:cubicBezTo>
                  <a:pt x="2602" y="1083"/>
                  <a:pt x="2606" y="1084"/>
                  <a:pt x="2605" y="1086"/>
                </a:cubicBezTo>
                <a:cubicBezTo>
                  <a:pt x="2605" y="1088"/>
                  <a:pt x="2598" y="1090"/>
                  <a:pt x="2596" y="1091"/>
                </a:cubicBezTo>
                <a:cubicBezTo>
                  <a:pt x="2595" y="1092"/>
                  <a:pt x="2596" y="1094"/>
                  <a:pt x="2596" y="1094"/>
                </a:cubicBezTo>
                <a:cubicBezTo>
                  <a:pt x="2596" y="1094"/>
                  <a:pt x="2591" y="1098"/>
                  <a:pt x="2588" y="1101"/>
                </a:cubicBezTo>
                <a:cubicBezTo>
                  <a:pt x="2584" y="1103"/>
                  <a:pt x="2573" y="1104"/>
                  <a:pt x="2573" y="1104"/>
                </a:cubicBezTo>
                <a:cubicBezTo>
                  <a:pt x="2566" y="1103"/>
                  <a:pt x="2566" y="1103"/>
                  <a:pt x="2566" y="1103"/>
                </a:cubicBezTo>
                <a:cubicBezTo>
                  <a:pt x="2560" y="1106"/>
                  <a:pt x="2560" y="1106"/>
                  <a:pt x="2560" y="1106"/>
                </a:cubicBezTo>
                <a:cubicBezTo>
                  <a:pt x="2553" y="1107"/>
                  <a:pt x="2553" y="1107"/>
                  <a:pt x="2553" y="1107"/>
                </a:cubicBezTo>
                <a:cubicBezTo>
                  <a:pt x="2552" y="1108"/>
                  <a:pt x="2552" y="1108"/>
                  <a:pt x="2552" y="1108"/>
                </a:cubicBezTo>
                <a:cubicBezTo>
                  <a:pt x="2552" y="1108"/>
                  <a:pt x="2549" y="1108"/>
                  <a:pt x="2548" y="1109"/>
                </a:cubicBezTo>
                <a:cubicBezTo>
                  <a:pt x="2546" y="1110"/>
                  <a:pt x="2543" y="1112"/>
                  <a:pt x="2543" y="1112"/>
                </a:cubicBezTo>
                <a:cubicBezTo>
                  <a:pt x="2543" y="1112"/>
                  <a:pt x="2539" y="1112"/>
                  <a:pt x="2537" y="1113"/>
                </a:cubicBezTo>
                <a:cubicBezTo>
                  <a:pt x="2534" y="1114"/>
                  <a:pt x="2530" y="1120"/>
                  <a:pt x="2530" y="1120"/>
                </a:cubicBezTo>
                <a:cubicBezTo>
                  <a:pt x="2530" y="1120"/>
                  <a:pt x="2523" y="1122"/>
                  <a:pt x="2521" y="1123"/>
                </a:cubicBezTo>
                <a:cubicBezTo>
                  <a:pt x="2520" y="1124"/>
                  <a:pt x="2512" y="1133"/>
                  <a:pt x="2512" y="1133"/>
                </a:cubicBezTo>
                <a:cubicBezTo>
                  <a:pt x="2514" y="1124"/>
                  <a:pt x="2514" y="1124"/>
                  <a:pt x="2514" y="1124"/>
                </a:cubicBezTo>
                <a:cubicBezTo>
                  <a:pt x="2511" y="1125"/>
                  <a:pt x="2511" y="1125"/>
                  <a:pt x="2511" y="1125"/>
                </a:cubicBezTo>
                <a:cubicBezTo>
                  <a:pt x="2508" y="1133"/>
                  <a:pt x="2508" y="1133"/>
                  <a:pt x="2508" y="1133"/>
                </a:cubicBezTo>
                <a:cubicBezTo>
                  <a:pt x="2508" y="1133"/>
                  <a:pt x="2505" y="1138"/>
                  <a:pt x="2504" y="1142"/>
                </a:cubicBezTo>
                <a:cubicBezTo>
                  <a:pt x="2503" y="1145"/>
                  <a:pt x="2507" y="1146"/>
                  <a:pt x="2507" y="1146"/>
                </a:cubicBezTo>
                <a:cubicBezTo>
                  <a:pt x="2507" y="1146"/>
                  <a:pt x="2503" y="1150"/>
                  <a:pt x="2501" y="1152"/>
                </a:cubicBezTo>
                <a:cubicBezTo>
                  <a:pt x="2499" y="1154"/>
                  <a:pt x="2503" y="1162"/>
                  <a:pt x="2503" y="1164"/>
                </a:cubicBezTo>
                <a:cubicBezTo>
                  <a:pt x="2503" y="1165"/>
                  <a:pt x="2508" y="1174"/>
                  <a:pt x="2507" y="1175"/>
                </a:cubicBezTo>
                <a:cubicBezTo>
                  <a:pt x="2506" y="1176"/>
                  <a:pt x="2501" y="1167"/>
                  <a:pt x="2501" y="1167"/>
                </a:cubicBezTo>
                <a:cubicBezTo>
                  <a:pt x="2498" y="1167"/>
                  <a:pt x="2498" y="1167"/>
                  <a:pt x="2498" y="1167"/>
                </a:cubicBezTo>
                <a:cubicBezTo>
                  <a:pt x="2501" y="1173"/>
                  <a:pt x="2501" y="1173"/>
                  <a:pt x="2501" y="1173"/>
                </a:cubicBezTo>
                <a:cubicBezTo>
                  <a:pt x="2496" y="1169"/>
                  <a:pt x="2496" y="1169"/>
                  <a:pt x="2496" y="1169"/>
                </a:cubicBezTo>
                <a:cubicBezTo>
                  <a:pt x="2496" y="1169"/>
                  <a:pt x="2495" y="1174"/>
                  <a:pt x="2496" y="1177"/>
                </a:cubicBezTo>
                <a:cubicBezTo>
                  <a:pt x="2496" y="1180"/>
                  <a:pt x="2501" y="1187"/>
                  <a:pt x="2501" y="1187"/>
                </a:cubicBezTo>
                <a:cubicBezTo>
                  <a:pt x="2501" y="1187"/>
                  <a:pt x="2499" y="1192"/>
                  <a:pt x="2498" y="1193"/>
                </a:cubicBezTo>
                <a:cubicBezTo>
                  <a:pt x="2498" y="1195"/>
                  <a:pt x="2504" y="1200"/>
                  <a:pt x="2504" y="1201"/>
                </a:cubicBezTo>
                <a:cubicBezTo>
                  <a:pt x="2504" y="1202"/>
                  <a:pt x="2505" y="1207"/>
                  <a:pt x="2503" y="1209"/>
                </a:cubicBezTo>
                <a:cubicBezTo>
                  <a:pt x="2502" y="1210"/>
                  <a:pt x="2505" y="1220"/>
                  <a:pt x="2505" y="1220"/>
                </a:cubicBezTo>
                <a:cubicBezTo>
                  <a:pt x="2505" y="1220"/>
                  <a:pt x="2504" y="1220"/>
                  <a:pt x="2503" y="1222"/>
                </a:cubicBezTo>
                <a:cubicBezTo>
                  <a:pt x="2501" y="1223"/>
                  <a:pt x="2504" y="1230"/>
                  <a:pt x="2504" y="1230"/>
                </a:cubicBezTo>
                <a:cubicBezTo>
                  <a:pt x="2504" y="1230"/>
                  <a:pt x="2509" y="1232"/>
                  <a:pt x="2509" y="1236"/>
                </a:cubicBezTo>
                <a:cubicBezTo>
                  <a:pt x="2510" y="1239"/>
                  <a:pt x="2503" y="1245"/>
                  <a:pt x="2503" y="1245"/>
                </a:cubicBezTo>
                <a:cubicBezTo>
                  <a:pt x="2503" y="1245"/>
                  <a:pt x="2505" y="1252"/>
                  <a:pt x="2502" y="1256"/>
                </a:cubicBezTo>
                <a:cubicBezTo>
                  <a:pt x="2498" y="1259"/>
                  <a:pt x="2492" y="1257"/>
                  <a:pt x="2492" y="1257"/>
                </a:cubicBezTo>
                <a:cubicBezTo>
                  <a:pt x="2491" y="1264"/>
                  <a:pt x="2491" y="1264"/>
                  <a:pt x="2491" y="1264"/>
                </a:cubicBezTo>
                <a:cubicBezTo>
                  <a:pt x="2491" y="1264"/>
                  <a:pt x="2498" y="1266"/>
                  <a:pt x="2499" y="1267"/>
                </a:cubicBezTo>
                <a:cubicBezTo>
                  <a:pt x="2501" y="1268"/>
                  <a:pt x="2503" y="1270"/>
                  <a:pt x="2503" y="1270"/>
                </a:cubicBezTo>
                <a:cubicBezTo>
                  <a:pt x="2506" y="1270"/>
                  <a:pt x="2506" y="1270"/>
                  <a:pt x="2506" y="1270"/>
                </a:cubicBezTo>
                <a:cubicBezTo>
                  <a:pt x="2506" y="1270"/>
                  <a:pt x="2508" y="1272"/>
                  <a:pt x="2511" y="1273"/>
                </a:cubicBezTo>
                <a:cubicBezTo>
                  <a:pt x="2514" y="1274"/>
                  <a:pt x="2520" y="1272"/>
                  <a:pt x="2523" y="1272"/>
                </a:cubicBezTo>
                <a:cubicBezTo>
                  <a:pt x="2525" y="1272"/>
                  <a:pt x="2523" y="1268"/>
                  <a:pt x="2523" y="1268"/>
                </a:cubicBezTo>
                <a:cubicBezTo>
                  <a:pt x="2529" y="1269"/>
                  <a:pt x="2529" y="1269"/>
                  <a:pt x="2529" y="1269"/>
                </a:cubicBezTo>
                <a:cubicBezTo>
                  <a:pt x="2530" y="1266"/>
                  <a:pt x="2530" y="1266"/>
                  <a:pt x="2530" y="1266"/>
                </a:cubicBezTo>
                <a:cubicBezTo>
                  <a:pt x="2535" y="1265"/>
                  <a:pt x="2535" y="1265"/>
                  <a:pt x="2535" y="1265"/>
                </a:cubicBezTo>
                <a:cubicBezTo>
                  <a:pt x="2535" y="1265"/>
                  <a:pt x="2540" y="1260"/>
                  <a:pt x="2543" y="1260"/>
                </a:cubicBezTo>
                <a:cubicBezTo>
                  <a:pt x="2546" y="1260"/>
                  <a:pt x="2548" y="1263"/>
                  <a:pt x="2550" y="1263"/>
                </a:cubicBezTo>
                <a:cubicBezTo>
                  <a:pt x="2551" y="1262"/>
                  <a:pt x="2559" y="1258"/>
                  <a:pt x="2559" y="1258"/>
                </a:cubicBezTo>
                <a:cubicBezTo>
                  <a:pt x="2559" y="1258"/>
                  <a:pt x="2564" y="1260"/>
                  <a:pt x="2566" y="1260"/>
                </a:cubicBezTo>
                <a:cubicBezTo>
                  <a:pt x="2568" y="1260"/>
                  <a:pt x="2570" y="1258"/>
                  <a:pt x="2571" y="1257"/>
                </a:cubicBezTo>
                <a:cubicBezTo>
                  <a:pt x="2573" y="1257"/>
                  <a:pt x="2577" y="1260"/>
                  <a:pt x="2580" y="1259"/>
                </a:cubicBezTo>
                <a:cubicBezTo>
                  <a:pt x="2583" y="1259"/>
                  <a:pt x="2583" y="1255"/>
                  <a:pt x="2583" y="1255"/>
                </a:cubicBezTo>
                <a:cubicBezTo>
                  <a:pt x="2583" y="1255"/>
                  <a:pt x="2585" y="1254"/>
                  <a:pt x="2586" y="1254"/>
                </a:cubicBezTo>
                <a:cubicBezTo>
                  <a:pt x="2587" y="1253"/>
                  <a:pt x="2588" y="1247"/>
                  <a:pt x="2591" y="1245"/>
                </a:cubicBezTo>
                <a:cubicBezTo>
                  <a:pt x="2594" y="1242"/>
                  <a:pt x="2601" y="1244"/>
                  <a:pt x="2603" y="1243"/>
                </a:cubicBezTo>
                <a:cubicBezTo>
                  <a:pt x="2605" y="1243"/>
                  <a:pt x="2612" y="1239"/>
                  <a:pt x="2615" y="1238"/>
                </a:cubicBezTo>
                <a:cubicBezTo>
                  <a:pt x="2619" y="1238"/>
                  <a:pt x="2619" y="1239"/>
                  <a:pt x="2623" y="1240"/>
                </a:cubicBezTo>
                <a:cubicBezTo>
                  <a:pt x="2627" y="1241"/>
                  <a:pt x="2637" y="1234"/>
                  <a:pt x="2641" y="1233"/>
                </a:cubicBezTo>
                <a:cubicBezTo>
                  <a:pt x="2645" y="1231"/>
                  <a:pt x="2662" y="1230"/>
                  <a:pt x="2662" y="1230"/>
                </a:cubicBezTo>
                <a:cubicBezTo>
                  <a:pt x="2664" y="1229"/>
                  <a:pt x="2664" y="1229"/>
                  <a:pt x="2664" y="1229"/>
                </a:cubicBezTo>
                <a:cubicBezTo>
                  <a:pt x="2664" y="1229"/>
                  <a:pt x="2670" y="1234"/>
                  <a:pt x="2673" y="1235"/>
                </a:cubicBezTo>
                <a:cubicBezTo>
                  <a:pt x="2677" y="1237"/>
                  <a:pt x="2678" y="1235"/>
                  <a:pt x="2678" y="1235"/>
                </a:cubicBezTo>
                <a:cubicBezTo>
                  <a:pt x="2678" y="1235"/>
                  <a:pt x="2679" y="1238"/>
                  <a:pt x="2681" y="1239"/>
                </a:cubicBezTo>
                <a:cubicBezTo>
                  <a:pt x="2682" y="1240"/>
                  <a:pt x="2683" y="1238"/>
                  <a:pt x="2683" y="1238"/>
                </a:cubicBezTo>
                <a:cubicBezTo>
                  <a:pt x="2684" y="1241"/>
                  <a:pt x="2684" y="1241"/>
                  <a:pt x="2684" y="1241"/>
                </a:cubicBezTo>
                <a:cubicBezTo>
                  <a:pt x="2684" y="1241"/>
                  <a:pt x="2687" y="1241"/>
                  <a:pt x="2687" y="1243"/>
                </a:cubicBezTo>
                <a:cubicBezTo>
                  <a:pt x="2687" y="1245"/>
                  <a:pt x="2683" y="1250"/>
                  <a:pt x="2683" y="1250"/>
                </a:cubicBezTo>
                <a:cubicBezTo>
                  <a:pt x="2686" y="1254"/>
                  <a:pt x="2686" y="1254"/>
                  <a:pt x="2686" y="1254"/>
                </a:cubicBezTo>
                <a:cubicBezTo>
                  <a:pt x="2688" y="1252"/>
                  <a:pt x="2688" y="1252"/>
                  <a:pt x="2688" y="1252"/>
                </a:cubicBezTo>
                <a:cubicBezTo>
                  <a:pt x="2690" y="1257"/>
                  <a:pt x="2690" y="1257"/>
                  <a:pt x="2690" y="1257"/>
                </a:cubicBezTo>
                <a:cubicBezTo>
                  <a:pt x="2690" y="1257"/>
                  <a:pt x="2692" y="1263"/>
                  <a:pt x="2693" y="1265"/>
                </a:cubicBezTo>
                <a:cubicBezTo>
                  <a:pt x="2693" y="1266"/>
                  <a:pt x="2687" y="1265"/>
                  <a:pt x="2687" y="1265"/>
                </a:cubicBezTo>
                <a:cubicBezTo>
                  <a:pt x="2688" y="1270"/>
                  <a:pt x="2688" y="1270"/>
                  <a:pt x="2688" y="1270"/>
                </a:cubicBezTo>
                <a:cubicBezTo>
                  <a:pt x="2688" y="1270"/>
                  <a:pt x="2690" y="1270"/>
                  <a:pt x="2692" y="1270"/>
                </a:cubicBezTo>
                <a:cubicBezTo>
                  <a:pt x="2694" y="1270"/>
                  <a:pt x="2694" y="1272"/>
                  <a:pt x="2694" y="1272"/>
                </a:cubicBezTo>
                <a:cubicBezTo>
                  <a:pt x="2697" y="1271"/>
                  <a:pt x="2697" y="1271"/>
                  <a:pt x="2697" y="1271"/>
                </a:cubicBezTo>
                <a:cubicBezTo>
                  <a:pt x="2697" y="1271"/>
                  <a:pt x="2696" y="1268"/>
                  <a:pt x="2696" y="1266"/>
                </a:cubicBezTo>
                <a:cubicBezTo>
                  <a:pt x="2696" y="1263"/>
                  <a:pt x="2700" y="1261"/>
                  <a:pt x="2702" y="1261"/>
                </a:cubicBezTo>
                <a:cubicBezTo>
                  <a:pt x="2705" y="1260"/>
                  <a:pt x="2710" y="1253"/>
                  <a:pt x="2710" y="1253"/>
                </a:cubicBezTo>
                <a:cubicBezTo>
                  <a:pt x="2713" y="1253"/>
                  <a:pt x="2713" y="1253"/>
                  <a:pt x="2713" y="1253"/>
                </a:cubicBezTo>
                <a:cubicBezTo>
                  <a:pt x="2716" y="1246"/>
                  <a:pt x="2716" y="1246"/>
                  <a:pt x="2716" y="1246"/>
                </a:cubicBezTo>
                <a:cubicBezTo>
                  <a:pt x="2716" y="1246"/>
                  <a:pt x="2720" y="1246"/>
                  <a:pt x="2721" y="1246"/>
                </a:cubicBezTo>
                <a:cubicBezTo>
                  <a:pt x="2723" y="1245"/>
                  <a:pt x="2724" y="1239"/>
                  <a:pt x="2724" y="1239"/>
                </a:cubicBezTo>
                <a:cubicBezTo>
                  <a:pt x="2724" y="1239"/>
                  <a:pt x="2725" y="1244"/>
                  <a:pt x="2725" y="1246"/>
                </a:cubicBezTo>
                <a:cubicBezTo>
                  <a:pt x="2726" y="1247"/>
                  <a:pt x="2720" y="1250"/>
                  <a:pt x="2720" y="1250"/>
                </a:cubicBezTo>
                <a:cubicBezTo>
                  <a:pt x="2717" y="1250"/>
                  <a:pt x="2717" y="1250"/>
                  <a:pt x="2717" y="1250"/>
                </a:cubicBezTo>
                <a:cubicBezTo>
                  <a:pt x="2716" y="1252"/>
                  <a:pt x="2716" y="1252"/>
                  <a:pt x="2716" y="1252"/>
                </a:cubicBezTo>
                <a:cubicBezTo>
                  <a:pt x="2719" y="1257"/>
                  <a:pt x="2719" y="1257"/>
                  <a:pt x="2719" y="1257"/>
                </a:cubicBezTo>
                <a:cubicBezTo>
                  <a:pt x="2719" y="1257"/>
                  <a:pt x="2717" y="1257"/>
                  <a:pt x="2715" y="1258"/>
                </a:cubicBezTo>
                <a:cubicBezTo>
                  <a:pt x="2714" y="1259"/>
                  <a:pt x="2710" y="1264"/>
                  <a:pt x="2710" y="1264"/>
                </a:cubicBezTo>
                <a:cubicBezTo>
                  <a:pt x="2710" y="1264"/>
                  <a:pt x="2709" y="1268"/>
                  <a:pt x="2707" y="1269"/>
                </a:cubicBezTo>
                <a:cubicBezTo>
                  <a:pt x="2706" y="1270"/>
                  <a:pt x="2701" y="1272"/>
                  <a:pt x="2702" y="1273"/>
                </a:cubicBezTo>
                <a:cubicBezTo>
                  <a:pt x="2704" y="1275"/>
                  <a:pt x="2710" y="1273"/>
                  <a:pt x="2711" y="1272"/>
                </a:cubicBezTo>
                <a:cubicBezTo>
                  <a:pt x="2713" y="1271"/>
                  <a:pt x="2713" y="1268"/>
                  <a:pt x="2715" y="1266"/>
                </a:cubicBezTo>
                <a:cubicBezTo>
                  <a:pt x="2716" y="1264"/>
                  <a:pt x="2719" y="1262"/>
                  <a:pt x="2719" y="1262"/>
                </a:cubicBezTo>
                <a:cubicBezTo>
                  <a:pt x="2719" y="1262"/>
                  <a:pt x="2720" y="1268"/>
                  <a:pt x="2720" y="1269"/>
                </a:cubicBezTo>
                <a:cubicBezTo>
                  <a:pt x="2720" y="1270"/>
                  <a:pt x="2718" y="1272"/>
                  <a:pt x="2716" y="1273"/>
                </a:cubicBezTo>
                <a:cubicBezTo>
                  <a:pt x="2714" y="1274"/>
                  <a:pt x="2714" y="1276"/>
                  <a:pt x="2715" y="1277"/>
                </a:cubicBezTo>
                <a:cubicBezTo>
                  <a:pt x="2717" y="1278"/>
                  <a:pt x="2723" y="1278"/>
                  <a:pt x="2723" y="1278"/>
                </a:cubicBezTo>
                <a:cubicBezTo>
                  <a:pt x="2724" y="1280"/>
                  <a:pt x="2724" y="1280"/>
                  <a:pt x="2724" y="1280"/>
                </a:cubicBezTo>
                <a:cubicBezTo>
                  <a:pt x="2721" y="1283"/>
                  <a:pt x="2721" y="1283"/>
                  <a:pt x="2721" y="1283"/>
                </a:cubicBezTo>
                <a:cubicBezTo>
                  <a:pt x="2721" y="1283"/>
                  <a:pt x="2724" y="1289"/>
                  <a:pt x="2725" y="1291"/>
                </a:cubicBezTo>
                <a:cubicBezTo>
                  <a:pt x="2725" y="1293"/>
                  <a:pt x="2720" y="1296"/>
                  <a:pt x="2719" y="1299"/>
                </a:cubicBezTo>
                <a:cubicBezTo>
                  <a:pt x="2716" y="1301"/>
                  <a:pt x="2723" y="1306"/>
                  <a:pt x="2725" y="1306"/>
                </a:cubicBezTo>
                <a:cubicBezTo>
                  <a:pt x="2726" y="1307"/>
                  <a:pt x="2729" y="1311"/>
                  <a:pt x="2732" y="1312"/>
                </a:cubicBezTo>
                <a:cubicBezTo>
                  <a:pt x="2735" y="1313"/>
                  <a:pt x="2738" y="1311"/>
                  <a:pt x="2741" y="1312"/>
                </a:cubicBezTo>
                <a:cubicBezTo>
                  <a:pt x="2743" y="1313"/>
                  <a:pt x="2744" y="1316"/>
                  <a:pt x="2748" y="1317"/>
                </a:cubicBezTo>
                <a:cubicBezTo>
                  <a:pt x="2752" y="1318"/>
                  <a:pt x="2762" y="1311"/>
                  <a:pt x="2762" y="1311"/>
                </a:cubicBezTo>
                <a:cubicBezTo>
                  <a:pt x="2762" y="1311"/>
                  <a:pt x="2761" y="1308"/>
                  <a:pt x="2764" y="1306"/>
                </a:cubicBezTo>
                <a:cubicBezTo>
                  <a:pt x="2767" y="1304"/>
                  <a:pt x="2767" y="1311"/>
                  <a:pt x="2767" y="1311"/>
                </a:cubicBezTo>
                <a:cubicBezTo>
                  <a:pt x="2769" y="1311"/>
                  <a:pt x="2769" y="1311"/>
                  <a:pt x="2769" y="1311"/>
                </a:cubicBezTo>
                <a:cubicBezTo>
                  <a:pt x="2767" y="1315"/>
                  <a:pt x="2767" y="1315"/>
                  <a:pt x="2767" y="1315"/>
                </a:cubicBezTo>
                <a:cubicBezTo>
                  <a:pt x="2770" y="1315"/>
                  <a:pt x="2770" y="1315"/>
                  <a:pt x="2770" y="1315"/>
                </a:cubicBezTo>
                <a:cubicBezTo>
                  <a:pt x="2770" y="1315"/>
                  <a:pt x="2770" y="1317"/>
                  <a:pt x="2771" y="1319"/>
                </a:cubicBezTo>
                <a:cubicBezTo>
                  <a:pt x="2773" y="1321"/>
                  <a:pt x="2774" y="1320"/>
                  <a:pt x="2774" y="1320"/>
                </a:cubicBezTo>
                <a:cubicBezTo>
                  <a:pt x="2775" y="1318"/>
                  <a:pt x="2775" y="1318"/>
                  <a:pt x="2775" y="1318"/>
                </a:cubicBezTo>
                <a:cubicBezTo>
                  <a:pt x="2775" y="1318"/>
                  <a:pt x="2779" y="1317"/>
                  <a:pt x="2781" y="1315"/>
                </a:cubicBezTo>
                <a:cubicBezTo>
                  <a:pt x="2784" y="1314"/>
                  <a:pt x="2793" y="1307"/>
                  <a:pt x="2793" y="1307"/>
                </a:cubicBezTo>
                <a:cubicBezTo>
                  <a:pt x="2792" y="1305"/>
                  <a:pt x="2792" y="1305"/>
                  <a:pt x="2792" y="1305"/>
                </a:cubicBezTo>
                <a:cubicBezTo>
                  <a:pt x="2797" y="1304"/>
                  <a:pt x="2797" y="1304"/>
                  <a:pt x="2797" y="1304"/>
                </a:cubicBezTo>
                <a:cubicBezTo>
                  <a:pt x="2799" y="1306"/>
                  <a:pt x="2799" y="1306"/>
                  <a:pt x="2799" y="1306"/>
                </a:cubicBezTo>
                <a:cubicBezTo>
                  <a:pt x="2799" y="1306"/>
                  <a:pt x="2807" y="1305"/>
                  <a:pt x="2812" y="1303"/>
                </a:cubicBezTo>
                <a:cubicBezTo>
                  <a:pt x="2816" y="1301"/>
                  <a:pt x="2817" y="1292"/>
                  <a:pt x="2817" y="1289"/>
                </a:cubicBezTo>
                <a:cubicBezTo>
                  <a:pt x="2818" y="1287"/>
                  <a:pt x="2824" y="1284"/>
                  <a:pt x="2824" y="1284"/>
                </a:cubicBezTo>
                <a:cubicBezTo>
                  <a:pt x="2824" y="1281"/>
                  <a:pt x="2824" y="1281"/>
                  <a:pt x="2824" y="1281"/>
                </a:cubicBezTo>
                <a:cubicBezTo>
                  <a:pt x="2824" y="1281"/>
                  <a:pt x="2827" y="1279"/>
                  <a:pt x="2828" y="1277"/>
                </a:cubicBezTo>
                <a:cubicBezTo>
                  <a:pt x="2830" y="1275"/>
                  <a:pt x="2832" y="1272"/>
                  <a:pt x="2832" y="1272"/>
                </a:cubicBezTo>
                <a:cubicBezTo>
                  <a:pt x="2832" y="1272"/>
                  <a:pt x="2833" y="1266"/>
                  <a:pt x="2834" y="1264"/>
                </a:cubicBezTo>
                <a:cubicBezTo>
                  <a:pt x="2836" y="1262"/>
                  <a:pt x="2843" y="1254"/>
                  <a:pt x="2846" y="1253"/>
                </a:cubicBezTo>
                <a:cubicBezTo>
                  <a:pt x="2848" y="1252"/>
                  <a:pt x="2848" y="1245"/>
                  <a:pt x="2848" y="1245"/>
                </a:cubicBezTo>
                <a:cubicBezTo>
                  <a:pt x="2848" y="1245"/>
                  <a:pt x="2853" y="1246"/>
                  <a:pt x="2855" y="1244"/>
                </a:cubicBezTo>
                <a:cubicBezTo>
                  <a:pt x="2857" y="1242"/>
                  <a:pt x="2867" y="1230"/>
                  <a:pt x="2867" y="1228"/>
                </a:cubicBezTo>
                <a:cubicBezTo>
                  <a:pt x="2868" y="1227"/>
                  <a:pt x="2868" y="1220"/>
                  <a:pt x="2870" y="1219"/>
                </a:cubicBezTo>
                <a:cubicBezTo>
                  <a:pt x="2872" y="1218"/>
                  <a:pt x="2881" y="1200"/>
                  <a:pt x="2883" y="1196"/>
                </a:cubicBezTo>
                <a:cubicBezTo>
                  <a:pt x="2885" y="1192"/>
                  <a:pt x="2883" y="1190"/>
                  <a:pt x="2882" y="1187"/>
                </a:cubicBezTo>
                <a:cubicBezTo>
                  <a:pt x="2882" y="1184"/>
                  <a:pt x="2884" y="1180"/>
                  <a:pt x="2886" y="1177"/>
                </a:cubicBezTo>
                <a:cubicBezTo>
                  <a:pt x="2888" y="1174"/>
                  <a:pt x="2886" y="1161"/>
                  <a:pt x="2886" y="1161"/>
                </a:cubicBezTo>
                <a:cubicBezTo>
                  <a:pt x="2882" y="1159"/>
                  <a:pt x="2882" y="1159"/>
                  <a:pt x="2882" y="1159"/>
                </a:cubicBezTo>
                <a:cubicBezTo>
                  <a:pt x="2882" y="1159"/>
                  <a:pt x="2882" y="1159"/>
                  <a:pt x="2882" y="1159"/>
                </a:cubicBezTo>
                <a:close/>
                <a:moveTo>
                  <a:pt x="2509" y="971"/>
                </a:moveTo>
                <a:cubicBezTo>
                  <a:pt x="2511" y="973"/>
                  <a:pt x="2518" y="974"/>
                  <a:pt x="2521" y="975"/>
                </a:cubicBezTo>
                <a:cubicBezTo>
                  <a:pt x="2524" y="975"/>
                  <a:pt x="2525" y="974"/>
                  <a:pt x="2530" y="975"/>
                </a:cubicBezTo>
                <a:cubicBezTo>
                  <a:pt x="2534" y="975"/>
                  <a:pt x="2538" y="981"/>
                  <a:pt x="2540" y="982"/>
                </a:cubicBezTo>
                <a:cubicBezTo>
                  <a:pt x="2542" y="983"/>
                  <a:pt x="2544" y="981"/>
                  <a:pt x="2544" y="981"/>
                </a:cubicBezTo>
                <a:cubicBezTo>
                  <a:pt x="2544" y="981"/>
                  <a:pt x="2547" y="983"/>
                  <a:pt x="2547" y="981"/>
                </a:cubicBezTo>
                <a:cubicBezTo>
                  <a:pt x="2547" y="979"/>
                  <a:pt x="2545" y="976"/>
                  <a:pt x="2545" y="976"/>
                </a:cubicBezTo>
                <a:cubicBezTo>
                  <a:pt x="2545" y="976"/>
                  <a:pt x="2547" y="975"/>
                  <a:pt x="2547" y="971"/>
                </a:cubicBezTo>
                <a:cubicBezTo>
                  <a:pt x="2547" y="967"/>
                  <a:pt x="2542" y="967"/>
                  <a:pt x="2539" y="966"/>
                </a:cubicBezTo>
                <a:cubicBezTo>
                  <a:pt x="2536" y="965"/>
                  <a:pt x="2536" y="972"/>
                  <a:pt x="2536" y="972"/>
                </a:cubicBezTo>
                <a:cubicBezTo>
                  <a:pt x="2531" y="968"/>
                  <a:pt x="2531" y="968"/>
                  <a:pt x="2531" y="968"/>
                </a:cubicBezTo>
                <a:cubicBezTo>
                  <a:pt x="2531" y="968"/>
                  <a:pt x="2532" y="965"/>
                  <a:pt x="2532" y="960"/>
                </a:cubicBezTo>
                <a:cubicBezTo>
                  <a:pt x="2532" y="955"/>
                  <a:pt x="2522" y="957"/>
                  <a:pt x="2522" y="957"/>
                </a:cubicBezTo>
                <a:cubicBezTo>
                  <a:pt x="2517" y="954"/>
                  <a:pt x="2517" y="954"/>
                  <a:pt x="2517" y="954"/>
                </a:cubicBezTo>
                <a:cubicBezTo>
                  <a:pt x="2517" y="951"/>
                  <a:pt x="2517" y="951"/>
                  <a:pt x="2517" y="951"/>
                </a:cubicBezTo>
                <a:cubicBezTo>
                  <a:pt x="2511" y="951"/>
                  <a:pt x="2511" y="951"/>
                  <a:pt x="2511" y="951"/>
                </a:cubicBezTo>
                <a:cubicBezTo>
                  <a:pt x="2511" y="951"/>
                  <a:pt x="2510" y="955"/>
                  <a:pt x="2510" y="956"/>
                </a:cubicBezTo>
                <a:cubicBezTo>
                  <a:pt x="2510" y="957"/>
                  <a:pt x="2503" y="955"/>
                  <a:pt x="2500" y="954"/>
                </a:cubicBezTo>
                <a:cubicBezTo>
                  <a:pt x="2496" y="953"/>
                  <a:pt x="2490" y="954"/>
                  <a:pt x="2490" y="954"/>
                </a:cubicBezTo>
                <a:cubicBezTo>
                  <a:pt x="2490" y="954"/>
                  <a:pt x="2487" y="949"/>
                  <a:pt x="2485" y="947"/>
                </a:cubicBezTo>
                <a:cubicBezTo>
                  <a:pt x="2483" y="945"/>
                  <a:pt x="2480" y="947"/>
                  <a:pt x="2480" y="947"/>
                </a:cubicBezTo>
                <a:cubicBezTo>
                  <a:pt x="2480" y="947"/>
                  <a:pt x="2475" y="944"/>
                  <a:pt x="2473" y="944"/>
                </a:cubicBezTo>
                <a:cubicBezTo>
                  <a:pt x="2472" y="944"/>
                  <a:pt x="2467" y="944"/>
                  <a:pt x="2467" y="944"/>
                </a:cubicBezTo>
                <a:cubicBezTo>
                  <a:pt x="2467" y="944"/>
                  <a:pt x="2464" y="942"/>
                  <a:pt x="2462" y="943"/>
                </a:cubicBezTo>
                <a:cubicBezTo>
                  <a:pt x="2459" y="944"/>
                  <a:pt x="2459" y="949"/>
                  <a:pt x="2457" y="950"/>
                </a:cubicBezTo>
                <a:cubicBezTo>
                  <a:pt x="2456" y="951"/>
                  <a:pt x="2453" y="952"/>
                  <a:pt x="2453" y="955"/>
                </a:cubicBezTo>
                <a:cubicBezTo>
                  <a:pt x="2458" y="954"/>
                  <a:pt x="2458" y="954"/>
                  <a:pt x="2458" y="954"/>
                </a:cubicBezTo>
                <a:cubicBezTo>
                  <a:pt x="2465" y="954"/>
                  <a:pt x="2465" y="954"/>
                  <a:pt x="2465" y="954"/>
                </a:cubicBezTo>
                <a:cubicBezTo>
                  <a:pt x="2465" y="954"/>
                  <a:pt x="2460" y="957"/>
                  <a:pt x="2462" y="959"/>
                </a:cubicBezTo>
                <a:cubicBezTo>
                  <a:pt x="2464" y="961"/>
                  <a:pt x="2471" y="958"/>
                  <a:pt x="2471" y="958"/>
                </a:cubicBezTo>
                <a:cubicBezTo>
                  <a:pt x="2471" y="958"/>
                  <a:pt x="2482" y="963"/>
                  <a:pt x="2485" y="964"/>
                </a:cubicBezTo>
                <a:cubicBezTo>
                  <a:pt x="2488" y="965"/>
                  <a:pt x="2498" y="965"/>
                  <a:pt x="2502" y="965"/>
                </a:cubicBezTo>
                <a:cubicBezTo>
                  <a:pt x="2506" y="965"/>
                  <a:pt x="2507" y="969"/>
                  <a:pt x="2509" y="971"/>
                </a:cubicBezTo>
                <a:close/>
                <a:moveTo>
                  <a:pt x="2697" y="1278"/>
                </a:moveTo>
                <a:cubicBezTo>
                  <a:pt x="2694" y="1278"/>
                  <a:pt x="2690" y="1279"/>
                  <a:pt x="2692" y="1281"/>
                </a:cubicBezTo>
                <a:cubicBezTo>
                  <a:pt x="2693" y="1282"/>
                  <a:pt x="2694" y="1283"/>
                  <a:pt x="2694" y="1283"/>
                </a:cubicBezTo>
                <a:cubicBezTo>
                  <a:pt x="2697" y="1283"/>
                  <a:pt x="2700" y="1282"/>
                  <a:pt x="2700" y="1282"/>
                </a:cubicBezTo>
                <a:cubicBezTo>
                  <a:pt x="2702" y="1282"/>
                  <a:pt x="2702" y="1282"/>
                  <a:pt x="2702" y="1282"/>
                </a:cubicBezTo>
                <a:cubicBezTo>
                  <a:pt x="2702" y="1281"/>
                  <a:pt x="2702" y="1281"/>
                  <a:pt x="2702" y="1281"/>
                </a:cubicBezTo>
                <a:cubicBezTo>
                  <a:pt x="2705" y="1281"/>
                  <a:pt x="2705" y="1281"/>
                  <a:pt x="2705" y="1281"/>
                </a:cubicBezTo>
                <a:cubicBezTo>
                  <a:pt x="2706" y="1280"/>
                  <a:pt x="2706" y="1280"/>
                  <a:pt x="2706" y="1280"/>
                </a:cubicBezTo>
                <a:cubicBezTo>
                  <a:pt x="2702" y="1279"/>
                  <a:pt x="2702" y="1279"/>
                  <a:pt x="2702" y="1279"/>
                </a:cubicBezTo>
                <a:cubicBezTo>
                  <a:pt x="2702" y="1279"/>
                  <a:pt x="2700" y="1278"/>
                  <a:pt x="2697" y="1278"/>
                </a:cubicBezTo>
                <a:close/>
                <a:moveTo>
                  <a:pt x="2403" y="904"/>
                </a:moveTo>
                <a:cubicBezTo>
                  <a:pt x="2405" y="904"/>
                  <a:pt x="2402" y="899"/>
                  <a:pt x="2400" y="900"/>
                </a:cubicBezTo>
                <a:cubicBezTo>
                  <a:pt x="2399" y="901"/>
                  <a:pt x="2401" y="904"/>
                  <a:pt x="2403" y="904"/>
                </a:cubicBezTo>
                <a:close/>
                <a:moveTo>
                  <a:pt x="2773" y="1337"/>
                </a:moveTo>
                <a:cubicBezTo>
                  <a:pt x="2773" y="1338"/>
                  <a:pt x="2778" y="1336"/>
                  <a:pt x="2776" y="1334"/>
                </a:cubicBezTo>
                <a:cubicBezTo>
                  <a:pt x="2774" y="1333"/>
                  <a:pt x="2773" y="1337"/>
                  <a:pt x="2773" y="1337"/>
                </a:cubicBezTo>
                <a:close/>
                <a:moveTo>
                  <a:pt x="2390" y="875"/>
                </a:moveTo>
                <a:cubicBezTo>
                  <a:pt x="2387" y="878"/>
                  <a:pt x="2387" y="878"/>
                  <a:pt x="2387" y="878"/>
                </a:cubicBezTo>
                <a:cubicBezTo>
                  <a:pt x="2389" y="882"/>
                  <a:pt x="2389" y="882"/>
                  <a:pt x="2389" y="882"/>
                </a:cubicBezTo>
                <a:cubicBezTo>
                  <a:pt x="2389" y="882"/>
                  <a:pt x="2387" y="886"/>
                  <a:pt x="2389" y="885"/>
                </a:cubicBezTo>
                <a:cubicBezTo>
                  <a:pt x="2390" y="884"/>
                  <a:pt x="2390" y="879"/>
                  <a:pt x="2390" y="879"/>
                </a:cubicBezTo>
                <a:cubicBezTo>
                  <a:pt x="2391" y="877"/>
                  <a:pt x="2391" y="877"/>
                  <a:pt x="2391" y="877"/>
                </a:cubicBezTo>
                <a:cubicBezTo>
                  <a:pt x="2390" y="875"/>
                  <a:pt x="2390" y="875"/>
                  <a:pt x="2390" y="875"/>
                </a:cubicBezTo>
                <a:cubicBezTo>
                  <a:pt x="2390" y="875"/>
                  <a:pt x="2390" y="875"/>
                  <a:pt x="2390" y="875"/>
                </a:cubicBezTo>
                <a:close/>
                <a:moveTo>
                  <a:pt x="2898" y="994"/>
                </a:moveTo>
                <a:cubicBezTo>
                  <a:pt x="2898" y="991"/>
                  <a:pt x="2898" y="991"/>
                  <a:pt x="2898" y="991"/>
                </a:cubicBezTo>
                <a:cubicBezTo>
                  <a:pt x="2893" y="988"/>
                  <a:pt x="2893" y="988"/>
                  <a:pt x="2893" y="988"/>
                </a:cubicBezTo>
                <a:cubicBezTo>
                  <a:pt x="2895" y="986"/>
                  <a:pt x="2895" y="986"/>
                  <a:pt x="2895" y="986"/>
                </a:cubicBezTo>
                <a:cubicBezTo>
                  <a:pt x="2895" y="986"/>
                  <a:pt x="2890" y="985"/>
                  <a:pt x="2889" y="984"/>
                </a:cubicBezTo>
                <a:cubicBezTo>
                  <a:pt x="2888" y="983"/>
                  <a:pt x="2889" y="980"/>
                  <a:pt x="2889" y="978"/>
                </a:cubicBezTo>
                <a:cubicBezTo>
                  <a:pt x="2889" y="976"/>
                  <a:pt x="2882" y="979"/>
                  <a:pt x="2882" y="979"/>
                </a:cubicBezTo>
                <a:cubicBezTo>
                  <a:pt x="2882" y="975"/>
                  <a:pt x="2882" y="975"/>
                  <a:pt x="2882" y="975"/>
                </a:cubicBezTo>
                <a:cubicBezTo>
                  <a:pt x="2879" y="973"/>
                  <a:pt x="2879" y="973"/>
                  <a:pt x="2879" y="973"/>
                </a:cubicBezTo>
                <a:cubicBezTo>
                  <a:pt x="2879" y="967"/>
                  <a:pt x="2879" y="967"/>
                  <a:pt x="2879" y="967"/>
                </a:cubicBezTo>
                <a:cubicBezTo>
                  <a:pt x="2871" y="962"/>
                  <a:pt x="2871" y="962"/>
                  <a:pt x="2871" y="962"/>
                </a:cubicBezTo>
                <a:cubicBezTo>
                  <a:pt x="2867" y="954"/>
                  <a:pt x="2867" y="954"/>
                  <a:pt x="2867" y="954"/>
                </a:cubicBezTo>
                <a:cubicBezTo>
                  <a:pt x="2867" y="954"/>
                  <a:pt x="2875" y="951"/>
                  <a:pt x="2875" y="948"/>
                </a:cubicBezTo>
                <a:cubicBezTo>
                  <a:pt x="2875" y="944"/>
                  <a:pt x="2868" y="943"/>
                  <a:pt x="2868" y="943"/>
                </a:cubicBezTo>
                <a:cubicBezTo>
                  <a:pt x="2868" y="942"/>
                  <a:pt x="2857" y="939"/>
                  <a:pt x="2857" y="939"/>
                </a:cubicBezTo>
                <a:cubicBezTo>
                  <a:pt x="2857" y="939"/>
                  <a:pt x="2857" y="936"/>
                  <a:pt x="2857" y="932"/>
                </a:cubicBezTo>
                <a:cubicBezTo>
                  <a:pt x="2858" y="928"/>
                  <a:pt x="2852" y="927"/>
                  <a:pt x="2852" y="927"/>
                </a:cubicBezTo>
                <a:cubicBezTo>
                  <a:pt x="2846" y="920"/>
                  <a:pt x="2846" y="920"/>
                  <a:pt x="2846" y="920"/>
                </a:cubicBezTo>
                <a:cubicBezTo>
                  <a:pt x="2840" y="920"/>
                  <a:pt x="2840" y="920"/>
                  <a:pt x="2840" y="920"/>
                </a:cubicBezTo>
                <a:cubicBezTo>
                  <a:pt x="2835" y="916"/>
                  <a:pt x="2835" y="916"/>
                  <a:pt x="2835" y="916"/>
                </a:cubicBezTo>
                <a:cubicBezTo>
                  <a:pt x="2831" y="915"/>
                  <a:pt x="2831" y="915"/>
                  <a:pt x="2831" y="915"/>
                </a:cubicBezTo>
                <a:cubicBezTo>
                  <a:pt x="2814" y="907"/>
                  <a:pt x="2814" y="907"/>
                  <a:pt x="2814" y="907"/>
                </a:cubicBezTo>
                <a:cubicBezTo>
                  <a:pt x="2811" y="908"/>
                  <a:pt x="2811" y="908"/>
                  <a:pt x="2811" y="908"/>
                </a:cubicBezTo>
                <a:cubicBezTo>
                  <a:pt x="2805" y="904"/>
                  <a:pt x="2805" y="904"/>
                  <a:pt x="2805" y="904"/>
                </a:cubicBezTo>
                <a:cubicBezTo>
                  <a:pt x="2805" y="904"/>
                  <a:pt x="2801" y="904"/>
                  <a:pt x="2799" y="904"/>
                </a:cubicBezTo>
                <a:cubicBezTo>
                  <a:pt x="2797" y="904"/>
                  <a:pt x="2783" y="895"/>
                  <a:pt x="2780" y="895"/>
                </a:cubicBezTo>
                <a:cubicBezTo>
                  <a:pt x="2777" y="894"/>
                  <a:pt x="2773" y="898"/>
                  <a:pt x="2773" y="898"/>
                </a:cubicBezTo>
                <a:cubicBezTo>
                  <a:pt x="2775" y="902"/>
                  <a:pt x="2775" y="902"/>
                  <a:pt x="2775" y="902"/>
                </a:cubicBezTo>
                <a:cubicBezTo>
                  <a:pt x="2764" y="903"/>
                  <a:pt x="2764" y="903"/>
                  <a:pt x="2764" y="903"/>
                </a:cubicBezTo>
                <a:cubicBezTo>
                  <a:pt x="2765" y="906"/>
                  <a:pt x="2765" y="906"/>
                  <a:pt x="2765" y="906"/>
                </a:cubicBezTo>
                <a:cubicBezTo>
                  <a:pt x="2765" y="906"/>
                  <a:pt x="2763" y="913"/>
                  <a:pt x="2755" y="914"/>
                </a:cubicBezTo>
                <a:cubicBezTo>
                  <a:pt x="2747" y="916"/>
                  <a:pt x="2749" y="906"/>
                  <a:pt x="2748" y="906"/>
                </a:cubicBezTo>
                <a:cubicBezTo>
                  <a:pt x="2747" y="906"/>
                  <a:pt x="2746" y="910"/>
                  <a:pt x="2746" y="910"/>
                </a:cubicBezTo>
                <a:cubicBezTo>
                  <a:pt x="2746" y="910"/>
                  <a:pt x="2744" y="907"/>
                  <a:pt x="2744" y="905"/>
                </a:cubicBezTo>
                <a:cubicBezTo>
                  <a:pt x="2744" y="903"/>
                  <a:pt x="2744" y="897"/>
                  <a:pt x="2744" y="894"/>
                </a:cubicBezTo>
                <a:cubicBezTo>
                  <a:pt x="2743" y="890"/>
                  <a:pt x="2741" y="886"/>
                  <a:pt x="2741" y="886"/>
                </a:cubicBezTo>
                <a:cubicBezTo>
                  <a:pt x="2735" y="886"/>
                  <a:pt x="2735" y="886"/>
                  <a:pt x="2735" y="886"/>
                </a:cubicBezTo>
                <a:cubicBezTo>
                  <a:pt x="2735" y="886"/>
                  <a:pt x="2731" y="881"/>
                  <a:pt x="2727" y="881"/>
                </a:cubicBezTo>
                <a:cubicBezTo>
                  <a:pt x="2724" y="881"/>
                  <a:pt x="2720" y="886"/>
                  <a:pt x="2720" y="886"/>
                </a:cubicBezTo>
                <a:cubicBezTo>
                  <a:pt x="2716" y="887"/>
                  <a:pt x="2716" y="887"/>
                  <a:pt x="2716" y="887"/>
                </a:cubicBezTo>
                <a:cubicBezTo>
                  <a:pt x="2715" y="890"/>
                  <a:pt x="2715" y="890"/>
                  <a:pt x="2715" y="890"/>
                </a:cubicBezTo>
                <a:cubicBezTo>
                  <a:pt x="2713" y="891"/>
                  <a:pt x="2713" y="891"/>
                  <a:pt x="2713" y="891"/>
                </a:cubicBezTo>
                <a:cubicBezTo>
                  <a:pt x="2713" y="889"/>
                  <a:pt x="2713" y="889"/>
                  <a:pt x="2713" y="889"/>
                </a:cubicBezTo>
                <a:cubicBezTo>
                  <a:pt x="2713" y="889"/>
                  <a:pt x="2711" y="887"/>
                  <a:pt x="2709" y="888"/>
                </a:cubicBezTo>
                <a:cubicBezTo>
                  <a:pt x="2709" y="888"/>
                  <a:pt x="2709" y="890"/>
                  <a:pt x="2711" y="893"/>
                </a:cubicBezTo>
                <a:cubicBezTo>
                  <a:pt x="2713" y="896"/>
                  <a:pt x="2717" y="894"/>
                  <a:pt x="2721" y="895"/>
                </a:cubicBezTo>
                <a:cubicBezTo>
                  <a:pt x="2724" y="896"/>
                  <a:pt x="2721" y="898"/>
                  <a:pt x="2723" y="901"/>
                </a:cubicBezTo>
                <a:cubicBezTo>
                  <a:pt x="2725" y="904"/>
                  <a:pt x="2731" y="902"/>
                  <a:pt x="2736" y="902"/>
                </a:cubicBezTo>
                <a:cubicBezTo>
                  <a:pt x="2740" y="902"/>
                  <a:pt x="2741" y="903"/>
                  <a:pt x="2741" y="905"/>
                </a:cubicBezTo>
                <a:cubicBezTo>
                  <a:pt x="2741" y="907"/>
                  <a:pt x="2735" y="905"/>
                  <a:pt x="2734" y="905"/>
                </a:cubicBezTo>
                <a:cubicBezTo>
                  <a:pt x="2732" y="906"/>
                  <a:pt x="2728" y="908"/>
                  <a:pt x="2728" y="908"/>
                </a:cubicBezTo>
                <a:cubicBezTo>
                  <a:pt x="2728" y="908"/>
                  <a:pt x="2722" y="908"/>
                  <a:pt x="2721" y="909"/>
                </a:cubicBezTo>
                <a:cubicBezTo>
                  <a:pt x="2720" y="911"/>
                  <a:pt x="2726" y="912"/>
                  <a:pt x="2727" y="913"/>
                </a:cubicBezTo>
                <a:cubicBezTo>
                  <a:pt x="2729" y="914"/>
                  <a:pt x="2731" y="917"/>
                  <a:pt x="2731" y="917"/>
                </a:cubicBezTo>
                <a:cubicBezTo>
                  <a:pt x="2731" y="917"/>
                  <a:pt x="2727" y="921"/>
                  <a:pt x="2729" y="924"/>
                </a:cubicBezTo>
                <a:cubicBezTo>
                  <a:pt x="2731" y="927"/>
                  <a:pt x="2735" y="919"/>
                  <a:pt x="2735" y="918"/>
                </a:cubicBezTo>
                <a:cubicBezTo>
                  <a:pt x="2735" y="918"/>
                  <a:pt x="2739" y="912"/>
                  <a:pt x="2739" y="912"/>
                </a:cubicBezTo>
                <a:cubicBezTo>
                  <a:pt x="2739" y="917"/>
                  <a:pt x="2739" y="917"/>
                  <a:pt x="2739" y="917"/>
                </a:cubicBezTo>
                <a:cubicBezTo>
                  <a:pt x="2739" y="917"/>
                  <a:pt x="2742" y="920"/>
                  <a:pt x="2744" y="921"/>
                </a:cubicBezTo>
                <a:cubicBezTo>
                  <a:pt x="2746" y="924"/>
                  <a:pt x="2750" y="922"/>
                  <a:pt x="2750" y="922"/>
                </a:cubicBezTo>
                <a:cubicBezTo>
                  <a:pt x="2748" y="924"/>
                  <a:pt x="2748" y="924"/>
                  <a:pt x="2748" y="924"/>
                </a:cubicBezTo>
                <a:cubicBezTo>
                  <a:pt x="2753" y="928"/>
                  <a:pt x="2753" y="928"/>
                  <a:pt x="2753" y="928"/>
                </a:cubicBezTo>
                <a:cubicBezTo>
                  <a:pt x="2761" y="928"/>
                  <a:pt x="2761" y="928"/>
                  <a:pt x="2761" y="928"/>
                </a:cubicBezTo>
                <a:cubicBezTo>
                  <a:pt x="2766" y="932"/>
                  <a:pt x="2766" y="932"/>
                  <a:pt x="2766" y="932"/>
                </a:cubicBezTo>
                <a:cubicBezTo>
                  <a:pt x="2766" y="932"/>
                  <a:pt x="2774" y="935"/>
                  <a:pt x="2779" y="938"/>
                </a:cubicBezTo>
                <a:cubicBezTo>
                  <a:pt x="2784" y="942"/>
                  <a:pt x="2783" y="943"/>
                  <a:pt x="2783" y="947"/>
                </a:cubicBezTo>
                <a:cubicBezTo>
                  <a:pt x="2784" y="951"/>
                  <a:pt x="2788" y="953"/>
                  <a:pt x="2788" y="953"/>
                </a:cubicBezTo>
                <a:cubicBezTo>
                  <a:pt x="2788" y="953"/>
                  <a:pt x="2785" y="954"/>
                  <a:pt x="2785" y="956"/>
                </a:cubicBezTo>
                <a:cubicBezTo>
                  <a:pt x="2785" y="957"/>
                  <a:pt x="2790" y="958"/>
                  <a:pt x="2790" y="958"/>
                </a:cubicBezTo>
                <a:cubicBezTo>
                  <a:pt x="2787" y="959"/>
                  <a:pt x="2787" y="959"/>
                  <a:pt x="2787" y="959"/>
                </a:cubicBezTo>
                <a:cubicBezTo>
                  <a:pt x="2787" y="961"/>
                  <a:pt x="2787" y="961"/>
                  <a:pt x="2787" y="961"/>
                </a:cubicBezTo>
                <a:cubicBezTo>
                  <a:pt x="2788" y="961"/>
                  <a:pt x="2788" y="961"/>
                  <a:pt x="2788" y="961"/>
                </a:cubicBezTo>
                <a:cubicBezTo>
                  <a:pt x="2789" y="966"/>
                  <a:pt x="2789" y="966"/>
                  <a:pt x="2789" y="966"/>
                </a:cubicBezTo>
                <a:cubicBezTo>
                  <a:pt x="2787" y="970"/>
                  <a:pt x="2787" y="970"/>
                  <a:pt x="2787" y="970"/>
                </a:cubicBezTo>
                <a:cubicBezTo>
                  <a:pt x="2788" y="970"/>
                  <a:pt x="2789" y="970"/>
                  <a:pt x="2790" y="970"/>
                </a:cubicBezTo>
                <a:cubicBezTo>
                  <a:pt x="2791" y="970"/>
                  <a:pt x="2798" y="967"/>
                  <a:pt x="2798" y="967"/>
                </a:cubicBezTo>
                <a:cubicBezTo>
                  <a:pt x="2798" y="971"/>
                  <a:pt x="2798" y="971"/>
                  <a:pt x="2798" y="971"/>
                </a:cubicBezTo>
                <a:cubicBezTo>
                  <a:pt x="2798" y="971"/>
                  <a:pt x="2804" y="978"/>
                  <a:pt x="2806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07" y="980"/>
                  <a:pt x="2807" y="980"/>
                  <a:pt x="2807" y="980"/>
                </a:cubicBezTo>
                <a:cubicBezTo>
                  <a:pt x="2811" y="981"/>
                  <a:pt x="2820" y="979"/>
                  <a:pt x="2820" y="979"/>
                </a:cubicBezTo>
                <a:cubicBezTo>
                  <a:pt x="2822" y="982"/>
                  <a:pt x="2822" y="982"/>
                  <a:pt x="2822" y="982"/>
                </a:cubicBezTo>
                <a:cubicBezTo>
                  <a:pt x="2822" y="982"/>
                  <a:pt x="2828" y="980"/>
                  <a:pt x="2830" y="978"/>
                </a:cubicBezTo>
                <a:cubicBezTo>
                  <a:pt x="2833" y="975"/>
                  <a:pt x="2819" y="969"/>
                  <a:pt x="2819" y="969"/>
                </a:cubicBezTo>
                <a:cubicBezTo>
                  <a:pt x="2819" y="969"/>
                  <a:pt x="2830" y="971"/>
                  <a:pt x="2833" y="970"/>
                </a:cubicBezTo>
                <a:cubicBezTo>
                  <a:pt x="2835" y="970"/>
                  <a:pt x="2831" y="965"/>
                  <a:pt x="2831" y="965"/>
                </a:cubicBezTo>
                <a:cubicBezTo>
                  <a:pt x="2831" y="965"/>
                  <a:pt x="2834" y="968"/>
                  <a:pt x="2835" y="967"/>
                </a:cubicBezTo>
                <a:cubicBezTo>
                  <a:pt x="2837" y="967"/>
                  <a:pt x="2834" y="962"/>
                  <a:pt x="2834" y="962"/>
                </a:cubicBezTo>
                <a:cubicBezTo>
                  <a:pt x="2834" y="962"/>
                  <a:pt x="2837" y="964"/>
                  <a:pt x="2838" y="964"/>
                </a:cubicBezTo>
                <a:cubicBezTo>
                  <a:pt x="2839" y="965"/>
                  <a:pt x="2841" y="962"/>
                  <a:pt x="2843" y="962"/>
                </a:cubicBezTo>
                <a:cubicBezTo>
                  <a:pt x="2844" y="961"/>
                  <a:pt x="2846" y="965"/>
                  <a:pt x="2848" y="966"/>
                </a:cubicBezTo>
                <a:cubicBezTo>
                  <a:pt x="2849" y="967"/>
                  <a:pt x="2854" y="966"/>
                  <a:pt x="2858" y="968"/>
                </a:cubicBezTo>
                <a:cubicBezTo>
                  <a:pt x="2862" y="970"/>
                  <a:pt x="2860" y="975"/>
                  <a:pt x="2862" y="978"/>
                </a:cubicBezTo>
                <a:cubicBezTo>
                  <a:pt x="2863" y="980"/>
                  <a:pt x="2866" y="979"/>
                  <a:pt x="2867" y="980"/>
                </a:cubicBezTo>
                <a:cubicBezTo>
                  <a:pt x="2868" y="981"/>
                  <a:pt x="2870" y="990"/>
                  <a:pt x="2873" y="992"/>
                </a:cubicBezTo>
                <a:cubicBezTo>
                  <a:pt x="2876" y="994"/>
                  <a:pt x="2889" y="993"/>
                  <a:pt x="2891" y="994"/>
                </a:cubicBezTo>
                <a:cubicBezTo>
                  <a:pt x="2893" y="994"/>
                  <a:pt x="2897" y="999"/>
                  <a:pt x="2900" y="999"/>
                </a:cubicBezTo>
                <a:cubicBezTo>
                  <a:pt x="2902" y="999"/>
                  <a:pt x="2898" y="994"/>
                  <a:pt x="2898" y="994"/>
                </a:cubicBezTo>
                <a:close/>
                <a:moveTo>
                  <a:pt x="2997" y="1342"/>
                </a:moveTo>
                <a:cubicBezTo>
                  <a:pt x="2995" y="1342"/>
                  <a:pt x="2995" y="1342"/>
                  <a:pt x="2995" y="1342"/>
                </a:cubicBezTo>
                <a:cubicBezTo>
                  <a:pt x="2996" y="1336"/>
                  <a:pt x="2996" y="1336"/>
                  <a:pt x="2996" y="1336"/>
                </a:cubicBezTo>
                <a:cubicBezTo>
                  <a:pt x="2992" y="1339"/>
                  <a:pt x="2992" y="1339"/>
                  <a:pt x="2992" y="1339"/>
                </a:cubicBezTo>
                <a:cubicBezTo>
                  <a:pt x="2992" y="1339"/>
                  <a:pt x="2995" y="1333"/>
                  <a:pt x="2993" y="1333"/>
                </a:cubicBezTo>
                <a:cubicBezTo>
                  <a:pt x="2990" y="1333"/>
                  <a:pt x="2988" y="1337"/>
                  <a:pt x="2988" y="1337"/>
                </a:cubicBezTo>
                <a:cubicBezTo>
                  <a:pt x="2986" y="1338"/>
                  <a:pt x="2986" y="1338"/>
                  <a:pt x="2986" y="1338"/>
                </a:cubicBezTo>
                <a:cubicBezTo>
                  <a:pt x="2986" y="1338"/>
                  <a:pt x="2983" y="1340"/>
                  <a:pt x="2982" y="1343"/>
                </a:cubicBezTo>
                <a:cubicBezTo>
                  <a:pt x="2980" y="1345"/>
                  <a:pt x="2975" y="1345"/>
                  <a:pt x="2972" y="1347"/>
                </a:cubicBezTo>
                <a:cubicBezTo>
                  <a:pt x="2969" y="1350"/>
                  <a:pt x="2968" y="1354"/>
                  <a:pt x="2968" y="1354"/>
                </a:cubicBezTo>
                <a:cubicBezTo>
                  <a:pt x="2968" y="1354"/>
                  <a:pt x="2958" y="1356"/>
                  <a:pt x="2955" y="1358"/>
                </a:cubicBezTo>
                <a:cubicBezTo>
                  <a:pt x="2952" y="1360"/>
                  <a:pt x="2947" y="1364"/>
                  <a:pt x="2947" y="1364"/>
                </a:cubicBezTo>
                <a:cubicBezTo>
                  <a:pt x="2947" y="1364"/>
                  <a:pt x="2942" y="1365"/>
                  <a:pt x="2938" y="1367"/>
                </a:cubicBezTo>
                <a:cubicBezTo>
                  <a:pt x="2935" y="1368"/>
                  <a:pt x="2933" y="1369"/>
                  <a:pt x="2930" y="1370"/>
                </a:cubicBezTo>
                <a:cubicBezTo>
                  <a:pt x="2926" y="1372"/>
                  <a:pt x="2920" y="1375"/>
                  <a:pt x="2917" y="1376"/>
                </a:cubicBezTo>
                <a:cubicBezTo>
                  <a:pt x="2915" y="1377"/>
                  <a:pt x="2916" y="1381"/>
                  <a:pt x="2916" y="1381"/>
                </a:cubicBezTo>
                <a:cubicBezTo>
                  <a:pt x="2914" y="1379"/>
                  <a:pt x="2914" y="1379"/>
                  <a:pt x="2914" y="1379"/>
                </a:cubicBezTo>
                <a:cubicBezTo>
                  <a:pt x="2914" y="1379"/>
                  <a:pt x="2907" y="1384"/>
                  <a:pt x="2904" y="1385"/>
                </a:cubicBezTo>
                <a:cubicBezTo>
                  <a:pt x="2902" y="1387"/>
                  <a:pt x="2901" y="1386"/>
                  <a:pt x="2897" y="1387"/>
                </a:cubicBezTo>
                <a:cubicBezTo>
                  <a:pt x="2894" y="1388"/>
                  <a:pt x="2893" y="1390"/>
                  <a:pt x="2893" y="1390"/>
                </a:cubicBezTo>
                <a:cubicBezTo>
                  <a:pt x="2893" y="1390"/>
                  <a:pt x="2897" y="1390"/>
                  <a:pt x="2896" y="1391"/>
                </a:cubicBezTo>
                <a:cubicBezTo>
                  <a:pt x="2896" y="1392"/>
                  <a:pt x="2894" y="1393"/>
                  <a:pt x="2895" y="1395"/>
                </a:cubicBezTo>
                <a:cubicBezTo>
                  <a:pt x="2896" y="1397"/>
                  <a:pt x="2901" y="1394"/>
                  <a:pt x="2901" y="1394"/>
                </a:cubicBezTo>
                <a:cubicBezTo>
                  <a:pt x="2902" y="1395"/>
                  <a:pt x="2902" y="1395"/>
                  <a:pt x="2902" y="1395"/>
                </a:cubicBezTo>
                <a:cubicBezTo>
                  <a:pt x="2906" y="1395"/>
                  <a:pt x="2906" y="1395"/>
                  <a:pt x="2906" y="1395"/>
                </a:cubicBezTo>
                <a:cubicBezTo>
                  <a:pt x="2906" y="1396"/>
                  <a:pt x="2906" y="1396"/>
                  <a:pt x="2906" y="1396"/>
                </a:cubicBezTo>
                <a:cubicBezTo>
                  <a:pt x="2911" y="1396"/>
                  <a:pt x="2911" y="1396"/>
                  <a:pt x="2911" y="1396"/>
                </a:cubicBezTo>
                <a:cubicBezTo>
                  <a:pt x="2913" y="1399"/>
                  <a:pt x="2913" y="1399"/>
                  <a:pt x="2913" y="1399"/>
                </a:cubicBezTo>
                <a:cubicBezTo>
                  <a:pt x="2917" y="1398"/>
                  <a:pt x="2917" y="1398"/>
                  <a:pt x="2917" y="1398"/>
                </a:cubicBezTo>
                <a:cubicBezTo>
                  <a:pt x="2917" y="1398"/>
                  <a:pt x="2921" y="1400"/>
                  <a:pt x="2924" y="1400"/>
                </a:cubicBezTo>
                <a:cubicBezTo>
                  <a:pt x="2928" y="1399"/>
                  <a:pt x="2929" y="1396"/>
                  <a:pt x="2931" y="1394"/>
                </a:cubicBezTo>
                <a:cubicBezTo>
                  <a:pt x="2933" y="1393"/>
                  <a:pt x="2934" y="1395"/>
                  <a:pt x="2938" y="1393"/>
                </a:cubicBezTo>
                <a:cubicBezTo>
                  <a:pt x="2941" y="1391"/>
                  <a:pt x="2939" y="1388"/>
                  <a:pt x="2941" y="1386"/>
                </a:cubicBezTo>
                <a:cubicBezTo>
                  <a:pt x="2943" y="1383"/>
                  <a:pt x="2946" y="1385"/>
                  <a:pt x="2948" y="1383"/>
                </a:cubicBezTo>
                <a:cubicBezTo>
                  <a:pt x="2950" y="1382"/>
                  <a:pt x="2948" y="1380"/>
                  <a:pt x="2948" y="1380"/>
                </a:cubicBezTo>
                <a:cubicBezTo>
                  <a:pt x="2951" y="1380"/>
                  <a:pt x="2951" y="1380"/>
                  <a:pt x="2951" y="1380"/>
                </a:cubicBezTo>
                <a:cubicBezTo>
                  <a:pt x="2959" y="1373"/>
                  <a:pt x="2959" y="1373"/>
                  <a:pt x="2959" y="1373"/>
                </a:cubicBezTo>
                <a:cubicBezTo>
                  <a:pt x="2957" y="1371"/>
                  <a:pt x="2957" y="1371"/>
                  <a:pt x="2957" y="1371"/>
                </a:cubicBezTo>
                <a:cubicBezTo>
                  <a:pt x="2962" y="1373"/>
                  <a:pt x="2962" y="1373"/>
                  <a:pt x="2962" y="1373"/>
                </a:cubicBezTo>
                <a:cubicBezTo>
                  <a:pt x="2962" y="1373"/>
                  <a:pt x="2962" y="1370"/>
                  <a:pt x="2964" y="1370"/>
                </a:cubicBezTo>
                <a:cubicBezTo>
                  <a:pt x="2966" y="1370"/>
                  <a:pt x="2968" y="1371"/>
                  <a:pt x="2970" y="1372"/>
                </a:cubicBezTo>
                <a:cubicBezTo>
                  <a:pt x="2973" y="1372"/>
                  <a:pt x="2974" y="1368"/>
                  <a:pt x="2974" y="1368"/>
                </a:cubicBezTo>
                <a:cubicBezTo>
                  <a:pt x="2972" y="1367"/>
                  <a:pt x="2972" y="1367"/>
                  <a:pt x="2972" y="1367"/>
                </a:cubicBezTo>
                <a:cubicBezTo>
                  <a:pt x="2975" y="1364"/>
                  <a:pt x="2975" y="1364"/>
                  <a:pt x="2975" y="1364"/>
                </a:cubicBezTo>
                <a:cubicBezTo>
                  <a:pt x="2978" y="1361"/>
                  <a:pt x="2978" y="1361"/>
                  <a:pt x="2978" y="1361"/>
                </a:cubicBezTo>
                <a:cubicBezTo>
                  <a:pt x="2978" y="1361"/>
                  <a:pt x="2980" y="1359"/>
                  <a:pt x="2983" y="1359"/>
                </a:cubicBezTo>
                <a:cubicBezTo>
                  <a:pt x="2985" y="1358"/>
                  <a:pt x="2986" y="1354"/>
                  <a:pt x="2986" y="1354"/>
                </a:cubicBezTo>
                <a:cubicBezTo>
                  <a:pt x="2986" y="1354"/>
                  <a:pt x="2988" y="1354"/>
                  <a:pt x="2990" y="1353"/>
                </a:cubicBezTo>
                <a:cubicBezTo>
                  <a:pt x="2993" y="1352"/>
                  <a:pt x="2995" y="1349"/>
                  <a:pt x="2995" y="1349"/>
                </a:cubicBezTo>
                <a:cubicBezTo>
                  <a:pt x="2995" y="1349"/>
                  <a:pt x="2999" y="1347"/>
                  <a:pt x="3001" y="1345"/>
                </a:cubicBezTo>
                <a:cubicBezTo>
                  <a:pt x="3003" y="1342"/>
                  <a:pt x="3001" y="1337"/>
                  <a:pt x="3001" y="1337"/>
                </a:cubicBezTo>
                <a:cubicBezTo>
                  <a:pt x="2997" y="1342"/>
                  <a:pt x="2997" y="1342"/>
                  <a:pt x="2997" y="1342"/>
                </a:cubicBezTo>
                <a:cubicBezTo>
                  <a:pt x="2997" y="1342"/>
                  <a:pt x="2997" y="1342"/>
                  <a:pt x="2997" y="1342"/>
                </a:cubicBezTo>
                <a:close/>
                <a:moveTo>
                  <a:pt x="2787" y="970"/>
                </a:moveTo>
                <a:cubicBezTo>
                  <a:pt x="2788" y="965"/>
                  <a:pt x="2788" y="965"/>
                  <a:pt x="2788" y="965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7" y="962"/>
                  <a:pt x="2787" y="962"/>
                </a:cubicBezTo>
                <a:cubicBezTo>
                  <a:pt x="2787" y="962"/>
                  <a:pt x="2785" y="960"/>
                  <a:pt x="2781" y="962"/>
                </a:cubicBezTo>
                <a:cubicBezTo>
                  <a:pt x="2776" y="964"/>
                  <a:pt x="2775" y="972"/>
                  <a:pt x="2775" y="972"/>
                </a:cubicBezTo>
                <a:cubicBezTo>
                  <a:pt x="2784" y="971"/>
                  <a:pt x="2784" y="971"/>
                  <a:pt x="2784" y="971"/>
                </a:cubicBezTo>
                <a:cubicBezTo>
                  <a:pt x="2784" y="971"/>
                  <a:pt x="2785" y="970"/>
                  <a:pt x="2787" y="970"/>
                </a:cubicBezTo>
                <a:close/>
                <a:moveTo>
                  <a:pt x="2392" y="888"/>
                </a:moveTo>
                <a:cubicBezTo>
                  <a:pt x="2390" y="891"/>
                  <a:pt x="2392" y="900"/>
                  <a:pt x="2396" y="899"/>
                </a:cubicBezTo>
                <a:cubicBezTo>
                  <a:pt x="2398" y="898"/>
                  <a:pt x="2395" y="886"/>
                  <a:pt x="2392" y="888"/>
                </a:cubicBezTo>
                <a:close/>
                <a:moveTo>
                  <a:pt x="2756" y="1031"/>
                </a:moveTo>
                <a:cubicBezTo>
                  <a:pt x="2755" y="1031"/>
                  <a:pt x="2754" y="1038"/>
                  <a:pt x="2754" y="1038"/>
                </a:cubicBezTo>
                <a:cubicBezTo>
                  <a:pt x="2756" y="1040"/>
                  <a:pt x="2761" y="1038"/>
                  <a:pt x="2761" y="1038"/>
                </a:cubicBezTo>
                <a:cubicBezTo>
                  <a:pt x="2760" y="1036"/>
                  <a:pt x="2760" y="1036"/>
                  <a:pt x="2760" y="1036"/>
                </a:cubicBezTo>
                <a:cubicBezTo>
                  <a:pt x="2761" y="1032"/>
                  <a:pt x="2761" y="1032"/>
                  <a:pt x="2761" y="1032"/>
                </a:cubicBezTo>
                <a:cubicBezTo>
                  <a:pt x="2761" y="1032"/>
                  <a:pt x="2757" y="1031"/>
                  <a:pt x="2756" y="1031"/>
                </a:cubicBezTo>
                <a:close/>
                <a:moveTo>
                  <a:pt x="2775" y="1331"/>
                </a:moveTo>
                <a:cubicBezTo>
                  <a:pt x="2772" y="1326"/>
                  <a:pt x="2772" y="1326"/>
                  <a:pt x="2772" y="1326"/>
                </a:cubicBezTo>
                <a:cubicBezTo>
                  <a:pt x="2772" y="1326"/>
                  <a:pt x="2770" y="1328"/>
                  <a:pt x="2770" y="1329"/>
                </a:cubicBezTo>
                <a:cubicBezTo>
                  <a:pt x="2770" y="1331"/>
                  <a:pt x="2770" y="1331"/>
                  <a:pt x="2772" y="1332"/>
                </a:cubicBezTo>
                <a:cubicBezTo>
                  <a:pt x="2774" y="1333"/>
                  <a:pt x="2775" y="1331"/>
                  <a:pt x="2775" y="1331"/>
                </a:cubicBezTo>
                <a:close/>
                <a:moveTo>
                  <a:pt x="1371" y="240"/>
                </a:moveTo>
                <a:cubicBezTo>
                  <a:pt x="1370" y="238"/>
                  <a:pt x="1370" y="238"/>
                  <a:pt x="1370" y="238"/>
                </a:cubicBezTo>
                <a:cubicBezTo>
                  <a:pt x="1368" y="243"/>
                  <a:pt x="1368" y="243"/>
                  <a:pt x="1368" y="243"/>
                </a:cubicBezTo>
                <a:cubicBezTo>
                  <a:pt x="1371" y="240"/>
                  <a:pt x="1371" y="240"/>
                  <a:pt x="1371" y="240"/>
                </a:cubicBezTo>
                <a:cubicBezTo>
                  <a:pt x="1371" y="240"/>
                  <a:pt x="1371" y="240"/>
                  <a:pt x="1371" y="240"/>
                </a:cubicBezTo>
                <a:close/>
                <a:moveTo>
                  <a:pt x="1382" y="256"/>
                </a:moveTo>
                <a:cubicBezTo>
                  <a:pt x="1381" y="256"/>
                  <a:pt x="1381" y="257"/>
                  <a:pt x="1380" y="261"/>
                </a:cubicBezTo>
                <a:cubicBezTo>
                  <a:pt x="1380" y="263"/>
                  <a:pt x="1384" y="256"/>
                  <a:pt x="1382" y="256"/>
                </a:cubicBezTo>
                <a:close/>
                <a:moveTo>
                  <a:pt x="1378" y="236"/>
                </a:moveTo>
                <a:cubicBezTo>
                  <a:pt x="1376" y="236"/>
                  <a:pt x="1377" y="238"/>
                  <a:pt x="1377" y="238"/>
                </a:cubicBezTo>
                <a:cubicBezTo>
                  <a:pt x="1377" y="238"/>
                  <a:pt x="1376" y="237"/>
                  <a:pt x="1375" y="238"/>
                </a:cubicBezTo>
                <a:cubicBezTo>
                  <a:pt x="1374" y="239"/>
                  <a:pt x="1377" y="240"/>
                  <a:pt x="1377" y="241"/>
                </a:cubicBezTo>
                <a:cubicBezTo>
                  <a:pt x="1378" y="242"/>
                  <a:pt x="1381" y="241"/>
                  <a:pt x="1381" y="241"/>
                </a:cubicBezTo>
                <a:cubicBezTo>
                  <a:pt x="1379" y="239"/>
                  <a:pt x="1379" y="239"/>
                  <a:pt x="1379" y="239"/>
                </a:cubicBezTo>
                <a:cubicBezTo>
                  <a:pt x="1379" y="239"/>
                  <a:pt x="1380" y="236"/>
                  <a:pt x="1378" y="236"/>
                </a:cubicBezTo>
                <a:close/>
                <a:moveTo>
                  <a:pt x="1386" y="259"/>
                </a:moveTo>
                <a:cubicBezTo>
                  <a:pt x="1388" y="258"/>
                  <a:pt x="1386" y="255"/>
                  <a:pt x="1385" y="257"/>
                </a:cubicBezTo>
                <a:cubicBezTo>
                  <a:pt x="1383" y="258"/>
                  <a:pt x="1385" y="260"/>
                  <a:pt x="1386" y="259"/>
                </a:cubicBezTo>
                <a:close/>
                <a:moveTo>
                  <a:pt x="1391" y="271"/>
                </a:moveTo>
                <a:cubicBezTo>
                  <a:pt x="1390" y="267"/>
                  <a:pt x="1389" y="272"/>
                  <a:pt x="1387" y="273"/>
                </a:cubicBezTo>
                <a:cubicBezTo>
                  <a:pt x="1387" y="273"/>
                  <a:pt x="1392" y="274"/>
                  <a:pt x="1391" y="271"/>
                </a:cubicBezTo>
                <a:close/>
                <a:moveTo>
                  <a:pt x="1376" y="230"/>
                </a:moveTo>
                <a:cubicBezTo>
                  <a:pt x="1376" y="230"/>
                  <a:pt x="1374" y="229"/>
                  <a:pt x="1373" y="229"/>
                </a:cubicBezTo>
                <a:cubicBezTo>
                  <a:pt x="1372" y="230"/>
                  <a:pt x="1373" y="235"/>
                  <a:pt x="1373" y="235"/>
                </a:cubicBezTo>
                <a:cubicBezTo>
                  <a:pt x="1375" y="233"/>
                  <a:pt x="1375" y="233"/>
                  <a:pt x="1375" y="233"/>
                </a:cubicBezTo>
                <a:cubicBezTo>
                  <a:pt x="1375" y="233"/>
                  <a:pt x="1376" y="233"/>
                  <a:pt x="1377" y="233"/>
                </a:cubicBezTo>
                <a:cubicBezTo>
                  <a:pt x="1379" y="233"/>
                  <a:pt x="1380" y="227"/>
                  <a:pt x="1380" y="227"/>
                </a:cubicBezTo>
                <a:cubicBezTo>
                  <a:pt x="1380" y="227"/>
                  <a:pt x="1379" y="227"/>
                  <a:pt x="1377" y="228"/>
                </a:cubicBezTo>
                <a:cubicBezTo>
                  <a:pt x="1376" y="229"/>
                  <a:pt x="1376" y="230"/>
                  <a:pt x="1376" y="230"/>
                </a:cubicBezTo>
                <a:close/>
                <a:moveTo>
                  <a:pt x="1333" y="156"/>
                </a:moveTo>
                <a:cubicBezTo>
                  <a:pt x="1330" y="154"/>
                  <a:pt x="1327" y="156"/>
                  <a:pt x="1327" y="156"/>
                </a:cubicBezTo>
                <a:cubicBezTo>
                  <a:pt x="1328" y="154"/>
                  <a:pt x="1328" y="154"/>
                  <a:pt x="1328" y="154"/>
                </a:cubicBezTo>
                <a:cubicBezTo>
                  <a:pt x="1324" y="154"/>
                  <a:pt x="1324" y="154"/>
                  <a:pt x="1324" y="154"/>
                </a:cubicBezTo>
                <a:cubicBezTo>
                  <a:pt x="1326" y="151"/>
                  <a:pt x="1326" y="151"/>
                  <a:pt x="1326" y="151"/>
                </a:cubicBezTo>
                <a:cubicBezTo>
                  <a:pt x="1324" y="150"/>
                  <a:pt x="1324" y="150"/>
                  <a:pt x="1324" y="150"/>
                </a:cubicBezTo>
                <a:cubicBezTo>
                  <a:pt x="1325" y="148"/>
                  <a:pt x="1325" y="148"/>
                  <a:pt x="1325" y="148"/>
                </a:cubicBezTo>
                <a:cubicBezTo>
                  <a:pt x="1321" y="149"/>
                  <a:pt x="1321" y="149"/>
                  <a:pt x="1321" y="149"/>
                </a:cubicBezTo>
                <a:cubicBezTo>
                  <a:pt x="1321" y="149"/>
                  <a:pt x="1316" y="145"/>
                  <a:pt x="1315" y="145"/>
                </a:cubicBezTo>
                <a:cubicBezTo>
                  <a:pt x="1313" y="145"/>
                  <a:pt x="1314" y="149"/>
                  <a:pt x="1314" y="149"/>
                </a:cubicBezTo>
                <a:cubicBezTo>
                  <a:pt x="1311" y="150"/>
                  <a:pt x="1311" y="150"/>
                  <a:pt x="1311" y="150"/>
                </a:cubicBezTo>
                <a:cubicBezTo>
                  <a:pt x="1311" y="150"/>
                  <a:pt x="1309" y="149"/>
                  <a:pt x="1308" y="149"/>
                </a:cubicBezTo>
                <a:cubicBezTo>
                  <a:pt x="1306" y="149"/>
                  <a:pt x="1305" y="151"/>
                  <a:pt x="1305" y="151"/>
                </a:cubicBezTo>
                <a:cubicBezTo>
                  <a:pt x="1305" y="151"/>
                  <a:pt x="1302" y="149"/>
                  <a:pt x="1300" y="149"/>
                </a:cubicBezTo>
                <a:cubicBezTo>
                  <a:pt x="1299" y="150"/>
                  <a:pt x="1300" y="154"/>
                  <a:pt x="1300" y="154"/>
                </a:cubicBezTo>
                <a:cubicBezTo>
                  <a:pt x="1300" y="154"/>
                  <a:pt x="1296" y="149"/>
                  <a:pt x="1295" y="149"/>
                </a:cubicBezTo>
                <a:cubicBezTo>
                  <a:pt x="1293" y="149"/>
                  <a:pt x="1294" y="150"/>
                  <a:pt x="1294" y="150"/>
                </a:cubicBezTo>
                <a:cubicBezTo>
                  <a:pt x="1294" y="150"/>
                  <a:pt x="1291" y="150"/>
                  <a:pt x="1291" y="151"/>
                </a:cubicBezTo>
                <a:cubicBezTo>
                  <a:pt x="1291" y="151"/>
                  <a:pt x="1291" y="153"/>
                  <a:pt x="1291" y="153"/>
                </a:cubicBezTo>
                <a:cubicBezTo>
                  <a:pt x="1289" y="153"/>
                  <a:pt x="1289" y="153"/>
                  <a:pt x="1289" y="153"/>
                </a:cubicBezTo>
                <a:cubicBezTo>
                  <a:pt x="1289" y="153"/>
                  <a:pt x="1285" y="149"/>
                  <a:pt x="1284" y="150"/>
                </a:cubicBezTo>
                <a:cubicBezTo>
                  <a:pt x="1283" y="151"/>
                  <a:pt x="1284" y="156"/>
                  <a:pt x="1283" y="156"/>
                </a:cubicBezTo>
                <a:cubicBezTo>
                  <a:pt x="1282" y="156"/>
                  <a:pt x="1281" y="154"/>
                  <a:pt x="1280" y="154"/>
                </a:cubicBezTo>
                <a:cubicBezTo>
                  <a:pt x="1279" y="154"/>
                  <a:pt x="1276" y="158"/>
                  <a:pt x="1276" y="158"/>
                </a:cubicBezTo>
                <a:cubicBezTo>
                  <a:pt x="1276" y="157"/>
                  <a:pt x="1276" y="157"/>
                  <a:pt x="1276" y="157"/>
                </a:cubicBezTo>
                <a:cubicBezTo>
                  <a:pt x="1274" y="154"/>
                  <a:pt x="1274" y="154"/>
                  <a:pt x="1274" y="154"/>
                </a:cubicBezTo>
                <a:cubicBezTo>
                  <a:pt x="1274" y="154"/>
                  <a:pt x="1277" y="153"/>
                  <a:pt x="1276" y="151"/>
                </a:cubicBezTo>
                <a:cubicBezTo>
                  <a:pt x="1275" y="149"/>
                  <a:pt x="1268" y="146"/>
                  <a:pt x="1267" y="147"/>
                </a:cubicBezTo>
                <a:cubicBezTo>
                  <a:pt x="1266" y="148"/>
                  <a:pt x="1267" y="151"/>
                  <a:pt x="1267" y="151"/>
                </a:cubicBezTo>
                <a:cubicBezTo>
                  <a:pt x="1267" y="151"/>
                  <a:pt x="1263" y="149"/>
                  <a:pt x="1262" y="149"/>
                </a:cubicBezTo>
                <a:cubicBezTo>
                  <a:pt x="1261" y="149"/>
                  <a:pt x="1258" y="152"/>
                  <a:pt x="1258" y="152"/>
                </a:cubicBezTo>
                <a:cubicBezTo>
                  <a:pt x="1260" y="153"/>
                  <a:pt x="1260" y="153"/>
                  <a:pt x="1260" y="153"/>
                </a:cubicBezTo>
                <a:cubicBezTo>
                  <a:pt x="1260" y="153"/>
                  <a:pt x="1258" y="153"/>
                  <a:pt x="1256" y="154"/>
                </a:cubicBezTo>
                <a:cubicBezTo>
                  <a:pt x="1255" y="155"/>
                  <a:pt x="1254" y="155"/>
                  <a:pt x="1254" y="155"/>
                </a:cubicBezTo>
                <a:cubicBezTo>
                  <a:pt x="1254" y="155"/>
                  <a:pt x="1255" y="157"/>
                  <a:pt x="1257" y="157"/>
                </a:cubicBezTo>
                <a:cubicBezTo>
                  <a:pt x="1259" y="157"/>
                  <a:pt x="1264" y="154"/>
                  <a:pt x="1264" y="154"/>
                </a:cubicBezTo>
                <a:cubicBezTo>
                  <a:pt x="1272" y="156"/>
                  <a:pt x="1272" y="156"/>
                  <a:pt x="1272" y="156"/>
                </a:cubicBezTo>
                <a:cubicBezTo>
                  <a:pt x="1266" y="158"/>
                  <a:pt x="1266" y="158"/>
                  <a:pt x="1266" y="158"/>
                </a:cubicBezTo>
                <a:cubicBezTo>
                  <a:pt x="1266" y="158"/>
                  <a:pt x="1270" y="159"/>
                  <a:pt x="1270" y="160"/>
                </a:cubicBezTo>
                <a:cubicBezTo>
                  <a:pt x="1270" y="160"/>
                  <a:pt x="1261" y="160"/>
                  <a:pt x="1260" y="161"/>
                </a:cubicBezTo>
                <a:cubicBezTo>
                  <a:pt x="1259" y="161"/>
                  <a:pt x="1253" y="160"/>
                  <a:pt x="1254" y="162"/>
                </a:cubicBezTo>
                <a:cubicBezTo>
                  <a:pt x="1255" y="163"/>
                  <a:pt x="1258" y="162"/>
                  <a:pt x="1261" y="162"/>
                </a:cubicBezTo>
                <a:cubicBezTo>
                  <a:pt x="1263" y="163"/>
                  <a:pt x="1266" y="165"/>
                  <a:pt x="1266" y="165"/>
                </a:cubicBezTo>
                <a:cubicBezTo>
                  <a:pt x="1271" y="164"/>
                  <a:pt x="1271" y="164"/>
                  <a:pt x="1271" y="164"/>
                </a:cubicBezTo>
                <a:cubicBezTo>
                  <a:pt x="1268" y="166"/>
                  <a:pt x="1268" y="166"/>
                  <a:pt x="1268" y="166"/>
                </a:cubicBezTo>
                <a:cubicBezTo>
                  <a:pt x="1271" y="167"/>
                  <a:pt x="1271" y="167"/>
                  <a:pt x="1271" y="167"/>
                </a:cubicBezTo>
                <a:cubicBezTo>
                  <a:pt x="1271" y="167"/>
                  <a:pt x="1270" y="169"/>
                  <a:pt x="1268" y="170"/>
                </a:cubicBezTo>
                <a:cubicBezTo>
                  <a:pt x="1267" y="171"/>
                  <a:pt x="1260" y="170"/>
                  <a:pt x="1261" y="171"/>
                </a:cubicBezTo>
                <a:cubicBezTo>
                  <a:pt x="1263" y="173"/>
                  <a:pt x="1268" y="172"/>
                  <a:pt x="1270" y="172"/>
                </a:cubicBezTo>
                <a:cubicBezTo>
                  <a:pt x="1271" y="172"/>
                  <a:pt x="1273" y="171"/>
                  <a:pt x="1273" y="171"/>
                </a:cubicBezTo>
                <a:cubicBezTo>
                  <a:pt x="1277" y="173"/>
                  <a:pt x="1277" y="173"/>
                  <a:pt x="1277" y="173"/>
                </a:cubicBezTo>
                <a:cubicBezTo>
                  <a:pt x="1279" y="172"/>
                  <a:pt x="1279" y="172"/>
                  <a:pt x="1279" y="172"/>
                </a:cubicBezTo>
                <a:cubicBezTo>
                  <a:pt x="1279" y="172"/>
                  <a:pt x="1278" y="173"/>
                  <a:pt x="1280" y="174"/>
                </a:cubicBezTo>
                <a:cubicBezTo>
                  <a:pt x="1282" y="175"/>
                  <a:pt x="1287" y="177"/>
                  <a:pt x="1289" y="177"/>
                </a:cubicBezTo>
                <a:cubicBezTo>
                  <a:pt x="1295" y="175"/>
                  <a:pt x="1295" y="176"/>
                  <a:pt x="1296" y="175"/>
                </a:cubicBezTo>
                <a:cubicBezTo>
                  <a:pt x="1298" y="174"/>
                  <a:pt x="1297" y="173"/>
                  <a:pt x="1297" y="173"/>
                </a:cubicBezTo>
                <a:cubicBezTo>
                  <a:pt x="1297" y="173"/>
                  <a:pt x="1301" y="174"/>
                  <a:pt x="1303" y="174"/>
                </a:cubicBezTo>
                <a:cubicBezTo>
                  <a:pt x="1304" y="173"/>
                  <a:pt x="1304" y="172"/>
                  <a:pt x="1304" y="172"/>
                </a:cubicBezTo>
                <a:cubicBezTo>
                  <a:pt x="1304" y="172"/>
                  <a:pt x="1307" y="172"/>
                  <a:pt x="1308" y="172"/>
                </a:cubicBezTo>
                <a:cubicBezTo>
                  <a:pt x="1309" y="172"/>
                  <a:pt x="1317" y="168"/>
                  <a:pt x="1318" y="167"/>
                </a:cubicBezTo>
                <a:cubicBezTo>
                  <a:pt x="1320" y="167"/>
                  <a:pt x="1322" y="169"/>
                  <a:pt x="1324" y="167"/>
                </a:cubicBezTo>
                <a:cubicBezTo>
                  <a:pt x="1325" y="166"/>
                  <a:pt x="1325" y="163"/>
                  <a:pt x="1325" y="163"/>
                </a:cubicBezTo>
                <a:cubicBezTo>
                  <a:pt x="1325" y="163"/>
                  <a:pt x="1327" y="163"/>
                  <a:pt x="1329" y="163"/>
                </a:cubicBezTo>
                <a:cubicBezTo>
                  <a:pt x="1331" y="162"/>
                  <a:pt x="1333" y="160"/>
                  <a:pt x="1333" y="160"/>
                </a:cubicBezTo>
                <a:cubicBezTo>
                  <a:pt x="1331" y="160"/>
                  <a:pt x="1331" y="160"/>
                  <a:pt x="1331" y="160"/>
                </a:cubicBezTo>
                <a:cubicBezTo>
                  <a:pt x="1331" y="160"/>
                  <a:pt x="1336" y="157"/>
                  <a:pt x="1333" y="156"/>
                </a:cubicBezTo>
                <a:close/>
                <a:moveTo>
                  <a:pt x="1376" y="257"/>
                </a:moveTo>
                <a:cubicBezTo>
                  <a:pt x="1379" y="257"/>
                  <a:pt x="1381" y="255"/>
                  <a:pt x="1378" y="255"/>
                </a:cubicBezTo>
                <a:cubicBezTo>
                  <a:pt x="1376" y="254"/>
                  <a:pt x="1374" y="257"/>
                  <a:pt x="1376" y="257"/>
                </a:cubicBezTo>
                <a:close/>
                <a:moveTo>
                  <a:pt x="1371" y="235"/>
                </a:moveTo>
                <a:cubicBezTo>
                  <a:pt x="1370" y="235"/>
                  <a:pt x="1369" y="235"/>
                  <a:pt x="1369" y="237"/>
                </a:cubicBezTo>
                <a:cubicBezTo>
                  <a:pt x="1372" y="237"/>
                  <a:pt x="1372" y="237"/>
                  <a:pt x="1372" y="237"/>
                </a:cubicBezTo>
                <a:cubicBezTo>
                  <a:pt x="1372" y="237"/>
                  <a:pt x="1372" y="235"/>
                  <a:pt x="1371" y="235"/>
                </a:cubicBezTo>
                <a:close/>
                <a:moveTo>
                  <a:pt x="1376" y="282"/>
                </a:moveTo>
                <a:cubicBezTo>
                  <a:pt x="1376" y="280"/>
                  <a:pt x="1374" y="278"/>
                  <a:pt x="1374" y="278"/>
                </a:cubicBezTo>
                <a:cubicBezTo>
                  <a:pt x="1374" y="278"/>
                  <a:pt x="1374" y="276"/>
                  <a:pt x="1373" y="275"/>
                </a:cubicBezTo>
                <a:cubicBezTo>
                  <a:pt x="1373" y="274"/>
                  <a:pt x="1375" y="274"/>
                  <a:pt x="1376" y="274"/>
                </a:cubicBezTo>
                <a:cubicBezTo>
                  <a:pt x="1377" y="274"/>
                  <a:pt x="1377" y="274"/>
                  <a:pt x="1377" y="273"/>
                </a:cubicBezTo>
                <a:cubicBezTo>
                  <a:pt x="1378" y="273"/>
                  <a:pt x="1379" y="271"/>
                  <a:pt x="1379" y="271"/>
                </a:cubicBezTo>
                <a:cubicBezTo>
                  <a:pt x="1379" y="271"/>
                  <a:pt x="1380" y="273"/>
                  <a:pt x="1380" y="272"/>
                </a:cubicBezTo>
                <a:cubicBezTo>
                  <a:pt x="1381" y="270"/>
                  <a:pt x="1382" y="268"/>
                  <a:pt x="1381" y="267"/>
                </a:cubicBezTo>
                <a:cubicBezTo>
                  <a:pt x="1379" y="266"/>
                  <a:pt x="1379" y="264"/>
                  <a:pt x="1379" y="264"/>
                </a:cubicBezTo>
                <a:cubicBezTo>
                  <a:pt x="1378" y="264"/>
                  <a:pt x="1378" y="264"/>
                  <a:pt x="1378" y="264"/>
                </a:cubicBezTo>
                <a:cubicBezTo>
                  <a:pt x="1378" y="264"/>
                  <a:pt x="1377" y="262"/>
                  <a:pt x="1376" y="261"/>
                </a:cubicBezTo>
                <a:cubicBezTo>
                  <a:pt x="1374" y="261"/>
                  <a:pt x="1371" y="262"/>
                  <a:pt x="1371" y="262"/>
                </a:cubicBezTo>
                <a:cubicBezTo>
                  <a:pt x="1371" y="262"/>
                  <a:pt x="1371" y="262"/>
                  <a:pt x="1371" y="261"/>
                </a:cubicBezTo>
                <a:cubicBezTo>
                  <a:pt x="1370" y="261"/>
                  <a:pt x="1370" y="261"/>
                  <a:pt x="1369" y="260"/>
                </a:cubicBezTo>
                <a:cubicBezTo>
                  <a:pt x="1367" y="260"/>
                  <a:pt x="1366" y="263"/>
                  <a:pt x="1366" y="263"/>
                </a:cubicBezTo>
                <a:cubicBezTo>
                  <a:pt x="1365" y="261"/>
                  <a:pt x="1365" y="261"/>
                  <a:pt x="1365" y="261"/>
                </a:cubicBezTo>
                <a:cubicBezTo>
                  <a:pt x="1365" y="261"/>
                  <a:pt x="1360" y="261"/>
                  <a:pt x="1359" y="262"/>
                </a:cubicBezTo>
                <a:cubicBezTo>
                  <a:pt x="1358" y="263"/>
                  <a:pt x="1358" y="266"/>
                  <a:pt x="1358" y="266"/>
                </a:cubicBezTo>
                <a:cubicBezTo>
                  <a:pt x="1358" y="266"/>
                  <a:pt x="1354" y="266"/>
                  <a:pt x="1354" y="267"/>
                </a:cubicBezTo>
                <a:cubicBezTo>
                  <a:pt x="1354" y="269"/>
                  <a:pt x="1359" y="268"/>
                  <a:pt x="1358" y="269"/>
                </a:cubicBezTo>
                <a:cubicBezTo>
                  <a:pt x="1357" y="271"/>
                  <a:pt x="1357" y="270"/>
                  <a:pt x="1356" y="270"/>
                </a:cubicBezTo>
                <a:cubicBezTo>
                  <a:pt x="1356" y="271"/>
                  <a:pt x="1355" y="272"/>
                  <a:pt x="1355" y="272"/>
                </a:cubicBezTo>
                <a:cubicBezTo>
                  <a:pt x="1351" y="272"/>
                  <a:pt x="1351" y="272"/>
                  <a:pt x="1351" y="272"/>
                </a:cubicBezTo>
                <a:cubicBezTo>
                  <a:pt x="1351" y="273"/>
                  <a:pt x="1351" y="273"/>
                  <a:pt x="1351" y="273"/>
                </a:cubicBezTo>
                <a:cubicBezTo>
                  <a:pt x="1351" y="273"/>
                  <a:pt x="1349" y="270"/>
                  <a:pt x="1347" y="271"/>
                </a:cubicBezTo>
                <a:cubicBezTo>
                  <a:pt x="1345" y="271"/>
                  <a:pt x="1343" y="271"/>
                  <a:pt x="1343" y="271"/>
                </a:cubicBezTo>
                <a:cubicBezTo>
                  <a:pt x="1343" y="271"/>
                  <a:pt x="1343" y="275"/>
                  <a:pt x="1344" y="275"/>
                </a:cubicBezTo>
                <a:cubicBezTo>
                  <a:pt x="1345" y="275"/>
                  <a:pt x="1346" y="276"/>
                  <a:pt x="1346" y="276"/>
                </a:cubicBezTo>
                <a:cubicBezTo>
                  <a:pt x="1343" y="278"/>
                  <a:pt x="1343" y="278"/>
                  <a:pt x="1343" y="278"/>
                </a:cubicBezTo>
                <a:cubicBezTo>
                  <a:pt x="1343" y="278"/>
                  <a:pt x="1341" y="279"/>
                  <a:pt x="1342" y="280"/>
                </a:cubicBezTo>
                <a:cubicBezTo>
                  <a:pt x="1343" y="282"/>
                  <a:pt x="1347" y="282"/>
                  <a:pt x="1347" y="282"/>
                </a:cubicBezTo>
                <a:cubicBezTo>
                  <a:pt x="1347" y="282"/>
                  <a:pt x="1351" y="281"/>
                  <a:pt x="1351" y="282"/>
                </a:cubicBezTo>
                <a:cubicBezTo>
                  <a:pt x="1350" y="284"/>
                  <a:pt x="1347" y="284"/>
                  <a:pt x="1347" y="284"/>
                </a:cubicBezTo>
                <a:cubicBezTo>
                  <a:pt x="1347" y="287"/>
                  <a:pt x="1347" y="287"/>
                  <a:pt x="1347" y="287"/>
                </a:cubicBezTo>
                <a:cubicBezTo>
                  <a:pt x="1347" y="287"/>
                  <a:pt x="1345" y="286"/>
                  <a:pt x="1344" y="288"/>
                </a:cubicBezTo>
                <a:cubicBezTo>
                  <a:pt x="1344" y="290"/>
                  <a:pt x="1343" y="293"/>
                  <a:pt x="1343" y="293"/>
                </a:cubicBezTo>
                <a:cubicBezTo>
                  <a:pt x="1343" y="293"/>
                  <a:pt x="1338" y="293"/>
                  <a:pt x="1338" y="294"/>
                </a:cubicBezTo>
                <a:cubicBezTo>
                  <a:pt x="1338" y="295"/>
                  <a:pt x="1340" y="295"/>
                  <a:pt x="1340" y="295"/>
                </a:cubicBezTo>
                <a:cubicBezTo>
                  <a:pt x="1340" y="295"/>
                  <a:pt x="1337" y="295"/>
                  <a:pt x="1337" y="297"/>
                </a:cubicBezTo>
                <a:cubicBezTo>
                  <a:pt x="1337" y="298"/>
                  <a:pt x="1338" y="298"/>
                  <a:pt x="1338" y="298"/>
                </a:cubicBezTo>
                <a:cubicBezTo>
                  <a:pt x="1343" y="298"/>
                  <a:pt x="1343" y="298"/>
                  <a:pt x="1343" y="298"/>
                </a:cubicBezTo>
                <a:cubicBezTo>
                  <a:pt x="1341" y="300"/>
                  <a:pt x="1341" y="300"/>
                  <a:pt x="1341" y="300"/>
                </a:cubicBezTo>
                <a:cubicBezTo>
                  <a:pt x="1341" y="300"/>
                  <a:pt x="1344" y="299"/>
                  <a:pt x="1344" y="300"/>
                </a:cubicBezTo>
                <a:cubicBezTo>
                  <a:pt x="1344" y="300"/>
                  <a:pt x="1340" y="302"/>
                  <a:pt x="1343" y="302"/>
                </a:cubicBezTo>
                <a:cubicBezTo>
                  <a:pt x="1346" y="302"/>
                  <a:pt x="1350" y="301"/>
                  <a:pt x="1352" y="300"/>
                </a:cubicBezTo>
                <a:cubicBezTo>
                  <a:pt x="1354" y="299"/>
                  <a:pt x="1354" y="297"/>
                  <a:pt x="1354" y="297"/>
                </a:cubicBezTo>
                <a:cubicBezTo>
                  <a:pt x="1354" y="297"/>
                  <a:pt x="1356" y="298"/>
                  <a:pt x="1358" y="297"/>
                </a:cubicBezTo>
                <a:cubicBezTo>
                  <a:pt x="1360" y="296"/>
                  <a:pt x="1360" y="295"/>
                  <a:pt x="1363" y="295"/>
                </a:cubicBezTo>
                <a:cubicBezTo>
                  <a:pt x="1365" y="294"/>
                  <a:pt x="1366" y="294"/>
                  <a:pt x="1366" y="294"/>
                </a:cubicBezTo>
                <a:cubicBezTo>
                  <a:pt x="1367" y="293"/>
                  <a:pt x="1367" y="293"/>
                  <a:pt x="1367" y="293"/>
                </a:cubicBezTo>
                <a:cubicBezTo>
                  <a:pt x="1372" y="293"/>
                  <a:pt x="1372" y="293"/>
                  <a:pt x="1372" y="293"/>
                </a:cubicBezTo>
                <a:cubicBezTo>
                  <a:pt x="1372" y="291"/>
                  <a:pt x="1372" y="291"/>
                  <a:pt x="1372" y="291"/>
                </a:cubicBezTo>
                <a:cubicBezTo>
                  <a:pt x="1372" y="291"/>
                  <a:pt x="1374" y="291"/>
                  <a:pt x="1374" y="291"/>
                </a:cubicBezTo>
                <a:cubicBezTo>
                  <a:pt x="1374" y="290"/>
                  <a:pt x="1373" y="289"/>
                  <a:pt x="1374" y="288"/>
                </a:cubicBezTo>
                <a:cubicBezTo>
                  <a:pt x="1375" y="287"/>
                  <a:pt x="1376" y="284"/>
                  <a:pt x="1376" y="282"/>
                </a:cubicBezTo>
                <a:close/>
                <a:moveTo>
                  <a:pt x="1379" y="247"/>
                </a:moveTo>
                <a:cubicBezTo>
                  <a:pt x="1378" y="247"/>
                  <a:pt x="1377" y="249"/>
                  <a:pt x="1377" y="250"/>
                </a:cubicBezTo>
                <a:cubicBezTo>
                  <a:pt x="1378" y="250"/>
                  <a:pt x="1381" y="249"/>
                  <a:pt x="1381" y="249"/>
                </a:cubicBezTo>
                <a:cubicBezTo>
                  <a:pt x="1381" y="249"/>
                  <a:pt x="1380" y="247"/>
                  <a:pt x="1379" y="247"/>
                </a:cubicBezTo>
                <a:close/>
                <a:moveTo>
                  <a:pt x="1667" y="452"/>
                </a:moveTo>
                <a:cubicBezTo>
                  <a:pt x="1665" y="451"/>
                  <a:pt x="1665" y="454"/>
                  <a:pt x="1665" y="454"/>
                </a:cubicBezTo>
                <a:cubicBezTo>
                  <a:pt x="1668" y="456"/>
                  <a:pt x="1669" y="454"/>
                  <a:pt x="1667" y="452"/>
                </a:cubicBezTo>
                <a:close/>
                <a:moveTo>
                  <a:pt x="1661" y="435"/>
                </a:moveTo>
                <a:cubicBezTo>
                  <a:pt x="1657" y="436"/>
                  <a:pt x="1657" y="436"/>
                  <a:pt x="1657" y="436"/>
                </a:cubicBezTo>
                <a:cubicBezTo>
                  <a:pt x="1657" y="439"/>
                  <a:pt x="1659" y="438"/>
                  <a:pt x="1659" y="438"/>
                </a:cubicBezTo>
                <a:cubicBezTo>
                  <a:pt x="1659" y="438"/>
                  <a:pt x="1661" y="440"/>
                  <a:pt x="1662" y="439"/>
                </a:cubicBezTo>
                <a:cubicBezTo>
                  <a:pt x="1664" y="438"/>
                  <a:pt x="1661" y="435"/>
                  <a:pt x="1661" y="435"/>
                </a:cubicBezTo>
                <a:close/>
                <a:moveTo>
                  <a:pt x="1567" y="30"/>
                </a:moveTo>
                <a:cubicBezTo>
                  <a:pt x="1573" y="30"/>
                  <a:pt x="1573" y="30"/>
                  <a:pt x="1573" y="30"/>
                </a:cubicBezTo>
                <a:cubicBezTo>
                  <a:pt x="1573" y="30"/>
                  <a:pt x="1580" y="32"/>
                  <a:pt x="1580" y="31"/>
                </a:cubicBezTo>
                <a:cubicBezTo>
                  <a:pt x="1581" y="31"/>
                  <a:pt x="1586" y="30"/>
                  <a:pt x="1587" y="30"/>
                </a:cubicBezTo>
                <a:cubicBezTo>
                  <a:pt x="1588" y="30"/>
                  <a:pt x="1598" y="34"/>
                  <a:pt x="1598" y="34"/>
                </a:cubicBezTo>
                <a:cubicBezTo>
                  <a:pt x="1601" y="31"/>
                  <a:pt x="1601" y="31"/>
                  <a:pt x="1601" y="31"/>
                </a:cubicBezTo>
                <a:cubicBezTo>
                  <a:pt x="1609" y="31"/>
                  <a:pt x="1609" y="31"/>
                  <a:pt x="1609" y="31"/>
                </a:cubicBezTo>
                <a:cubicBezTo>
                  <a:pt x="1610" y="29"/>
                  <a:pt x="1610" y="29"/>
                  <a:pt x="1610" y="29"/>
                </a:cubicBezTo>
                <a:cubicBezTo>
                  <a:pt x="1610" y="29"/>
                  <a:pt x="1614" y="30"/>
                  <a:pt x="1616" y="26"/>
                </a:cubicBezTo>
                <a:cubicBezTo>
                  <a:pt x="1619" y="21"/>
                  <a:pt x="1609" y="25"/>
                  <a:pt x="1609" y="25"/>
                </a:cubicBezTo>
                <a:cubicBezTo>
                  <a:pt x="1609" y="25"/>
                  <a:pt x="1608" y="23"/>
                  <a:pt x="1603" y="23"/>
                </a:cubicBezTo>
                <a:cubicBezTo>
                  <a:pt x="1598" y="23"/>
                  <a:pt x="1595" y="25"/>
                  <a:pt x="1593" y="25"/>
                </a:cubicBezTo>
                <a:cubicBezTo>
                  <a:pt x="1592" y="25"/>
                  <a:pt x="1593" y="22"/>
                  <a:pt x="1589" y="22"/>
                </a:cubicBezTo>
                <a:cubicBezTo>
                  <a:pt x="1585" y="22"/>
                  <a:pt x="1584" y="25"/>
                  <a:pt x="1584" y="25"/>
                </a:cubicBezTo>
                <a:cubicBezTo>
                  <a:pt x="1575" y="22"/>
                  <a:pt x="1575" y="22"/>
                  <a:pt x="1575" y="22"/>
                </a:cubicBezTo>
                <a:cubicBezTo>
                  <a:pt x="1575" y="22"/>
                  <a:pt x="1571" y="24"/>
                  <a:pt x="1566" y="25"/>
                </a:cubicBezTo>
                <a:cubicBezTo>
                  <a:pt x="1561" y="25"/>
                  <a:pt x="1565" y="22"/>
                  <a:pt x="1565" y="22"/>
                </a:cubicBezTo>
                <a:cubicBezTo>
                  <a:pt x="1560" y="24"/>
                  <a:pt x="1560" y="24"/>
                  <a:pt x="1560" y="24"/>
                </a:cubicBezTo>
                <a:cubicBezTo>
                  <a:pt x="1562" y="27"/>
                  <a:pt x="1562" y="27"/>
                  <a:pt x="1562" y="27"/>
                </a:cubicBezTo>
                <a:cubicBezTo>
                  <a:pt x="1567" y="30"/>
                  <a:pt x="1567" y="30"/>
                  <a:pt x="1567" y="30"/>
                </a:cubicBezTo>
                <a:cubicBezTo>
                  <a:pt x="1567" y="30"/>
                  <a:pt x="1567" y="30"/>
                  <a:pt x="1567" y="30"/>
                </a:cubicBezTo>
                <a:close/>
                <a:moveTo>
                  <a:pt x="1662" y="467"/>
                </a:moveTo>
                <a:cubicBezTo>
                  <a:pt x="1664" y="468"/>
                  <a:pt x="1666" y="466"/>
                  <a:pt x="1664" y="465"/>
                </a:cubicBezTo>
                <a:cubicBezTo>
                  <a:pt x="1662" y="464"/>
                  <a:pt x="1661" y="466"/>
                  <a:pt x="1662" y="467"/>
                </a:cubicBezTo>
                <a:close/>
                <a:moveTo>
                  <a:pt x="1662" y="454"/>
                </a:moveTo>
                <a:cubicBezTo>
                  <a:pt x="1661" y="454"/>
                  <a:pt x="1658" y="454"/>
                  <a:pt x="1658" y="456"/>
                </a:cubicBezTo>
                <a:cubicBezTo>
                  <a:pt x="1658" y="457"/>
                  <a:pt x="1663" y="455"/>
                  <a:pt x="1662" y="454"/>
                </a:cubicBezTo>
                <a:close/>
                <a:moveTo>
                  <a:pt x="1652" y="460"/>
                </a:moveTo>
                <a:cubicBezTo>
                  <a:pt x="1653" y="463"/>
                  <a:pt x="1655" y="463"/>
                  <a:pt x="1656" y="461"/>
                </a:cubicBezTo>
                <a:cubicBezTo>
                  <a:pt x="1657" y="459"/>
                  <a:pt x="1652" y="457"/>
                  <a:pt x="1652" y="460"/>
                </a:cubicBezTo>
                <a:close/>
                <a:moveTo>
                  <a:pt x="1650" y="455"/>
                </a:moveTo>
                <a:cubicBezTo>
                  <a:pt x="1651" y="453"/>
                  <a:pt x="1651" y="453"/>
                  <a:pt x="1651" y="453"/>
                </a:cubicBezTo>
                <a:cubicBezTo>
                  <a:pt x="1646" y="449"/>
                  <a:pt x="1646" y="449"/>
                  <a:pt x="1646" y="449"/>
                </a:cubicBezTo>
                <a:cubicBezTo>
                  <a:pt x="1650" y="455"/>
                  <a:pt x="1650" y="455"/>
                  <a:pt x="1650" y="455"/>
                </a:cubicBezTo>
                <a:cubicBezTo>
                  <a:pt x="1650" y="455"/>
                  <a:pt x="1650" y="455"/>
                  <a:pt x="1650" y="455"/>
                </a:cubicBezTo>
                <a:close/>
                <a:moveTo>
                  <a:pt x="1789" y="125"/>
                </a:moveTo>
                <a:cubicBezTo>
                  <a:pt x="1794" y="126"/>
                  <a:pt x="1795" y="124"/>
                  <a:pt x="1797" y="124"/>
                </a:cubicBezTo>
                <a:cubicBezTo>
                  <a:pt x="1798" y="123"/>
                  <a:pt x="1799" y="121"/>
                  <a:pt x="1799" y="121"/>
                </a:cubicBezTo>
                <a:cubicBezTo>
                  <a:pt x="1801" y="121"/>
                  <a:pt x="1801" y="121"/>
                  <a:pt x="1801" y="121"/>
                </a:cubicBezTo>
                <a:cubicBezTo>
                  <a:pt x="1801" y="121"/>
                  <a:pt x="1800" y="119"/>
                  <a:pt x="1794" y="117"/>
                </a:cubicBezTo>
                <a:cubicBezTo>
                  <a:pt x="1789" y="116"/>
                  <a:pt x="1786" y="121"/>
                  <a:pt x="1786" y="121"/>
                </a:cubicBezTo>
                <a:cubicBezTo>
                  <a:pt x="1786" y="121"/>
                  <a:pt x="1784" y="124"/>
                  <a:pt x="1789" y="125"/>
                </a:cubicBezTo>
                <a:close/>
                <a:moveTo>
                  <a:pt x="1638" y="480"/>
                </a:moveTo>
                <a:cubicBezTo>
                  <a:pt x="1640" y="482"/>
                  <a:pt x="1641" y="481"/>
                  <a:pt x="1641" y="481"/>
                </a:cubicBezTo>
                <a:cubicBezTo>
                  <a:pt x="1642" y="482"/>
                  <a:pt x="1642" y="482"/>
                  <a:pt x="1642" y="482"/>
                </a:cubicBezTo>
                <a:cubicBezTo>
                  <a:pt x="1647" y="482"/>
                  <a:pt x="1647" y="482"/>
                  <a:pt x="1647" y="482"/>
                </a:cubicBezTo>
                <a:cubicBezTo>
                  <a:pt x="1649" y="485"/>
                  <a:pt x="1649" y="485"/>
                  <a:pt x="1649" y="485"/>
                </a:cubicBezTo>
                <a:cubicBezTo>
                  <a:pt x="1654" y="485"/>
                  <a:pt x="1654" y="485"/>
                  <a:pt x="1654" y="485"/>
                </a:cubicBezTo>
                <a:cubicBezTo>
                  <a:pt x="1655" y="484"/>
                  <a:pt x="1655" y="484"/>
                  <a:pt x="1655" y="484"/>
                </a:cubicBezTo>
                <a:cubicBezTo>
                  <a:pt x="1655" y="484"/>
                  <a:pt x="1663" y="485"/>
                  <a:pt x="1663" y="482"/>
                </a:cubicBezTo>
                <a:cubicBezTo>
                  <a:pt x="1663" y="479"/>
                  <a:pt x="1659" y="482"/>
                  <a:pt x="1658" y="482"/>
                </a:cubicBezTo>
                <a:cubicBezTo>
                  <a:pt x="1658" y="482"/>
                  <a:pt x="1657" y="480"/>
                  <a:pt x="1657" y="480"/>
                </a:cubicBezTo>
                <a:cubicBezTo>
                  <a:pt x="1652" y="480"/>
                  <a:pt x="1652" y="480"/>
                  <a:pt x="1652" y="480"/>
                </a:cubicBezTo>
                <a:cubicBezTo>
                  <a:pt x="1648" y="479"/>
                  <a:pt x="1648" y="479"/>
                  <a:pt x="1648" y="479"/>
                </a:cubicBezTo>
                <a:cubicBezTo>
                  <a:pt x="1644" y="479"/>
                  <a:pt x="1644" y="479"/>
                  <a:pt x="1644" y="479"/>
                </a:cubicBezTo>
                <a:cubicBezTo>
                  <a:pt x="1639" y="476"/>
                  <a:pt x="1639" y="476"/>
                  <a:pt x="1639" y="476"/>
                </a:cubicBezTo>
                <a:cubicBezTo>
                  <a:pt x="1639" y="476"/>
                  <a:pt x="1636" y="478"/>
                  <a:pt x="1638" y="480"/>
                </a:cubicBezTo>
                <a:close/>
                <a:moveTo>
                  <a:pt x="1643" y="426"/>
                </a:moveTo>
                <a:cubicBezTo>
                  <a:pt x="1644" y="425"/>
                  <a:pt x="1644" y="425"/>
                  <a:pt x="1644" y="425"/>
                </a:cubicBezTo>
                <a:cubicBezTo>
                  <a:pt x="1639" y="424"/>
                  <a:pt x="1639" y="424"/>
                  <a:pt x="1639" y="424"/>
                </a:cubicBezTo>
                <a:cubicBezTo>
                  <a:pt x="1643" y="426"/>
                  <a:pt x="1643" y="426"/>
                  <a:pt x="1643" y="426"/>
                </a:cubicBezTo>
                <a:cubicBezTo>
                  <a:pt x="1643" y="426"/>
                  <a:pt x="1643" y="426"/>
                  <a:pt x="1643" y="426"/>
                </a:cubicBezTo>
                <a:close/>
                <a:moveTo>
                  <a:pt x="1660" y="443"/>
                </a:moveTo>
                <a:cubicBezTo>
                  <a:pt x="1657" y="443"/>
                  <a:pt x="1657" y="443"/>
                  <a:pt x="1657" y="443"/>
                </a:cubicBezTo>
                <a:cubicBezTo>
                  <a:pt x="1657" y="446"/>
                  <a:pt x="1657" y="446"/>
                  <a:pt x="1657" y="446"/>
                </a:cubicBezTo>
                <a:cubicBezTo>
                  <a:pt x="1659" y="449"/>
                  <a:pt x="1659" y="449"/>
                  <a:pt x="1659" y="449"/>
                </a:cubicBezTo>
                <a:cubicBezTo>
                  <a:pt x="1660" y="443"/>
                  <a:pt x="1660" y="443"/>
                  <a:pt x="1660" y="443"/>
                </a:cubicBezTo>
                <a:cubicBezTo>
                  <a:pt x="1660" y="443"/>
                  <a:pt x="1660" y="443"/>
                  <a:pt x="1660" y="443"/>
                </a:cubicBezTo>
                <a:close/>
                <a:moveTo>
                  <a:pt x="1667" y="460"/>
                </a:moveTo>
                <a:cubicBezTo>
                  <a:pt x="1668" y="458"/>
                  <a:pt x="1668" y="458"/>
                  <a:pt x="1668" y="458"/>
                </a:cubicBezTo>
                <a:cubicBezTo>
                  <a:pt x="1666" y="458"/>
                  <a:pt x="1666" y="458"/>
                  <a:pt x="1666" y="458"/>
                </a:cubicBezTo>
                <a:cubicBezTo>
                  <a:pt x="1667" y="460"/>
                  <a:pt x="1667" y="460"/>
                  <a:pt x="1667" y="460"/>
                </a:cubicBezTo>
                <a:cubicBezTo>
                  <a:pt x="1667" y="460"/>
                  <a:pt x="1667" y="460"/>
                  <a:pt x="1667" y="460"/>
                </a:cubicBezTo>
                <a:close/>
                <a:moveTo>
                  <a:pt x="1649" y="466"/>
                </a:moveTo>
                <a:cubicBezTo>
                  <a:pt x="1648" y="467"/>
                  <a:pt x="1650" y="467"/>
                  <a:pt x="1650" y="466"/>
                </a:cubicBezTo>
                <a:cubicBezTo>
                  <a:pt x="1650" y="464"/>
                  <a:pt x="1649" y="465"/>
                  <a:pt x="1649" y="466"/>
                </a:cubicBezTo>
                <a:close/>
                <a:moveTo>
                  <a:pt x="1517" y="31"/>
                </a:moveTo>
                <a:cubicBezTo>
                  <a:pt x="1519" y="32"/>
                  <a:pt x="1522" y="32"/>
                  <a:pt x="1522" y="33"/>
                </a:cubicBezTo>
                <a:cubicBezTo>
                  <a:pt x="1523" y="34"/>
                  <a:pt x="1519" y="36"/>
                  <a:pt x="1519" y="36"/>
                </a:cubicBezTo>
                <a:cubicBezTo>
                  <a:pt x="1525" y="38"/>
                  <a:pt x="1525" y="38"/>
                  <a:pt x="1525" y="38"/>
                </a:cubicBezTo>
                <a:cubicBezTo>
                  <a:pt x="1525" y="38"/>
                  <a:pt x="1528" y="40"/>
                  <a:pt x="1531" y="41"/>
                </a:cubicBezTo>
                <a:cubicBezTo>
                  <a:pt x="1534" y="41"/>
                  <a:pt x="1536" y="37"/>
                  <a:pt x="1536" y="37"/>
                </a:cubicBezTo>
                <a:cubicBezTo>
                  <a:pt x="1542" y="36"/>
                  <a:pt x="1542" y="36"/>
                  <a:pt x="1542" y="36"/>
                </a:cubicBezTo>
                <a:cubicBezTo>
                  <a:pt x="1547" y="39"/>
                  <a:pt x="1547" y="39"/>
                  <a:pt x="1547" y="39"/>
                </a:cubicBezTo>
                <a:cubicBezTo>
                  <a:pt x="1547" y="39"/>
                  <a:pt x="1543" y="40"/>
                  <a:pt x="1539" y="41"/>
                </a:cubicBezTo>
                <a:cubicBezTo>
                  <a:pt x="1535" y="42"/>
                  <a:pt x="1536" y="43"/>
                  <a:pt x="1536" y="43"/>
                </a:cubicBezTo>
                <a:cubicBezTo>
                  <a:pt x="1536" y="43"/>
                  <a:pt x="1546" y="44"/>
                  <a:pt x="1545" y="44"/>
                </a:cubicBezTo>
                <a:cubicBezTo>
                  <a:pt x="1543" y="45"/>
                  <a:pt x="1537" y="47"/>
                  <a:pt x="1537" y="47"/>
                </a:cubicBezTo>
                <a:cubicBezTo>
                  <a:pt x="1544" y="50"/>
                  <a:pt x="1544" y="50"/>
                  <a:pt x="1544" y="50"/>
                </a:cubicBezTo>
                <a:cubicBezTo>
                  <a:pt x="1544" y="50"/>
                  <a:pt x="1550" y="53"/>
                  <a:pt x="1555" y="52"/>
                </a:cubicBezTo>
                <a:cubicBezTo>
                  <a:pt x="1561" y="51"/>
                  <a:pt x="1557" y="48"/>
                  <a:pt x="1557" y="47"/>
                </a:cubicBezTo>
                <a:cubicBezTo>
                  <a:pt x="1557" y="45"/>
                  <a:pt x="1563" y="45"/>
                  <a:pt x="1563" y="45"/>
                </a:cubicBezTo>
                <a:cubicBezTo>
                  <a:pt x="1563" y="42"/>
                  <a:pt x="1563" y="42"/>
                  <a:pt x="1563" y="42"/>
                </a:cubicBezTo>
                <a:cubicBezTo>
                  <a:pt x="1567" y="41"/>
                  <a:pt x="1567" y="41"/>
                  <a:pt x="1567" y="41"/>
                </a:cubicBezTo>
                <a:cubicBezTo>
                  <a:pt x="1569" y="37"/>
                  <a:pt x="1569" y="37"/>
                  <a:pt x="1569" y="37"/>
                </a:cubicBezTo>
                <a:cubicBezTo>
                  <a:pt x="1571" y="38"/>
                  <a:pt x="1571" y="38"/>
                  <a:pt x="1571" y="38"/>
                </a:cubicBezTo>
                <a:cubicBezTo>
                  <a:pt x="1575" y="36"/>
                  <a:pt x="1575" y="36"/>
                  <a:pt x="1575" y="36"/>
                </a:cubicBezTo>
                <a:cubicBezTo>
                  <a:pt x="1575" y="36"/>
                  <a:pt x="1577" y="39"/>
                  <a:pt x="1581" y="40"/>
                </a:cubicBezTo>
                <a:cubicBezTo>
                  <a:pt x="1585" y="41"/>
                  <a:pt x="1580" y="47"/>
                  <a:pt x="1580" y="47"/>
                </a:cubicBezTo>
                <a:cubicBezTo>
                  <a:pt x="1588" y="47"/>
                  <a:pt x="1588" y="47"/>
                  <a:pt x="1588" y="47"/>
                </a:cubicBezTo>
                <a:cubicBezTo>
                  <a:pt x="1588" y="47"/>
                  <a:pt x="1592" y="50"/>
                  <a:pt x="1592" y="49"/>
                </a:cubicBezTo>
                <a:cubicBezTo>
                  <a:pt x="1592" y="48"/>
                  <a:pt x="1603" y="45"/>
                  <a:pt x="1604" y="43"/>
                </a:cubicBezTo>
                <a:cubicBezTo>
                  <a:pt x="1605" y="41"/>
                  <a:pt x="1596" y="42"/>
                  <a:pt x="1596" y="42"/>
                </a:cubicBezTo>
                <a:cubicBezTo>
                  <a:pt x="1595" y="39"/>
                  <a:pt x="1595" y="39"/>
                  <a:pt x="1595" y="39"/>
                </a:cubicBezTo>
                <a:cubicBezTo>
                  <a:pt x="1588" y="38"/>
                  <a:pt x="1588" y="38"/>
                  <a:pt x="1588" y="38"/>
                </a:cubicBezTo>
                <a:cubicBezTo>
                  <a:pt x="1588" y="36"/>
                  <a:pt x="1588" y="36"/>
                  <a:pt x="1588" y="36"/>
                </a:cubicBezTo>
                <a:cubicBezTo>
                  <a:pt x="1583" y="36"/>
                  <a:pt x="1583" y="36"/>
                  <a:pt x="1583" y="36"/>
                </a:cubicBezTo>
                <a:cubicBezTo>
                  <a:pt x="1584" y="34"/>
                  <a:pt x="1584" y="34"/>
                  <a:pt x="1584" y="34"/>
                </a:cubicBezTo>
                <a:cubicBezTo>
                  <a:pt x="1573" y="34"/>
                  <a:pt x="1573" y="34"/>
                  <a:pt x="1573" y="34"/>
                </a:cubicBezTo>
                <a:cubicBezTo>
                  <a:pt x="1572" y="32"/>
                  <a:pt x="1572" y="32"/>
                  <a:pt x="1572" y="32"/>
                </a:cubicBezTo>
                <a:cubicBezTo>
                  <a:pt x="1567" y="32"/>
                  <a:pt x="1567" y="32"/>
                  <a:pt x="1567" y="32"/>
                </a:cubicBezTo>
                <a:cubicBezTo>
                  <a:pt x="1567" y="32"/>
                  <a:pt x="1567" y="30"/>
                  <a:pt x="1563" y="29"/>
                </a:cubicBezTo>
                <a:cubicBezTo>
                  <a:pt x="1560" y="28"/>
                  <a:pt x="1559" y="29"/>
                  <a:pt x="1559" y="29"/>
                </a:cubicBezTo>
                <a:cubicBezTo>
                  <a:pt x="1559" y="27"/>
                  <a:pt x="1559" y="27"/>
                  <a:pt x="1559" y="27"/>
                </a:cubicBezTo>
                <a:cubicBezTo>
                  <a:pt x="1559" y="27"/>
                  <a:pt x="1555" y="25"/>
                  <a:pt x="1549" y="26"/>
                </a:cubicBezTo>
                <a:cubicBezTo>
                  <a:pt x="1543" y="26"/>
                  <a:pt x="1551" y="33"/>
                  <a:pt x="1551" y="33"/>
                </a:cubicBezTo>
                <a:cubicBezTo>
                  <a:pt x="1551" y="33"/>
                  <a:pt x="1544" y="27"/>
                  <a:pt x="1541" y="27"/>
                </a:cubicBezTo>
                <a:cubicBezTo>
                  <a:pt x="1538" y="26"/>
                  <a:pt x="1537" y="30"/>
                  <a:pt x="1537" y="30"/>
                </a:cubicBezTo>
                <a:cubicBezTo>
                  <a:pt x="1537" y="30"/>
                  <a:pt x="1532" y="30"/>
                  <a:pt x="1531" y="29"/>
                </a:cubicBezTo>
                <a:cubicBezTo>
                  <a:pt x="1530" y="28"/>
                  <a:pt x="1533" y="26"/>
                  <a:pt x="1533" y="26"/>
                </a:cubicBezTo>
                <a:cubicBezTo>
                  <a:pt x="1526" y="27"/>
                  <a:pt x="1526" y="27"/>
                  <a:pt x="1526" y="27"/>
                </a:cubicBezTo>
                <a:cubicBezTo>
                  <a:pt x="1524" y="29"/>
                  <a:pt x="1524" y="29"/>
                  <a:pt x="1524" y="29"/>
                </a:cubicBezTo>
                <a:cubicBezTo>
                  <a:pt x="1523" y="26"/>
                  <a:pt x="1523" y="26"/>
                  <a:pt x="1523" y="26"/>
                </a:cubicBezTo>
                <a:cubicBezTo>
                  <a:pt x="1523" y="26"/>
                  <a:pt x="1518" y="28"/>
                  <a:pt x="1516" y="29"/>
                </a:cubicBezTo>
                <a:cubicBezTo>
                  <a:pt x="1516" y="29"/>
                  <a:pt x="1516" y="31"/>
                  <a:pt x="1517" y="31"/>
                </a:cubicBezTo>
                <a:close/>
                <a:moveTo>
                  <a:pt x="1658" y="463"/>
                </a:moveTo>
                <a:cubicBezTo>
                  <a:pt x="1658" y="465"/>
                  <a:pt x="1658" y="465"/>
                  <a:pt x="1658" y="465"/>
                </a:cubicBezTo>
                <a:cubicBezTo>
                  <a:pt x="1659" y="463"/>
                  <a:pt x="1659" y="463"/>
                  <a:pt x="1659" y="463"/>
                </a:cubicBezTo>
                <a:cubicBezTo>
                  <a:pt x="1658" y="463"/>
                  <a:pt x="1658" y="463"/>
                  <a:pt x="1658" y="463"/>
                </a:cubicBezTo>
                <a:cubicBezTo>
                  <a:pt x="1658" y="463"/>
                  <a:pt x="1658" y="463"/>
                  <a:pt x="1658" y="463"/>
                </a:cubicBezTo>
                <a:close/>
                <a:moveTo>
                  <a:pt x="1385" y="240"/>
                </a:moveTo>
                <a:cubicBezTo>
                  <a:pt x="1385" y="240"/>
                  <a:pt x="1384" y="241"/>
                  <a:pt x="1383" y="242"/>
                </a:cubicBezTo>
                <a:cubicBezTo>
                  <a:pt x="1382" y="243"/>
                  <a:pt x="1382" y="244"/>
                  <a:pt x="1382" y="244"/>
                </a:cubicBezTo>
                <a:cubicBezTo>
                  <a:pt x="1380" y="245"/>
                  <a:pt x="1380" y="245"/>
                  <a:pt x="1380" y="245"/>
                </a:cubicBezTo>
                <a:cubicBezTo>
                  <a:pt x="1380" y="245"/>
                  <a:pt x="1381" y="247"/>
                  <a:pt x="1383" y="247"/>
                </a:cubicBezTo>
                <a:cubicBezTo>
                  <a:pt x="1384" y="247"/>
                  <a:pt x="1386" y="245"/>
                  <a:pt x="1386" y="245"/>
                </a:cubicBezTo>
                <a:cubicBezTo>
                  <a:pt x="1386" y="247"/>
                  <a:pt x="1386" y="247"/>
                  <a:pt x="1386" y="247"/>
                </a:cubicBezTo>
                <a:cubicBezTo>
                  <a:pt x="1386" y="247"/>
                  <a:pt x="1383" y="249"/>
                  <a:pt x="1382" y="250"/>
                </a:cubicBezTo>
                <a:cubicBezTo>
                  <a:pt x="1381" y="252"/>
                  <a:pt x="1382" y="255"/>
                  <a:pt x="1382" y="255"/>
                </a:cubicBezTo>
                <a:cubicBezTo>
                  <a:pt x="1382" y="255"/>
                  <a:pt x="1384" y="253"/>
                  <a:pt x="1386" y="254"/>
                </a:cubicBezTo>
                <a:cubicBezTo>
                  <a:pt x="1387" y="255"/>
                  <a:pt x="1390" y="253"/>
                  <a:pt x="1390" y="253"/>
                </a:cubicBezTo>
                <a:cubicBezTo>
                  <a:pt x="1388" y="255"/>
                  <a:pt x="1388" y="255"/>
                  <a:pt x="1388" y="255"/>
                </a:cubicBezTo>
                <a:cubicBezTo>
                  <a:pt x="1389" y="259"/>
                  <a:pt x="1389" y="259"/>
                  <a:pt x="1389" y="259"/>
                </a:cubicBezTo>
                <a:cubicBezTo>
                  <a:pt x="1389" y="259"/>
                  <a:pt x="1387" y="262"/>
                  <a:pt x="1385" y="265"/>
                </a:cubicBezTo>
                <a:cubicBezTo>
                  <a:pt x="1384" y="267"/>
                  <a:pt x="1388" y="267"/>
                  <a:pt x="1388" y="267"/>
                </a:cubicBezTo>
                <a:cubicBezTo>
                  <a:pt x="1388" y="267"/>
                  <a:pt x="1391" y="265"/>
                  <a:pt x="1393" y="266"/>
                </a:cubicBezTo>
                <a:cubicBezTo>
                  <a:pt x="1394" y="267"/>
                  <a:pt x="1397" y="264"/>
                  <a:pt x="1397" y="264"/>
                </a:cubicBezTo>
                <a:cubicBezTo>
                  <a:pt x="1402" y="264"/>
                  <a:pt x="1402" y="264"/>
                  <a:pt x="1402" y="264"/>
                </a:cubicBezTo>
                <a:cubicBezTo>
                  <a:pt x="1402" y="264"/>
                  <a:pt x="1397" y="267"/>
                  <a:pt x="1397" y="269"/>
                </a:cubicBezTo>
                <a:cubicBezTo>
                  <a:pt x="1397" y="271"/>
                  <a:pt x="1403" y="273"/>
                  <a:pt x="1403" y="273"/>
                </a:cubicBezTo>
                <a:cubicBezTo>
                  <a:pt x="1403" y="276"/>
                  <a:pt x="1403" y="276"/>
                  <a:pt x="1403" y="276"/>
                </a:cubicBezTo>
                <a:cubicBezTo>
                  <a:pt x="1401" y="278"/>
                  <a:pt x="1401" y="278"/>
                  <a:pt x="1401" y="278"/>
                </a:cubicBezTo>
                <a:cubicBezTo>
                  <a:pt x="1401" y="278"/>
                  <a:pt x="1402" y="281"/>
                  <a:pt x="1401" y="282"/>
                </a:cubicBezTo>
                <a:cubicBezTo>
                  <a:pt x="1400" y="283"/>
                  <a:pt x="1392" y="282"/>
                  <a:pt x="1392" y="282"/>
                </a:cubicBezTo>
                <a:cubicBezTo>
                  <a:pt x="1392" y="282"/>
                  <a:pt x="1390" y="281"/>
                  <a:pt x="1388" y="281"/>
                </a:cubicBezTo>
                <a:cubicBezTo>
                  <a:pt x="1386" y="282"/>
                  <a:pt x="1389" y="284"/>
                  <a:pt x="1389" y="284"/>
                </a:cubicBezTo>
                <a:cubicBezTo>
                  <a:pt x="1386" y="287"/>
                  <a:pt x="1386" y="287"/>
                  <a:pt x="1386" y="287"/>
                </a:cubicBezTo>
                <a:cubicBezTo>
                  <a:pt x="1392" y="286"/>
                  <a:pt x="1392" y="286"/>
                  <a:pt x="1392" y="286"/>
                </a:cubicBezTo>
                <a:cubicBezTo>
                  <a:pt x="1392" y="286"/>
                  <a:pt x="1392" y="291"/>
                  <a:pt x="1390" y="293"/>
                </a:cubicBezTo>
                <a:cubicBezTo>
                  <a:pt x="1389" y="294"/>
                  <a:pt x="1383" y="296"/>
                  <a:pt x="1382" y="296"/>
                </a:cubicBezTo>
                <a:cubicBezTo>
                  <a:pt x="1381" y="297"/>
                  <a:pt x="1382" y="300"/>
                  <a:pt x="1383" y="301"/>
                </a:cubicBezTo>
                <a:cubicBezTo>
                  <a:pt x="1384" y="301"/>
                  <a:pt x="1388" y="298"/>
                  <a:pt x="1388" y="298"/>
                </a:cubicBezTo>
                <a:cubicBezTo>
                  <a:pt x="1388" y="298"/>
                  <a:pt x="1389" y="299"/>
                  <a:pt x="1389" y="300"/>
                </a:cubicBezTo>
                <a:cubicBezTo>
                  <a:pt x="1390" y="301"/>
                  <a:pt x="1392" y="300"/>
                  <a:pt x="1392" y="300"/>
                </a:cubicBezTo>
                <a:cubicBezTo>
                  <a:pt x="1392" y="300"/>
                  <a:pt x="1394" y="302"/>
                  <a:pt x="1396" y="302"/>
                </a:cubicBezTo>
                <a:cubicBezTo>
                  <a:pt x="1398" y="302"/>
                  <a:pt x="1399" y="301"/>
                  <a:pt x="1400" y="300"/>
                </a:cubicBezTo>
                <a:cubicBezTo>
                  <a:pt x="1401" y="299"/>
                  <a:pt x="1404" y="300"/>
                  <a:pt x="1404" y="300"/>
                </a:cubicBezTo>
                <a:cubicBezTo>
                  <a:pt x="1404" y="300"/>
                  <a:pt x="1400" y="303"/>
                  <a:pt x="1398" y="304"/>
                </a:cubicBezTo>
                <a:cubicBezTo>
                  <a:pt x="1396" y="306"/>
                  <a:pt x="1392" y="304"/>
                  <a:pt x="1390" y="304"/>
                </a:cubicBezTo>
                <a:cubicBezTo>
                  <a:pt x="1389" y="304"/>
                  <a:pt x="1389" y="306"/>
                  <a:pt x="1389" y="306"/>
                </a:cubicBezTo>
                <a:cubicBezTo>
                  <a:pt x="1389" y="306"/>
                  <a:pt x="1388" y="306"/>
                  <a:pt x="1386" y="307"/>
                </a:cubicBezTo>
                <a:cubicBezTo>
                  <a:pt x="1384" y="307"/>
                  <a:pt x="1386" y="309"/>
                  <a:pt x="1385" y="311"/>
                </a:cubicBezTo>
                <a:cubicBezTo>
                  <a:pt x="1384" y="312"/>
                  <a:pt x="1382" y="311"/>
                  <a:pt x="1381" y="311"/>
                </a:cubicBezTo>
                <a:cubicBezTo>
                  <a:pt x="1379" y="311"/>
                  <a:pt x="1380" y="314"/>
                  <a:pt x="1379" y="315"/>
                </a:cubicBezTo>
                <a:cubicBezTo>
                  <a:pt x="1377" y="316"/>
                  <a:pt x="1375" y="316"/>
                  <a:pt x="1375" y="317"/>
                </a:cubicBezTo>
                <a:cubicBezTo>
                  <a:pt x="1375" y="318"/>
                  <a:pt x="1379" y="318"/>
                  <a:pt x="1380" y="318"/>
                </a:cubicBezTo>
                <a:cubicBezTo>
                  <a:pt x="1380" y="318"/>
                  <a:pt x="1382" y="315"/>
                  <a:pt x="1383" y="314"/>
                </a:cubicBezTo>
                <a:cubicBezTo>
                  <a:pt x="1385" y="313"/>
                  <a:pt x="1387" y="314"/>
                  <a:pt x="1389" y="314"/>
                </a:cubicBezTo>
                <a:cubicBezTo>
                  <a:pt x="1390" y="314"/>
                  <a:pt x="1391" y="316"/>
                  <a:pt x="1392" y="316"/>
                </a:cubicBezTo>
                <a:cubicBezTo>
                  <a:pt x="1394" y="316"/>
                  <a:pt x="1396" y="310"/>
                  <a:pt x="1398" y="310"/>
                </a:cubicBezTo>
                <a:cubicBezTo>
                  <a:pt x="1399" y="309"/>
                  <a:pt x="1402" y="311"/>
                  <a:pt x="1402" y="311"/>
                </a:cubicBezTo>
                <a:cubicBezTo>
                  <a:pt x="1406" y="311"/>
                  <a:pt x="1406" y="311"/>
                  <a:pt x="1406" y="311"/>
                </a:cubicBezTo>
                <a:cubicBezTo>
                  <a:pt x="1410" y="310"/>
                  <a:pt x="1410" y="310"/>
                  <a:pt x="1410" y="310"/>
                </a:cubicBezTo>
                <a:cubicBezTo>
                  <a:pt x="1410" y="310"/>
                  <a:pt x="1414" y="312"/>
                  <a:pt x="1415" y="311"/>
                </a:cubicBezTo>
                <a:cubicBezTo>
                  <a:pt x="1416" y="311"/>
                  <a:pt x="1413" y="309"/>
                  <a:pt x="1414" y="308"/>
                </a:cubicBezTo>
                <a:cubicBezTo>
                  <a:pt x="1416" y="307"/>
                  <a:pt x="1418" y="310"/>
                  <a:pt x="1418" y="310"/>
                </a:cubicBezTo>
                <a:cubicBezTo>
                  <a:pt x="1419" y="309"/>
                  <a:pt x="1419" y="309"/>
                  <a:pt x="1419" y="309"/>
                </a:cubicBezTo>
                <a:cubicBezTo>
                  <a:pt x="1419" y="309"/>
                  <a:pt x="1430" y="309"/>
                  <a:pt x="1433" y="307"/>
                </a:cubicBezTo>
                <a:cubicBezTo>
                  <a:pt x="1435" y="306"/>
                  <a:pt x="1437" y="303"/>
                  <a:pt x="1437" y="303"/>
                </a:cubicBezTo>
                <a:cubicBezTo>
                  <a:pt x="1429" y="302"/>
                  <a:pt x="1429" y="302"/>
                  <a:pt x="1429" y="302"/>
                </a:cubicBezTo>
                <a:cubicBezTo>
                  <a:pt x="1433" y="301"/>
                  <a:pt x="1433" y="301"/>
                  <a:pt x="1433" y="301"/>
                </a:cubicBezTo>
                <a:cubicBezTo>
                  <a:pt x="1432" y="299"/>
                  <a:pt x="1432" y="299"/>
                  <a:pt x="1432" y="299"/>
                </a:cubicBezTo>
                <a:cubicBezTo>
                  <a:pt x="1432" y="299"/>
                  <a:pt x="1435" y="296"/>
                  <a:pt x="1436" y="296"/>
                </a:cubicBezTo>
                <a:cubicBezTo>
                  <a:pt x="1438" y="296"/>
                  <a:pt x="1440" y="294"/>
                  <a:pt x="1440" y="289"/>
                </a:cubicBezTo>
                <a:cubicBezTo>
                  <a:pt x="1440" y="285"/>
                  <a:pt x="1430" y="285"/>
                  <a:pt x="1430" y="285"/>
                </a:cubicBezTo>
                <a:cubicBezTo>
                  <a:pt x="1430" y="285"/>
                  <a:pt x="1429" y="288"/>
                  <a:pt x="1427" y="287"/>
                </a:cubicBezTo>
                <a:cubicBezTo>
                  <a:pt x="1425" y="285"/>
                  <a:pt x="1429" y="284"/>
                  <a:pt x="1429" y="282"/>
                </a:cubicBezTo>
                <a:cubicBezTo>
                  <a:pt x="1429" y="280"/>
                  <a:pt x="1422" y="279"/>
                  <a:pt x="1422" y="278"/>
                </a:cubicBezTo>
                <a:cubicBezTo>
                  <a:pt x="1422" y="277"/>
                  <a:pt x="1427" y="277"/>
                  <a:pt x="1427" y="277"/>
                </a:cubicBezTo>
                <a:cubicBezTo>
                  <a:pt x="1425" y="276"/>
                  <a:pt x="1425" y="276"/>
                  <a:pt x="1425" y="276"/>
                </a:cubicBezTo>
                <a:cubicBezTo>
                  <a:pt x="1425" y="276"/>
                  <a:pt x="1423" y="271"/>
                  <a:pt x="1422" y="270"/>
                </a:cubicBezTo>
                <a:cubicBezTo>
                  <a:pt x="1421" y="268"/>
                  <a:pt x="1419" y="268"/>
                  <a:pt x="1419" y="268"/>
                </a:cubicBezTo>
                <a:cubicBezTo>
                  <a:pt x="1419" y="268"/>
                  <a:pt x="1417" y="266"/>
                  <a:pt x="1415" y="265"/>
                </a:cubicBezTo>
                <a:cubicBezTo>
                  <a:pt x="1414" y="264"/>
                  <a:pt x="1415" y="257"/>
                  <a:pt x="1415" y="257"/>
                </a:cubicBezTo>
                <a:cubicBezTo>
                  <a:pt x="1413" y="257"/>
                  <a:pt x="1413" y="257"/>
                  <a:pt x="1413" y="257"/>
                </a:cubicBezTo>
                <a:cubicBezTo>
                  <a:pt x="1413" y="257"/>
                  <a:pt x="1413" y="256"/>
                  <a:pt x="1410" y="254"/>
                </a:cubicBezTo>
                <a:cubicBezTo>
                  <a:pt x="1407" y="252"/>
                  <a:pt x="1403" y="254"/>
                  <a:pt x="1401" y="254"/>
                </a:cubicBezTo>
                <a:cubicBezTo>
                  <a:pt x="1400" y="254"/>
                  <a:pt x="1398" y="252"/>
                  <a:pt x="1398" y="252"/>
                </a:cubicBezTo>
                <a:cubicBezTo>
                  <a:pt x="1398" y="252"/>
                  <a:pt x="1401" y="253"/>
                  <a:pt x="1402" y="253"/>
                </a:cubicBezTo>
                <a:cubicBezTo>
                  <a:pt x="1402" y="252"/>
                  <a:pt x="1406" y="252"/>
                  <a:pt x="1406" y="250"/>
                </a:cubicBezTo>
                <a:cubicBezTo>
                  <a:pt x="1407" y="249"/>
                  <a:pt x="1403" y="249"/>
                  <a:pt x="1403" y="249"/>
                </a:cubicBezTo>
                <a:cubicBezTo>
                  <a:pt x="1406" y="248"/>
                  <a:pt x="1406" y="248"/>
                  <a:pt x="1406" y="248"/>
                </a:cubicBezTo>
                <a:cubicBezTo>
                  <a:pt x="1406" y="248"/>
                  <a:pt x="1408" y="247"/>
                  <a:pt x="1409" y="246"/>
                </a:cubicBezTo>
                <a:cubicBezTo>
                  <a:pt x="1410" y="245"/>
                  <a:pt x="1412" y="240"/>
                  <a:pt x="1412" y="240"/>
                </a:cubicBezTo>
                <a:cubicBezTo>
                  <a:pt x="1412" y="240"/>
                  <a:pt x="1416" y="238"/>
                  <a:pt x="1416" y="236"/>
                </a:cubicBezTo>
                <a:cubicBezTo>
                  <a:pt x="1416" y="235"/>
                  <a:pt x="1404" y="236"/>
                  <a:pt x="1404" y="236"/>
                </a:cubicBezTo>
                <a:cubicBezTo>
                  <a:pt x="1404" y="236"/>
                  <a:pt x="1404" y="235"/>
                  <a:pt x="1402" y="235"/>
                </a:cubicBezTo>
                <a:cubicBezTo>
                  <a:pt x="1399" y="235"/>
                  <a:pt x="1395" y="237"/>
                  <a:pt x="1395" y="237"/>
                </a:cubicBezTo>
                <a:cubicBezTo>
                  <a:pt x="1397" y="235"/>
                  <a:pt x="1397" y="235"/>
                  <a:pt x="1397" y="235"/>
                </a:cubicBezTo>
                <a:cubicBezTo>
                  <a:pt x="1395" y="233"/>
                  <a:pt x="1395" y="233"/>
                  <a:pt x="1395" y="233"/>
                </a:cubicBezTo>
                <a:cubicBezTo>
                  <a:pt x="1398" y="233"/>
                  <a:pt x="1398" y="233"/>
                  <a:pt x="1398" y="233"/>
                </a:cubicBezTo>
                <a:cubicBezTo>
                  <a:pt x="1402" y="230"/>
                  <a:pt x="1402" y="230"/>
                  <a:pt x="1402" y="230"/>
                </a:cubicBezTo>
                <a:cubicBezTo>
                  <a:pt x="1402" y="230"/>
                  <a:pt x="1404" y="228"/>
                  <a:pt x="1405" y="226"/>
                </a:cubicBezTo>
                <a:cubicBezTo>
                  <a:pt x="1405" y="225"/>
                  <a:pt x="1402" y="225"/>
                  <a:pt x="1400" y="225"/>
                </a:cubicBezTo>
                <a:cubicBezTo>
                  <a:pt x="1399" y="225"/>
                  <a:pt x="1396" y="227"/>
                  <a:pt x="1394" y="227"/>
                </a:cubicBezTo>
                <a:cubicBezTo>
                  <a:pt x="1393" y="227"/>
                  <a:pt x="1391" y="225"/>
                  <a:pt x="1390" y="226"/>
                </a:cubicBezTo>
                <a:cubicBezTo>
                  <a:pt x="1388" y="226"/>
                  <a:pt x="1390" y="229"/>
                  <a:pt x="1390" y="229"/>
                </a:cubicBezTo>
                <a:cubicBezTo>
                  <a:pt x="1390" y="229"/>
                  <a:pt x="1388" y="229"/>
                  <a:pt x="1387" y="230"/>
                </a:cubicBezTo>
                <a:cubicBezTo>
                  <a:pt x="1386" y="230"/>
                  <a:pt x="1388" y="234"/>
                  <a:pt x="1388" y="234"/>
                </a:cubicBezTo>
                <a:cubicBezTo>
                  <a:pt x="1382" y="234"/>
                  <a:pt x="1382" y="234"/>
                  <a:pt x="1382" y="234"/>
                </a:cubicBezTo>
                <a:cubicBezTo>
                  <a:pt x="1382" y="235"/>
                  <a:pt x="1382" y="235"/>
                  <a:pt x="1382" y="235"/>
                </a:cubicBezTo>
                <a:cubicBezTo>
                  <a:pt x="1383" y="237"/>
                  <a:pt x="1383" y="237"/>
                  <a:pt x="1383" y="237"/>
                </a:cubicBezTo>
                <a:cubicBezTo>
                  <a:pt x="1385" y="240"/>
                  <a:pt x="1385" y="240"/>
                  <a:pt x="1385" y="240"/>
                </a:cubicBezTo>
                <a:cubicBezTo>
                  <a:pt x="1385" y="240"/>
                  <a:pt x="1385" y="240"/>
                  <a:pt x="1385" y="240"/>
                </a:cubicBezTo>
                <a:close/>
                <a:moveTo>
                  <a:pt x="1569" y="241"/>
                </a:moveTo>
                <a:cubicBezTo>
                  <a:pt x="1568" y="238"/>
                  <a:pt x="1568" y="238"/>
                  <a:pt x="1568" y="238"/>
                </a:cubicBezTo>
                <a:cubicBezTo>
                  <a:pt x="1568" y="238"/>
                  <a:pt x="1563" y="245"/>
                  <a:pt x="1563" y="247"/>
                </a:cubicBezTo>
                <a:cubicBezTo>
                  <a:pt x="1563" y="248"/>
                  <a:pt x="1563" y="250"/>
                  <a:pt x="1563" y="250"/>
                </a:cubicBezTo>
                <a:cubicBezTo>
                  <a:pt x="1565" y="250"/>
                  <a:pt x="1566" y="244"/>
                  <a:pt x="1566" y="244"/>
                </a:cubicBezTo>
                <a:cubicBezTo>
                  <a:pt x="1569" y="241"/>
                  <a:pt x="1569" y="241"/>
                  <a:pt x="1569" y="241"/>
                </a:cubicBezTo>
                <a:cubicBezTo>
                  <a:pt x="1569" y="241"/>
                  <a:pt x="1569" y="241"/>
                  <a:pt x="1569" y="241"/>
                </a:cubicBezTo>
                <a:close/>
                <a:moveTo>
                  <a:pt x="1648" y="462"/>
                </a:moveTo>
                <a:cubicBezTo>
                  <a:pt x="1647" y="461"/>
                  <a:pt x="1647" y="461"/>
                  <a:pt x="1647" y="461"/>
                </a:cubicBezTo>
                <a:cubicBezTo>
                  <a:pt x="1646" y="463"/>
                  <a:pt x="1646" y="463"/>
                  <a:pt x="1646" y="463"/>
                </a:cubicBezTo>
                <a:cubicBezTo>
                  <a:pt x="1648" y="462"/>
                  <a:pt x="1648" y="462"/>
                  <a:pt x="1648" y="462"/>
                </a:cubicBezTo>
                <a:cubicBezTo>
                  <a:pt x="1648" y="462"/>
                  <a:pt x="1648" y="462"/>
                  <a:pt x="1648" y="462"/>
                </a:cubicBezTo>
                <a:close/>
                <a:moveTo>
                  <a:pt x="1576" y="237"/>
                </a:moveTo>
                <a:cubicBezTo>
                  <a:pt x="1575" y="239"/>
                  <a:pt x="1578" y="244"/>
                  <a:pt x="1578" y="244"/>
                </a:cubicBezTo>
                <a:cubicBezTo>
                  <a:pt x="1580" y="240"/>
                  <a:pt x="1580" y="240"/>
                  <a:pt x="1580" y="240"/>
                </a:cubicBezTo>
                <a:cubicBezTo>
                  <a:pt x="1580" y="240"/>
                  <a:pt x="1581" y="241"/>
                  <a:pt x="1582" y="239"/>
                </a:cubicBezTo>
                <a:cubicBezTo>
                  <a:pt x="1583" y="237"/>
                  <a:pt x="1582" y="235"/>
                  <a:pt x="1582" y="235"/>
                </a:cubicBezTo>
                <a:cubicBezTo>
                  <a:pt x="1584" y="233"/>
                  <a:pt x="1584" y="233"/>
                  <a:pt x="1584" y="233"/>
                </a:cubicBezTo>
                <a:cubicBezTo>
                  <a:pt x="1584" y="233"/>
                  <a:pt x="1577" y="234"/>
                  <a:pt x="1576" y="237"/>
                </a:cubicBezTo>
                <a:close/>
                <a:moveTo>
                  <a:pt x="1607" y="226"/>
                </a:moveTo>
                <a:cubicBezTo>
                  <a:pt x="1605" y="227"/>
                  <a:pt x="1607" y="230"/>
                  <a:pt x="1607" y="230"/>
                </a:cubicBezTo>
                <a:cubicBezTo>
                  <a:pt x="1608" y="233"/>
                  <a:pt x="1608" y="233"/>
                  <a:pt x="1608" y="233"/>
                </a:cubicBezTo>
                <a:cubicBezTo>
                  <a:pt x="1608" y="233"/>
                  <a:pt x="1611" y="230"/>
                  <a:pt x="1612" y="230"/>
                </a:cubicBezTo>
                <a:cubicBezTo>
                  <a:pt x="1613" y="230"/>
                  <a:pt x="1617" y="227"/>
                  <a:pt x="1617" y="227"/>
                </a:cubicBezTo>
                <a:cubicBezTo>
                  <a:pt x="1616" y="225"/>
                  <a:pt x="1616" y="225"/>
                  <a:pt x="1616" y="225"/>
                </a:cubicBezTo>
                <a:cubicBezTo>
                  <a:pt x="1611" y="226"/>
                  <a:pt x="1611" y="226"/>
                  <a:pt x="1611" y="226"/>
                </a:cubicBezTo>
                <a:cubicBezTo>
                  <a:pt x="1611" y="226"/>
                  <a:pt x="1608" y="226"/>
                  <a:pt x="1607" y="226"/>
                </a:cubicBezTo>
                <a:close/>
                <a:moveTo>
                  <a:pt x="1612" y="220"/>
                </a:moveTo>
                <a:cubicBezTo>
                  <a:pt x="1610" y="221"/>
                  <a:pt x="1608" y="224"/>
                  <a:pt x="1611" y="224"/>
                </a:cubicBezTo>
                <a:cubicBezTo>
                  <a:pt x="1614" y="224"/>
                  <a:pt x="1615" y="220"/>
                  <a:pt x="1612" y="220"/>
                </a:cubicBezTo>
                <a:close/>
                <a:moveTo>
                  <a:pt x="1531" y="253"/>
                </a:moveTo>
                <a:cubicBezTo>
                  <a:pt x="1531" y="253"/>
                  <a:pt x="1529" y="251"/>
                  <a:pt x="1529" y="251"/>
                </a:cubicBezTo>
                <a:cubicBezTo>
                  <a:pt x="1529" y="251"/>
                  <a:pt x="1526" y="252"/>
                  <a:pt x="1526" y="253"/>
                </a:cubicBezTo>
                <a:cubicBezTo>
                  <a:pt x="1526" y="254"/>
                  <a:pt x="1526" y="255"/>
                  <a:pt x="1526" y="255"/>
                </a:cubicBezTo>
                <a:cubicBezTo>
                  <a:pt x="1526" y="255"/>
                  <a:pt x="1524" y="253"/>
                  <a:pt x="1524" y="253"/>
                </a:cubicBezTo>
                <a:cubicBezTo>
                  <a:pt x="1523" y="253"/>
                  <a:pt x="1523" y="254"/>
                  <a:pt x="1523" y="254"/>
                </a:cubicBezTo>
                <a:cubicBezTo>
                  <a:pt x="1519" y="256"/>
                  <a:pt x="1519" y="256"/>
                  <a:pt x="1519" y="256"/>
                </a:cubicBezTo>
                <a:cubicBezTo>
                  <a:pt x="1519" y="256"/>
                  <a:pt x="1521" y="257"/>
                  <a:pt x="1521" y="260"/>
                </a:cubicBezTo>
                <a:cubicBezTo>
                  <a:pt x="1521" y="262"/>
                  <a:pt x="1519" y="262"/>
                  <a:pt x="1521" y="262"/>
                </a:cubicBezTo>
                <a:cubicBezTo>
                  <a:pt x="1524" y="263"/>
                  <a:pt x="1525" y="262"/>
                  <a:pt x="1525" y="262"/>
                </a:cubicBezTo>
                <a:cubicBezTo>
                  <a:pt x="1525" y="262"/>
                  <a:pt x="1527" y="266"/>
                  <a:pt x="1527" y="265"/>
                </a:cubicBezTo>
                <a:cubicBezTo>
                  <a:pt x="1527" y="264"/>
                  <a:pt x="1529" y="261"/>
                  <a:pt x="1530" y="260"/>
                </a:cubicBezTo>
                <a:cubicBezTo>
                  <a:pt x="1530" y="260"/>
                  <a:pt x="1532" y="260"/>
                  <a:pt x="1530" y="259"/>
                </a:cubicBezTo>
                <a:cubicBezTo>
                  <a:pt x="1529" y="258"/>
                  <a:pt x="1527" y="257"/>
                  <a:pt x="1528" y="257"/>
                </a:cubicBezTo>
                <a:cubicBezTo>
                  <a:pt x="1529" y="257"/>
                  <a:pt x="1530" y="257"/>
                  <a:pt x="1529" y="256"/>
                </a:cubicBezTo>
                <a:cubicBezTo>
                  <a:pt x="1528" y="255"/>
                  <a:pt x="1531" y="253"/>
                  <a:pt x="1531" y="253"/>
                </a:cubicBezTo>
                <a:close/>
                <a:moveTo>
                  <a:pt x="1520" y="266"/>
                </a:moveTo>
                <a:cubicBezTo>
                  <a:pt x="1522" y="266"/>
                  <a:pt x="1524" y="268"/>
                  <a:pt x="1524" y="268"/>
                </a:cubicBezTo>
                <a:cubicBezTo>
                  <a:pt x="1524" y="268"/>
                  <a:pt x="1528" y="268"/>
                  <a:pt x="1531" y="267"/>
                </a:cubicBezTo>
                <a:cubicBezTo>
                  <a:pt x="1535" y="266"/>
                  <a:pt x="1532" y="264"/>
                  <a:pt x="1532" y="264"/>
                </a:cubicBezTo>
                <a:cubicBezTo>
                  <a:pt x="1528" y="265"/>
                  <a:pt x="1528" y="265"/>
                  <a:pt x="1528" y="265"/>
                </a:cubicBezTo>
                <a:cubicBezTo>
                  <a:pt x="1528" y="265"/>
                  <a:pt x="1526" y="266"/>
                  <a:pt x="1525" y="266"/>
                </a:cubicBezTo>
                <a:cubicBezTo>
                  <a:pt x="1525" y="266"/>
                  <a:pt x="1521" y="264"/>
                  <a:pt x="1520" y="264"/>
                </a:cubicBezTo>
                <a:cubicBezTo>
                  <a:pt x="1518" y="264"/>
                  <a:pt x="1518" y="266"/>
                  <a:pt x="1520" y="266"/>
                </a:cubicBezTo>
                <a:close/>
                <a:moveTo>
                  <a:pt x="1672" y="479"/>
                </a:moveTo>
                <a:cubicBezTo>
                  <a:pt x="1671" y="474"/>
                  <a:pt x="1671" y="474"/>
                  <a:pt x="1671" y="474"/>
                </a:cubicBezTo>
                <a:cubicBezTo>
                  <a:pt x="1669" y="480"/>
                  <a:pt x="1669" y="480"/>
                  <a:pt x="1669" y="480"/>
                </a:cubicBezTo>
                <a:cubicBezTo>
                  <a:pt x="1672" y="479"/>
                  <a:pt x="1672" y="479"/>
                  <a:pt x="1672" y="479"/>
                </a:cubicBezTo>
                <a:cubicBezTo>
                  <a:pt x="1672" y="479"/>
                  <a:pt x="1672" y="479"/>
                  <a:pt x="1672" y="479"/>
                </a:cubicBezTo>
                <a:close/>
                <a:moveTo>
                  <a:pt x="1672" y="460"/>
                </a:moveTo>
                <a:cubicBezTo>
                  <a:pt x="1669" y="462"/>
                  <a:pt x="1669" y="462"/>
                  <a:pt x="1669" y="462"/>
                </a:cubicBezTo>
                <a:cubicBezTo>
                  <a:pt x="1669" y="465"/>
                  <a:pt x="1669" y="465"/>
                  <a:pt x="1669" y="465"/>
                </a:cubicBezTo>
                <a:cubicBezTo>
                  <a:pt x="1674" y="461"/>
                  <a:pt x="1674" y="461"/>
                  <a:pt x="1674" y="461"/>
                </a:cubicBezTo>
                <a:cubicBezTo>
                  <a:pt x="1672" y="460"/>
                  <a:pt x="1672" y="460"/>
                  <a:pt x="1672" y="460"/>
                </a:cubicBezTo>
                <a:cubicBezTo>
                  <a:pt x="1672" y="460"/>
                  <a:pt x="1672" y="460"/>
                  <a:pt x="1672" y="460"/>
                </a:cubicBezTo>
                <a:close/>
                <a:moveTo>
                  <a:pt x="1680" y="467"/>
                </a:moveTo>
                <a:cubicBezTo>
                  <a:pt x="1679" y="466"/>
                  <a:pt x="1675" y="472"/>
                  <a:pt x="1676" y="474"/>
                </a:cubicBezTo>
                <a:cubicBezTo>
                  <a:pt x="1677" y="475"/>
                  <a:pt x="1681" y="469"/>
                  <a:pt x="1680" y="467"/>
                </a:cubicBezTo>
                <a:close/>
                <a:moveTo>
                  <a:pt x="1856" y="110"/>
                </a:moveTo>
                <a:cubicBezTo>
                  <a:pt x="1855" y="111"/>
                  <a:pt x="1869" y="119"/>
                  <a:pt x="1870" y="115"/>
                </a:cubicBezTo>
                <a:cubicBezTo>
                  <a:pt x="1871" y="112"/>
                  <a:pt x="1857" y="108"/>
                  <a:pt x="1856" y="110"/>
                </a:cubicBezTo>
                <a:close/>
                <a:moveTo>
                  <a:pt x="1511" y="262"/>
                </a:moveTo>
                <a:cubicBezTo>
                  <a:pt x="1512" y="262"/>
                  <a:pt x="1514" y="264"/>
                  <a:pt x="1514" y="264"/>
                </a:cubicBezTo>
                <a:cubicBezTo>
                  <a:pt x="1515" y="260"/>
                  <a:pt x="1515" y="260"/>
                  <a:pt x="1515" y="260"/>
                </a:cubicBezTo>
                <a:cubicBezTo>
                  <a:pt x="1513" y="257"/>
                  <a:pt x="1513" y="257"/>
                  <a:pt x="1513" y="257"/>
                </a:cubicBezTo>
                <a:cubicBezTo>
                  <a:pt x="1510" y="257"/>
                  <a:pt x="1510" y="257"/>
                  <a:pt x="1510" y="257"/>
                </a:cubicBezTo>
                <a:cubicBezTo>
                  <a:pt x="1511" y="262"/>
                  <a:pt x="1511" y="262"/>
                  <a:pt x="1511" y="262"/>
                </a:cubicBezTo>
                <a:cubicBezTo>
                  <a:pt x="1511" y="262"/>
                  <a:pt x="1511" y="262"/>
                  <a:pt x="1511" y="262"/>
                </a:cubicBezTo>
                <a:close/>
                <a:moveTo>
                  <a:pt x="1808" y="97"/>
                </a:moveTo>
                <a:cubicBezTo>
                  <a:pt x="1811" y="97"/>
                  <a:pt x="1815" y="98"/>
                  <a:pt x="1817" y="99"/>
                </a:cubicBezTo>
                <a:cubicBezTo>
                  <a:pt x="1819" y="100"/>
                  <a:pt x="1819" y="104"/>
                  <a:pt x="1819" y="104"/>
                </a:cubicBezTo>
                <a:cubicBezTo>
                  <a:pt x="1820" y="104"/>
                  <a:pt x="1830" y="106"/>
                  <a:pt x="1830" y="106"/>
                </a:cubicBezTo>
                <a:cubicBezTo>
                  <a:pt x="1846" y="105"/>
                  <a:pt x="1846" y="105"/>
                  <a:pt x="1846" y="105"/>
                </a:cubicBezTo>
                <a:cubicBezTo>
                  <a:pt x="1846" y="105"/>
                  <a:pt x="1833" y="104"/>
                  <a:pt x="1830" y="98"/>
                </a:cubicBezTo>
                <a:cubicBezTo>
                  <a:pt x="1826" y="93"/>
                  <a:pt x="1823" y="93"/>
                  <a:pt x="1826" y="88"/>
                </a:cubicBezTo>
                <a:cubicBezTo>
                  <a:pt x="1830" y="83"/>
                  <a:pt x="1826" y="83"/>
                  <a:pt x="1826" y="83"/>
                </a:cubicBezTo>
                <a:cubicBezTo>
                  <a:pt x="1831" y="82"/>
                  <a:pt x="1831" y="82"/>
                  <a:pt x="1831" y="82"/>
                </a:cubicBezTo>
                <a:cubicBezTo>
                  <a:pt x="1829" y="79"/>
                  <a:pt x="1829" y="79"/>
                  <a:pt x="1829" y="79"/>
                </a:cubicBezTo>
                <a:cubicBezTo>
                  <a:pt x="1834" y="80"/>
                  <a:pt x="1834" y="80"/>
                  <a:pt x="1834" y="80"/>
                </a:cubicBezTo>
                <a:cubicBezTo>
                  <a:pt x="1831" y="78"/>
                  <a:pt x="1831" y="78"/>
                  <a:pt x="1831" y="78"/>
                </a:cubicBezTo>
                <a:cubicBezTo>
                  <a:pt x="1835" y="79"/>
                  <a:pt x="1835" y="79"/>
                  <a:pt x="1835" y="79"/>
                </a:cubicBezTo>
                <a:cubicBezTo>
                  <a:pt x="1835" y="76"/>
                  <a:pt x="1835" y="76"/>
                  <a:pt x="1835" y="76"/>
                </a:cubicBezTo>
                <a:cubicBezTo>
                  <a:pt x="1833" y="75"/>
                  <a:pt x="1833" y="75"/>
                  <a:pt x="1833" y="75"/>
                </a:cubicBezTo>
                <a:cubicBezTo>
                  <a:pt x="1833" y="75"/>
                  <a:pt x="1838" y="76"/>
                  <a:pt x="1839" y="75"/>
                </a:cubicBezTo>
                <a:cubicBezTo>
                  <a:pt x="1840" y="74"/>
                  <a:pt x="1837" y="72"/>
                  <a:pt x="1837" y="72"/>
                </a:cubicBezTo>
                <a:cubicBezTo>
                  <a:pt x="1841" y="72"/>
                  <a:pt x="1841" y="72"/>
                  <a:pt x="1841" y="72"/>
                </a:cubicBezTo>
                <a:cubicBezTo>
                  <a:pt x="1841" y="68"/>
                  <a:pt x="1841" y="68"/>
                  <a:pt x="1841" y="68"/>
                </a:cubicBezTo>
                <a:cubicBezTo>
                  <a:pt x="1841" y="68"/>
                  <a:pt x="1844" y="71"/>
                  <a:pt x="1848" y="69"/>
                </a:cubicBezTo>
                <a:cubicBezTo>
                  <a:pt x="1852" y="68"/>
                  <a:pt x="1854" y="65"/>
                  <a:pt x="1854" y="65"/>
                </a:cubicBezTo>
                <a:cubicBezTo>
                  <a:pt x="1854" y="65"/>
                  <a:pt x="1884" y="60"/>
                  <a:pt x="1889" y="58"/>
                </a:cubicBezTo>
                <a:cubicBezTo>
                  <a:pt x="1893" y="56"/>
                  <a:pt x="1898" y="53"/>
                  <a:pt x="1891" y="51"/>
                </a:cubicBezTo>
                <a:cubicBezTo>
                  <a:pt x="1884" y="48"/>
                  <a:pt x="1877" y="52"/>
                  <a:pt x="1874" y="53"/>
                </a:cubicBezTo>
                <a:cubicBezTo>
                  <a:pt x="1871" y="54"/>
                  <a:pt x="1862" y="57"/>
                  <a:pt x="1857" y="57"/>
                </a:cubicBezTo>
                <a:cubicBezTo>
                  <a:pt x="1853" y="56"/>
                  <a:pt x="1847" y="56"/>
                  <a:pt x="1847" y="56"/>
                </a:cubicBezTo>
                <a:cubicBezTo>
                  <a:pt x="1844" y="59"/>
                  <a:pt x="1844" y="59"/>
                  <a:pt x="1844" y="59"/>
                </a:cubicBezTo>
                <a:cubicBezTo>
                  <a:pt x="1841" y="57"/>
                  <a:pt x="1841" y="57"/>
                  <a:pt x="1841" y="57"/>
                </a:cubicBezTo>
                <a:cubicBezTo>
                  <a:pt x="1833" y="60"/>
                  <a:pt x="1833" y="60"/>
                  <a:pt x="1833" y="60"/>
                </a:cubicBezTo>
                <a:cubicBezTo>
                  <a:pt x="1829" y="60"/>
                  <a:pt x="1829" y="60"/>
                  <a:pt x="1829" y="60"/>
                </a:cubicBezTo>
                <a:cubicBezTo>
                  <a:pt x="1825" y="63"/>
                  <a:pt x="1825" y="63"/>
                  <a:pt x="1825" y="63"/>
                </a:cubicBezTo>
                <a:cubicBezTo>
                  <a:pt x="1828" y="64"/>
                  <a:pt x="1828" y="64"/>
                  <a:pt x="1828" y="64"/>
                </a:cubicBezTo>
                <a:cubicBezTo>
                  <a:pt x="1821" y="64"/>
                  <a:pt x="1821" y="64"/>
                  <a:pt x="1821" y="64"/>
                </a:cubicBezTo>
                <a:cubicBezTo>
                  <a:pt x="1817" y="66"/>
                  <a:pt x="1817" y="66"/>
                  <a:pt x="1817" y="66"/>
                </a:cubicBezTo>
                <a:cubicBezTo>
                  <a:pt x="1818" y="67"/>
                  <a:pt x="1818" y="67"/>
                  <a:pt x="1818" y="67"/>
                </a:cubicBezTo>
                <a:cubicBezTo>
                  <a:pt x="1821" y="66"/>
                  <a:pt x="1821" y="66"/>
                  <a:pt x="1821" y="66"/>
                </a:cubicBezTo>
                <a:cubicBezTo>
                  <a:pt x="1821" y="67"/>
                  <a:pt x="1821" y="67"/>
                  <a:pt x="1821" y="67"/>
                </a:cubicBezTo>
                <a:cubicBezTo>
                  <a:pt x="1825" y="68"/>
                  <a:pt x="1825" y="68"/>
                  <a:pt x="1825" y="68"/>
                </a:cubicBezTo>
                <a:cubicBezTo>
                  <a:pt x="1824" y="70"/>
                  <a:pt x="1824" y="70"/>
                  <a:pt x="1824" y="70"/>
                </a:cubicBezTo>
                <a:cubicBezTo>
                  <a:pt x="1819" y="70"/>
                  <a:pt x="1819" y="70"/>
                  <a:pt x="1819" y="70"/>
                </a:cubicBezTo>
                <a:cubicBezTo>
                  <a:pt x="1818" y="71"/>
                  <a:pt x="1818" y="71"/>
                  <a:pt x="1818" y="71"/>
                </a:cubicBezTo>
                <a:cubicBezTo>
                  <a:pt x="1822" y="72"/>
                  <a:pt x="1822" y="72"/>
                  <a:pt x="1822" y="72"/>
                </a:cubicBezTo>
                <a:cubicBezTo>
                  <a:pt x="1815" y="72"/>
                  <a:pt x="1815" y="72"/>
                  <a:pt x="1815" y="72"/>
                </a:cubicBezTo>
                <a:cubicBezTo>
                  <a:pt x="1820" y="74"/>
                  <a:pt x="1820" y="74"/>
                  <a:pt x="1820" y="74"/>
                </a:cubicBezTo>
                <a:cubicBezTo>
                  <a:pt x="1814" y="74"/>
                  <a:pt x="1814" y="74"/>
                  <a:pt x="1814" y="74"/>
                </a:cubicBezTo>
                <a:cubicBezTo>
                  <a:pt x="1813" y="77"/>
                  <a:pt x="1813" y="77"/>
                  <a:pt x="1813" y="77"/>
                </a:cubicBezTo>
                <a:cubicBezTo>
                  <a:pt x="1809" y="79"/>
                  <a:pt x="1809" y="79"/>
                  <a:pt x="1809" y="79"/>
                </a:cubicBezTo>
                <a:cubicBezTo>
                  <a:pt x="1811" y="81"/>
                  <a:pt x="1811" y="81"/>
                  <a:pt x="1811" y="81"/>
                </a:cubicBezTo>
                <a:cubicBezTo>
                  <a:pt x="1816" y="78"/>
                  <a:pt x="1816" y="78"/>
                  <a:pt x="1816" y="78"/>
                </a:cubicBezTo>
                <a:cubicBezTo>
                  <a:pt x="1814" y="82"/>
                  <a:pt x="1814" y="82"/>
                  <a:pt x="1814" y="82"/>
                </a:cubicBezTo>
                <a:cubicBezTo>
                  <a:pt x="1814" y="82"/>
                  <a:pt x="1809" y="81"/>
                  <a:pt x="1808" y="82"/>
                </a:cubicBezTo>
                <a:cubicBezTo>
                  <a:pt x="1806" y="84"/>
                  <a:pt x="1808" y="85"/>
                  <a:pt x="1808" y="85"/>
                </a:cubicBezTo>
                <a:cubicBezTo>
                  <a:pt x="1801" y="86"/>
                  <a:pt x="1801" y="86"/>
                  <a:pt x="1801" y="86"/>
                </a:cubicBezTo>
                <a:cubicBezTo>
                  <a:pt x="1803" y="89"/>
                  <a:pt x="1803" y="89"/>
                  <a:pt x="1803" y="89"/>
                </a:cubicBezTo>
                <a:cubicBezTo>
                  <a:pt x="1807" y="87"/>
                  <a:pt x="1807" y="87"/>
                  <a:pt x="1807" y="87"/>
                </a:cubicBezTo>
                <a:cubicBezTo>
                  <a:pt x="1805" y="90"/>
                  <a:pt x="1805" y="90"/>
                  <a:pt x="1805" y="90"/>
                </a:cubicBezTo>
                <a:cubicBezTo>
                  <a:pt x="1805" y="90"/>
                  <a:pt x="1799" y="92"/>
                  <a:pt x="1800" y="94"/>
                </a:cubicBezTo>
                <a:cubicBezTo>
                  <a:pt x="1800" y="96"/>
                  <a:pt x="1806" y="97"/>
                  <a:pt x="1808" y="97"/>
                </a:cubicBezTo>
                <a:close/>
                <a:moveTo>
                  <a:pt x="1557" y="125"/>
                </a:moveTo>
                <a:cubicBezTo>
                  <a:pt x="1559" y="124"/>
                  <a:pt x="1562" y="124"/>
                  <a:pt x="1558" y="123"/>
                </a:cubicBezTo>
                <a:cubicBezTo>
                  <a:pt x="1554" y="122"/>
                  <a:pt x="1552" y="125"/>
                  <a:pt x="1552" y="125"/>
                </a:cubicBezTo>
                <a:cubicBezTo>
                  <a:pt x="1553" y="126"/>
                  <a:pt x="1553" y="126"/>
                  <a:pt x="1553" y="126"/>
                </a:cubicBezTo>
                <a:cubicBezTo>
                  <a:pt x="1557" y="125"/>
                  <a:pt x="1557" y="125"/>
                  <a:pt x="1557" y="125"/>
                </a:cubicBezTo>
                <a:cubicBezTo>
                  <a:pt x="1557" y="125"/>
                  <a:pt x="1557" y="125"/>
                  <a:pt x="1557" y="125"/>
                </a:cubicBezTo>
                <a:close/>
                <a:moveTo>
                  <a:pt x="1554" y="120"/>
                </a:moveTo>
                <a:cubicBezTo>
                  <a:pt x="1550" y="119"/>
                  <a:pt x="1548" y="122"/>
                  <a:pt x="1548" y="122"/>
                </a:cubicBezTo>
                <a:cubicBezTo>
                  <a:pt x="1552" y="123"/>
                  <a:pt x="1552" y="123"/>
                  <a:pt x="1552" y="123"/>
                </a:cubicBezTo>
                <a:cubicBezTo>
                  <a:pt x="1553" y="122"/>
                  <a:pt x="1558" y="120"/>
                  <a:pt x="1554" y="120"/>
                </a:cubicBezTo>
                <a:close/>
                <a:moveTo>
                  <a:pt x="1550" y="124"/>
                </a:moveTo>
                <a:cubicBezTo>
                  <a:pt x="1547" y="125"/>
                  <a:pt x="1547" y="125"/>
                  <a:pt x="1547" y="125"/>
                </a:cubicBezTo>
                <a:cubicBezTo>
                  <a:pt x="1548" y="128"/>
                  <a:pt x="1548" y="128"/>
                  <a:pt x="1548" y="128"/>
                </a:cubicBezTo>
                <a:cubicBezTo>
                  <a:pt x="1552" y="128"/>
                  <a:pt x="1552" y="128"/>
                  <a:pt x="1552" y="128"/>
                </a:cubicBezTo>
                <a:cubicBezTo>
                  <a:pt x="1551" y="126"/>
                  <a:pt x="1551" y="126"/>
                  <a:pt x="1551" y="126"/>
                </a:cubicBezTo>
                <a:cubicBezTo>
                  <a:pt x="1550" y="124"/>
                  <a:pt x="1550" y="124"/>
                  <a:pt x="1550" y="124"/>
                </a:cubicBezTo>
                <a:cubicBezTo>
                  <a:pt x="1550" y="124"/>
                  <a:pt x="1550" y="124"/>
                  <a:pt x="1550" y="124"/>
                </a:cubicBezTo>
                <a:close/>
                <a:moveTo>
                  <a:pt x="1545" y="122"/>
                </a:moveTo>
                <a:cubicBezTo>
                  <a:pt x="1543" y="123"/>
                  <a:pt x="1543" y="127"/>
                  <a:pt x="1543" y="127"/>
                </a:cubicBezTo>
                <a:cubicBezTo>
                  <a:pt x="1546" y="129"/>
                  <a:pt x="1546" y="129"/>
                  <a:pt x="1546" y="129"/>
                </a:cubicBezTo>
                <a:cubicBezTo>
                  <a:pt x="1546" y="129"/>
                  <a:pt x="1547" y="121"/>
                  <a:pt x="1545" y="122"/>
                </a:cubicBezTo>
                <a:close/>
                <a:moveTo>
                  <a:pt x="1561" y="121"/>
                </a:moveTo>
                <a:cubicBezTo>
                  <a:pt x="1565" y="120"/>
                  <a:pt x="1565" y="118"/>
                  <a:pt x="1566" y="118"/>
                </a:cubicBezTo>
                <a:cubicBezTo>
                  <a:pt x="1567" y="118"/>
                  <a:pt x="1566" y="116"/>
                  <a:pt x="1566" y="116"/>
                </a:cubicBezTo>
                <a:cubicBezTo>
                  <a:pt x="1560" y="119"/>
                  <a:pt x="1560" y="119"/>
                  <a:pt x="1560" y="119"/>
                </a:cubicBezTo>
                <a:cubicBezTo>
                  <a:pt x="1561" y="121"/>
                  <a:pt x="1561" y="121"/>
                  <a:pt x="1561" y="121"/>
                </a:cubicBezTo>
                <a:cubicBezTo>
                  <a:pt x="1561" y="121"/>
                  <a:pt x="1561" y="121"/>
                  <a:pt x="1561" y="121"/>
                </a:cubicBezTo>
                <a:close/>
                <a:moveTo>
                  <a:pt x="1580" y="113"/>
                </a:moveTo>
                <a:cubicBezTo>
                  <a:pt x="1582" y="112"/>
                  <a:pt x="1584" y="110"/>
                  <a:pt x="1581" y="110"/>
                </a:cubicBezTo>
                <a:cubicBezTo>
                  <a:pt x="1577" y="110"/>
                  <a:pt x="1580" y="113"/>
                  <a:pt x="1580" y="113"/>
                </a:cubicBezTo>
                <a:close/>
                <a:moveTo>
                  <a:pt x="1753" y="349"/>
                </a:move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lose/>
                <a:moveTo>
                  <a:pt x="1517" y="39"/>
                </a:moveTo>
                <a:cubicBezTo>
                  <a:pt x="1520" y="41"/>
                  <a:pt x="1525" y="41"/>
                  <a:pt x="1525" y="41"/>
                </a:cubicBezTo>
                <a:cubicBezTo>
                  <a:pt x="1520" y="38"/>
                  <a:pt x="1520" y="38"/>
                  <a:pt x="1520" y="38"/>
                </a:cubicBezTo>
                <a:cubicBezTo>
                  <a:pt x="1513" y="35"/>
                  <a:pt x="1513" y="35"/>
                  <a:pt x="1513" y="35"/>
                </a:cubicBezTo>
                <a:cubicBezTo>
                  <a:pt x="1512" y="38"/>
                  <a:pt x="1515" y="38"/>
                  <a:pt x="1517" y="39"/>
                </a:cubicBezTo>
                <a:close/>
                <a:moveTo>
                  <a:pt x="1408" y="222"/>
                </a:moveTo>
                <a:cubicBezTo>
                  <a:pt x="1407" y="224"/>
                  <a:pt x="1407" y="224"/>
                  <a:pt x="1407" y="224"/>
                </a:cubicBezTo>
                <a:cubicBezTo>
                  <a:pt x="1409" y="223"/>
                  <a:pt x="1409" y="223"/>
                  <a:pt x="1409" y="223"/>
                </a:cubicBezTo>
                <a:cubicBezTo>
                  <a:pt x="1408" y="222"/>
                  <a:pt x="1408" y="222"/>
                  <a:pt x="1408" y="222"/>
                </a:cubicBezTo>
                <a:cubicBezTo>
                  <a:pt x="1408" y="222"/>
                  <a:pt x="1408" y="222"/>
                  <a:pt x="1408" y="222"/>
                </a:cubicBezTo>
                <a:close/>
                <a:moveTo>
                  <a:pt x="1420" y="210"/>
                </a:moveTo>
                <a:cubicBezTo>
                  <a:pt x="1421" y="212"/>
                  <a:pt x="1421" y="212"/>
                  <a:pt x="1421" y="212"/>
                </a:cubicBezTo>
                <a:cubicBezTo>
                  <a:pt x="1422" y="213"/>
                  <a:pt x="1423" y="208"/>
                  <a:pt x="1423" y="208"/>
                </a:cubicBezTo>
                <a:cubicBezTo>
                  <a:pt x="1423" y="207"/>
                  <a:pt x="1421" y="205"/>
                  <a:pt x="1421" y="205"/>
                </a:cubicBezTo>
                <a:cubicBezTo>
                  <a:pt x="1421" y="207"/>
                  <a:pt x="1421" y="207"/>
                  <a:pt x="1421" y="207"/>
                </a:cubicBezTo>
                <a:cubicBezTo>
                  <a:pt x="1421" y="207"/>
                  <a:pt x="1418" y="208"/>
                  <a:pt x="1418" y="209"/>
                </a:cubicBezTo>
                <a:cubicBezTo>
                  <a:pt x="1418" y="210"/>
                  <a:pt x="1420" y="210"/>
                  <a:pt x="1420" y="210"/>
                </a:cubicBezTo>
                <a:close/>
                <a:moveTo>
                  <a:pt x="1406" y="220"/>
                </a:moveTo>
                <a:cubicBezTo>
                  <a:pt x="1404" y="219"/>
                  <a:pt x="1404" y="222"/>
                  <a:pt x="1404" y="222"/>
                </a:cubicBezTo>
                <a:cubicBezTo>
                  <a:pt x="1406" y="223"/>
                  <a:pt x="1408" y="222"/>
                  <a:pt x="1406" y="220"/>
                </a:cubicBezTo>
                <a:close/>
                <a:moveTo>
                  <a:pt x="1426" y="203"/>
                </a:moveTo>
                <a:cubicBezTo>
                  <a:pt x="1424" y="203"/>
                  <a:pt x="1424" y="205"/>
                  <a:pt x="1424" y="205"/>
                </a:cubicBezTo>
                <a:cubicBezTo>
                  <a:pt x="1426" y="206"/>
                  <a:pt x="1427" y="203"/>
                  <a:pt x="1426" y="203"/>
                </a:cubicBezTo>
                <a:close/>
                <a:moveTo>
                  <a:pt x="1600" y="108"/>
                </a:moveTo>
                <a:cubicBezTo>
                  <a:pt x="1603" y="108"/>
                  <a:pt x="1603" y="108"/>
                  <a:pt x="1603" y="108"/>
                </a:cubicBezTo>
                <a:cubicBezTo>
                  <a:pt x="1604" y="107"/>
                  <a:pt x="1604" y="105"/>
                  <a:pt x="1604" y="105"/>
                </a:cubicBezTo>
                <a:cubicBezTo>
                  <a:pt x="1600" y="106"/>
                  <a:pt x="1600" y="106"/>
                  <a:pt x="1600" y="106"/>
                </a:cubicBezTo>
                <a:cubicBezTo>
                  <a:pt x="1600" y="108"/>
                  <a:pt x="1600" y="108"/>
                  <a:pt x="1600" y="108"/>
                </a:cubicBezTo>
                <a:cubicBezTo>
                  <a:pt x="1600" y="108"/>
                  <a:pt x="1600" y="108"/>
                  <a:pt x="1600" y="108"/>
                </a:cubicBezTo>
                <a:close/>
                <a:moveTo>
                  <a:pt x="1643" y="455"/>
                </a:moveTo>
                <a:cubicBezTo>
                  <a:pt x="1642" y="456"/>
                  <a:pt x="1643" y="457"/>
                  <a:pt x="1644" y="457"/>
                </a:cubicBezTo>
                <a:cubicBezTo>
                  <a:pt x="1646" y="456"/>
                  <a:pt x="1644" y="454"/>
                  <a:pt x="1643" y="455"/>
                </a:cubicBezTo>
                <a:close/>
                <a:moveTo>
                  <a:pt x="1539" y="128"/>
                </a:moveTo>
                <a:cubicBezTo>
                  <a:pt x="1536" y="128"/>
                  <a:pt x="1531" y="132"/>
                  <a:pt x="1532" y="133"/>
                </a:cubicBezTo>
                <a:cubicBezTo>
                  <a:pt x="1533" y="133"/>
                  <a:pt x="1538" y="130"/>
                  <a:pt x="1538" y="130"/>
                </a:cubicBezTo>
                <a:cubicBezTo>
                  <a:pt x="1543" y="129"/>
                  <a:pt x="1543" y="129"/>
                  <a:pt x="1543" y="129"/>
                </a:cubicBezTo>
                <a:cubicBezTo>
                  <a:pt x="1543" y="129"/>
                  <a:pt x="1543" y="128"/>
                  <a:pt x="1539" y="128"/>
                </a:cubicBezTo>
                <a:close/>
                <a:moveTo>
                  <a:pt x="1608" y="452"/>
                </a:moveTo>
                <a:cubicBezTo>
                  <a:pt x="1606" y="453"/>
                  <a:pt x="1611" y="454"/>
                  <a:pt x="1611" y="454"/>
                </a:cubicBezTo>
                <a:cubicBezTo>
                  <a:pt x="1612" y="454"/>
                  <a:pt x="1610" y="450"/>
                  <a:pt x="1608" y="452"/>
                </a:cubicBezTo>
                <a:close/>
                <a:moveTo>
                  <a:pt x="1605" y="448"/>
                </a:moveTo>
                <a:cubicBezTo>
                  <a:pt x="1611" y="449"/>
                  <a:pt x="1611" y="449"/>
                  <a:pt x="1611" y="449"/>
                </a:cubicBezTo>
                <a:cubicBezTo>
                  <a:pt x="1608" y="445"/>
                  <a:pt x="1608" y="445"/>
                  <a:pt x="1608" y="445"/>
                </a:cubicBezTo>
                <a:cubicBezTo>
                  <a:pt x="1605" y="448"/>
                  <a:pt x="1605" y="448"/>
                  <a:pt x="1605" y="448"/>
                </a:cubicBezTo>
                <a:cubicBezTo>
                  <a:pt x="1605" y="448"/>
                  <a:pt x="1605" y="448"/>
                  <a:pt x="1605" y="448"/>
                </a:cubicBezTo>
                <a:close/>
                <a:moveTo>
                  <a:pt x="1634" y="457"/>
                </a:moveTo>
                <a:cubicBezTo>
                  <a:pt x="1636" y="456"/>
                  <a:pt x="1636" y="456"/>
                  <a:pt x="1636" y="456"/>
                </a:cubicBezTo>
                <a:cubicBezTo>
                  <a:pt x="1636" y="456"/>
                  <a:pt x="1634" y="455"/>
                  <a:pt x="1632" y="453"/>
                </a:cubicBezTo>
                <a:cubicBezTo>
                  <a:pt x="1630" y="451"/>
                  <a:pt x="1621" y="447"/>
                  <a:pt x="1621" y="447"/>
                </a:cubicBezTo>
                <a:cubicBezTo>
                  <a:pt x="1618" y="449"/>
                  <a:pt x="1618" y="449"/>
                  <a:pt x="1618" y="449"/>
                </a:cubicBezTo>
                <a:cubicBezTo>
                  <a:pt x="1616" y="449"/>
                  <a:pt x="1616" y="449"/>
                  <a:pt x="1616" y="449"/>
                </a:cubicBezTo>
                <a:cubicBezTo>
                  <a:pt x="1614" y="452"/>
                  <a:pt x="1614" y="452"/>
                  <a:pt x="1614" y="452"/>
                </a:cubicBezTo>
                <a:cubicBezTo>
                  <a:pt x="1618" y="455"/>
                  <a:pt x="1618" y="455"/>
                  <a:pt x="1618" y="455"/>
                </a:cubicBezTo>
                <a:cubicBezTo>
                  <a:pt x="1618" y="455"/>
                  <a:pt x="1617" y="459"/>
                  <a:pt x="1617" y="461"/>
                </a:cubicBezTo>
                <a:cubicBezTo>
                  <a:pt x="1617" y="463"/>
                  <a:pt x="1621" y="464"/>
                  <a:pt x="1621" y="463"/>
                </a:cubicBezTo>
                <a:cubicBezTo>
                  <a:pt x="1622" y="461"/>
                  <a:pt x="1624" y="461"/>
                  <a:pt x="1624" y="461"/>
                </a:cubicBezTo>
                <a:cubicBezTo>
                  <a:pt x="1627" y="467"/>
                  <a:pt x="1627" y="467"/>
                  <a:pt x="1627" y="467"/>
                </a:cubicBezTo>
                <a:cubicBezTo>
                  <a:pt x="1628" y="463"/>
                  <a:pt x="1628" y="463"/>
                  <a:pt x="1628" y="463"/>
                </a:cubicBezTo>
                <a:cubicBezTo>
                  <a:pt x="1630" y="466"/>
                  <a:pt x="1630" y="466"/>
                  <a:pt x="1630" y="466"/>
                </a:cubicBezTo>
                <a:cubicBezTo>
                  <a:pt x="1633" y="467"/>
                  <a:pt x="1633" y="467"/>
                  <a:pt x="1633" y="467"/>
                </a:cubicBezTo>
                <a:cubicBezTo>
                  <a:pt x="1631" y="465"/>
                  <a:pt x="1631" y="465"/>
                  <a:pt x="1631" y="465"/>
                </a:cubicBezTo>
                <a:cubicBezTo>
                  <a:pt x="1632" y="464"/>
                  <a:pt x="1632" y="464"/>
                  <a:pt x="1632" y="464"/>
                </a:cubicBezTo>
                <a:cubicBezTo>
                  <a:pt x="1632" y="461"/>
                  <a:pt x="1632" y="461"/>
                  <a:pt x="1632" y="461"/>
                </a:cubicBezTo>
                <a:cubicBezTo>
                  <a:pt x="1632" y="461"/>
                  <a:pt x="1628" y="456"/>
                  <a:pt x="1629" y="455"/>
                </a:cubicBezTo>
                <a:cubicBezTo>
                  <a:pt x="1629" y="453"/>
                  <a:pt x="1634" y="457"/>
                  <a:pt x="1634" y="457"/>
                </a:cubicBezTo>
                <a:close/>
                <a:moveTo>
                  <a:pt x="1643" y="439"/>
                </a:moveTo>
                <a:cubicBezTo>
                  <a:pt x="1643" y="439"/>
                  <a:pt x="1642" y="441"/>
                  <a:pt x="1645" y="441"/>
                </a:cubicBezTo>
                <a:cubicBezTo>
                  <a:pt x="1643" y="439"/>
                  <a:pt x="1643" y="439"/>
                  <a:pt x="1643" y="439"/>
                </a:cubicBezTo>
                <a:cubicBezTo>
                  <a:pt x="1643" y="439"/>
                  <a:pt x="1643" y="439"/>
                  <a:pt x="1643" y="439"/>
                </a:cubicBezTo>
                <a:close/>
                <a:moveTo>
                  <a:pt x="1631" y="469"/>
                </a:moveTo>
                <a:cubicBezTo>
                  <a:pt x="1630" y="469"/>
                  <a:pt x="1631" y="473"/>
                  <a:pt x="1632" y="471"/>
                </a:cubicBezTo>
                <a:cubicBezTo>
                  <a:pt x="1634" y="470"/>
                  <a:pt x="1632" y="468"/>
                  <a:pt x="1631" y="469"/>
                </a:cubicBezTo>
                <a:close/>
                <a:moveTo>
                  <a:pt x="1549" y="471"/>
                </a:moveTo>
                <a:cubicBezTo>
                  <a:pt x="1548" y="474"/>
                  <a:pt x="1552" y="475"/>
                  <a:pt x="1552" y="475"/>
                </a:cubicBezTo>
                <a:cubicBezTo>
                  <a:pt x="1555" y="472"/>
                  <a:pt x="1551" y="468"/>
                  <a:pt x="1549" y="471"/>
                </a:cubicBezTo>
                <a:close/>
                <a:moveTo>
                  <a:pt x="1433" y="438"/>
                </a:moveTo>
                <a:cubicBezTo>
                  <a:pt x="1432" y="436"/>
                  <a:pt x="1430" y="441"/>
                  <a:pt x="1430" y="441"/>
                </a:cubicBezTo>
                <a:cubicBezTo>
                  <a:pt x="1432" y="442"/>
                  <a:pt x="1434" y="440"/>
                  <a:pt x="1433" y="438"/>
                </a:cubicBezTo>
                <a:close/>
                <a:moveTo>
                  <a:pt x="1458" y="431"/>
                </a:moveTo>
                <a:cubicBezTo>
                  <a:pt x="1460" y="429"/>
                  <a:pt x="1456" y="426"/>
                  <a:pt x="1454" y="427"/>
                </a:cubicBezTo>
                <a:cubicBezTo>
                  <a:pt x="1454" y="427"/>
                  <a:pt x="1456" y="432"/>
                  <a:pt x="1458" y="431"/>
                </a:cubicBezTo>
                <a:close/>
                <a:moveTo>
                  <a:pt x="1506" y="395"/>
                </a:moveTo>
                <a:cubicBezTo>
                  <a:pt x="1505" y="393"/>
                  <a:pt x="1503" y="397"/>
                  <a:pt x="1503" y="397"/>
                </a:cubicBezTo>
                <a:cubicBezTo>
                  <a:pt x="1503" y="397"/>
                  <a:pt x="1497" y="400"/>
                  <a:pt x="1498" y="403"/>
                </a:cubicBezTo>
                <a:cubicBezTo>
                  <a:pt x="1498" y="406"/>
                  <a:pt x="1500" y="407"/>
                  <a:pt x="1500" y="407"/>
                </a:cubicBezTo>
                <a:cubicBezTo>
                  <a:pt x="1500" y="407"/>
                  <a:pt x="1498" y="409"/>
                  <a:pt x="1500" y="411"/>
                </a:cubicBezTo>
                <a:cubicBezTo>
                  <a:pt x="1501" y="412"/>
                  <a:pt x="1503" y="413"/>
                  <a:pt x="1503" y="413"/>
                </a:cubicBezTo>
                <a:cubicBezTo>
                  <a:pt x="1503" y="413"/>
                  <a:pt x="1505" y="411"/>
                  <a:pt x="1505" y="409"/>
                </a:cubicBezTo>
                <a:cubicBezTo>
                  <a:pt x="1505" y="406"/>
                  <a:pt x="1505" y="406"/>
                  <a:pt x="1505" y="406"/>
                </a:cubicBezTo>
                <a:cubicBezTo>
                  <a:pt x="1507" y="405"/>
                  <a:pt x="1507" y="405"/>
                  <a:pt x="1507" y="405"/>
                </a:cubicBezTo>
                <a:cubicBezTo>
                  <a:pt x="1506" y="398"/>
                  <a:pt x="1506" y="398"/>
                  <a:pt x="1506" y="398"/>
                </a:cubicBezTo>
                <a:cubicBezTo>
                  <a:pt x="1505" y="398"/>
                  <a:pt x="1505" y="398"/>
                  <a:pt x="1505" y="398"/>
                </a:cubicBezTo>
                <a:cubicBezTo>
                  <a:pt x="1505" y="398"/>
                  <a:pt x="1507" y="396"/>
                  <a:pt x="1506" y="395"/>
                </a:cubicBezTo>
                <a:close/>
                <a:moveTo>
                  <a:pt x="1443" y="433"/>
                </a:moveTo>
                <a:cubicBezTo>
                  <a:pt x="1443" y="433"/>
                  <a:pt x="1444" y="435"/>
                  <a:pt x="1445" y="435"/>
                </a:cubicBezTo>
                <a:cubicBezTo>
                  <a:pt x="1446" y="436"/>
                  <a:pt x="1448" y="436"/>
                  <a:pt x="1448" y="436"/>
                </a:cubicBezTo>
                <a:cubicBezTo>
                  <a:pt x="1449" y="435"/>
                  <a:pt x="1451" y="433"/>
                  <a:pt x="1451" y="432"/>
                </a:cubicBezTo>
                <a:cubicBezTo>
                  <a:pt x="1450" y="430"/>
                  <a:pt x="1449" y="430"/>
                  <a:pt x="1449" y="430"/>
                </a:cubicBezTo>
                <a:cubicBezTo>
                  <a:pt x="1449" y="430"/>
                  <a:pt x="1448" y="429"/>
                  <a:pt x="1447" y="429"/>
                </a:cubicBezTo>
                <a:cubicBezTo>
                  <a:pt x="1445" y="429"/>
                  <a:pt x="1441" y="432"/>
                  <a:pt x="1441" y="433"/>
                </a:cubicBezTo>
                <a:cubicBezTo>
                  <a:pt x="1442" y="434"/>
                  <a:pt x="1443" y="433"/>
                  <a:pt x="1443" y="433"/>
                </a:cubicBezTo>
                <a:close/>
                <a:moveTo>
                  <a:pt x="1560" y="452"/>
                </a:moveTo>
                <a:cubicBezTo>
                  <a:pt x="1561" y="451"/>
                  <a:pt x="1560" y="447"/>
                  <a:pt x="1560" y="447"/>
                </a:cubicBezTo>
                <a:cubicBezTo>
                  <a:pt x="1559" y="449"/>
                  <a:pt x="1559" y="449"/>
                  <a:pt x="1559" y="449"/>
                </a:cubicBezTo>
                <a:cubicBezTo>
                  <a:pt x="1559" y="449"/>
                  <a:pt x="1556" y="448"/>
                  <a:pt x="1555" y="448"/>
                </a:cubicBezTo>
                <a:cubicBezTo>
                  <a:pt x="1553" y="449"/>
                  <a:pt x="1551" y="450"/>
                  <a:pt x="1551" y="450"/>
                </a:cubicBezTo>
                <a:cubicBezTo>
                  <a:pt x="1551" y="450"/>
                  <a:pt x="1547" y="451"/>
                  <a:pt x="1546" y="451"/>
                </a:cubicBezTo>
                <a:cubicBezTo>
                  <a:pt x="1544" y="451"/>
                  <a:pt x="1541" y="447"/>
                  <a:pt x="1540" y="448"/>
                </a:cubicBezTo>
                <a:cubicBezTo>
                  <a:pt x="1540" y="449"/>
                  <a:pt x="1538" y="450"/>
                  <a:pt x="1538" y="450"/>
                </a:cubicBezTo>
                <a:cubicBezTo>
                  <a:pt x="1535" y="449"/>
                  <a:pt x="1535" y="449"/>
                  <a:pt x="1535" y="449"/>
                </a:cubicBezTo>
                <a:cubicBezTo>
                  <a:pt x="1535" y="449"/>
                  <a:pt x="1531" y="450"/>
                  <a:pt x="1533" y="452"/>
                </a:cubicBezTo>
                <a:cubicBezTo>
                  <a:pt x="1535" y="456"/>
                  <a:pt x="1538" y="455"/>
                  <a:pt x="1539" y="455"/>
                </a:cubicBezTo>
                <a:cubicBezTo>
                  <a:pt x="1540" y="455"/>
                  <a:pt x="1541" y="457"/>
                  <a:pt x="1541" y="458"/>
                </a:cubicBezTo>
                <a:cubicBezTo>
                  <a:pt x="1542" y="459"/>
                  <a:pt x="1546" y="461"/>
                  <a:pt x="1546" y="461"/>
                </a:cubicBezTo>
                <a:cubicBezTo>
                  <a:pt x="1549" y="460"/>
                  <a:pt x="1549" y="460"/>
                  <a:pt x="1549" y="460"/>
                </a:cubicBezTo>
                <a:cubicBezTo>
                  <a:pt x="1549" y="460"/>
                  <a:pt x="1552" y="464"/>
                  <a:pt x="1556" y="465"/>
                </a:cubicBezTo>
                <a:cubicBezTo>
                  <a:pt x="1560" y="465"/>
                  <a:pt x="1559" y="461"/>
                  <a:pt x="1559" y="461"/>
                </a:cubicBezTo>
                <a:cubicBezTo>
                  <a:pt x="1559" y="461"/>
                  <a:pt x="1558" y="458"/>
                  <a:pt x="1558" y="456"/>
                </a:cubicBezTo>
                <a:cubicBezTo>
                  <a:pt x="1558" y="455"/>
                  <a:pt x="1559" y="453"/>
                  <a:pt x="1560" y="452"/>
                </a:cubicBezTo>
                <a:close/>
                <a:moveTo>
                  <a:pt x="1494" y="416"/>
                </a:moveTo>
                <a:cubicBezTo>
                  <a:pt x="1493" y="418"/>
                  <a:pt x="1493" y="418"/>
                  <a:pt x="1493" y="418"/>
                </a:cubicBezTo>
                <a:cubicBezTo>
                  <a:pt x="1493" y="418"/>
                  <a:pt x="1497" y="421"/>
                  <a:pt x="1497" y="423"/>
                </a:cubicBezTo>
                <a:cubicBezTo>
                  <a:pt x="1497" y="425"/>
                  <a:pt x="1496" y="429"/>
                  <a:pt x="1496" y="429"/>
                </a:cubicBezTo>
                <a:cubicBezTo>
                  <a:pt x="1497" y="430"/>
                  <a:pt x="1497" y="430"/>
                  <a:pt x="1497" y="430"/>
                </a:cubicBezTo>
                <a:cubicBezTo>
                  <a:pt x="1495" y="431"/>
                  <a:pt x="1495" y="431"/>
                  <a:pt x="1495" y="431"/>
                </a:cubicBezTo>
                <a:cubicBezTo>
                  <a:pt x="1496" y="438"/>
                  <a:pt x="1496" y="438"/>
                  <a:pt x="1496" y="438"/>
                </a:cubicBezTo>
                <a:cubicBezTo>
                  <a:pt x="1494" y="438"/>
                  <a:pt x="1494" y="438"/>
                  <a:pt x="1494" y="438"/>
                </a:cubicBezTo>
                <a:cubicBezTo>
                  <a:pt x="1497" y="440"/>
                  <a:pt x="1497" y="440"/>
                  <a:pt x="1497" y="440"/>
                </a:cubicBezTo>
                <a:cubicBezTo>
                  <a:pt x="1500" y="440"/>
                  <a:pt x="1502" y="436"/>
                  <a:pt x="1502" y="436"/>
                </a:cubicBezTo>
                <a:cubicBezTo>
                  <a:pt x="1502" y="436"/>
                  <a:pt x="1504" y="439"/>
                  <a:pt x="1506" y="437"/>
                </a:cubicBezTo>
                <a:cubicBezTo>
                  <a:pt x="1508" y="436"/>
                  <a:pt x="1507" y="432"/>
                  <a:pt x="1507" y="432"/>
                </a:cubicBezTo>
                <a:cubicBezTo>
                  <a:pt x="1508" y="430"/>
                  <a:pt x="1508" y="430"/>
                  <a:pt x="1508" y="430"/>
                </a:cubicBezTo>
                <a:cubicBezTo>
                  <a:pt x="1508" y="427"/>
                  <a:pt x="1508" y="427"/>
                  <a:pt x="1508" y="427"/>
                </a:cubicBezTo>
                <a:cubicBezTo>
                  <a:pt x="1508" y="427"/>
                  <a:pt x="1507" y="426"/>
                  <a:pt x="1507" y="425"/>
                </a:cubicBezTo>
                <a:cubicBezTo>
                  <a:pt x="1507" y="424"/>
                  <a:pt x="1509" y="424"/>
                  <a:pt x="1509" y="423"/>
                </a:cubicBezTo>
                <a:cubicBezTo>
                  <a:pt x="1509" y="421"/>
                  <a:pt x="1507" y="414"/>
                  <a:pt x="1505" y="414"/>
                </a:cubicBezTo>
                <a:cubicBezTo>
                  <a:pt x="1502" y="414"/>
                  <a:pt x="1500" y="418"/>
                  <a:pt x="1498" y="418"/>
                </a:cubicBezTo>
                <a:cubicBezTo>
                  <a:pt x="1497" y="418"/>
                  <a:pt x="1494" y="416"/>
                  <a:pt x="1494" y="416"/>
                </a:cubicBezTo>
                <a:close/>
                <a:moveTo>
                  <a:pt x="891" y="134"/>
                </a:moveTo>
                <a:cubicBezTo>
                  <a:pt x="900" y="133"/>
                  <a:pt x="900" y="133"/>
                  <a:pt x="900" y="133"/>
                </a:cubicBezTo>
                <a:cubicBezTo>
                  <a:pt x="900" y="131"/>
                  <a:pt x="900" y="131"/>
                  <a:pt x="900" y="131"/>
                </a:cubicBezTo>
                <a:cubicBezTo>
                  <a:pt x="894" y="131"/>
                  <a:pt x="894" y="131"/>
                  <a:pt x="894" y="131"/>
                </a:cubicBezTo>
                <a:cubicBezTo>
                  <a:pt x="891" y="134"/>
                  <a:pt x="891" y="134"/>
                  <a:pt x="891" y="134"/>
                </a:cubicBezTo>
                <a:cubicBezTo>
                  <a:pt x="891" y="134"/>
                  <a:pt x="891" y="134"/>
                  <a:pt x="891" y="134"/>
                </a:cubicBezTo>
                <a:close/>
                <a:moveTo>
                  <a:pt x="891" y="125"/>
                </a:moveTo>
                <a:cubicBezTo>
                  <a:pt x="886" y="123"/>
                  <a:pt x="891" y="127"/>
                  <a:pt x="891" y="127"/>
                </a:cubicBezTo>
                <a:cubicBezTo>
                  <a:pt x="895" y="127"/>
                  <a:pt x="897" y="126"/>
                  <a:pt x="891" y="125"/>
                </a:cubicBezTo>
                <a:close/>
                <a:moveTo>
                  <a:pt x="796" y="84"/>
                </a:moveTo>
                <a:cubicBezTo>
                  <a:pt x="801" y="83"/>
                  <a:pt x="805" y="87"/>
                  <a:pt x="805" y="87"/>
                </a:cubicBezTo>
                <a:cubicBezTo>
                  <a:pt x="813" y="86"/>
                  <a:pt x="813" y="86"/>
                  <a:pt x="813" y="86"/>
                </a:cubicBezTo>
                <a:cubicBezTo>
                  <a:pt x="812" y="83"/>
                  <a:pt x="812" y="83"/>
                  <a:pt x="812" y="83"/>
                </a:cubicBezTo>
                <a:cubicBezTo>
                  <a:pt x="812" y="83"/>
                  <a:pt x="822" y="83"/>
                  <a:pt x="824" y="80"/>
                </a:cubicBezTo>
                <a:cubicBezTo>
                  <a:pt x="826" y="78"/>
                  <a:pt x="830" y="75"/>
                  <a:pt x="827" y="75"/>
                </a:cubicBezTo>
                <a:cubicBezTo>
                  <a:pt x="824" y="75"/>
                  <a:pt x="808" y="73"/>
                  <a:pt x="799" y="74"/>
                </a:cubicBezTo>
                <a:cubicBezTo>
                  <a:pt x="791" y="74"/>
                  <a:pt x="794" y="74"/>
                  <a:pt x="793" y="75"/>
                </a:cubicBezTo>
                <a:cubicBezTo>
                  <a:pt x="793" y="77"/>
                  <a:pt x="790" y="78"/>
                  <a:pt x="783" y="80"/>
                </a:cubicBezTo>
                <a:cubicBezTo>
                  <a:pt x="776" y="81"/>
                  <a:pt x="783" y="81"/>
                  <a:pt x="782" y="86"/>
                </a:cubicBezTo>
                <a:cubicBezTo>
                  <a:pt x="780" y="89"/>
                  <a:pt x="780" y="89"/>
                  <a:pt x="780" y="89"/>
                </a:cubicBezTo>
                <a:cubicBezTo>
                  <a:pt x="784" y="92"/>
                  <a:pt x="784" y="92"/>
                  <a:pt x="784" y="92"/>
                </a:cubicBezTo>
                <a:cubicBezTo>
                  <a:pt x="795" y="87"/>
                  <a:pt x="795" y="87"/>
                  <a:pt x="795" y="87"/>
                </a:cubicBezTo>
                <a:cubicBezTo>
                  <a:pt x="795" y="87"/>
                  <a:pt x="791" y="86"/>
                  <a:pt x="796" y="84"/>
                </a:cubicBezTo>
                <a:close/>
                <a:moveTo>
                  <a:pt x="869" y="120"/>
                </a:moveTo>
                <a:cubicBezTo>
                  <a:pt x="866" y="121"/>
                  <a:pt x="861" y="123"/>
                  <a:pt x="866" y="122"/>
                </a:cubicBezTo>
                <a:cubicBezTo>
                  <a:pt x="871" y="121"/>
                  <a:pt x="875" y="120"/>
                  <a:pt x="875" y="120"/>
                </a:cubicBezTo>
                <a:cubicBezTo>
                  <a:pt x="880" y="116"/>
                  <a:pt x="873" y="119"/>
                  <a:pt x="869" y="120"/>
                </a:cubicBezTo>
                <a:close/>
                <a:moveTo>
                  <a:pt x="813" y="71"/>
                </a:moveTo>
                <a:cubicBezTo>
                  <a:pt x="816" y="69"/>
                  <a:pt x="821" y="65"/>
                  <a:pt x="820" y="63"/>
                </a:cubicBezTo>
                <a:cubicBezTo>
                  <a:pt x="819" y="62"/>
                  <a:pt x="812" y="62"/>
                  <a:pt x="810" y="62"/>
                </a:cubicBezTo>
                <a:cubicBezTo>
                  <a:pt x="805" y="63"/>
                  <a:pt x="796" y="66"/>
                  <a:pt x="798" y="67"/>
                </a:cubicBezTo>
                <a:cubicBezTo>
                  <a:pt x="801" y="69"/>
                  <a:pt x="813" y="71"/>
                  <a:pt x="813" y="71"/>
                </a:cubicBezTo>
                <a:close/>
                <a:moveTo>
                  <a:pt x="885" y="118"/>
                </a:moveTo>
                <a:cubicBezTo>
                  <a:pt x="882" y="116"/>
                  <a:pt x="880" y="120"/>
                  <a:pt x="882" y="121"/>
                </a:cubicBezTo>
                <a:cubicBezTo>
                  <a:pt x="882" y="121"/>
                  <a:pt x="888" y="119"/>
                  <a:pt x="885" y="118"/>
                </a:cubicBezTo>
                <a:close/>
                <a:moveTo>
                  <a:pt x="845" y="177"/>
                </a:moveTo>
                <a:cubicBezTo>
                  <a:pt x="847" y="175"/>
                  <a:pt x="841" y="174"/>
                  <a:pt x="841" y="174"/>
                </a:cubicBezTo>
                <a:cubicBezTo>
                  <a:pt x="841" y="174"/>
                  <a:pt x="841" y="180"/>
                  <a:pt x="845" y="177"/>
                </a:cubicBezTo>
                <a:close/>
                <a:moveTo>
                  <a:pt x="872" y="138"/>
                </a:moveTo>
                <a:cubicBezTo>
                  <a:pt x="880" y="139"/>
                  <a:pt x="882" y="137"/>
                  <a:pt x="885" y="135"/>
                </a:cubicBezTo>
                <a:cubicBezTo>
                  <a:pt x="888" y="133"/>
                  <a:pt x="887" y="130"/>
                  <a:pt x="884" y="129"/>
                </a:cubicBezTo>
                <a:cubicBezTo>
                  <a:pt x="881" y="129"/>
                  <a:pt x="875" y="130"/>
                  <a:pt x="875" y="130"/>
                </a:cubicBezTo>
                <a:cubicBezTo>
                  <a:pt x="867" y="135"/>
                  <a:pt x="865" y="136"/>
                  <a:pt x="872" y="138"/>
                </a:cubicBezTo>
                <a:close/>
                <a:moveTo>
                  <a:pt x="46" y="274"/>
                </a:moveTo>
                <a:cubicBezTo>
                  <a:pt x="46" y="271"/>
                  <a:pt x="46" y="271"/>
                  <a:pt x="46" y="271"/>
                </a:cubicBezTo>
                <a:cubicBezTo>
                  <a:pt x="39" y="274"/>
                  <a:pt x="39" y="274"/>
                  <a:pt x="39" y="274"/>
                </a:cubicBezTo>
                <a:cubicBezTo>
                  <a:pt x="46" y="274"/>
                  <a:pt x="46" y="274"/>
                  <a:pt x="46" y="274"/>
                </a:cubicBezTo>
                <a:cubicBezTo>
                  <a:pt x="46" y="274"/>
                  <a:pt x="46" y="274"/>
                  <a:pt x="46" y="274"/>
                </a:cubicBezTo>
                <a:close/>
                <a:moveTo>
                  <a:pt x="0" y="286"/>
                </a:moveTo>
                <a:cubicBezTo>
                  <a:pt x="9" y="284"/>
                  <a:pt x="9" y="284"/>
                  <a:pt x="9" y="284"/>
                </a:cubicBezTo>
                <a:cubicBezTo>
                  <a:pt x="10" y="282"/>
                  <a:pt x="10" y="282"/>
                  <a:pt x="10" y="282"/>
                </a:cubicBezTo>
                <a:cubicBezTo>
                  <a:pt x="19" y="281"/>
                  <a:pt x="19" y="281"/>
                  <a:pt x="19" y="281"/>
                </a:cubicBezTo>
                <a:cubicBezTo>
                  <a:pt x="16" y="278"/>
                  <a:pt x="16" y="278"/>
                  <a:pt x="16" y="278"/>
                </a:cubicBezTo>
                <a:cubicBezTo>
                  <a:pt x="0" y="286"/>
                  <a:pt x="0" y="286"/>
                  <a:pt x="0" y="286"/>
                </a:cubicBezTo>
                <a:cubicBezTo>
                  <a:pt x="0" y="286"/>
                  <a:pt x="0" y="286"/>
                  <a:pt x="0" y="286"/>
                </a:cubicBezTo>
                <a:close/>
                <a:moveTo>
                  <a:pt x="110" y="214"/>
                </a:moveTo>
                <a:cubicBezTo>
                  <a:pt x="114" y="213"/>
                  <a:pt x="124" y="209"/>
                  <a:pt x="121" y="208"/>
                </a:cubicBezTo>
                <a:cubicBezTo>
                  <a:pt x="117" y="207"/>
                  <a:pt x="113" y="206"/>
                  <a:pt x="112" y="208"/>
                </a:cubicBezTo>
                <a:cubicBezTo>
                  <a:pt x="110" y="209"/>
                  <a:pt x="108" y="206"/>
                  <a:pt x="107" y="208"/>
                </a:cubicBezTo>
                <a:cubicBezTo>
                  <a:pt x="106" y="211"/>
                  <a:pt x="107" y="214"/>
                  <a:pt x="110" y="214"/>
                </a:cubicBezTo>
                <a:close/>
                <a:moveTo>
                  <a:pt x="22" y="280"/>
                </a:moveTo>
                <a:cubicBezTo>
                  <a:pt x="28" y="280"/>
                  <a:pt x="28" y="280"/>
                  <a:pt x="28" y="280"/>
                </a:cubicBezTo>
                <a:cubicBezTo>
                  <a:pt x="34" y="276"/>
                  <a:pt x="34" y="276"/>
                  <a:pt x="34" y="276"/>
                </a:cubicBezTo>
                <a:cubicBezTo>
                  <a:pt x="32" y="274"/>
                  <a:pt x="32" y="274"/>
                  <a:pt x="32" y="274"/>
                </a:cubicBezTo>
                <a:cubicBezTo>
                  <a:pt x="22" y="280"/>
                  <a:pt x="22" y="280"/>
                  <a:pt x="22" y="280"/>
                </a:cubicBezTo>
                <a:cubicBezTo>
                  <a:pt x="22" y="280"/>
                  <a:pt x="22" y="280"/>
                  <a:pt x="22" y="280"/>
                </a:cubicBezTo>
                <a:close/>
                <a:moveTo>
                  <a:pt x="69" y="263"/>
                </a:moveTo>
                <a:cubicBezTo>
                  <a:pt x="67" y="263"/>
                  <a:pt x="61" y="265"/>
                  <a:pt x="61" y="265"/>
                </a:cubicBezTo>
                <a:cubicBezTo>
                  <a:pt x="61" y="265"/>
                  <a:pt x="53" y="268"/>
                  <a:pt x="53" y="270"/>
                </a:cubicBezTo>
                <a:cubicBezTo>
                  <a:pt x="54" y="271"/>
                  <a:pt x="56" y="270"/>
                  <a:pt x="60" y="269"/>
                </a:cubicBezTo>
                <a:cubicBezTo>
                  <a:pt x="64" y="267"/>
                  <a:pt x="69" y="270"/>
                  <a:pt x="70" y="268"/>
                </a:cubicBezTo>
                <a:cubicBezTo>
                  <a:pt x="72" y="267"/>
                  <a:pt x="72" y="263"/>
                  <a:pt x="69" y="263"/>
                </a:cubicBezTo>
                <a:close/>
                <a:moveTo>
                  <a:pt x="190" y="233"/>
                </a:moveTo>
                <a:cubicBezTo>
                  <a:pt x="189" y="233"/>
                  <a:pt x="187" y="234"/>
                  <a:pt x="187" y="234"/>
                </a:cubicBezTo>
                <a:cubicBezTo>
                  <a:pt x="187" y="234"/>
                  <a:pt x="185" y="233"/>
                  <a:pt x="184" y="233"/>
                </a:cubicBezTo>
                <a:cubicBezTo>
                  <a:pt x="183" y="233"/>
                  <a:pt x="183" y="237"/>
                  <a:pt x="183" y="237"/>
                </a:cubicBezTo>
                <a:cubicBezTo>
                  <a:pt x="180" y="239"/>
                  <a:pt x="180" y="239"/>
                  <a:pt x="180" y="239"/>
                </a:cubicBezTo>
                <a:cubicBezTo>
                  <a:pt x="180" y="235"/>
                  <a:pt x="180" y="235"/>
                  <a:pt x="180" y="235"/>
                </a:cubicBezTo>
                <a:cubicBezTo>
                  <a:pt x="180" y="235"/>
                  <a:pt x="177" y="234"/>
                  <a:pt x="174" y="237"/>
                </a:cubicBezTo>
                <a:cubicBezTo>
                  <a:pt x="174" y="237"/>
                  <a:pt x="170" y="239"/>
                  <a:pt x="170" y="241"/>
                </a:cubicBezTo>
                <a:cubicBezTo>
                  <a:pt x="169" y="243"/>
                  <a:pt x="174" y="243"/>
                  <a:pt x="174" y="243"/>
                </a:cubicBezTo>
                <a:cubicBezTo>
                  <a:pt x="174" y="243"/>
                  <a:pt x="180" y="243"/>
                  <a:pt x="182" y="242"/>
                </a:cubicBezTo>
                <a:cubicBezTo>
                  <a:pt x="185" y="241"/>
                  <a:pt x="184" y="239"/>
                  <a:pt x="184" y="239"/>
                </a:cubicBezTo>
                <a:cubicBezTo>
                  <a:pt x="188" y="239"/>
                  <a:pt x="188" y="239"/>
                  <a:pt x="188" y="239"/>
                </a:cubicBezTo>
                <a:cubicBezTo>
                  <a:pt x="188" y="237"/>
                  <a:pt x="188" y="237"/>
                  <a:pt x="188" y="237"/>
                </a:cubicBezTo>
                <a:cubicBezTo>
                  <a:pt x="194" y="237"/>
                  <a:pt x="194" y="237"/>
                  <a:pt x="194" y="237"/>
                </a:cubicBezTo>
                <a:cubicBezTo>
                  <a:pt x="195" y="234"/>
                  <a:pt x="195" y="234"/>
                  <a:pt x="195" y="234"/>
                </a:cubicBezTo>
                <a:cubicBezTo>
                  <a:pt x="192" y="234"/>
                  <a:pt x="192" y="234"/>
                  <a:pt x="192" y="234"/>
                </a:cubicBezTo>
                <a:cubicBezTo>
                  <a:pt x="192" y="234"/>
                  <a:pt x="191" y="233"/>
                  <a:pt x="190" y="233"/>
                </a:cubicBezTo>
                <a:close/>
                <a:moveTo>
                  <a:pt x="631" y="55"/>
                </a:moveTo>
                <a:cubicBezTo>
                  <a:pt x="631" y="55"/>
                  <a:pt x="639" y="53"/>
                  <a:pt x="641" y="55"/>
                </a:cubicBezTo>
                <a:cubicBezTo>
                  <a:pt x="643" y="56"/>
                  <a:pt x="642" y="58"/>
                  <a:pt x="645" y="58"/>
                </a:cubicBezTo>
                <a:cubicBezTo>
                  <a:pt x="647" y="58"/>
                  <a:pt x="652" y="57"/>
                  <a:pt x="652" y="57"/>
                </a:cubicBezTo>
                <a:cubicBezTo>
                  <a:pt x="652" y="57"/>
                  <a:pt x="655" y="59"/>
                  <a:pt x="658" y="57"/>
                </a:cubicBezTo>
                <a:cubicBezTo>
                  <a:pt x="662" y="56"/>
                  <a:pt x="661" y="53"/>
                  <a:pt x="661" y="53"/>
                </a:cubicBezTo>
                <a:cubicBezTo>
                  <a:pt x="666" y="53"/>
                  <a:pt x="666" y="53"/>
                  <a:pt x="666" y="53"/>
                </a:cubicBezTo>
                <a:cubicBezTo>
                  <a:pt x="675" y="50"/>
                  <a:pt x="675" y="50"/>
                  <a:pt x="675" y="50"/>
                </a:cubicBezTo>
                <a:cubicBezTo>
                  <a:pt x="670" y="54"/>
                  <a:pt x="670" y="54"/>
                  <a:pt x="670" y="54"/>
                </a:cubicBezTo>
                <a:cubicBezTo>
                  <a:pt x="677" y="56"/>
                  <a:pt x="677" y="56"/>
                  <a:pt x="677" y="56"/>
                </a:cubicBezTo>
                <a:cubicBezTo>
                  <a:pt x="685" y="53"/>
                  <a:pt x="685" y="53"/>
                  <a:pt x="685" y="53"/>
                </a:cubicBezTo>
                <a:cubicBezTo>
                  <a:pt x="698" y="47"/>
                  <a:pt x="698" y="47"/>
                  <a:pt x="698" y="47"/>
                </a:cubicBezTo>
                <a:cubicBezTo>
                  <a:pt x="698" y="47"/>
                  <a:pt x="688" y="43"/>
                  <a:pt x="686" y="43"/>
                </a:cubicBezTo>
                <a:cubicBezTo>
                  <a:pt x="684" y="43"/>
                  <a:pt x="673" y="43"/>
                  <a:pt x="673" y="43"/>
                </a:cubicBezTo>
                <a:cubicBezTo>
                  <a:pt x="662" y="44"/>
                  <a:pt x="662" y="44"/>
                  <a:pt x="662" y="44"/>
                </a:cubicBezTo>
                <a:cubicBezTo>
                  <a:pt x="662" y="47"/>
                  <a:pt x="662" y="47"/>
                  <a:pt x="662" y="47"/>
                </a:cubicBezTo>
                <a:cubicBezTo>
                  <a:pt x="645" y="48"/>
                  <a:pt x="645" y="48"/>
                  <a:pt x="645" y="48"/>
                </a:cubicBezTo>
                <a:cubicBezTo>
                  <a:pt x="645" y="48"/>
                  <a:pt x="640" y="47"/>
                  <a:pt x="635" y="47"/>
                </a:cubicBezTo>
                <a:cubicBezTo>
                  <a:pt x="631" y="48"/>
                  <a:pt x="631" y="50"/>
                  <a:pt x="631" y="50"/>
                </a:cubicBezTo>
                <a:cubicBezTo>
                  <a:pt x="631" y="51"/>
                  <a:pt x="631" y="55"/>
                  <a:pt x="631" y="55"/>
                </a:cubicBezTo>
                <a:close/>
                <a:moveTo>
                  <a:pt x="726" y="48"/>
                </a:moveTo>
                <a:cubicBezTo>
                  <a:pt x="739" y="48"/>
                  <a:pt x="738" y="44"/>
                  <a:pt x="738" y="44"/>
                </a:cubicBezTo>
                <a:cubicBezTo>
                  <a:pt x="737" y="42"/>
                  <a:pt x="737" y="42"/>
                  <a:pt x="737" y="42"/>
                </a:cubicBezTo>
                <a:cubicBezTo>
                  <a:pt x="747" y="41"/>
                  <a:pt x="747" y="41"/>
                  <a:pt x="747" y="41"/>
                </a:cubicBezTo>
                <a:cubicBezTo>
                  <a:pt x="745" y="40"/>
                  <a:pt x="745" y="40"/>
                  <a:pt x="745" y="40"/>
                </a:cubicBezTo>
                <a:cubicBezTo>
                  <a:pt x="735" y="40"/>
                  <a:pt x="735" y="40"/>
                  <a:pt x="735" y="40"/>
                </a:cubicBezTo>
                <a:cubicBezTo>
                  <a:pt x="734" y="42"/>
                  <a:pt x="734" y="42"/>
                  <a:pt x="734" y="42"/>
                </a:cubicBezTo>
                <a:cubicBezTo>
                  <a:pt x="734" y="42"/>
                  <a:pt x="721" y="39"/>
                  <a:pt x="720" y="42"/>
                </a:cubicBezTo>
                <a:cubicBezTo>
                  <a:pt x="719" y="46"/>
                  <a:pt x="726" y="48"/>
                  <a:pt x="726" y="48"/>
                </a:cubicBezTo>
                <a:close/>
                <a:moveTo>
                  <a:pt x="684" y="57"/>
                </a:moveTo>
                <a:cubicBezTo>
                  <a:pt x="676" y="60"/>
                  <a:pt x="676" y="60"/>
                  <a:pt x="676" y="60"/>
                </a:cubicBezTo>
                <a:cubicBezTo>
                  <a:pt x="676" y="60"/>
                  <a:pt x="683" y="62"/>
                  <a:pt x="680" y="62"/>
                </a:cubicBezTo>
                <a:cubicBezTo>
                  <a:pt x="677" y="63"/>
                  <a:pt x="664" y="64"/>
                  <a:pt x="664" y="64"/>
                </a:cubicBezTo>
                <a:cubicBezTo>
                  <a:pt x="662" y="67"/>
                  <a:pt x="662" y="67"/>
                  <a:pt x="662" y="67"/>
                </a:cubicBezTo>
                <a:cubicBezTo>
                  <a:pt x="669" y="66"/>
                  <a:pt x="669" y="66"/>
                  <a:pt x="669" y="66"/>
                </a:cubicBezTo>
                <a:cubicBezTo>
                  <a:pt x="669" y="66"/>
                  <a:pt x="672" y="67"/>
                  <a:pt x="676" y="68"/>
                </a:cubicBezTo>
                <a:cubicBezTo>
                  <a:pt x="680" y="68"/>
                  <a:pt x="692" y="65"/>
                  <a:pt x="692" y="65"/>
                </a:cubicBezTo>
                <a:cubicBezTo>
                  <a:pt x="692" y="66"/>
                  <a:pt x="692" y="66"/>
                  <a:pt x="692" y="66"/>
                </a:cubicBezTo>
                <a:cubicBezTo>
                  <a:pt x="692" y="66"/>
                  <a:pt x="700" y="65"/>
                  <a:pt x="706" y="65"/>
                </a:cubicBezTo>
                <a:cubicBezTo>
                  <a:pt x="712" y="65"/>
                  <a:pt x="707" y="66"/>
                  <a:pt x="704" y="66"/>
                </a:cubicBezTo>
                <a:cubicBezTo>
                  <a:pt x="702" y="67"/>
                  <a:pt x="695" y="67"/>
                  <a:pt x="690" y="68"/>
                </a:cubicBezTo>
                <a:cubicBezTo>
                  <a:pt x="685" y="69"/>
                  <a:pt x="678" y="71"/>
                  <a:pt x="678" y="71"/>
                </a:cubicBezTo>
                <a:cubicBezTo>
                  <a:pt x="678" y="71"/>
                  <a:pt x="684" y="72"/>
                  <a:pt x="695" y="72"/>
                </a:cubicBezTo>
                <a:cubicBezTo>
                  <a:pt x="705" y="73"/>
                  <a:pt x="712" y="68"/>
                  <a:pt x="712" y="68"/>
                </a:cubicBezTo>
                <a:cubicBezTo>
                  <a:pt x="722" y="66"/>
                  <a:pt x="722" y="66"/>
                  <a:pt x="722" y="66"/>
                </a:cubicBezTo>
                <a:cubicBezTo>
                  <a:pt x="722" y="66"/>
                  <a:pt x="726" y="67"/>
                  <a:pt x="736" y="66"/>
                </a:cubicBezTo>
                <a:cubicBezTo>
                  <a:pt x="745" y="64"/>
                  <a:pt x="746" y="62"/>
                  <a:pt x="750" y="61"/>
                </a:cubicBezTo>
                <a:cubicBezTo>
                  <a:pt x="754" y="60"/>
                  <a:pt x="751" y="56"/>
                  <a:pt x="746" y="56"/>
                </a:cubicBezTo>
                <a:cubicBezTo>
                  <a:pt x="742" y="56"/>
                  <a:pt x="744" y="59"/>
                  <a:pt x="744" y="59"/>
                </a:cubicBezTo>
                <a:cubicBezTo>
                  <a:pt x="738" y="59"/>
                  <a:pt x="738" y="59"/>
                  <a:pt x="738" y="59"/>
                </a:cubicBezTo>
                <a:cubicBezTo>
                  <a:pt x="738" y="59"/>
                  <a:pt x="739" y="57"/>
                  <a:pt x="740" y="56"/>
                </a:cubicBezTo>
                <a:cubicBezTo>
                  <a:pt x="741" y="54"/>
                  <a:pt x="744" y="51"/>
                  <a:pt x="741" y="51"/>
                </a:cubicBezTo>
                <a:cubicBezTo>
                  <a:pt x="739" y="50"/>
                  <a:pt x="734" y="53"/>
                  <a:pt x="727" y="55"/>
                </a:cubicBezTo>
                <a:cubicBezTo>
                  <a:pt x="719" y="57"/>
                  <a:pt x="731" y="56"/>
                  <a:pt x="731" y="56"/>
                </a:cubicBezTo>
                <a:cubicBezTo>
                  <a:pt x="730" y="60"/>
                  <a:pt x="730" y="60"/>
                  <a:pt x="730" y="60"/>
                </a:cubicBezTo>
                <a:cubicBezTo>
                  <a:pt x="714" y="62"/>
                  <a:pt x="714" y="62"/>
                  <a:pt x="714" y="62"/>
                </a:cubicBezTo>
                <a:cubicBezTo>
                  <a:pt x="714" y="62"/>
                  <a:pt x="712" y="58"/>
                  <a:pt x="713" y="56"/>
                </a:cubicBezTo>
                <a:cubicBezTo>
                  <a:pt x="714" y="54"/>
                  <a:pt x="702" y="53"/>
                  <a:pt x="702" y="53"/>
                </a:cubicBezTo>
                <a:cubicBezTo>
                  <a:pt x="684" y="57"/>
                  <a:pt x="684" y="57"/>
                  <a:pt x="684" y="57"/>
                </a:cubicBezTo>
                <a:cubicBezTo>
                  <a:pt x="684" y="57"/>
                  <a:pt x="684" y="57"/>
                  <a:pt x="684" y="57"/>
                </a:cubicBezTo>
                <a:close/>
                <a:moveTo>
                  <a:pt x="574" y="98"/>
                </a:moveTo>
                <a:cubicBezTo>
                  <a:pt x="575" y="100"/>
                  <a:pt x="569" y="104"/>
                  <a:pt x="575" y="103"/>
                </a:cubicBezTo>
                <a:cubicBezTo>
                  <a:pt x="581" y="102"/>
                  <a:pt x="588" y="99"/>
                  <a:pt x="588" y="99"/>
                </a:cubicBezTo>
                <a:cubicBezTo>
                  <a:pt x="593" y="101"/>
                  <a:pt x="593" y="101"/>
                  <a:pt x="593" y="101"/>
                </a:cubicBezTo>
                <a:cubicBezTo>
                  <a:pt x="604" y="93"/>
                  <a:pt x="604" y="93"/>
                  <a:pt x="604" y="93"/>
                </a:cubicBezTo>
                <a:cubicBezTo>
                  <a:pt x="622" y="87"/>
                  <a:pt x="622" y="87"/>
                  <a:pt x="622" y="87"/>
                </a:cubicBezTo>
                <a:cubicBezTo>
                  <a:pt x="640" y="82"/>
                  <a:pt x="640" y="82"/>
                  <a:pt x="640" y="82"/>
                </a:cubicBezTo>
                <a:cubicBezTo>
                  <a:pt x="654" y="79"/>
                  <a:pt x="654" y="79"/>
                  <a:pt x="654" y="79"/>
                </a:cubicBezTo>
                <a:cubicBezTo>
                  <a:pt x="654" y="79"/>
                  <a:pt x="645" y="73"/>
                  <a:pt x="645" y="72"/>
                </a:cubicBezTo>
                <a:cubicBezTo>
                  <a:pt x="644" y="71"/>
                  <a:pt x="634" y="72"/>
                  <a:pt x="634" y="72"/>
                </a:cubicBezTo>
                <a:cubicBezTo>
                  <a:pt x="625" y="74"/>
                  <a:pt x="625" y="74"/>
                  <a:pt x="625" y="74"/>
                </a:cubicBezTo>
                <a:cubicBezTo>
                  <a:pt x="620" y="70"/>
                  <a:pt x="620" y="70"/>
                  <a:pt x="620" y="70"/>
                </a:cubicBezTo>
                <a:cubicBezTo>
                  <a:pt x="609" y="71"/>
                  <a:pt x="609" y="71"/>
                  <a:pt x="609" y="71"/>
                </a:cubicBezTo>
                <a:cubicBezTo>
                  <a:pt x="601" y="74"/>
                  <a:pt x="601" y="74"/>
                  <a:pt x="601" y="74"/>
                </a:cubicBezTo>
                <a:cubicBezTo>
                  <a:pt x="599" y="76"/>
                  <a:pt x="599" y="76"/>
                  <a:pt x="599" y="76"/>
                </a:cubicBezTo>
                <a:cubicBezTo>
                  <a:pt x="597" y="80"/>
                  <a:pt x="597" y="80"/>
                  <a:pt x="597" y="80"/>
                </a:cubicBezTo>
                <a:cubicBezTo>
                  <a:pt x="590" y="82"/>
                  <a:pt x="590" y="82"/>
                  <a:pt x="590" y="82"/>
                </a:cubicBezTo>
                <a:cubicBezTo>
                  <a:pt x="581" y="85"/>
                  <a:pt x="581" y="85"/>
                  <a:pt x="581" y="85"/>
                </a:cubicBezTo>
                <a:cubicBezTo>
                  <a:pt x="584" y="87"/>
                  <a:pt x="584" y="87"/>
                  <a:pt x="584" y="87"/>
                </a:cubicBezTo>
                <a:cubicBezTo>
                  <a:pt x="567" y="94"/>
                  <a:pt x="567" y="94"/>
                  <a:pt x="567" y="94"/>
                </a:cubicBezTo>
                <a:cubicBezTo>
                  <a:pt x="567" y="94"/>
                  <a:pt x="573" y="95"/>
                  <a:pt x="574" y="98"/>
                </a:cubicBezTo>
                <a:close/>
                <a:moveTo>
                  <a:pt x="705" y="51"/>
                </a:moveTo>
                <a:cubicBezTo>
                  <a:pt x="709" y="48"/>
                  <a:pt x="705" y="46"/>
                  <a:pt x="701" y="48"/>
                </a:cubicBezTo>
                <a:cubicBezTo>
                  <a:pt x="697" y="50"/>
                  <a:pt x="705" y="51"/>
                  <a:pt x="705" y="51"/>
                </a:cubicBezTo>
                <a:close/>
                <a:moveTo>
                  <a:pt x="744" y="38"/>
                </a:moveTo>
                <a:cubicBezTo>
                  <a:pt x="746" y="38"/>
                  <a:pt x="752" y="40"/>
                  <a:pt x="753" y="38"/>
                </a:cubicBezTo>
                <a:cubicBezTo>
                  <a:pt x="753" y="36"/>
                  <a:pt x="751" y="35"/>
                  <a:pt x="748" y="35"/>
                </a:cubicBezTo>
                <a:cubicBezTo>
                  <a:pt x="744" y="35"/>
                  <a:pt x="730" y="37"/>
                  <a:pt x="730" y="37"/>
                </a:cubicBezTo>
                <a:cubicBezTo>
                  <a:pt x="730" y="37"/>
                  <a:pt x="742" y="39"/>
                  <a:pt x="744" y="38"/>
                </a:cubicBezTo>
                <a:close/>
                <a:moveTo>
                  <a:pt x="893" y="87"/>
                </a:moveTo>
                <a:cubicBezTo>
                  <a:pt x="896" y="88"/>
                  <a:pt x="901" y="85"/>
                  <a:pt x="901" y="85"/>
                </a:cubicBezTo>
                <a:cubicBezTo>
                  <a:pt x="909" y="85"/>
                  <a:pt x="909" y="85"/>
                  <a:pt x="909" y="85"/>
                </a:cubicBezTo>
                <a:cubicBezTo>
                  <a:pt x="909" y="85"/>
                  <a:pt x="915" y="87"/>
                  <a:pt x="917" y="86"/>
                </a:cubicBezTo>
                <a:cubicBezTo>
                  <a:pt x="918" y="85"/>
                  <a:pt x="917" y="80"/>
                  <a:pt x="913" y="79"/>
                </a:cubicBezTo>
                <a:cubicBezTo>
                  <a:pt x="909" y="79"/>
                  <a:pt x="906" y="80"/>
                  <a:pt x="906" y="80"/>
                </a:cubicBezTo>
                <a:cubicBezTo>
                  <a:pt x="901" y="80"/>
                  <a:pt x="901" y="80"/>
                  <a:pt x="901" y="80"/>
                </a:cubicBezTo>
                <a:cubicBezTo>
                  <a:pt x="901" y="80"/>
                  <a:pt x="894" y="77"/>
                  <a:pt x="892" y="79"/>
                </a:cubicBezTo>
                <a:cubicBezTo>
                  <a:pt x="890" y="81"/>
                  <a:pt x="889" y="82"/>
                  <a:pt x="889" y="82"/>
                </a:cubicBezTo>
                <a:cubicBezTo>
                  <a:pt x="892" y="83"/>
                  <a:pt x="892" y="83"/>
                  <a:pt x="892" y="83"/>
                </a:cubicBezTo>
                <a:cubicBezTo>
                  <a:pt x="892" y="83"/>
                  <a:pt x="890" y="86"/>
                  <a:pt x="893" y="87"/>
                </a:cubicBezTo>
                <a:close/>
                <a:moveTo>
                  <a:pt x="839" y="24"/>
                </a:moveTo>
                <a:cubicBezTo>
                  <a:pt x="831" y="25"/>
                  <a:pt x="831" y="25"/>
                  <a:pt x="831" y="25"/>
                </a:cubicBezTo>
                <a:cubicBezTo>
                  <a:pt x="834" y="29"/>
                  <a:pt x="834" y="29"/>
                  <a:pt x="834" y="29"/>
                </a:cubicBezTo>
                <a:cubicBezTo>
                  <a:pt x="839" y="24"/>
                  <a:pt x="839" y="24"/>
                  <a:pt x="839" y="24"/>
                </a:cubicBezTo>
                <a:cubicBezTo>
                  <a:pt x="839" y="24"/>
                  <a:pt x="839" y="24"/>
                  <a:pt x="839" y="24"/>
                </a:cubicBezTo>
                <a:close/>
                <a:moveTo>
                  <a:pt x="714" y="107"/>
                </a:moveTo>
                <a:cubicBezTo>
                  <a:pt x="713" y="106"/>
                  <a:pt x="700" y="106"/>
                  <a:pt x="700" y="106"/>
                </a:cubicBezTo>
                <a:cubicBezTo>
                  <a:pt x="711" y="100"/>
                  <a:pt x="711" y="100"/>
                  <a:pt x="711" y="100"/>
                </a:cubicBezTo>
                <a:cubicBezTo>
                  <a:pt x="711" y="100"/>
                  <a:pt x="717" y="85"/>
                  <a:pt x="711" y="83"/>
                </a:cubicBezTo>
                <a:cubicBezTo>
                  <a:pt x="706" y="81"/>
                  <a:pt x="698" y="85"/>
                  <a:pt x="698" y="85"/>
                </a:cubicBezTo>
                <a:cubicBezTo>
                  <a:pt x="698" y="85"/>
                  <a:pt x="692" y="96"/>
                  <a:pt x="687" y="97"/>
                </a:cubicBezTo>
                <a:cubicBezTo>
                  <a:pt x="682" y="98"/>
                  <a:pt x="690" y="89"/>
                  <a:pt x="690" y="87"/>
                </a:cubicBezTo>
                <a:cubicBezTo>
                  <a:pt x="690" y="85"/>
                  <a:pt x="676" y="85"/>
                  <a:pt x="676" y="85"/>
                </a:cubicBezTo>
                <a:cubicBezTo>
                  <a:pt x="675" y="88"/>
                  <a:pt x="675" y="88"/>
                  <a:pt x="675" y="88"/>
                </a:cubicBezTo>
                <a:cubicBezTo>
                  <a:pt x="675" y="88"/>
                  <a:pt x="667" y="91"/>
                  <a:pt x="660" y="91"/>
                </a:cubicBezTo>
                <a:cubicBezTo>
                  <a:pt x="652" y="92"/>
                  <a:pt x="663" y="89"/>
                  <a:pt x="671" y="86"/>
                </a:cubicBezTo>
                <a:cubicBezTo>
                  <a:pt x="678" y="84"/>
                  <a:pt x="667" y="84"/>
                  <a:pt x="667" y="84"/>
                </a:cubicBezTo>
                <a:cubicBezTo>
                  <a:pt x="658" y="86"/>
                  <a:pt x="658" y="86"/>
                  <a:pt x="658" y="86"/>
                </a:cubicBezTo>
                <a:cubicBezTo>
                  <a:pt x="652" y="87"/>
                  <a:pt x="652" y="87"/>
                  <a:pt x="652" y="87"/>
                </a:cubicBezTo>
                <a:cubicBezTo>
                  <a:pt x="652" y="87"/>
                  <a:pt x="655" y="85"/>
                  <a:pt x="659" y="82"/>
                </a:cubicBezTo>
                <a:cubicBezTo>
                  <a:pt x="662" y="80"/>
                  <a:pt x="658" y="80"/>
                  <a:pt x="658" y="80"/>
                </a:cubicBezTo>
                <a:cubicBezTo>
                  <a:pt x="637" y="87"/>
                  <a:pt x="637" y="87"/>
                  <a:pt x="637" y="87"/>
                </a:cubicBezTo>
                <a:cubicBezTo>
                  <a:pt x="634" y="87"/>
                  <a:pt x="634" y="87"/>
                  <a:pt x="634" y="87"/>
                </a:cubicBezTo>
                <a:cubicBezTo>
                  <a:pt x="623" y="91"/>
                  <a:pt x="623" y="91"/>
                  <a:pt x="623" y="91"/>
                </a:cubicBezTo>
                <a:cubicBezTo>
                  <a:pt x="623" y="92"/>
                  <a:pt x="623" y="92"/>
                  <a:pt x="623" y="92"/>
                </a:cubicBezTo>
                <a:cubicBezTo>
                  <a:pt x="615" y="95"/>
                  <a:pt x="615" y="95"/>
                  <a:pt x="615" y="95"/>
                </a:cubicBezTo>
                <a:cubicBezTo>
                  <a:pt x="613" y="98"/>
                  <a:pt x="613" y="98"/>
                  <a:pt x="613" y="98"/>
                </a:cubicBezTo>
                <a:cubicBezTo>
                  <a:pt x="617" y="99"/>
                  <a:pt x="617" y="99"/>
                  <a:pt x="617" y="99"/>
                </a:cubicBezTo>
                <a:cubicBezTo>
                  <a:pt x="617" y="99"/>
                  <a:pt x="621" y="96"/>
                  <a:pt x="622" y="99"/>
                </a:cubicBezTo>
                <a:cubicBezTo>
                  <a:pt x="623" y="101"/>
                  <a:pt x="614" y="100"/>
                  <a:pt x="611" y="104"/>
                </a:cubicBezTo>
                <a:cubicBezTo>
                  <a:pt x="609" y="108"/>
                  <a:pt x="642" y="104"/>
                  <a:pt x="637" y="108"/>
                </a:cubicBezTo>
                <a:cubicBezTo>
                  <a:pt x="633" y="111"/>
                  <a:pt x="607" y="109"/>
                  <a:pt x="604" y="113"/>
                </a:cubicBezTo>
                <a:cubicBezTo>
                  <a:pt x="602" y="116"/>
                  <a:pt x="609" y="116"/>
                  <a:pt x="613" y="118"/>
                </a:cubicBezTo>
                <a:cubicBezTo>
                  <a:pt x="618" y="121"/>
                  <a:pt x="611" y="119"/>
                  <a:pt x="610" y="123"/>
                </a:cubicBezTo>
                <a:cubicBezTo>
                  <a:pt x="609" y="126"/>
                  <a:pt x="631" y="125"/>
                  <a:pt x="631" y="125"/>
                </a:cubicBezTo>
                <a:cubicBezTo>
                  <a:pt x="631" y="125"/>
                  <a:pt x="666" y="121"/>
                  <a:pt x="674" y="119"/>
                </a:cubicBezTo>
                <a:cubicBezTo>
                  <a:pt x="680" y="117"/>
                  <a:pt x="691" y="125"/>
                  <a:pt x="697" y="125"/>
                </a:cubicBezTo>
                <a:cubicBezTo>
                  <a:pt x="704" y="126"/>
                  <a:pt x="707" y="118"/>
                  <a:pt x="707" y="118"/>
                </a:cubicBezTo>
                <a:cubicBezTo>
                  <a:pt x="696" y="118"/>
                  <a:pt x="696" y="118"/>
                  <a:pt x="696" y="118"/>
                </a:cubicBezTo>
                <a:cubicBezTo>
                  <a:pt x="700" y="114"/>
                  <a:pt x="700" y="114"/>
                  <a:pt x="700" y="114"/>
                </a:cubicBezTo>
                <a:cubicBezTo>
                  <a:pt x="700" y="114"/>
                  <a:pt x="707" y="116"/>
                  <a:pt x="714" y="114"/>
                </a:cubicBezTo>
                <a:cubicBezTo>
                  <a:pt x="721" y="113"/>
                  <a:pt x="714" y="109"/>
                  <a:pt x="714" y="107"/>
                </a:cubicBezTo>
                <a:close/>
                <a:moveTo>
                  <a:pt x="831" y="50"/>
                </a:moveTo>
                <a:cubicBezTo>
                  <a:pt x="830" y="50"/>
                  <a:pt x="828" y="49"/>
                  <a:pt x="828" y="49"/>
                </a:cubicBezTo>
                <a:cubicBezTo>
                  <a:pt x="828" y="49"/>
                  <a:pt x="816" y="49"/>
                  <a:pt x="816" y="51"/>
                </a:cubicBezTo>
                <a:cubicBezTo>
                  <a:pt x="816" y="53"/>
                  <a:pt x="819" y="53"/>
                  <a:pt x="819" y="53"/>
                </a:cubicBezTo>
                <a:cubicBezTo>
                  <a:pt x="820" y="56"/>
                  <a:pt x="820" y="56"/>
                  <a:pt x="820" y="56"/>
                </a:cubicBezTo>
                <a:cubicBezTo>
                  <a:pt x="820" y="56"/>
                  <a:pt x="830" y="57"/>
                  <a:pt x="831" y="56"/>
                </a:cubicBezTo>
                <a:cubicBezTo>
                  <a:pt x="832" y="56"/>
                  <a:pt x="834" y="56"/>
                  <a:pt x="836" y="56"/>
                </a:cubicBezTo>
                <a:cubicBezTo>
                  <a:pt x="835" y="58"/>
                  <a:pt x="835" y="60"/>
                  <a:pt x="835" y="60"/>
                </a:cubicBezTo>
                <a:cubicBezTo>
                  <a:pt x="827" y="66"/>
                  <a:pt x="827" y="66"/>
                  <a:pt x="827" y="66"/>
                </a:cubicBezTo>
                <a:cubicBezTo>
                  <a:pt x="830" y="67"/>
                  <a:pt x="830" y="67"/>
                  <a:pt x="830" y="67"/>
                </a:cubicBezTo>
                <a:cubicBezTo>
                  <a:pt x="830" y="67"/>
                  <a:pt x="825" y="70"/>
                  <a:pt x="827" y="70"/>
                </a:cubicBezTo>
                <a:cubicBezTo>
                  <a:pt x="830" y="70"/>
                  <a:pt x="834" y="68"/>
                  <a:pt x="834" y="68"/>
                </a:cubicBezTo>
                <a:cubicBezTo>
                  <a:pt x="834" y="68"/>
                  <a:pt x="832" y="71"/>
                  <a:pt x="836" y="71"/>
                </a:cubicBezTo>
                <a:cubicBezTo>
                  <a:pt x="840" y="70"/>
                  <a:pt x="847" y="68"/>
                  <a:pt x="847" y="68"/>
                </a:cubicBezTo>
                <a:cubicBezTo>
                  <a:pt x="848" y="71"/>
                  <a:pt x="848" y="71"/>
                  <a:pt x="848" y="71"/>
                </a:cubicBezTo>
                <a:cubicBezTo>
                  <a:pt x="857" y="70"/>
                  <a:pt x="857" y="70"/>
                  <a:pt x="857" y="70"/>
                </a:cubicBezTo>
                <a:cubicBezTo>
                  <a:pt x="868" y="72"/>
                  <a:pt x="868" y="72"/>
                  <a:pt x="868" y="72"/>
                </a:cubicBezTo>
                <a:cubicBezTo>
                  <a:pt x="881" y="71"/>
                  <a:pt x="881" y="71"/>
                  <a:pt x="881" y="71"/>
                </a:cubicBezTo>
                <a:cubicBezTo>
                  <a:pt x="885" y="68"/>
                  <a:pt x="885" y="68"/>
                  <a:pt x="885" y="68"/>
                </a:cubicBezTo>
                <a:cubicBezTo>
                  <a:pt x="885" y="68"/>
                  <a:pt x="883" y="71"/>
                  <a:pt x="886" y="71"/>
                </a:cubicBezTo>
                <a:cubicBezTo>
                  <a:pt x="888" y="71"/>
                  <a:pt x="904" y="71"/>
                  <a:pt x="904" y="71"/>
                </a:cubicBezTo>
                <a:cubicBezTo>
                  <a:pt x="905" y="68"/>
                  <a:pt x="905" y="68"/>
                  <a:pt x="905" y="68"/>
                </a:cubicBezTo>
                <a:cubicBezTo>
                  <a:pt x="915" y="64"/>
                  <a:pt x="915" y="64"/>
                  <a:pt x="915" y="64"/>
                </a:cubicBezTo>
                <a:cubicBezTo>
                  <a:pt x="912" y="63"/>
                  <a:pt x="912" y="63"/>
                  <a:pt x="912" y="63"/>
                </a:cubicBezTo>
                <a:cubicBezTo>
                  <a:pt x="912" y="62"/>
                  <a:pt x="912" y="62"/>
                  <a:pt x="912" y="62"/>
                </a:cubicBezTo>
                <a:cubicBezTo>
                  <a:pt x="912" y="62"/>
                  <a:pt x="903" y="59"/>
                  <a:pt x="900" y="59"/>
                </a:cubicBezTo>
                <a:cubicBezTo>
                  <a:pt x="896" y="59"/>
                  <a:pt x="871" y="64"/>
                  <a:pt x="871" y="64"/>
                </a:cubicBezTo>
                <a:cubicBezTo>
                  <a:pt x="871" y="64"/>
                  <a:pt x="868" y="62"/>
                  <a:pt x="866" y="62"/>
                </a:cubicBezTo>
                <a:cubicBezTo>
                  <a:pt x="865" y="62"/>
                  <a:pt x="858" y="64"/>
                  <a:pt x="858" y="64"/>
                </a:cubicBezTo>
                <a:cubicBezTo>
                  <a:pt x="856" y="61"/>
                  <a:pt x="856" y="61"/>
                  <a:pt x="856" y="61"/>
                </a:cubicBezTo>
                <a:cubicBezTo>
                  <a:pt x="853" y="63"/>
                  <a:pt x="853" y="63"/>
                  <a:pt x="853" y="63"/>
                </a:cubicBezTo>
                <a:cubicBezTo>
                  <a:pt x="849" y="62"/>
                  <a:pt x="849" y="62"/>
                  <a:pt x="849" y="62"/>
                </a:cubicBezTo>
                <a:cubicBezTo>
                  <a:pt x="853" y="60"/>
                  <a:pt x="853" y="60"/>
                  <a:pt x="853" y="60"/>
                </a:cubicBezTo>
                <a:cubicBezTo>
                  <a:pt x="850" y="59"/>
                  <a:pt x="850" y="59"/>
                  <a:pt x="850" y="59"/>
                </a:cubicBezTo>
                <a:cubicBezTo>
                  <a:pt x="843" y="60"/>
                  <a:pt x="843" y="60"/>
                  <a:pt x="843" y="60"/>
                </a:cubicBezTo>
                <a:cubicBezTo>
                  <a:pt x="848" y="58"/>
                  <a:pt x="848" y="58"/>
                  <a:pt x="848" y="58"/>
                </a:cubicBezTo>
                <a:cubicBezTo>
                  <a:pt x="848" y="57"/>
                  <a:pt x="848" y="57"/>
                  <a:pt x="848" y="57"/>
                </a:cubicBezTo>
                <a:cubicBezTo>
                  <a:pt x="857" y="57"/>
                  <a:pt x="857" y="57"/>
                  <a:pt x="857" y="57"/>
                </a:cubicBezTo>
                <a:cubicBezTo>
                  <a:pt x="852" y="55"/>
                  <a:pt x="852" y="55"/>
                  <a:pt x="852" y="55"/>
                </a:cubicBezTo>
                <a:cubicBezTo>
                  <a:pt x="849" y="55"/>
                  <a:pt x="849" y="55"/>
                  <a:pt x="849" y="55"/>
                </a:cubicBezTo>
                <a:cubicBezTo>
                  <a:pt x="849" y="55"/>
                  <a:pt x="852" y="53"/>
                  <a:pt x="849" y="53"/>
                </a:cubicBezTo>
                <a:cubicBezTo>
                  <a:pt x="848" y="53"/>
                  <a:pt x="841" y="53"/>
                  <a:pt x="838" y="54"/>
                </a:cubicBezTo>
                <a:cubicBezTo>
                  <a:pt x="837" y="52"/>
                  <a:pt x="831" y="50"/>
                  <a:pt x="831" y="50"/>
                </a:cubicBezTo>
                <a:close/>
                <a:moveTo>
                  <a:pt x="861" y="29"/>
                </a:moveTo>
                <a:cubicBezTo>
                  <a:pt x="854" y="30"/>
                  <a:pt x="854" y="30"/>
                  <a:pt x="854" y="30"/>
                </a:cubicBezTo>
                <a:cubicBezTo>
                  <a:pt x="859" y="32"/>
                  <a:pt x="859" y="32"/>
                  <a:pt x="859" y="32"/>
                </a:cubicBezTo>
                <a:cubicBezTo>
                  <a:pt x="859" y="32"/>
                  <a:pt x="856" y="33"/>
                  <a:pt x="856" y="35"/>
                </a:cubicBezTo>
                <a:cubicBezTo>
                  <a:pt x="857" y="37"/>
                  <a:pt x="862" y="37"/>
                  <a:pt x="862" y="37"/>
                </a:cubicBezTo>
                <a:cubicBezTo>
                  <a:pt x="860" y="39"/>
                  <a:pt x="860" y="39"/>
                  <a:pt x="860" y="39"/>
                </a:cubicBezTo>
                <a:cubicBezTo>
                  <a:pt x="860" y="39"/>
                  <a:pt x="863" y="39"/>
                  <a:pt x="866" y="41"/>
                </a:cubicBezTo>
                <a:cubicBezTo>
                  <a:pt x="869" y="43"/>
                  <a:pt x="875" y="39"/>
                  <a:pt x="875" y="39"/>
                </a:cubicBezTo>
                <a:cubicBezTo>
                  <a:pt x="878" y="37"/>
                  <a:pt x="878" y="37"/>
                  <a:pt x="878" y="37"/>
                </a:cubicBezTo>
                <a:cubicBezTo>
                  <a:pt x="878" y="37"/>
                  <a:pt x="879" y="38"/>
                  <a:pt x="880" y="41"/>
                </a:cubicBezTo>
                <a:cubicBezTo>
                  <a:pt x="882" y="43"/>
                  <a:pt x="887" y="39"/>
                  <a:pt x="889" y="39"/>
                </a:cubicBezTo>
                <a:cubicBezTo>
                  <a:pt x="890" y="38"/>
                  <a:pt x="893" y="35"/>
                  <a:pt x="893" y="35"/>
                </a:cubicBezTo>
                <a:cubicBezTo>
                  <a:pt x="895" y="37"/>
                  <a:pt x="895" y="37"/>
                  <a:pt x="895" y="37"/>
                </a:cubicBezTo>
                <a:cubicBezTo>
                  <a:pt x="895" y="37"/>
                  <a:pt x="898" y="34"/>
                  <a:pt x="898" y="33"/>
                </a:cubicBezTo>
                <a:cubicBezTo>
                  <a:pt x="898" y="32"/>
                  <a:pt x="909" y="33"/>
                  <a:pt x="912" y="33"/>
                </a:cubicBezTo>
                <a:cubicBezTo>
                  <a:pt x="914" y="33"/>
                  <a:pt x="914" y="30"/>
                  <a:pt x="914" y="30"/>
                </a:cubicBezTo>
                <a:cubicBezTo>
                  <a:pt x="905" y="30"/>
                  <a:pt x="905" y="30"/>
                  <a:pt x="905" y="30"/>
                </a:cubicBezTo>
                <a:cubicBezTo>
                  <a:pt x="909" y="27"/>
                  <a:pt x="909" y="27"/>
                  <a:pt x="909" y="27"/>
                </a:cubicBezTo>
                <a:cubicBezTo>
                  <a:pt x="909" y="27"/>
                  <a:pt x="911" y="23"/>
                  <a:pt x="910" y="22"/>
                </a:cubicBezTo>
                <a:cubicBezTo>
                  <a:pt x="909" y="20"/>
                  <a:pt x="902" y="24"/>
                  <a:pt x="902" y="24"/>
                </a:cubicBezTo>
                <a:cubicBezTo>
                  <a:pt x="901" y="21"/>
                  <a:pt x="901" y="21"/>
                  <a:pt x="901" y="21"/>
                </a:cubicBezTo>
                <a:cubicBezTo>
                  <a:pt x="895" y="22"/>
                  <a:pt x="895" y="22"/>
                  <a:pt x="895" y="22"/>
                </a:cubicBezTo>
                <a:cubicBezTo>
                  <a:pt x="895" y="22"/>
                  <a:pt x="894" y="18"/>
                  <a:pt x="892" y="15"/>
                </a:cubicBezTo>
                <a:cubicBezTo>
                  <a:pt x="890" y="13"/>
                  <a:pt x="881" y="18"/>
                  <a:pt x="881" y="18"/>
                </a:cubicBezTo>
                <a:cubicBezTo>
                  <a:pt x="870" y="18"/>
                  <a:pt x="870" y="18"/>
                  <a:pt x="870" y="18"/>
                </a:cubicBezTo>
                <a:cubicBezTo>
                  <a:pt x="874" y="21"/>
                  <a:pt x="874" y="21"/>
                  <a:pt x="874" y="21"/>
                </a:cubicBezTo>
                <a:cubicBezTo>
                  <a:pt x="874" y="21"/>
                  <a:pt x="866" y="21"/>
                  <a:pt x="863" y="21"/>
                </a:cubicBezTo>
                <a:cubicBezTo>
                  <a:pt x="861" y="22"/>
                  <a:pt x="865" y="25"/>
                  <a:pt x="865" y="25"/>
                </a:cubicBezTo>
                <a:cubicBezTo>
                  <a:pt x="865" y="25"/>
                  <a:pt x="853" y="24"/>
                  <a:pt x="852" y="27"/>
                </a:cubicBezTo>
                <a:cubicBezTo>
                  <a:pt x="851" y="30"/>
                  <a:pt x="861" y="29"/>
                  <a:pt x="861" y="29"/>
                </a:cubicBezTo>
                <a:close/>
                <a:moveTo>
                  <a:pt x="863" y="44"/>
                </a:moveTo>
                <a:cubicBezTo>
                  <a:pt x="859" y="45"/>
                  <a:pt x="859" y="47"/>
                  <a:pt x="859" y="47"/>
                </a:cubicBezTo>
                <a:cubicBezTo>
                  <a:pt x="862" y="48"/>
                  <a:pt x="862" y="48"/>
                  <a:pt x="862" y="48"/>
                </a:cubicBezTo>
                <a:cubicBezTo>
                  <a:pt x="866" y="48"/>
                  <a:pt x="868" y="44"/>
                  <a:pt x="863" y="44"/>
                </a:cubicBezTo>
                <a:close/>
                <a:moveTo>
                  <a:pt x="828" y="43"/>
                </a:moveTo>
                <a:cubicBezTo>
                  <a:pt x="830" y="44"/>
                  <a:pt x="831" y="46"/>
                  <a:pt x="831" y="46"/>
                </a:cubicBezTo>
                <a:cubicBezTo>
                  <a:pt x="831" y="46"/>
                  <a:pt x="840" y="45"/>
                  <a:pt x="844" y="45"/>
                </a:cubicBezTo>
                <a:cubicBezTo>
                  <a:pt x="848" y="45"/>
                  <a:pt x="839" y="42"/>
                  <a:pt x="839" y="42"/>
                </a:cubicBezTo>
                <a:cubicBezTo>
                  <a:pt x="839" y="42"/>
                  <a:pt x="841" y="40"/>
                  <a:pt x="843" y="40"/>
                </a:cubicBezTo>
                <a:cubicBezTo>
                  <a:pt x="845" y="39"/>
                  <a:pt x="837" y="37"/>
                  <a:pt x="831" y="35"/>
                </a:cubicBezTo>
                <a:cubicBezTo>
                  <a:pt x="831" y="35"/>
                  <a:pt x="826" y="36"/>
                  <a:pt x="825" y="37"/>
                </a:cubicBezTo>
                <a:cubicBezTo>
                  <a:pt x="824" y="38"/>
                  <a:pt x="826" y="43"/>
                  <a:pt x="828" y="43"/>
                </a:cubicBezTo>
                <a:close/>
                <a:moveTo>
                  <a:pt x="765" y="62"/>
                </a:moveTo>
                <a:cubicBezTo>
                  <a:pt x="767" y="62"/>
                  <a:pt x="776" y="63"/>
                  <a:pt x="776" y="63"/>
                </a:cubicBezTo>
                <a:cubicBezTo>
                  <a:pt x="776" y="63"/>
                  <a:pt x="771" y="67"/>
                  <a:pt x="774" y="67"/>
                </a:cubicBezTo>
                <a:cubicBezTo>
                  <a:pt x="777" y="67"/>
                  <a:pt x="785" y="67"/>
                  <a:pt x="785" y="67"/>
                </a:cubicBezTo>
                <a:cubicBezTo>
                  <a:pt x="788" y="67"/>
                  <a:pt x="793" y="66"/>
                  <a:pt x="792" y="64"/>
                </a:cubicBezTo>
                <a:cubicBezTo>
                  <a:pt x="791" y="62"/>
                  <a:pt x="800" y="62"/>
                  <a:pt x="799" y="60"/>
                </a:cubicBezTo>
                <a:cubicBezTo>
                  <a:pt x="799" y="58"/>
                  <a:pt x="807" y="57"/>
                  <a:pt x="804" y="54"/>
                </a:cubicBezTo>
                <a:cubicBezTo>
                  <a:pt x="801" y="52"/>
                  <a:pt x="797" y="54"/>
                  <a:pt x="797" y="54"/>
                </a:cubicBezTo>
                <a:cubicBezTo>
                  <a:pt x="797" y="54"/>
                  <a:pt x="787" y="51"/>
                  <a:pt x="787" y="53"/>
                </a:cubicBezTo>
                <a:cubicBezTo>
                  <a:pt x="786" y="54"/>
                  <a:pt x="786" y="59"/>
                  <a:pt x="786" y="59"/>
                </a:cubicBezTo>
                <a:cubicBezTo>
                  <a:pt x="786" y="59"/>
                  <a:pt x="782" y="53"/>
                  <a:pt x="780" y="55"/>
                </a:cubicBezTo>
                <a:cubicBezTo>
                  <a:pt x="777" y="57"/>
                  <a:pt x="775" y="62"/>
                  <a:pt x="773" y="61"/>
                </a:cubicBezTo>
                <a:cubicBezTo>
                  <a:pt x="771" y="59"/>
                  <a:pt x="770" y="54"/>
                  <a:pt x="768" y="54"/>
                </a:cubicBezTo>
                <a:cubicBezTo>
                  <a:pt x="766" y="53"/>
                  <a:pt x="761" y="54"/>
                  <a:pt x="761" y="56"/>
                </a:cubicBezTo>
                <a:cubicBezTo>
                  <a:pt x="761" y="59"/>
                  <a:pt x="763" y="62"/>
                  <a:pt x="765" y="62"/>
                </a:cubicBezTo>
                <a:close/>
                <a:moveTo>
                  <a:pt x="793" y="35"/>
                </a:moveTo>
                <a:cubicBezTo>
                  <a:pt x="793" y="35"/>
                  <a:pt x="789" y="39"/>
                  <a:pt x="792" y="39"/>
                </a:cubicBezTo>
                <a:cubicBezTo>
                  <a:pt x="795" y="39"/>
                  <a:pt x="802" y="39"/>
                  <a:pt x="802" y="39"/>
                </a:cubicBezTo>
                <a:cubicBezTo>
                  <a:pt x="802" y="39"/>
                  <a:pt x="804" y="43"/>
                  <a:pt x="808" y="43"/>
                </a:cubicBezTo>
                <a:cubicBezTo>
                  <a:pt x="812" y="43"/>
                  <a:pt x="814" y="40"/>
                  <a:pt x="814" y="40"/>
                </a:cubicBezTo>
                <a:cubicBezTo>
                  <a:pt x="813" y="38"/>
                  <a:pt x="813" y="38"/>
                  <a:pt x="813" y="38"/>
                </a:cubicBezTo>
                <a:cubicBezTo>
                  <a:pt x="817" y="37"/>
                  <a:pt x="817" y="37"/>
                  <a:pt x="817" y="37"/>
                </a:cubicBezTo>
                <a:cubicBezTo>
                  <a:pt x="811" y="33"/>
                  <a:pt x="811" y="33"/>
                  <a:pt x="811" y="33"/>
                </a:cubicBezTo>
                <a:cubicBezTo>
                  <a:pt x="805" y="34"/>
                  <a:pt x="805" y="34"/>
                  <a:pt x="805" y="34"/>
                </a:cubicBezTo>
                <a:cubicBezTo>
                  <a:pt x="803" y="30"/>
                  <a:pt x="803" y="30"/>
                  <a:pt x="803" y="30"/>
                </a:cubicBezTo>
                <a:cubicBezTo>
                  <a:pt x="799" y="30"/>
                  <a:pt x="799" y="30"/>
                  <a:pt x="799" y="30"/>
                </a:cubicBezTo>
                <a:cubicBezTo>
                  <a:pt x="794" y="30"/>
                  <a:pt x="787" y="30"/>
                  <a:pt x="787" y="33"/>
                </a:cubicBezTo>
                <a:cubicBezTo>
                  <a:pt x="786" y="35"/>
                  <a:pt x="793" y="35"/>
                  <a:pt x="793" y="35"/>
                </a:cubicBezTo>
                <a:close/>
                <a:moveTo>
                  <a:pt x="768" y="74"/>
                </a:moveTo>
                <a:cubicBezTo>
                  <a:pt x="768" y="74"/>
                  <a:pt x="755" y="74"/>
                  <a:pt x="748" y="76"/>
                </a:cubicBezTo>
                <a:cubicBezTo>
                  <a:pt x="741" y="79"/>
                  <a:pt x="752" y="81"/>
                  <a:pt x="750" y="83"/>
                </a:cubicBezTo>
                <a:cubicBezTo>
                  <a:pt x="747" y="86"/>
                  <a:pt x="743" y="79"/>
                  <a:pt x="735" y="82"/>
                </a:cubicBezTo>
                <a:cubicBezTo>
                  <a:pt x="737" y="88"/>
                  <a:pt x="737" y="88"/>
                  <a:pt x="737" y="88"/>
                </a:cubicBezTo>
                <a:cubicBezTo>
                  <a:pt x="737" y="88"/>
                  <a:pt x="739" y="90"/>
                  <a:pt x="742" y="90"/>
                </a:cubicBezTo>
                <a:cubicBezTo>
                  <a:pt x="746" y="91"/>
                  <a:pt x="746" y="98"/>
                  <a:pt x="746" y="98"/>
                </a:cubicBezTo>
                <a:cubicBezTo>
                  <a:pt x="746" y="98"/>
                  <a:pt x="760" y="96"/>
                  <a:pt x="765" y="95"/>
                </a:cubicBezTo>
                <a:cubicBezTo>
                  <a:pt x="769" y="94"/>
                  <a:pt x="769" y="85"/>
                  <a:pt x="769" y="85"/>
                </a:cubicBezTo>
                <a:cubicBezTo>
                  <a:pt x="760" y="83"/>
                  <a:pt x="760" y="83"/>
                  <a:pt x="760" y="83"/>
                </a:cubicBezTo>
                <a:cubicBezTo>
                  <a:pt x="760" y="83"/>
                  <a:pt x="771" y="80"/>
                  <a:pt x="777" y="78"/>
                </a:cubicBezTo>
                <a:cubicBezTo>
                  <a:pt x="782" y="76"/>
                  <a:pt x="768" y="74"/>
                  <a:pt x="768" y="74"/>
                </a:cubicBezTo>
                <a:close/>
                <a:moveTo>
                  <a:pt x="767" y="50"/>
                </a:moveTo>
                <a:cubicBezTo>
                  <a:pt x="771" y="49"/>
                  <a:pt x="771" y="43"/>
                  <a:pt x="768" y="43"/>
                </a:cubicBezTo>
                <a:cubicBezTo>
                  <a:pt x="765" y="43"/>
                  <a:pt x="763" y="50"/>
                  <a:pt x="767" y="50"/>
                </a:cubicBezTo>
                <a:close/>
                <a:moveTo>
                  <a:pt x="199" y="228"/>
                </a:moveTo>
                <a:cubicBezTo>
                  <a:pt x="197" y="230"/>
                  <a:pt x="192" y="231"/>
                  <a:pt x="193" y="232"/>
                </a:cubicBezTo>
                <a:cubicBezTo>
                  <a:pt x="195" y="234"/>
                  <a:pt x="201" y="232"/>
                  <a:pt x="201" y="232"/>
                </a:cubicBezTo>
                <a:cubicBezTo>
                  <a:pt x="202" y="230"/>
                  <a:pt x="202" y="230"/>
                  <a:pt x="202" y="230"/>
                </a:cubicBezTo>
                <a:cubicBezTo>
                  <a:pt x="202" y="230"/>
                  <a:pt x="205" y="231"/>
                  <a:pt x="205" y="230"/>
                </a:cubicBezTo>
                <a:cubicBezTo>
                  <a:pt x="204" y="228"/>
                  <a:pt x="202" y="226"/>
                  <a:pt x="199" y="228"/>
                </a:cubicBezTo>
                <a:close/>
                <a:moveTo>
                  <a:pt x="768" y="672"/>
                </a:moveTo>
                <a:cubicBezTo>
                  <a:pt x="766" y="672"/>
                  <a:pt x="761" y="670"/>
                  <a:pt x="758" y="670"/>
                </a:cubicBezTo>
                <a:cubicBezTo>
                  <a:pt x="755" y="670"/>
                  <a:pt x="755" y="677"/>
                  <a:pt x="755" y="677"/>
                </a:cubicBezTo>
                <a:cubicBezTo>
                  <a:pt x="761" y="678"/>
                  <a:pt x="761" y="678"/>
                  <a:pt x="761" y="678"/>
                </a:cubicBezTo>
                <a:cubicBezTo>
                  <a:pt x="762" y="677"/>
                  <a:pt x="762" y="677"/>
                  <a:pt x="762" y="677"/>
                </a:cubicBezTo>
                <a:cubicBezTo>
                  <a:pt x="762" y="677"/>
                  <a:pt x="765" y="678"/>
                  <a:pt x="768" y="677"/>
                </a:cubicBezTo>
                <a:cubicBezTo>
                  <a:pt x="772" y="677"/>
                  <a:pt x="775" y="674"/>
                  <a:pt x="775" y="672"/>
                </a:cubicBezTo>
                <a:cubicBezTo>
                  <a:pt x="775" y="671"/>
                  <a:pt x="769" y="672"/>
                  <a:pt x="768" y="672"/>
                </a:cubicBezTo>
                <a:close/>
                <a:moveTo>
                  <a:pt x="742" y="672"/>
                </a:moveTo>
                <a:cubicBezTo>
                  <a:pt x="744" y="671"/>
                  <a:pt x="743" y="668"/>
                  <a:pt x="743" y="668"/>
                </a:cubicBezTo>
                <a:cubicBezTo>
                  <a:pt x="743" y="668"/>
                  <a:pt x="738" y="664"/>
                  <a:pt x="735" y="663"/>
                </a:cubicBezTo>
                <a:cubicBezTo>
                  <a:pt x="732" y="662"/>
                  <a:pt x="731" y="661"/>
                  <a:pt x="729" y="660"/>
                </a:cubicBezTo>
                <a:cubicBezTo>
                  <a:pt x="727" y="660"/>
                  <a:pt x="725" y="656"/>
                  <a:pt x="724" y="655"/>
                </a:cubicBezTo>
                <a:cubicBezTo>
                  <a:pt x="723" y="654"/>
                  <a:pt x="718" y="654"/>
                  <a:pt x="714" y="654"/>
                </a:cubicBezTo>
                <a:cubicBezTo>
                  <a:pt x="713" y="654"/>
                  <a:pt x="712" y="654"/>
                  <a:pt x="712" y="655"/>
                </a:cubicBezTo>
                <a:cubicBezTo>
                  <a:pt x="710" y="655"/>
                  <a:pt x="710" y="656"/>
                  <a:pt x="710" y="656"/>
                </a:cubicBezTo>
                <a:cubicBezTo>
                  <a:pt x="710" y="656"/>
                  <a:pt x="703" y="654"/>
                  <a:pt x="700" y="654"/>
                </a:cubicBezTo>
                <a:cubicBezTo>
                  <a:pt x="697" y="654"/>
                  <a:pt x="695" y="654"/>
                  <a:pt x="694" y="656"/>
                </a:cubicBezTo>
                <a:cubicBezTo>
                  <a:pt x="693" y="657"/>
                  <a:pt x="698" y="657"/>
                  <a:pt x="699" y="657"/>
                </a:cubicBezTo>
                <a:cubicBezTo>
                  <a:pt x="701" y="657"/>
                  <a:pt x="703" y="660"/>
                  <a:pt x="703" y="660"/>
                </a:cubicBezTo>
                <a:cubicBezTo>
                  <a:pt x="703" y="660"/>
                  <a:pt x="700" y="661"/>
                  <a:pt x="701" y="664"/>
                </a:cubicBezTo>
                <a:cubicBezTo>
                  <a:pt x="701" y="667"/>
                  <a:pt x="703" y="668"/>
                  <a:pt x="700" y="668"/>
                </a:cubicBezTo>
                <a:cubicBezTo>
                  <a:pt x="698" y="668"/>
                  <a:pt x="693" y="667"/>
                  <a:pt x="692" y="667"/>
                </a:cubicBezTo>
                <a:cubicBezTo>
                  <a:pt x="690" y="667"/>
                  <a:pt x="686" y="667"/>
                  <a:pt x="685" y="669"/>
                </a:cubicBezTo>
                <a:cubicBezTo>
                  <a:pt x="685" y="669"/>
                  <a:pt x="689" y="674"/>
                  <a:pt x="691" y="675"/>
                </a:cubicBezTo>
                <a:cubicBezTo>
                  <a:pt x="693" y="676"/>
                  <a:pt x="694" y="672"/>
                  <a:pt x="694" y="672"/>
                </a:cubicBezTo>
                <a:cubicBezTo>
                  <a:pt x="694" y="672"/>
                  <a:pt x="697" y="672"/>
                  <a:pt x="701" y="672"/>
                </a:cubicBezTo>
                <a:cubicBezTo>
                  <a:pt x="704" y="672"/>
                  <a:pt x="708" y="671"/>
                  <a:pt x="708" y="671"/>
                </a:cubicBezTo>
                <a:cubicBezTo>
                  <a:pt x="713" y="677"/>
                  <a:pt x="713" y="677"/>
                  <a:pt x="713" y="677"/>
                </a:cubicBezTo>
                <a:cubicBezTo>
                  <a:pt x="720" y="672"/>
                  <a:pt x="720" y="672"/>
                  <a:pt x="720" y="672"/>
                </a:cubicBezTo>
                <a:cubicBezTo>
                  <a:pt x="720" y="672"/>
                  <a:pt x="726" y="672"/>
                  <a:pt x="733" y="672"/>
                </a:cubicBezTo>
                <a:cubicBezTo>
                  <a:pt x="736" y="673"/>
                  <a:pt x="740" y="673"/>
                  <a:pt x="742" y="672"/>
                </a:cubicBezTo>
                <a:close/>
                <a:moveTo>
                  <a:pt x="676" y="653"/>
                </a:moveTo>
                <a:cubicBezTo>
                  <a:pt x="683" y="651"/>
                  <a:pt x="690" y="650"/>
                  <a:pt x="690" y="650"/>
                </a:cubicBezTo>
                <a:cubicBezTo>
                  <a:pt x="690" y="650"/>
                  <a:pt x="690" y="648"/>
                  <a:pt x="687" y="648"/>
                </a:cubicBezTo>
                <a:cubicBezTo>
                  <a:pt x="683" y="647"/>
                  <a:pt x="680" y="647"/>
                  <a:pt x="680" y="647"/>
                </a:cubicBezTo>
                <a:cubicBezTo>
                  <a:pt x="680" y="647"/>
                  <a:pt x="682" y="643"/>
                  <a:pt x="678" y="643"/>
                </a:cubicBezTo>
                <a:cubicBezTo>
                  <a:pt x="674" y="642"/>
                  <a:pt x="671" y="643"/>
                  <a:pt x="671" y="643"/>
                </a:cubicBezTo>
                <a:cubicBezTo>
                  <a:pt x="674" y="640"/>
                  <a:pt x="674" y="640"/>
                  <a:pt x="674" y="640"/>
                </a:cubicBezTo>
                <a:cubicBezTo>
                  <a:pt x="674" y="640"/>
                  <a:pt x="668" y="638"/>
                  <a:pt x="666" y="638"/>
                </a:cubicBezTo>
                <a:cubicBezTo>
                  <a:pt x="665" y="638"/>
                  <a:pt x="660" y="636"/>
                  <a:pt x="660" y="636"/>
                </a:cubicBezTo>
                <a:cubicBezTo>
                  <a:pt x="660" y="636"/>
                  <a:pt x="662" y="632"/>
                  <a:pt x="661" y="632"/>
                </a:cubicBezTo>
                <a:cubicBezTo>
                  <a:pt x="659" y="632"/>
                  <a:pt x="658" y="632"/>
                  <a:pt x="658" y="632"/>
                </a:cubicBezTo>
                <a:cubicBezTo>
                  <a:pt x="658" y="632"/>
                  <a:pt x="650" y="624"/>
                  <a:pt x="648" y="625"/>
                </a:cubicBezTo>
                <a:cubicBezTo>
                  <a:pt x="646" y="627"/>
                  <a:pt x="650" y="629"/>
                  <a:pt x="650" y="629"/>
                </a:cubicBezTo>
                <a:cubicBezTo>
                  <a:pt x="641" y="625"/>
                  <a:pt x="641" y="625"/>
                  <a:pt x="641" y="625"/>
                </a:cubicBezTo>
                <a:cubicBezTo>
                  <a:pt x="641" y="625"/>
                  <a:pt x="636" y="619"/>
                  <a:pt x="633" y="618"/>
                </a:cubicBezTo>
                <a:cubicBezTo>
                  <a:pt x="631" y="617"/>
                  <a:pt x="625" y="618"/>
                  <a:pt x="625" y="618"/>
                </a:cubicBezTo>
                <a:cubicBezTo>
                  <a:pt x="625" y="618"/>
                  <a:pt x="620" y="616"/>
                  <a:pt x="612" y="616"/>
                </a:cubicBezTo>
                <a:cubicBezTo>
                  <a:pt x="604" y="616"/>
                  <a:pt x="601" y="618"/>
                  <a:pt x="597" y="621"/>
                </a:cubicBezTo>
                <a:cubicBezTo>
                  <a:pt x="594" y="624"/>
                  <a:pt x="587" y="627"/>
                  <a:pt x="587" y="627"/>
                </a:cubicBezTo>
                <a:cubicBezTo>
                  <a:pt x="598" y="626"/>
                  <a:pt x="598" y="626"/>
                  <a:pt x="598" y="626"/>
                </a:cubicBezTo>
                <a:cubicBezTo>
                  <a:pt x="598" y="624"/>
                  <a:pt x="598" y="624"/>
                  <a:pt x="598" y="624"/>
                </a:cubicBezTo>
                <a:cubicBezTo>
                  <a:pt x="609" y="623"/>
                  <a:pt x="609" y="623"/>
                  <a:pt x="609" y="623"/>
                </a:cubicBezTo>
                <a:cubicBezTo>
                  <a:pt x="611" y="622"/>
                  <a:pt x="611" y="622"/>
                  <a:pt x="611" y="622"/>
                </a:cubicBezTo>
                <a:cubicBezTo>
                  <a:pt x="611" y="622"/>
                  <a:pt x="617" y="622"/>
                  <a:pt x="619" y="623"/>
                </a:cubicBezTo>
                <a:cubicBezTo>
                  <a:pt x="620" y="625"/>
                  <a:pt x="614" y="626"/>
                  <a:pt x="614" y="626"/>
                </a:cubicBezTo>
                <a:cubicBezTo>
                  <a:pt x="616" y="627"/>
                  <a:pt x="616" y="627"/>
                  <a:pt x="616" y="627"/>
                </a:cubicBezTo>
                <a:cubicBezTo>
                  <a:pt x="616" y="627"/>
                  <a:pt x="620" y="629"/>
                  <a:pt x="623" y="630"/>
                </a:cubicBezTo>
                <a:cubicBezTo>
                  <a:pt x="627" y="631"/>
                  <a:pt x="627" y="629"/>
                  <a:pt x="627" y="629"/>
                </a:cubicBezTo>
                <a:cubicBezTo>
                  <a:pt x="627" y="629"/>
                  <a:pt x="630" y="631"/>
                  <a:pt x="633" y="633"/>
                </a:cubicBezTo>
                <a:cubicBezTo>
                  <a:pt x="637" y="635"/>
                  <a:pt x="643" y="632"/>
                  <a:pt x="643" y="632"/>
                </a:cubicBezTo>
                <a:cubicBezTo>
                  <a:pt x="642" y="636"/>
                  <a:pt x="642" y="636"/>
                  <a:pt x="642" y="636"/>
                </a:cubicBezTo>
                <a:cubicBezTo>
                  <a:pt x="651" y="640"/>
                  <a:pt x="651" y="640"/>
                  <a:pt x="651" y="640"/>
                </a:cubicBezTo>
                <a:cubicBezTo>
                  <a:pt x="654" y="644"/>
                  <a:pt x="654" y="644"/>
                  <a:pt x="654" y="644"/>
                </a:cubicBezTo>
                <a:cubicBezTo>
                  <a:pt x="654" y="644"/>
                  <a:pt x="657" y="646"/>
                  <a:pt x="657" y="647"/>
                </a:cubicBezTo>
                <a:cubicBezTo>
                  <a:pt x="657" y="649"/>
                  <a:pt x="652" y="650"/>
                  <a:pt x="653" y="652"/>
                </a:cubicBezTo>
                <a:cubicBezTo>
                  <a:pt x="655" y="654"/>
                  <a:pt x="660" y="650"/>
                  <a:pt x="662" y="650"/>
                </a:cubicBezTo>
                <a:cubicBezTo>
                  <a:pt x="663" y="650"/>
                  <a:pt x="667" y="650"/>
                  <a:pt x="664" y="651"/>
                </a:cubicBezTo>
                <a:cubicBezTo>
                  <a:pt x="661" y="651"/>
                  <a:pt x="666" y="654"/>
                  <a:pt x="666" y="654"/>
                </a:cubicBezTo>
                <a:cubicBezTo>
                  <a:pt x="666" y="654"/>
                  <a:pt x="670" y="655"/>
                  <a:pt x="676" y="653"/>
                </a:cubicBezTo>
                <a:close/>
                <a:moveTo>
                  <a:pt x="929" y="188"/>
                </a:moveTo>
                <a:cubicBezTo>
                  <a:pt x="934" y="187"/>
                  <a:pt x="934" y="187"/>
                  <a:pt x="934" y="187"/>
                </a:cubicBezTo>
                <a:cubicBezTo>
                  <a:pt x="934" y="185"/>
                  <a:pt x="934" y="185"/>
                  <a:pt x="934" y="185"/>
                </a:cubicBezTo>
                <a:cubicBezTo>
                  <a:pt x="930" y="186"/>
                  <a:pt x="930" y="186"/>
                  <a:pt x="930" y="186"/>
                </a:cubicBezTo>
                <a:cubicBezTo>
                  <a:pt x="929" y="188"/>
                  <a:pt x="929" y="188"/>
                  <a:pt x="929" y="188"/>
                </a:cubicBezTo>
                <a:cubicBezTo>
                  <a:pt x="929" y="188"/>
                  <a:pt x="929" y="188"/>
                  <a:pt x="929" y="188"/>
                </a:cubicBezTo>
                <a:close/>
                <a:moveTo>
                  <a:pt x="662" y="671"/>
                </a:moveTo>
                <a:cubicBezTo>
                  <a:pt x="660" y="671"/>
                  <a:pt x="656" y="671"/>
                  <a:pt x="654" y="671"/>
                </a:cubicBezTo>
                <a:cubicBezTo>
                  <a:pt x="652" y="670"/>
                  <a:pt x="650" y="669"/>
                  <a:pt x="648" y="670"/>
                </a:cubicBezTo>
                <a:cubicBezTo>
                  <a:pt x="646" y="671"/>
                  <a:pt x="644" y="671"/>
                  <a:pt x="644" y="671"/>
                </a:cubicBezTo>
                <a:cubicBezTo>
                  <a:pt x="644" y="671"/>
                  <a:pt x="646" y="674"/>
                  <a:pt x="648" y="675"/>
                </a:cubicBezTo>
                <a:cubicBezTo>
                  <a:pt x="649" y="676"/>
                  <a:pt x="653" y="676"/>
                  <a:pt x="653" y="676"/>
                </a:cubicBezTo>
                <a:cubicBezTo>
                  <a:pt x="655" y="677"/>
                  <a:pt x="655" y="677"/>
                  <a:pt x="655" y="677"/>
                </a:cubicBezTo>
                <a:cubicBezTo>
                  <a:pt x="659" y="678"/>
                  <a:pt x="659" y="678"/>
                  <a:pt x="659" y="678"/>
                </a:cubicBezTo>
                <a:cubicBezTo>
                  <a:pt x="660" y="675"/>
                  <a:pt x="660" y="675"/>
                  <a:pt x="660" y="675"/>
                </a:cubicBezTo>
                <a:cubicBezTo>
                  <a:pt x="667" y="677"/>
                  <a:pt x="667" y="677"/>
                  <a:pt x="667" y="677"/>
                </a:cubicBezTo>
                <a:cubicBezTo>
                  <a:pt x="667" y="677"/>
                  <a:pt x="664" y="671"/>
                  <a:pt x="662" y="671"/>
                </a:cubicBezTo>
                <a:close/>
                <a:moveTo>
                  <a:pt x="894" y="359"/>
                </a:moveTo>
                <a:cubicBezTo>
                  <a:pt x="892" y="358"/>
                  <a:pt x="889" y="360"/>
                  <a:pt x="888" y="360"/>
                </a:cubicBezTo>
                <a:cubicBezTo>
                  <a:pt x="889" y="360"/>
                  <a:pt x="890" y="359"/>
                  <a:pt x="892" y="356"/>
                </a:cubicBezTo>
                <a:cubicBezTo>
                  <a:pt x="895" y="354"/>
                  <a:pt x="888" y="353"/>
                  <a:pt x="885" y="357"/>
                </a:cubicBezTo>
                <a:cubicBezTo>
                  <a:pt x="884" y="360"/>
                  <a:pt x="884" y="360"/>
                  <a:pt x="884" y="360"/>
                </a:cubicBezTo>
                <a:cubicBezTo>
                  <a:pt x="882" y="363"/>
                  <a:pt x="882" y="363"/>
                  <a:pt x="882" y="363"/>
                </a:cubicBezTo>
                <a:cubicBezTo>
                  <a:pt x="890" y="362"/>
                  <a:pt x="890" y="362"/>
                  <a:pt x="890" y="362"/>
                </a:cubicBezTo>
                <a:cubicBezTo>
                  <a:pt x="890" y="362"/>
                  <a:pt x="898" y="360"/>
                  <a:pt x="894" y="359"/>
                </a:cubicBezTo>
                <a:close/>
                <a:moveTo>
                  <a:pt x="865" y="357"/>
                </a:moveTo>
                <a:cubicBezTo>
                  <a:pt x="861" y="356"/>
                  <a:pt x="859" y="354"/>
                  <a:pt x="859" y="354"/>
                </a:cubicBezTo>
                <a:cubicBezTo>
                  <a:pt x="857" y="356"/>
                  <a:pt x="857" y="356"/>
                  <a:pt x="857" y="356"/>
                </a:cubicBezTo>
                <a:cubicBezTo>
                  <a:pt x="857" y="356"/>
                  <a:pt x="860" y="358"/>
                  <a:pt x="861" y="358"/>
                </a:cubicBezTo>
                <a:cubicBezTo>
                  <a:pt x="862" y="359"/>
                  <a:pt x="866" y="359"/>
                  <a:pt x="866" y="359"/>
                </a:cubicBezTo>
                <a:cubicBezTo>
                  <a:pt x="866" y="359"/>
                  <a:pt x="868" y="360"/>
                  <a:pt x="870" y="360"/>
                </a:cubicBezTo>
                <a:cubicBezTo>
                  <a:pt x="872" y="359"/>
                  <a:pt x="873" y="357"/>
                  <a:pt x="873" y="357"/>
                </a:cubicBezTo>
                <a:cubicBezTo>
                  <a:pt x="873" y="357"/>
                  <a:pt x="869" y="357"/>
                  <a:pt x="865" y="357"/>
                </a:cubicBezTo>
                <a:close/>
                <a:moveTo>
                  <a:pt x="810" y="152"/>
                </a:moveTo>
                <a:cubicBezTo>
                  <a:pt x="807" y="151"/>
                  <a:pt x="809" y="155"/>
                  <a:pt x="809" y="155"/>
                </a:cubicBezTo>
                <a:cubicBezTo>
                  <a:pt x="811" y="155"/>
                  <a:pt x="813" y="152"/>
                  <a:pt x="810" y="152"/>
                </a:cubicBezTo>
                <a:close/>
                <a:moveTo>
                  <a:pt x="745" y="287"/>
                </a:moveTo>
                <a:cubicBezTo>
                  <a:pt x="750" y="287"/>
                  <a:pt x="743" y="284"/>
                  <a:pt x="743" y="284"/>
                </a:cubicBezTo>
                <a:cubicBezTo>
                  <a:pt x="734" y="285"/>
                  <a:pt x="739" y="288"/>
                  <a:pt x="745" y="287"/>
                </a:cubicBezTo>
                <a:close/>
                <a:moveTo>
                  <a:pt x="881" y="322"/>
                </a:moveTo>
                <a:cubicBezTo>
                  <a:pt x="881" y="322"/>
                  <a:pt x="875" y="320"/>
                  <a:pt x="869" y="320"/>
                </a:cubicBezTo>
                <a:cubicBezTo>
                  <a:pt x="863" y="320"/>
                  <a:pt x="872" y="322"/>
                  <a:pt x="872" y="322"/>
                </a:cubicBezTo>
                <a:cubicBezTo>
                  <a:pt x="872" y="324"/>
                  <a:pt x="872" y="324"/>
                  <a:pt x="872" y="324"/>
                </a:cubicBezTo>
                <a:cubicBezTo>
                  <a:pt x="872" y="324"/>
                  <a:pt x="879" y="325"/>
                  <a:pt x="885" y="326"/>
                </a:cubicBezTo>
                <a:cubicBezTo>
                  <a:pt x="891" y="327"/>
                  <a:pt x="897" y="325"/>
                  <a:pt x="881" y="322"/>
                </a:cubicBezTo>
                <a:close/>
                <a:moveTo>
                  <a:pt x="730" y="82"/>
                </a:moveTo>
                <a:cubicBezTo>
                  <a:pt x="726" y="78"/>
                  <a:pt x="726" y="78"/>
                  <a:pt x="726" y="78"/>
                </a:cubicBezTo>
                <a:cubicBezTo>
                  <a:pt x="722" y="79"/>
                  <a:pt x="722" y="79"/>
                  <a:pt x="722" y="79"/>
                </a:cubicBezTo>
                <a:cubicBezTo>
                  <a:pt x="722" y="79"/>
                  <a:pt x="719" y="76"/>
                  <a:pt x="714" y="77"/>
                </a:cubicBezTo>
                <a:cubicBezTo>
                  <a:pt x="709" y="79"/>
                  <a:pt x="721" y="84"/>
                  <a:pt x="721" y="84"/>
                </a:cubicBezTo>
                <a:cubicBezTo>
                  <a:pt x="730" y="82"/>
                  <a:pt x="730" y="82"/>
                  <a:pt x="730" y="82"/>
                </a:cubicBezTo>
                <a:cubicBezTo>
                  <a:pt x="730" y="82"/>
                  <a:pt x="730" y="82"/>
                  <a:pt x="730" y="82"/>
                </a:cubicBezTo>
                <a:close/>
                <a:moveTo>
                  <a:pt x="653" y="61"/>
                </a:moveTo>
                <a:cubicBezTo>
                  <a:pt x="644" y="63"/>
                  <a:pt x="650" y="65"/>
                  <a:pt x="650" y="65"/>
                </a:cubicBezTo>
                <a:cubicBezTo>
                  <a:pt x="662" y="62"/>
                  <a:pt x="661" y="59"/>
                  <a:pt x="653" y="61"/>
                </a:cubicBezTo>
                <a:close/>
                <a:moveTo>
                  <a:pt x="709" y="126"/>
                </a:moveTo>
                <a:cubicBezTo>
                  <a:pt x="716" y="126"/>
                  <a:pt x="717" y="123"/>
                  <a:pt x="713" y="123"/>
                </a:cubicBezTo>
                <a:cubicBezTo>
                  <a:pt x="708" y="123"/>
                  <a:pt x="709" y="126"/>
                  <a:pt x="709" y="126"/>
                </a:cubicBezTo>
                <a:close/>
                <a:moveTo>
                  <a:pt x="604" y="633"/>
                </a:moveTo>
                <a:cubicBezTo>
                  <a:pt x="603" y="636"/>
                  <a:pt x="609" y="637"/>
                  <a:pt x="609" y="633"/>
                </a:cubicBezTo>
                <a:cubicBezTo>
                  <a:pt x="610" y="631"/>
                  <a:pt x="604" y="633"/>
                  <a:pt x="604" y="633"/>
                </a:cubicBezTo>
                <a:close/>
                <a:moveTo>
                  <a:pt x="980" y="147"/>
                </a:moveTo>
                <a:cubicBezTo>
                  <a:pt x="983" y="143"/>
                  <a:pt x="975" y="141"/>
                  <a:pt x="974" y="142"/>
                </a:cubicBezTo>
                <a:cubicBezTo>
                  <a:pt x="973" y="143"/>
                  <a:pt x="970" y="141"/>
                  <a:pt x="970" y="141"/>
                </a:cubicBezTo>
                <a:cubicBezTo>
                  <a:pt x="966" y="144"/>
                  <a:pt x="966" y="144"/>
                  <a:pt x="966" y="144"/>
                </a:cubicBezTo>
                <a:cubicBezTo>
                  <a:pt x="966" y="140"/>
                  <a:pt x="966" y="140"/>
                  <a:pt x="966" y="140"/>
                </a:cubicBezTo>
                <a:cubicBezTo>
                  <a:pt x="960" y="140"/>
                  <a:pt x="960" y="140"/>
                  <a:pt x="960" y="140"/>
                </a:cubicBezTo>
                <a:cubicBezTo>
                  <a:pt x="960" y="140"/>
                  <a:pt x="967" y="138"/>
                  <a:pt x="966" y="136"/>
                </a:cubicBezTo>
                <a:cubicBezTo>
                  <a:pt x="964" y="134"/>
                  <a:pt x="954" y="133"/>
                  <a:pt x="954" y="133"/>
                </a:cubicBezTo>
                <a:cubicBezTo>
                  <a:pt x="953" y="131"/>
                  <a:pt x="953" y="131"/>
                  <a:pt x="953" y="131"/>
                </a:cubicBezTo>
                <a:cubicBezTo>
                  <a:pt x="946" y="131"/>
                  <a:pt x="946" y="131"/>
                  <a:pt x="946" y="131"/>
                </a:cubicBezTo>
                <a:cubicBezTo>
                  <a:pt x="937" y="124"/>
                  <a:pt x="937" y="124"/>
                  <a:pt x="937" y="124"/>
                </a:cubicBezTo>
                <a:cubicBezTo>
                  <a:pt x="947" y="124"/>
                  <a:pt x="947" y="124"/>
                  <a:pt x="947" y="124"/>
                </a:cubicBezTo>
                <a:cubicBezTo>
                  <a:pt x="943" y="121"/>
                  <a:pt x="943" y="121"/>
                  <a:pt x="943" y="121"/>
                </a:cubicBezTo>
                <a:cubicBezTo>
                  <a:pt x="943" y="121"/>
                  <a:pt x="945" y="120"/>
                  <a:pt x="946" y="120"/>
                </a:cubicBezTo>
                <a:cubicBezTo>
                  <a:pt x="947" y="120"/>
                  <a:pt x="958" y="122"/>
                  <a:pt x="957" y="120"/>
                </a:cubicBezTo>
                <a:cubicBezTo>
                  <a:pt x="955" y="117"/>
                  <a:pt x="944" y="117"/>
                  <a:pt x="944" y="117"/>
                </a:cubicBezTo>
                <a:cubicBezTo>
                  <a:pt x="940" y="117"/>
                  <a:pt x="940" y="117"/>
                  <a:pt x="940" y="117"/>
                </a:cubicBezTo>
                <a:cubicBezTo>
                  <a:pt x="940" y="117"/>
                  <a:pt x="956" y="117"/>
                  <a:pt x="957" y="115"/>
                </a:cubicBezTo>
                <a:cubicBezTo>
                  <a:pt x="957" y="113"/>
                  <a:pt x="952" y="113"/>
                  <a:pt x="952" y="113"/>
                </a:cubicBezTo>
                <a:cubicBezTo>
                  <a:pt x="938" y="115"/>
                  <a:pt x="938" y="115"/>
                  <a:pt x="938" y="115"/>
                </a:cubicBezTo>
                <a:cubicBezTo>
                  <a:pt x="946" y="110"/>
                  <a:pt x="946" y="110"/>
                  <a:pt x="946" y="110"/>
                </a:cubicBezTo>
                <a:cubicBezTo>
                  <a:pt x="946" y="110"/>
                  <a:pt x="957" y="111"/>
                  <a:pt x="954" y="108"/>
                </a:cubicBezTo>
                <a:cubicBezTo>
                  <a:pt x="950" y="105"/>
                  <a:pt x="945" y="105"/>
                  <a:pt x="945" y="105"/>
                </a:cubicBezTo>
                <a:cubicBezTo>
                  <a:pt x="940" y="108"/>
                  <a:pt x="940" y="108"/>
                  <a:pt x="940" y="108"/>
                </a:cubicBezTo>
                <a:cubicBezTo>
                  <a:pt x="937" y="107"/>
                  <a:pt x="937" y="107"/>
                  <a:pt x="937" y="107"/>
                </a:cubicBezTo>
                <a:cubicBezTo>
                  <a:pt x="932" y="112"/>
                  <a:pt x="932" y="112"/>
                  <a:pt x="932" y="112"/>
                </a:cubicBezTo>
                <a:cubicBezTo>
                  <a:pt x="932" y="108"/>
                  <a:pt x="932" y="108"/>
                  <a:pt x="932" y="108"/>
                </a:cubicBezTo>
                <a:cubicBezTo>
                  <a:pt x="929" y="111"/>
                  <a:pt x="929" y="111"/>
                  <a:pt x="929" y="111"/>
                </a:cubicBezTo>
                <a:cubicBezTo>
                  <a:pt x="932" y="107"/>
                  <a:pt x="932" y="107"/>
                  <a:pt x="932" y="107"/>
                </a:cubicBezTo>
                <a:cubicBezTo>
                  <a:pt x="932" y="107"/>
                  <a:pt x="936" y="108"/>
                  <a:pt x="938" y="106"/>
                </a:cubicBezTo>
                <a:cubicBezTo>
                  <a:pt x="940" y="104"/>
                  <a:pt x="940" y="101"/>
                  <a:pt x="939" y="102"/>
                </a:cubicBezTo>
                <a:cubicBezTo>
                  <a:pt x="937" y="102"/>
                  <a:pt x="936" y="104"/>
                  <a:pt x="936" y="104"/>
                </a:cubicBezTo>
                <a:cubicBezTo>
                  <a:pt x="931" y="104"/>
                  <a:pt x="931" y="104"/>
                  <a:pt x="931" y="104"/>
                </a:cubicBezTo>
                <a:cubicBezTo>
                  <a:pt x="928" y="106"/>
                  <a:pt x="928" y="106"/>
                  <a:pt x="928" y="106"/>
                </a:cubicBezTo>
                <a:cubicBezTo>
                  <a:pt x="931" y="102"/>
                  <a:pt x="931" y="102"/>
                  <a:pt x="931" y="102"/>
                </a:cubicBezTo>
                <a:cubicBezTo>
                  <a:pt x="935" y="102"/>
                  <a:pt x="935" y="102"/>
                  <a:pt x="935" y="102"/>
                </a:cubicBezTo>
                <a:cubicBezTo>
                  <a:pt x="935" y="102"/>
                  <a:pt x="940" y="100"/>
                  <a:pt x="937" y="98"/>
                </a:cubicBezTo>
                <a:cubicBezTo>
                  <a:pt x="935" y="97"/>
                  <a:pt x="925" y="101"/>
                  <a:pt x="925" y="101"/>
                </a:cubicBezTo>
                <a:cubicBezTo>
                  <a:pt x="924" y="99"/>
                  <a:pt x="924" y="99"/>
                  <a:pt x="924" y="99"/>
                </a:cubicBezTo>
                <a:cubicBezTo>
                  <a:pt x="920" y="102"/>
                  <a:pt x="920" y="102"/>
                  <a:pt x="920" y="102"/>
                </a:cubicBezTo>
                <a:cubicBezTo>
                  <a:pt x="923" y="97"/>
                  <a:pt x="923" y="97"/>
                  <a:pt x="923" y="97"/>
                </a:cubicBezTo>
                <a:cubicBezTo>
                  <a:pt x="916" y="100"/>
                  <a:pt x="916" y="100"/>
                  <a:pt x="916" y="100"/>
                </a:cubicBezTo>
                <a:cubicBezTo>
                  <a:pt x="916" y="97"/>
                  <a:pt x="916" y="97"/>
                  <a:pt x="916" y="97"/>
                </a:cubicBezTo>
                <a:cubicBezTo>
                  <a:pt x="916" y="97"/>
                  <a:pt x="923" y="95"/>
                  <a:pt x="923" y="94"/>
                </a:cubicBezTo>
                <a:cubicBezTo>
                  <a:pt x="923" y="93"/>
                  <a:pt x="913" y="95"/>
                  <a:pt x="913" y="95"/>
                </a:cubicBezTo>
                <a:cubicBezTo>
                  <a:pt x="913" y="94"/>
                  <a:pt x="913" y="94"/>
                  <a:pt x="913" y="94"/>
                </a:cubicBezTo>
                <a:cubicBezTo>
                  <a:pt x="913" y="94"/>
                  <a:pt x="923" y="92"/>
                  <a:pt x="922" y="90"/>
                </a:cubicBezTo>
                <a:cubicBezTo>
                  <a:pt x="920" y="89"/>
                  <a:pt x="907" y="88"/>
                  <a:pt x="905" y="88"/>
                </a:cubicBezTo>
                <a:cubicBezTo>
                  <a:pt x="903" y="87"/>
                  <a:pt x="900" y="88"/>
                  <a:pt x="900" y="89"/>
                </a:cubicBezTo>
                <a:cubicBezTo>
                  <a:pt x="899" y="89"/>
                  <a:pt x="902" y="92"/>
                  <a:pt x="902" y="92"/>
                </a:cubicBezTo>
                <a:cubicBezTo>
                  <a:pt x="897" y="92"/>
                  <a:pt x="897" y="92"/>
                  <a:pt x="897" y="92"/>
                </a:cubicBezTo>
                <a:cubicBezTo>
                  <a:pt x="897" y="95"/>
                  <a:pt x="897" y="95"/>
                  <a:pt x="897" y="95"/>
                </a:cubicBezTo>
                <a:cubicBezTo>
                  <a:pt x="894" y="92"/>
                  <a:pt x="894" y="92"/>
                  <a:pt x="894" y="92"/>
                </a:cubicBezTo>
                <a:cubicBezTo>
                  <a:pt x="889" y="95"/>
                  <a:pt x="889" y="95"/>
                  <a:pt x="889" y="95"/>
                </a:cubicBezTo>
                <a:cubicBezTo>
                  <a:pt x="889" y="95"/>
                  <a:pt x="890" y="92"/>
                  <a:pt x="889" y="91"/>
                </a:cubicBezTo>
                <a:cubicBezTo>
                  <a:pt x="888" y="90"/>
                  <a:pt x="878" y="94"/>
                  <a:pt x="878" y="94"/>
                </a:cubicBezTo>
                <a:cubicBezTo>
                  <a:pt x="881" y="89"/>
                  <a:pt x="881" y="89"/>
                  <a:pt x="881" y="89"/>
                </a:cubicBezTo>
                <a:cubicBezTo>
                  <a:pt x="881" y="89"/>
                  <a:pt x="889" y="89"/>
                  <a:pt x="889" y="87"/>
                </a:cubicBezTo>
                <a:cubicBezTo>
                  <a:pt x="889" y="85"/>
                  <a:pt x="886" y="83"/>
                  <a:pt x="886" y="83"/>
                </a:cubicBezTo>
                <a:cubicBezTo>
                  <a:pt x="886" y="83"/>
                  <a:pt x="891" y="79"/>
                  <a:pt x="888" y="78"/>
                </a:cubicBezTo>
                <a:cubicBezTo>
                  <a:pt x="884" y="78"/>
                  <a:pt x="875" y="79"/>
                  <a:pt x="875" y="79"/>
                </a:cubicBezTo>
                <a:cubicBezTo>
                  <a:pt x="872" y="81"/>
                  <a:pt x="872" y="81"/>
                  <a:pt x="872" y="81"/>
                </a:cubicBezTo>
                <a:cubicBezTo>
                  <a:pt x="859" y="81"/>
                  <a:pt x="859" y="81"/>
                  <a:pt x="859" y="81"/>
                </a:cubicBezTo>
                <a:cubicBezTo>
                  <a:pt x="861" y="83"/>
                  <a:pt x="861" y="83"/>
                  <a:pt x="861" y="83"/>
                </a:cubicBezTo>
                <a:cubicBezTo>
                  <a:pt x="865" y="85"/>
                  <a:pt x="865" y="85"/>
                  <a:pt x="865" y="85"/>
                </a:cubicBezTo>
                <a:cubicBezTo>
                  <a:pt x="859" y="83"/>
                  <a:pt x="859" y="83"/>
                  <a:pt x="859" y="83"/>
                </a:cubicBezTo>
                <a:cubicBezTo>
                  <a:pt x="860" y="87"/>
                  <a:pt x="860" y="87"/>
                  <a:pt x="860" y="87"/>
                </a:cubicBezTo>
                <a:cubicBezTo>
                  <a:pt x="860" y="87"/>
                  <a:pt x="853" y="84"/>
                  <a:pt x="852" y="86"/>
                </a:cubicBezTo>
                <a:cubicBezTo>
                  <a:pt x="850" y="89"/>
                  <a:pt x="853" y="92"/>
                  <a:pt x="853" y="92"/>
                </a:cubicBezTo>
                <a:cubicBezTo>
                  <a:pt x="854" y="95"/>
                  <a:pt x="854" y="95"/>
                  <a:pt x="854" y="95"/>
                </a:cubicBezTo>
                <a:cubicBezTo>
                  <a:pt x="854" y="95"/>
                  <a:pt x="850" y="93"/>
                  <a:pt x="847" y="93"/>
                </a:cubicBezTo>
                <a:cubicBezTo>
                  <a:pt x="845" y="94"/>
                  <a:pt x="842" y="98"/>
                  <a:pt x="845" y="98"/>
                </a:cubicBezTo>
                <a:cubicBezTo>
                  <a:pt x="847" y="98"/>
                  <a:pt x="848" y="99"/>
                  <a:pt x="848" y="99"/>
                </a:cubicBezTo>
                <a:cubicBezTo>
                  <a:pt x="841" y="103"/>
                  <a:pt x="841" y="103"/>
                  <a:pt x="841" y="103"/>
                </a:cubicBezTo>
                <a:cubicBezTo>
                  <a:pt x="833" y="103"/>
                  <a:pt x="833" y="103"/>
                  <a:pt x="833" y="103"/>
                </a:cubicBezTo>
                <a:cubicBezTo>
                  <a:pt x="833" y="103"/>
                  <a:pt x="841" y="102"/>
                  <a:pt x="841" y="100"/>
                </a:cubicBezTo>
                <a:cubicBezTo>
                  <a:pt x="841" y="98"/>
                  <a:pt x="836" y="98"/>
                  <a:pt x="838" y="95"/>
                </a:cubicBezTo>
                <a:cubicBezTo>
                  <a:pt x="841" y="92"/>
                  <a:pt x="843" y="92"/>
                  <a:pt x="843" y="92"/>
                </a:cubicBezTo>
                <a:cubicBezTo>
                  <a:pt x="843" y="88"/>
                  <a:pt x="843" y="88"/>
                  <a:pt x="843" y="88"/>
                </a:cubicBezTo>
                <a:cubicBezTo>
                  <a:pt x="843" y="88"/>
                  <a:pt x="851" y="83"/>
                  <a:pt x="853" y="82"/>
                </a:cubicBezTo>
                <a:cubicBezTo>
                  <a:pt x="856" y="81"/>
                  <a:pt x="865" y="79"/>
                  <a:pt x="863" y="79"/>
                </a:cubicBezTo>
                <a:cubicBezTo>
                  <a:pt x="862" y="78"/>
                  <a:pt x="852" y="77"/>
                  <a:pt x="847" y="78"/>
                </a:cubicBezTo>
                <a:cubicBezTo>
                  <a:pt x="841" y="78"/>
                  <a:pt x="827" y="87"/>
                  <a:pt x="827" y="87"/>
                </a:cubicBezTo>
                <a:cubicBezTo>
                  <a:pt x="827" y="87"/>
                  <a:pt x="821" y="89"/>
                  <a:pt x="819" y="90"/>
                </a:cubicBezTo>
                <a:cubicBezTo>
                  <a:pt x="817" y="90"/>
                  <a:pt x="816" y="92"/>
                  <a:pt x="816" y="92"/>
                </a:cubicBezTo>
                <a:cubicBezTo>
                  <a:pt x="816" y="92"/>
                  <a:pt x="807" y="98"/>
                  <a:pt x="810" y="99"/>
                </a:cubicBezTo>
                <a:cubicBezTo>
                  <a:pt x="814" y="101"/>
                  <a:pt x="825" y="100"/>
                  <a:pt x="823" y="102"/>
                </a:cubicBezTo>
                <a:cubicBezTo>
                  <a:pt x="822" y="104"/>
                  <a:pt x="804" y="103"/>
                  <a:pt x="808" y="107"/>
                </a:cubicBezTo>
                <a:cubicBezTo>
                  <a:pt x="813" y="110"/>
                  <a:pt x="818" y="110"/>
                  <a:pt x="818" y="110"/>
                </a:cubicBezTo>
                <a:cubicBezTo>
                  <a:pt x="825" y="108"/>
                  <a:pt x="825" y="108"/>
                  <a:pt x="825" y="108"/>
                </a:cubicBezTo>
                <a:cubicBezTo>
                  <a:pt x="825" y="108"/>
                  <a:pt x="823" y="111"/>
                  <a:pt x="827" y="111"/>
                </a:cubicBezTo>
                <a:cubicBezTo>
                  <a:pt x="832" y="111"/>
                  <a:pt x="851" y="115"/>
                  <a:pt x="853" y="114"/>
                </a:cubicBezTo>
                <a:cubicBezTo>
                  <a:pt x="855" y="113"/>
                  <a:pt x="850" y="110"/>
                  <a:pt x="850" y="110"/>
                </a:cubicBezTo>
                <a:cubicBezTo>
                  <a:pt x="850" y="110"/>
                  <a:pt x="864" y="112"/>
                  <a:pt x="866" y="112"/>
                </a:cubicBezTo>
                <a:cubicBezTo>
                  <a:pt x="868" y="112"/>
                  <a:pt x="874" y="114"/>
                  <a:pt x="876" y="113"/>
                </a:cubicBezTo>
                <a:cubicBezTo>
                  <a:pt x="878" y="112"/>
                  <a:pt x="874" y="108"/>
                  <a:pt x="874" y="108"/>
                </a:cubicBezTo>
                <a:cubicBezTo>
                  <a:pt x="881" y="107"/>
                  <a:pt x="881" y="107"/>
                  <a:pt x="881" y="107"/>
                </a:cubicBezTo>
                <a:cubicBezTo>
                  <a:pt x="881" y="107"/>
                  <a:pt x="882" y="111"/>
                  <a:pt x="883" y="111"/>
                </a:cubicBezTo>
                <a:cubicBezTo>
                  <a:pt x="884" y="111"/>
                  <a:pt x="887" y="114"/>
                  <a:pt x="887" y="114"/>
                </a:cubicBezTo>
                <a:cubicBezTo>
                  <a:pt x="891" y="113"/>
                  <a:pt x="891" y="113"/>
                  <a:pt x="891" y="113"/>
                </a:cubicBezTo>
                <a:cubicBezTo>
                  <a:pt x="891" y="113"/>
                  <a:pt x="889" y="117"/>
                  <a:pt x="890" y="117"/>
                </a:cubicBezTo>
                <a:cubicBezTo>
                  <a:pt x="891" y="117"/>
                  <a:pt x="897" y="119"/>
                  <a:pt x="897" y="119"/>
                </a:cubicBezTo>
                <a:cubicBezTo>
                  <a:pt x="897" y="119"/>
                  <a:pt x="893" y="123"/>
                  <a:pt x="894" y="123"/>
                </a:cubicBezTo>
                <a:cubicBezTo>
                  <a:pt x="896" y="123"/>
                  <a:pt x="900" y="123"/>
                  <a:pt x="900" y="123"/>
                </a:cubicBezTo>
                <a:cubicBezTo>
                  <a:pt x="899" y="126"/>
                  <a:pt x="899" y="126"/>
                  <a:pt x="899" y="126"/>
                </a:cubicBezTo>
                <a:cubicBezTo>
                  <a:pt x="899" y="126"/>
                  <a:pt x="906" y="127"/>
                  <a:pt x="906" y="130"/>
                </a:cubicBezTo>
                <a:cubicBezTo>
                  <a:pt x="906" y="134"/>
                  <a:pt x="902" y="141"/>
                  <a:pt x="900" y="141"/>
                </a:cubicBezTo>
                <a:cubicBezTo>
                  <a:pt x="899" y="141"/>
                  <a:pt x="881" y="149"/>
                  <a:pt x="881" y="149"/>
                </a:cubicBezTo>
                <a:cubicBezTo>
                  <a:pt x="881" y="149"/>
                  <a:pt x="887" y="153"/>
                  <a:pt x="884" y="155"/>
                </a:cubicBezTo>
                <a:cubicBezTo>
                  <a:pt x="881" y="156"/>
                  <a:pt x="876" y="156"/>
                  <a:pt x="876" y="156"/>
                </a:cubicBezTo>
                <a:cubicBezTo>
                  <a:pt x="866" y="158"/>
                  <a:pt x="866" y="158"/>
                  <a:pt x="866" y="158"/>
                </a:cubicBezTo>
                <a:cubicBezTo>
                  <a:pt x="864" y="161"/>
                  <a:pt x="864" y="161"/>
                  <a:pt x="864" y="161"/>
                </a:cubicBezTo>
                <a:cubicBezTo>
                  <a:pt x="862" y="158"/>
                  <a:pt x="862" y="158"/>
                  <a:pt x="862" y="158"/>
                </a:cubicBezTo>
                <a:cubicBezTo>
                  <a:pt x="862" y="158"/>
                  <a:pt x="857" y="156"/>
                  <a:pt x="854" y="157"/>
                </a:cubicBezTo>
                <a:cubicBezTo>
                  <a:pt x="851" y="157"/>
                  <a:pt x="852" y="160"/>
                  <a:pt x="852" y="160"/>
                </a:cubicBezTo>
                <a:cubicBezTo>
                  <a:pt x="852" y="160"/>
                  <a:pt x="842" y="162"/>
                  <a:pt x="842" y="165"/>
                </a:cubicBezTo>
                <a:cubicBezTo>
                  <a:pt x="842" y="170"/>
                  <a:pt x="849" y="169"/>
                  <a:pt x="855" y="167"/>
                </a:cubicBezTo>
                <a:cubicBezTo>
                  <a:pt x="861" y="165"/>
                  <a:pt x="862" y="165"/>
                  <a:pt x="862" y="165"/>
                </a:cubicBezTo>
                <a:cubicBezTo>
                  <a:pt x="862" y="165"/>
                  <a:pt x="866" y="168"/>
                  <a:pt x="867" y="167"/>
                </a:cubicBezTo>
                <a:cubicBezTo>
                  <a:pt x="868" y="166"/>
                  <a:pt x="868" y="164"/>
                  <a:pt x="868" y="164"/>
                </a:cubicBezTo>
                <a:cubicBezTo>
                  <a:pt x="871" y="161"/>
                  <a:pt x="871" y="161"/>
                  <a:pt x="871" y="161"/>
                </a:cubicBezTo>
                <a:cubicBezTo>
                  <a:pt x="871" y="161"/>
                  <a:pt x="868" y="163"/>
                  <a:pt x="870" y="164"/>
                </a:cubicBezTo>
                <a:cubicBezTo>
                  <a:pt x="872" y="164"/>
                  <a:pt x="879" y="164"/>
                  <a:pt x="879" y="164"/>
                </a:cubicBezTo>
                <a:cubicBezTo>
                  <a:pt x="879" y="164"/>
                  <a:pt x="876" y="166"/>
                  <a:pt x="877" y="167"/>
                </a:cubicBezTo>
                <a:cubicBezTo>
                  <a:pt x="877" y="169"/>
                  <a:pt x="881" y="169"/>
                  <a:pt x="881" y="169"/>
                </a:cubicBezTo>
                <a:cubicBezTo>
                  <a:pt x="881" y="169"/>
                  <a:pt x="878" y="171"/>
                  <a:pt x="881" y="173"/>
                </a:cubicBezTo>
                <a:cubicBezTo>
                  <a:pt x="883" y="174"/>
                  <a:pt x="888" y="174"/>
                  <a:pt x="888" y="174"/>
                </a:cubicBezTo>
                <a:cubicBezTo>
                  <a:pt x="882" y="176"/>
                  <a:pt x="882" y="176"/>
                  <a:pt x="882" y="176"/>
                </a:cubicBezTo>
                <a:cubicBezTo>
                  <a:pt x="882" y="176"/>
                  <a:pt x="883" y="181"/>
                  <a:pt x="884" y="180"/>
                </a:cubicBezTo>
                <a:cubicBezTo>
                  <a:pt x="885" y="180"/>
                  <a:pt x="887" y="179"/>
                  <a:pt x="887" y="179"/>
                </a:cubicBezTo>
                <a:cubicBezTo>
                  <a:pt x="887" y="179"/>
                  <a:pt x="888" y="182"/>
                  <a:pt x="890" y="182"/>
                </a:cubicBezTo>
                <a:cubicBezTo>
                  <a:pt x="892" y="182"/>
                  <a:pt x="896" y="183"/>
                  <a:pt x="896" y="183"/>
                </a:cubicBezTo>
                <a:cubicBezTo>
                  <a:pt x="896" y="183"/>
                  <a:pt x="896" y="187"/>
                  <a:pt x="899" y="187"/>
                </a:cubicBezTo>
                <a:cubicBezTo>
                  <a:pt x="903" y="188"/>
                  <a:pt x="905" y="187"/>
                  <a:pt x="908" y="188"/>
                </a:cubicBezTo>
                <a:cubicBezTo>
                  <a:pt x="911" y="190"/>
                  <a:pt x="918" y="193"/>
                  <a:pt x="918" y="193"/>
                </a:cubicBezTo>
                <a:cubicBezTo>
                  <a:pt x="918" y="193"/>
                  <a:pt x="921" y="189"/>
                  <a:pt x="918" y="186"/>
                </a:cubicBezTo>
                <a:cubicBezTo>
                  <a:pt x="916" y="183"/>
                  <a:pt x="912" y="181"/>
                  <a:pt x="912" y="181"/>
                </a:cubicBezTo>
                <a:cubicBezTo>
                  <a:pt x="912" y="181"/>
                  <a:pt x="907" y="175"/>
                  <a:pt x="908" y="174"/>
                </a:cubicBezTo>
                <a:cubicBezTo>
                  <a:pt x="909" y="172"/>
                  <a:pt x="914" y="177"/>
                  <a:pt x="914" y="177"/>
                </a:cubicBezTo>
                <a:cubicBezTo>
                  <a:pt x="914" y="173"/>
                  <a:pt x="914" y="173"/>
                  <a:pt x="914" y="173"/>
                </a:cubicBezTo>
                <a:cubicBezTo>
                  <a:pt x="914" y="173"/>
                  <a:pt x="916" y="178"/>
                  <a:pt x="918" y="178"/>
                </a:cubicBezTo>
                <a:cubicBezTo>
                  <a:pt x="920" y="178"/>
                  <a:pt x="923" y="177"/>
                  <a:pt x="923" y="177"/>
                </a:cubicBezTo>
                <a:cubicBezTo>
                  <a:pt x="923" y="177"/>
                  <a:pt x="922" y="181"/>
                  <a:pt x="925" y="181"/>
                </a:cubicBezTo>
                <a:cubicBezTo>
                  <a:pt x="927" y="181"/>
                  <a:pt x="928" y="184"/>
                  <a:pt x="928" y="184"/>
                </a:cubicBezTo>
                <a:cubicBezTo>
                  <a:pt x="930" y="180"/>
                  <a:pt x="930" y="180"/>
                  <a:pt x="930" y="180"/>
                </a:cubicBezTo>
                <a:cubicBezTo>
                  <a:pt x="930" y="180"/>
                  <a:pt x="932" y="183"/>
                  <a:pt x="934" y="182"/>
                </a:cubicBezTo>
                <a:cubicBezTo>
                  <a:pt x="935" y="182"/>
                  <a:pt x="933" y="179"/>
                  <a:pt x="933" y="179"/>
                </a:cubicBezTo>
                <a:cubicBezTo>
                  <a:pt x="935" y="172"/>
                  <a:pt x="935" y="172"/>
                  <a:pt x="935" y="172"/>
                </a:cubicBezTo>
                <a:cubicBezTo>
                  <a:pt x="935" y="172"/>
                  <a:pt x="935" y="178"/>
                  <a:pt x="937" y="178"/>
                </a:cubicBezTo>
                <a:cubicBezTo>
                  <a:pt x="939" y="178"/>
                  <a:pt x="940" y="172"/>
                  <a:pt x="940" y="172"/>
                </a:cubicBezTo>
                <a:cubicBezTo>
                  <a:pt x="937" y="169"/>
                  <a:pt x="937" y="169"/>
                  <a:pt x="937" y="169"/>
                </a:cubicBezTo>
                <a:cubicBezTo>
                  <a:pt x="940" y="168"/>
                  <a:pt x="940" y="168"/>
                  <a:pt x="940" y="168"/>
                </a:cubicBezTo>
                <a:cubicBezTo>
                  <a:pt x="937" y="166"/>
                  <a:pt x="937" y="166"/>
                  <a:pt x="937" y="166"/>
                </a:cubicBezTo>
                <a:cubicBezTo>
                  <a:pt x="937" y="163"/>
                  <a:pt x="937" y="163"/>
                  <a:pt x="937" y="163"/>
                </a:cubicBezTo>
                <a:cubicBezTo>
                  <a:pt x="933" y="163"/>
                  <a:pt x="933" y="163"/>
                  <a:pt x="933" y="163"/>
                </a:cubicBezTo>
                <a:cubicBezTo>
                  <a:pt x="933" y="161"/>
                  <a:pt x="933" y="161"/>
                  <a:pt x="933" y="161"/>
                </a:cubicBezTo>
                <a:cubicBezTo>
                  <a:pt x="930" y="161"/>
                  <a:pt x="930" y="161"/>
                  <a:pt x="930" y="161"/>
                </a:cubicBezTo>
                <a:cubicBezTo>
                  <a:pt x="930" y="154"/>
                  <a:pt x="930" y="154"/>
                  <a:pt x="930" y="154"/>
                </a:cubicBezTo>
                <a:cubicBezTo>
                  <a:pt x="925" y="154"/>
                  <a:pt x="925" y="154"/>
                  <a:pt x="925" y="154"/>
                </a:cubicBezTo>
                <a:cubicBezTo>
                  <a:pt x="925" y="154"/>
                  <a:pt x="923" y="150"/>
                  <a:pt x="925" y="150"/>
                </a:cubicBezTo>
                <a:cubicBezTo>
                  <a:pt x="928" y="149"/>
                  <a:pt x="930" y="153"/>
                  <a:pt x="931" y="152"/>
                </a:cubicBezTo>
                <a:cubicBezTo>
                  <a:pt x="933" y="152"/>
                  <a:pt x="933" y="146"/>
                  <a:pt x="933" y="146"/>
                </a:cubicBezTo>
                <a:cubicBezTo>
                  <a:pt x="936" y="147"/>
                  <a:pt x="936" y="147"/>
                  <a:pt x="936" y="147"/>
                </a:cubicBezTo>
                <a:cubicBezTo>
                  <a:pt x="941" y="145"/>
                  <a:pt x="941" y="145"/>
                  <a:pt x="941" y="145"/>
                </a:cubicBezTo>
                <a:cubicBezTo>
                  <a:pt x="941" y="145"/>
                  <a:pt x="941" y="151"/>
                  <a:pt x="943" y="150"/>
                </a:cubicBezTo>
                <a:cubicBezTo>
                  <a:pt x="944" y="149"/>
                  <a:pt x="947" y="149"/>
                  <a:pt x="947" y="149"/>
                </a:cubicBezTo>
                <a:cubicBezTo>
                  <a:pt x="945" y="151"/>
                  <a:pt x="945" y="151"/>
                  <a:pt x="945" y="151"/>
                </a:cubicBezTo>
                <a:cubicBezTo>
                  <a:pt x="948" y="151"/>
                  <a:pt x="948" y="151"/>
                  <a:pt x="948" y="151"/>
                </a:cubicBezTo>
                <a:cubicBezTo>
                  <a:pt x="947" y="155"/>
                  <a:pt x="947" y="155"/>
                  <a:pt x="947" y="155"/>
                </a:cubicBezTo>
                <a:cubicBezTo>
                  <a:pt x="947" y="155"/>
                  <a:pt x="952" y="164"/>
                  <a:pt x="955" y="162"/>
                </a:cubicBezTo>
                <a:cubicBezTo>
                  <a:pt x="958" y="160"/>
                  <a:pt x="959" y="154"/>
                  <a:pt x="959" y="154"/>
                </a:cubicBezTo>
                <a:cubicBezTo>
                  <a:pt x="960" y="152"/>
                  <a:pt x="960" y="152"/>
                  <a:pt x="960" y="152"/>
                </a:cubicBezTo>
                <a:cubicBezTo>
                  <a:pt x="960" y="152"/>
                  <a:pt x="964" y="156"/>
                  <a:pt x="967" y="154"/>
                </a:cubicBezTo>
                <a:cubicBezTo>
                  <a:pt x="970" y="152"/>
                  <a:pt x="970" y="148"/>
                  <a:pt x="970" y="148"/>
                </a:cubicBezTo>
                <a:cubicBezTo>
                  <a:pt x="970" y="148"/>
                  <a:pt x="977" y="150"/>
                  <a:pt x="980" y="147"/>
                </a:cubicBezTo>
                <a:close/>
                <a:moveTo>
                  <a:pt x="906" y="15"/>
                </a:moveTo>
                <a:cubicBezTo>
                  <a:pt x="918" y="15"/>
                  <a:pt x="918" y="15"/>
                  <a:pt x="918" y="15"/>
                </a:cubicBezTo>
                <a:cubicBezTo>
                  <a:pt x="906" y="17"/>
                  <a:pt x="906" y="17"/>
                  <a:pt x="906" y="17"/>
                </a:cubicBezTo>
                <a:cubicBezTo>
                  <a:pt x="906" y="17"/>
                  <a:pt x="911" y="19"/>
                  <a:pt x="913" y="19"/>
                </a:cubicBezTo>
                <a:cubicBezTo>
                  <a:pt x="916" y="19"/>
                  <a:pt x="924" y="17"/>
                  <a:pt x="924" y="17"/>
                </a:cubicBezTo>
                <a:cubicBezTo>
                  <a:pt x="924" y="17"/>
                  <a:pt x="929" y="16"/>
                  <a:pt x="933" y="16"/>
                </a:cubicBezTo>
                <a:cubicBezTo>
                  <a:pt x="937" y="16"/>
                  <a:pt x="946" y="18"/>
                  <a:pt x="946" y="18"/>
                </a:cubicBezTo>
                <a:cubicBezTo>
                  <a:pt x="946" y="18"/>
                  <a:pt x="935" y="18"/>
                  <a:pt x="933" y="18"/>
                </a:cubicBezTo>
                <a:cubicBezTo>
                  <a:pt x="930" y="18"/>
                  <a:pt x="923" y="21"/>
                  <a:pt x="923" y="21"/>
                </a:cubicBezTo>
                <a:cubicBezTo>
                  <a:pt x="923" y="21"/>
                  <a:pt x="929" y="21"/>
                  <a:pt x="933" y="21"/>
                </a:cubicBezTo>
                <a:cubicBezTo>
                  <a:pt x="938" y="22"/>
                  <a:pt x="939" y="20"/>
                  <a:pt x="939" y="20"/>
                </a:cubicBezTo>
                <a:cubicBezTo>
                  <a:pt x="948" y="20"/>
                  <a:pt x="948" y="20"/>
                  <a:pt x="948" y="20"/>
                </a:cubicBezTo>
                <a:cubicBezTo>
                  <a:pt x="948" y="20"/>
                  <a:pt x="951" y="20"/>
                  <a:pt x="955" y="20"/>
                </a:cubicBezTo>
                <a:cubicBezTo>
                  <a:pt x="958" y="20"/>
                  <a:pt x="967" y="18"/>
                  <a:pt x="967" y="17"/>
                </a:cubicBezTo>
                <a:cubicBezTo>
                  <a:pt x="968" y="17"/>
                  <a:pt x="974" y="16"/>
                  <a:pt x="977" y="15"/>
                </a:cubicBezTo>
                <a:cubicBezTo>
                  <a:pt x="979" y="14"/>
                  <a:pt x="984" y="15"/>
                  <a:pt x="984" y="15"/>
                </a:cubicBezTo>
                <a:cubicBezTo>
                  <a:pt x="972" y="19"/>
                  <a:pt x="972" y="19"/>
                  <a:pt x="972" y="19"/>
                </a:cubicBezTo>
                <a:cubicBezTo>
                  <a:pt x="976" y="19"/>
                  <a:pt x="976" y="19"/>
                  <a:pt x="976" y="19"/>
                </a:cubicBezTo>
                <a:cubicBezTo>
                  <a:pt x="970" y="21"/>
                  <a:pt x="970" y="21"/>
                  <a:pt x="970" y="21"/>
                </a:cubicBezTo>
                <a:cubicBezTo>
                  <a:pt x="970" y="21"/>
                  <a:pt x="946" y="22"/>
                  <a:pt x="943" y="22"/>
                </a:cubicBezTo>
                <a:cubicBezTo>
                  <a:pt x="941" y="22"/>
                  <a:pt x="941" y="25"/>
                  <a:pt x="941" y="25"/>
                </a:cubicBezTo>
                <a:cubicBezTo>
                  <a:pt x="951" y="28"/>
                  <a:pt x="951" y="28"/>
                  <a:pt x="951" y="28"/>
                </a:cubicBezTo>
                <a:cubicBezTo>
                  <a:pt x="951" y="28"/>
                  <a:pt x="947" y="29"/>
                  <a:pt x="945" y="29"/>
                </a:cubicBezTo>
                <a:cubicBezTo>
                  <a:pt x="942" y="29"/>
                  <a:pt x="932" y="24"/>
                  <a:pt x="932" y="24"/>
                </a:cubicBezTo>
                <a:cubicBezTo>
                  <a:pt x="932" y="24"/>
                  <a:pt x="922" y="24"/>
                  <a:pt x="919" y="24"/>
                </a:cubicBezTo>
                <a:cubicBezTo>
                  <a:pt x="917" y="24"/>
                  <a:pt x="915" y="27"/>
                  <a:pt x="915" y="27"/>
                </a:cubicBezTo>
                <a:cubicBezTo>
                  <a:pt x="919" y="29"/>
                  <a:pt x="919" y="29"/>
                  <a:pt x="919" y="29"/>
                </a:cubicBezTo>
                <a:cubicBezTo>
                  <a:pt x="919" y="29"/>
                  <a:pt x="922" y="32"/>
                  <a:pt x="925" y="33"/>
                </a:cubicBezTo>
                <a:cubicBezTo>
                  <a:pt x="928" y="34"/>
                  <a:pt x="935" y="33"/>
                  <a:pt x="935" y="33"/>
                </a:cubicBezTo>
                <a:cubicBezTo>
                  <a:pt x="935" y="33"/>
                  <a:pt x="934" y="35"/>
                  <a:pt x="930" y="35"/>
                </a:cubicBezTo>
                <a:cubicBezTo>
                  <a:pt x="927" y="36"/>
                  <a:pt x="920" y="34"/>
                  <a:pt x="919" y="34"/>
                </a:cubicBezTo>
                <a:cubicBezTo>
                  <a:pt x="917" y="34"/>
                  <a:pt x="905" y="36"/>
                  <a:pt x="902" y="36"/>
                </a:cubicBezTo>
                <a:cubicBezTo>
                  <a:pt x="898" y="36"/>
                  <a:pt x="890" y="41"/>
                  <a:pt x="890" y="41"/>
                </a:cubicBezTo>
                <a:cubicBezTo>
                  <a:pt x="901" y="39"/>
                  <a:pt x="901" y="39"/>
                  <a:pt x="901" y="39"/>
                </a:cubicBezTo>
                <a:cubicBezTo>
                  <a:pt x="900" y="42"/>
                  <a:pt x="900" y="42"/>
                  <a:pt x="900" y="42"/>
                </a:cubicBezTo>
                <a:cubicBezTo>
                  <a:pt x="909" y="39"/>
                  <a:pt x="909" y="39"/>
                  <a:pt x="909" y="39"/>
                </a:cubicBezTo>
                <a:cubicBezTo>
                  <a:pt x="899" y="43"/>
                  <a:pt x="899" y="43"/>
                  <a:pt x="899" y="43"/>
                </a:cubicBezTo>
                <a:cubicBezTo>
                  <a:pt x="899" y="43"/>
                  <a:pt x="901" y="45"/>
                  <a:pt x="904" y="45"/>
                </a:cubicBezTo>
                <a:cubicBezTo>
                  <a:pt x="908" y="45"/>
                  <a:pt x="917" y="42"/>
                  <a:pt x="917" y="42"/>
                </a:cubicBezTo>
                <a:cubicBezTo>
                  <a:pt x="903" y="47"/>
                  <a:pt x="903" y="47"/>
                  <a:pt x="903" y="47"/>
                </a:cubicBezTo>
                <a:cubicBezTo>
                  <a:pt x="894" y="47"/>
                  <a:pt x="894" y="47"/>
                  <a:pt x="894" y="47"/>
                </a:cubicBezTo>
                <a:cubicBezTo>
                  <a:pt x="892" y="43"/>
                  <a:pt x="892" y="43"/>
                  <a:pt x="892" y="43"/>
                </a:cubicBezTo>
                <a:cubicBezTo>
                  <a:pt x="892" y="43"/>
                  <a:pt x="885" y="42"/>
                  <a:pt x="883" y="43"/>
                </a:cubicBezTo>
                <a:cubicBezTo>
                  <a:pt x="881" y="43"/>
                  <a:pt x="884" y="48"/>
                  <a:pt x="884" y="48"/>
                </a:cubicBezTo>
                <a:cubicBezTo>
                  <a:pt x="884" y="48"/>
                  <a:pt x="874" y="49"/>
                  <a:pt x="873" y="49"/>
                </a:cubicBezTo>
                <a:cubicBezTo>
                  <a:pt x="872" y="49"/>
                  <a:pt x="865" y="52"/>
                  <a:pt x="861" y="53"/>
                </a:cubicBezTo>
                <a:cubicBezTo>
                  <a:pt x="859" y="53"/>
                  <a:pt x="857" y="53"/>
                  <a:pt x="856" y="53"/>
                </a:cubicBezTo>
                <a:cubicBezTo>
                  <a:pt x="855" y="53"/>
                  <a:pt x="859" y="54"/>
                  <a:pt x="863" y="54"/>
                </a:cubicBezTo>
                <a:cubicBezTo>
                  <a:pt x="866" y="54"/>
                  <a:pt x="867" y="53"/>
                  <a:pt x="867" y="53"/>
                </a:cubicBezTo>
                <a:cubicBezTo>
                  <a:pt x="866" y="56"/>
                  <a:pt x="866" y="56"/>
                  <a:pt x="866" y="56"/>
                </a:cubicBezTo>
                <a:cubicBezTo>
                  <a:pt x="871" y="54"/>
                  <a:pt x="871" y="54"/>
                  <a:pt x="871" y="54"/>
                </a:cubicBezTo>
                <a:cubicBezTo>
                  <a:pt x="874" y="53"/>
                  <a:pt x="874" y="53"/>
                  <a:pt x="874" y="53"/>
                </a:cubicBezTo>
                <a:cubicBezTo>
                  <a:pt x="874" y="55"/>
                  <a:pt x="874" y="55"/>
                  <a:pt x="874" y="55"/>
                </a:cubicBezTo>
                <a:cubicBezTo>
                  <a:pt x="877" y="54"/>
                  <a:pt x="877" y="54"/>
                  <a:pt x="877" y="54"/>
                </a:cubicBezTo>
                <a:cubicBezTo>
                  <a:pt x="881" y="54"/>
                  <a:pt x="881" y="54"/>
                  <a:pt x="881" y="54"/>
                </a:cubicBezTo>
                <a:cubicBezTo>
                  <a:pt x="881" y="54"/>
                  <a:pt x="881" y="56"/>
                  <a:pt x="883" y="56"/>
                </a:cubicBezTo>
                <a:cubicBezTo>
                  <a:pt x="886" y="56"/>
                  <a:pt x="890" y="53"/>
                  <a:pt x="890" y="53"/>
                </a:cubicBezTo>
                <a:cubicBezTo>
                  <a:pt x="891" y="55"/>
                  <a:pt x="891" y="55"/>
                  <a:pt x="891" y="55"/>
                </a:cubicBezTo>
                <a:cubicBezTo>
                  <a:pt x="895" y="53"/>
                  <a:pt x="895" y="53"/>
                  <a:pt x="895" y="53"/>
                </a:cubicBezTo>
                <a:cubicBezTo>
                  <a:pt x="895" y="53"/>
                  <a:pt x="896" y="55"/>
                  <a:pt x="898" y="55"/>
                </a:cubicBezTo>
                <a:cubicBezTo>
                  <a:pt x="900" y="56"/>
                  <a:pt x="902" y="53"/>
                  <a:pt x="902" y="53"/>
                </a:cubicBezTo>
                <a:cubicBezTo>
                  <a:pt x="902" y="53"/>
                  <a:pt x="904" y="55"/>
                  <a:pt x="906" y="55"/>
                </a:cubicBezTo>
                <a:cubicBezTo>
                  <a:pt x="909" y="55"/>
                  <a:pt x="907" y="53"/>
                  <a:pt x="907" y="53"/>
                </a:cubicBezTo>
                <a:cubicBezTo>
                  <a:pt x="915" y="56"/>
                  <a:pt x="915" y="56"/>
                  <a:pt x="915" y="56"/>
                </a:cubicBezTo>
                <a:cubicBezTo>
                  <a:pt x="915" y="56"/>
                  <a:pt x="916" y="57"/>
                  <a:pt x="917" y="57"/>
                </a:cubicBezTo>
                <a:cubicBezTo>
                  <a:pt x="918" y="57"/>
                  <a:pt x="930" y="55"/>
                  <a:pt x="932" y="55"/>
                </a:cubicBezTo>
                <a:cubicBezTo>
                  <a:pt x="935" y="55"/>
                  <a:pt x="940" y="53"/>
                  <a:pt x="941" y="51"/>
                </a:cubicBezTo>
                <a:cubicBezTo>
                  <a:pt x="942" y="50"/>
                  <a:pt x="932" y="51"/>
                  <a:pt x="932" y="51"/>
                </a:cubicBezTo>
                <a:cubicBezTo>
                  <a:pt x="932" y="51"/>
                  <a:pt x="934" y="49"/>
                  <a:pt x="932" y="49"/>
                </a:cubicBezTo>
                <a:cubicBezTo>
                  <a:pt x="931" y="48"/>
                  <a:pt x="926" y="49"/>
                  <a:pt x="926" y="49"/>
                </a:cubicBezTo>
                <a:cubicBezTo>
                  <a:pt x="918" y="48"/>
                  <a:pt x="918" y="48"/>
                  <a:pt x="918" y="48"/>
                </a:cubicBezTo>
                <a:cubicBezTo>
                  <a:pt x="920" y="45"/>
                  <a:pt x="920" y="45"/>
                  <a:pt x="920" y="45"/>
                </a:cubicBezTo>
                <a:cubicBezTo>
                  <a:pt x="929" y="48"/>
                  <a:pt x="929" y="48"/>
                  <a:pt x="929" y="48"/>
                </a:cubicBezTo>
                <a:cubicBezTo>
                  <a:pt x="929" y="48"/>
                  <a:pt x="941" y="47"/>
                  <a:pt x="945" y="47"/>
                </a:cubicBezTo>
                <a:cubicBezTo>
                  <a:pt x="949" y="47"/>
                  <a:pt x="948" y="43"/>
                  <a:pt x="948" y="43"/>
                </a:cubicBezTo>
                <a:cubicBezTo>
                  <a:pt x="948" y="43"/>
                  <a:pt x="953" y="42"/>
                  <a:pt x="957" y="42"/>
                </a:cubicBezTo>
                <a:cubicBezTo>
                  <a:pt x="961" y="42"/>
                  <a:pt x="969" y="40"/>
                  <a:pt x="969" y="40"/>
                </a:cubicBezTo>
                <a:cubicBezTo>
                  <a:pt x="965" y="38"/>
                  <a:pt x="965" y="38"/>
                  <a:pt x="965" y="38"/>
                </a:cubicBezTo>
                <a:cubicBezTo>
                  <a:pt x="965" y="38"/>
                  <a:pt x="970" y="38"/>
                  <a:pt x="975" y="36"/>
                </a:cubicBezTo>
                <a:cubicBezTo>
                  <a:pt x="981" y="35"/>
                  <a:pt x="968" y="33"/>
                  <a:pt x="968" y="33"/>
                </a:cubicBezTo>
                <a:cubicBezTo>
                  <a:pt x="968" y="33"/>
                  <a:pt x="962" y="34"/>
                  <a:pt x="959" y="33"/>
                </a:cubicBezTo>
                <a:cubicBezTo>
                  <a:pt x="957" y="32"/>
                  <a:pt x="970" y="29"/>
                  <a:pt x="970" y="29"/>
                </a:cubicBezTo>
                <a:cubicBezTo>
                  <a:pt x="971" y="29"/>
                  <a:pt x="980" y="30"/>
                  <a:pt x="980" y="30"/>
                </a:cubicBezTo>
                <a:cubicBezTo>
                  <a:pt x="980" y="30"/>
                  <a:pt x="990" y="30"/>
                  <a:pt x="993" y="29"/>
                </a:cubicBezTo>
                <a:cubicBezTo>
                  <a:pt x="996" y="28"/>
                  <a:pt x="986" y="28"/>
                  <a:pt x="989" y="26"/>
                </a:cubicBezTo>
                <a:cubicBezTo>
                  <a:pt x="993" y="25"/>
                  <a:pt x="1000" y="28"/>
                  <a:pt x="1004" y="28"/>
                </a:cubicBezTo>
                <a:cubicBezTo>
                  <a:pt x="1008" y="28"/>
                  <a:pt x="1006" y="24"/>
                  <a:pt x="1006" y="24"/>
                </a:cubicBezTo>
                <a:cubicBezTo>
                  <a:pt x="1016" y="25"/>
                  <a:pt x="1016" y="25"/>
                  <a:pt x="1016" y="25"/>
                </a:cubicBezTo>
                <a:cubicBezTo>
                  <a:pt x="1017" y="22"/>
                  <a:pt x="1017" y="22"/>
                  <a:pt x="1017" y="22"/>
                </a:cubicBezTo>
                <a:cubicBezTo>
                  <a:pt x="1017" y="22"/>
                  <a:pt x="1020" y="23"/>
                  <a:pt x="1022" y="23"/>
                </a:cubicBezTo>
                <a:cubicBezTo>
                  <a:pt x="1023" y="23"/>
                  <a:pt x="1030" y="20"/>
                  <a:pt x="1030" y="20"/>
                </a:cubicBezTo>
                <a:cubicBezTo>
                  <a:pt x="1030" y="20"/>
                  <a:pt x="1042" y="18"/>
                  <a:pt x="1049" y="17"/>
                </a:cubicBezTo>
                <a:cubicBezTo>
                  <a:pt x="1056" y="16"/>
                  <a:pt x="1056" y="15"/>
                  <a:pt x="1055" y="15"/>
                </a:cubicBezTo>
                <a:cubicBezTo>
                  <a:pt x="1054" y="15"/>
                  <a:pt x="1040" y="15"/>
                  <a:pt x="1040" y="15"/>
                </a:cubicBezTo>
                <a:cubicBezTo>
                  <a:pt x="1037" y="17"/>
                  <a:pt x="1037" y="17"/>
                  <a:pt x="1037" y="17"/>
                </a:cubicBezTo>
                <a:cubicBezTo>
                  <a:pt x="1027" y="16"/>
                  <a:pt x="1027" y="16"/>
                  <a:pt x="1027" y="16"/>
                </a:cubicBezTo>
                <a:cubicBezTo>
                  <a:pt x="1038" y="16"/>
                  <a:pt x="1038" y="16"/>
                  <a:pt x="1038" y="16"/>
                </a:cubicBezTo>
                <a:cubicBezTo>
                  <a:pt x="1038" y="14"/>
                  <a:pt x="1038" y="14"/>
                  <a:pt x="1038" y="14"/>
                </a:cubicBezTo>
                <a:cubicBezTo>
                  <a:pt x="1045" y="15"/>
                  <a:pt x="1045" y="15"/>
                  <a:pt x="1045" y="15"/>
                </a:cubicBezTo>
                <a:cubicBezTo>
                  <a:pt x="1045" y="15"/>
                  <a:pt x="1046" y="13"/>
                  <a:pt x="1048" y="13"/>
                </a:cubicBezTo>
                <a:cubicBezTo>
                  <a:pt x="1049" y="13"/>
                  <a:pt x="1071" y="12"/>
                  <a:pt x="1074" y="12"/>
                </a:cubicBezTo>
                <a:cubicBezTo>
                  <a:pt x="1078" y="12"/>
                  <a:pt x="1088" y="9"/>
                  <a:pt x="1087" y="8"/>
                </a:cubicBezTo>
                <a:cubicBezTo>
                  <a:pt x="1087" y="8"/>
                  <a:pt x="1075" y="9"/>
                  <a:pt x="1075" y="9"/>
                </a:cubicBezTo>
                <a:cubicBezTo>
                  <a:pt x="1076" y="7"/>
                  <a:pt x="1076" y="7"/>
                  <a:pt x="1076" y="7"/>
                </a:cubicBezTo>
                <a:cubicBezTo>
                  <a:pt x="1076" y="7"/>
                  <a:pt x="1068" y="5"/>
                  <a:pt x="1066" y="5"/>
                </a:cubicBezTo>
                <a:cubicBezTo>
                  <a:pt x="1063" y="5"/>
                  <a:pt x="1048" y="8"/>
                  <a:pt x="1048" y="8"/>
                </a:cubicBezTo>
                <a:cubicBezTo>
                  <a:pt x="1055" y="5"/>
                  <a:pt x="1055" y="5"/>
                  <a:pt x="1055" y="5"/>
                </a:cubicBezTo>
                <a:cubicBezTo>
                  <a:pt x="1045" y="5"/>
                  <a:pt x="1045" y="5"/>
                  <a:pt x="1045" y="5"/>
                </a:cubicBezTo>
                <a:cubicBezTo>
                  <a:pt x="1045" y="5"/>
                  <a:pt x="1038" y="3"/>
                  <a:pt x="1036" y="3"/>
                </a:cubicBezTo>
                <a:cubicBezTo>
                  <a:pt x="1034" y="4"/>
                  <a:pt x="1032" y="6"/>
                  <a:pt x="1032" y="6"/>
                </a:cubicBezTo>
                <a:cubicBezTo>
                  <a:pt x="1032" y="6"/>
                  <a:pt x="1027" y="3"/>
                  <a:pt x="1025" y="3"/>
                </a:cubicBezTo>
                <a:cubicBezTo>
                  <a:pt x="1023" y="3"/>
                  <a:pt x="1019" y="7"/>
                  <a:pt x="1019" y="7"/>
                </a:cubicBezTo>
                <a:cubicBezTo>
                  <a:pt x="1014" y="5"/>
                  <a:pt x="1014" y="5"/>
                  <a:pt x="1014" y="5"/>
                </a:cubicBezTo>
                <a:cubicBezTo>
                  <a:pt x="998" y="4"/>
                  <a:pt x="998" y="4"/>
                  <a:pt x="998" y="4"/>
                </a:cubicBezTo>
                <a:cubicBezTo>
                  <a:pt x="1002" y="8"/>
                  <a:pt x="1002" y="8"/>
                  <a:pt x="1002" y="8"/>
                </a:cubicBezTo>
                <a:cubicBezTo>
                  <a:pt x="993" y="5"/>
                  <a:pt x="993" y="5"/>
                  <a:pt x="993" y="5"/>
                </a:cubicBezTo>
                <a:cubicBezTo>
                  <a:pt x="985" y="7"/>
                  <a:pt x="985" y="7"/>
                  <a:pt x="985" y="7"/>
                </a:cubicBezTo>
                <a:cubicBezTo>
                  <a:pt x="985" y="7"/>
                  <a:pt x="978" y="5"/>
                  <a:pt x="975" y="5"/>
                </a:cubicBezTo>
                <a:cubicBezTo>
                  <a:pt x="972" y="5"/>
                  <a:pt x="962" y="8"/>
                  <a:pt x="962" y="8"/>
                </a:cubicBezTo>
                <a:cubicBezTo>
                  <a:pt x="974" y="12"/>
                  <a:pt x="974" y="12"/>
                  <a:pt x="974" y="12"/>
                </a:cubicBezTo>
                <a:cubicBezTo>
                  <a:pt x="962" y="10"/>
                  <a:pt x="962" y="10"/>
                  <a:pt x="962" y="10"/>
                </a:cubicBezTo>
                <a:cubicBezTo>
                  <a:pt x="962" y="10"/>
                  <a:pt x="950" y="8"/>
                  <a:pt x="945" y="8"/>
                </a:cubicBezTo>
                <a:cubicBezTo>
                  <a:pt x="940" y="9"/>
                  <a:pt x="941" y="12"/>
                  <a:pt x="941" y="12"/>
                </a:cubicBezTo>
                <a:cubicBezTo>
                  <a:pt x="941" y="12"/>
                  <a:pt x="928" y="10"/>
                  <a:pt x="926" y="10"/>
                </a:cubicBezTo>
                <a:cubicBezTo>
                  <a:pt x="923" y="10"/>
                  <a:pt x="902" y="12"/>
                  <a:pt x="901" y="13"/>
                </a:cubicBezTo>
                <a:cubicBezTo>
                  <a:pt x="901" y="13"/>
                  <a:pt x="906" y="15"/>
                  <a:pt x="906" y="15"/>
                </a:cubicBezTo>
                <a:close/>
                <a:moveTo>
                  <a:pt x="954" y="355"/>
                </a:moveTo>
                <a:cubicBezTo>
                  <a:pt x="963" y="346"/>
                  <a:pt x="963" y="346"/>
                  <a:pt x="963" y="346"/>
                </a:cubicBezTo>
                <a:cubicBezTo>
                  <a:pt x="962" y="343"/>
                  <a:pt x="962" y="343"/>
                  <a:pt x="962" y="343"/>
                </a:cubicBezTo>
                <a:cubicBezTo>
                  <a:pt x="958" y="345"/>
                  <a:pt x="958" y="345"/>
                  <a:pt x="958" y="345"/>
                </a:cubicBezTo>
                <a:cubicBezTo>
                  <a:pt x="954" y="345"/>
                  <a:pt x="954" y="345"/>
                  <a:pt x="954" y="345"/>
                </a:cubicBezTo>
                <a:cubicBezTo>
                  <a:pt x="958" y="342"/>
                  <a:pt x="958" y="342"/>
                  <a:pt x="958" y="342"/>
                </a:cubicBezTo>
                <a:cubicBezTo>
                  <a:pt x="953" y="342"/>
                  <a:pt x="953" y="342"/>
                  <a:pt x="953" y="342"/>
                </a:cubicBezTo>
                <a:cubicBezTo>
                  <a:pt x="953" y="342"/>
                  <a:pt x="962" y="331"/>
                  <a:pt x="961" y="331"/>
                </a:cubicBezTo>
                <a:cubicBezTo>
                  <a:pt x="960" y="331"/>
                  <a:pt x="954" y="330"/>
                  <a:pt x="956" y="329"/>
                </a:cubicBezTo>
                <a:cubicBezTo>
                  <a:pt x="958" y="329"/>
                  <a:pt x="960" y="326"/>
                  <a:pt x="960" y="326"/>
                </a:cubicBezTo>
                <a:cubicBezTo>
                  <a:pt x="957" y="324"/>
                  <a:pt x="957" y="324"/>
                  <a:pt x="957" y="324"/>
                </a:cubicBezTo>
                <a:cubicBezTo>
                  <a:pt x="950" y="328"/>
                  <a:pt x="950" y="328"/>
                  <a:pt x="950" y="328"/>
                </a:cubicBezTo>
                <a:cubicBezTo>
                  <a:pt x="949" y="324"/>
                  <a:pt x="949" y="324"/>
                  <a:pt x="949" y="324"/>
                </a:cubicBezTo>
                <a:cubicBezTo>
                  <a:pt x="945" y="325"/>
                  <a:pt x="945" y="325"/>
                  <a:pt x="945" y="325"/>
                </a:cubicBezTo>
                <a:cubicBezTo>
                  <a:pt x="946" y="320"/>
                  <a:pt x="946" y="320"/>
                  <a:pt x="946" y="320"/>
                </a:cubicBezTo>
                <a:cubicBezTo>
                  <a:pt x="943" y="319"/>
                  <a:pt x="943" y="319"/>
                  <a:pt x="943" y="319"/>
                </a:cubicBezTo>
                <a:cubicBezTo>
                  <a:pt x="940" y="316"/>
                  <a:pt x="940" y="316"/>
                  <a:pt x="940" y="316"/>
                </a:cubicBezTo>
                <a:cubicBezTo>
                  <a:pt x="936" y="323"/>
                  <a:pt x="936" y="323"/>
                  <a:pt x="936" y="323"/>
                </a:cubicBezTo>
                <a:cubicBezTo>
                  <a:pt x="933" y="325"/>
                  <a:pt x="933" y="325"/>
                  <a:pt x="933" y="325"/>
                </a:cubicBezTo>
                <a:cubicBezTo>
                  <a:pt x="933" y="322"/>
                  <a:pt x="933" y="322"/>
                  <a:pt x="933" y="322"/>
                </a:cubicBezTo>
                <a:cubicBezTo>
                  <a:pt x="938" y="316"/>
                  <a:pt x="938" y="316"/>
                  <a:pt x="938" y="316"/>
                </a:cubicBezTo>
                <a:cubicBezTo>
                  <a:pt x="938" y="316"/>
                  <a:pt x="941" y="315"/>
                  <a:pt x="944" y="313"/>
                </a:cubicBezTo>
                <a:cubicBezTo>
                  <a:pt x="946" y="311"/>
                  <a:pt x="948" y="307"/>
                  <a:pt x="948" y="307"/>
                </a:cubicBezTo>
                <a:cubicBezTo>
                  <a:pt x="950" y="305"/>
                  <a:pt x="950" y="305"/>
                  <a:pt x="950" y="305"/>
                </a:cubicBezTo>
                <a:cubicBezTo>
                  <a:pt x="950" y="305"/>
                  <a:pt x="954" y="303"/>
                  <a:pt x="950" y="302"/>
                </a:cubicBezTo>
                <a:cubicBezTo>
                  <a:pt x="946" y="301"/>
                  <a:pt x="940" y="304"/>
                  <a:pt x="940" y="304"/>
                </a:cubicBezTo>
                <a:cubicBezTo>
                  <a:pt x="932" y="314"/>
                  <a:pt x="932" y="314"/>
                  <a:pt x="932" y="314"/>
                </a:cubicBezTo>
                <a:cubicBezTo>
                  <a:pt x="925" y="322"/>
                  <a:pt x="925" y="322"/>
                  <a:pt x="925" y="322"/>
                </a:cubicBezTo>
                <a:cubicBezTo>
                  <a:pt x="913" y="333"/>
                  <a:pt x="913" y="333"/>
                  <a:pt x="913" y="333"/>
                </a:cubicBezTo>
                <a:cubicBezTo>
                  <a:pt x="913" y="333"/>
                  <a:pt x="905" y="336"/>
                  <a:pt x="904" y="337"/>
                </a:cubicBezTo>
                <a:cubicBezTo>
                  <a:pt x="904" y="339"/>
                  <a:pt x="910" y="339"/>
                  <a:pt x="910" y="339"/>
                </a:cubicBezTo>
                <a:cubicBezTo>
                  <a:pt x="910" y="339"/>
                  <a:pt x="903" y="340"/>
                  <a:pt x="905" y="343"/>
                </a:cubicBezTo>
                <a:cubicBezTo>
                  <a:pt x="908" y="345"/>
                  <a:pt x="916" y="342"/>
                  <a:pt x="916" y="342"/>
                </a:cubicBezTo>
                <a:cubicBezTo>
                  <a:pt x="916" y="342"/>
                  <a:pt x="931" y="346"/>
                  <a:pt x="934" y="346"/>
                </a:cubicBezTo>
                <a:cubicBezTo>
                  <a:pt x="938" y="346"/>
                  <a:pt x="936" y="348"/>
                  <a:pt x="936" y="348"/>
                </a:cubicBezTo>
                <a:cubicBezTo>
                  <a:pt x="930" y="350"/>
                  <a:pt x="930" y="350"/>
                  <a:pt x="930" y="350"/>
                </a:cubicBezTo>
                <a:cubicBezTo>
                  <a:pt x="930" y="351"/>
                  <a:pt x="930" y="351"/>
                  <a:pt x="930" y="351"/>
                </a:cubicBezTo>
                <a:cubicBezTo>
                  <a:pt x="936" y="351"/>
                  <a:pt x="936" y="351"/>
                  <a:pt x="936" y="351"/>
                </a:cubicBezTo>
                <a:cubicBezTo>
                  <a:pt x="945" y="350"/>
                  <a:pt x="945" y="350"/>
                  <a:pt x="945" y="350"/>
                </a:cubicBezTo>
                <a:cubicBezTo>
                  <a:pt x="946" y="351"/>
                  <a:pt x="946" y="351"/>
                  <a:pt x="946" y="351"/>
                </a:cubicBezTo>
                <a:cubicBezTo>
                  <a:pt x="951" y="351"/>
                  <a:pt x="951" y="351"/>
                  <a:pt x="951" y="351"/>
                </a:cubicBezTo>
                <a:cubicBezTo>
                  <a:pt x="948" y="354"/>
                  <a:pt x="948" y="354"/>
                  <a:pt x="948" y="354"/>
                </a:cubicBezTo>
                <a:cubicBezTo>
                  <a:pt x="954" y="355"/>
                  <a:pt x="954" y="355"/>
                  <a:pt x="954" y="355"/>
                </a:cubicBezTo>
                <a:cubicBezTo>
                  <a:pt x="954" y="355"/>
                  <a:pt x="954" y="355"/>
                  <a:pt x="954" y="355"/>
                </a:cubicBezTo>
                <a:close/>
                <a:moveTo>
                  <a:pt x="1248" y="123"/>
                </a:moveTo>
                <a:cubicBezTo>
                  <a:pt x="1252" y="123"/>
                  <a:pt x="1252" y="123"/>
                  <a:pt x="1252" y="123"/>
                </a:cubicBezTo>
                <a:cubicBezTo>
                  <a:pt x="1254" y="121"/>
                  <a:pt x="1254" y="121"/>
                  <a:pt x="1254" y="121"/>
                </a:cubicBezTo>
                <a:cubicBezTo>
                  <a:pt x="1257" y="121"/>
                  <a:pt x="1257" y="121"/>
                  <a:pt x="1257" y="121"/>
                </a:cubicBezTo>
                <a:cubicBezTo>
                  <a:pt x="1257" y="121"/>
                  <a:pt x="1261" y="117"/>
                  <a:pt x="1262" y="117"/>
                </a:cubicBezTo>
                <a:cubicBezTo>
                  <a:pt x="1263" y="116"/>
                  <a:pt x="1268" y="116"/>
                  <a:pt x="1268" y="116"/>
                </a:cubicBezTo>
                <a:cubicBezTo>
                  <a:pt x="1275" y="113"/>
                  <a:pt x="1275" y="113"/>
                  <a:pt x="1275" y="113"/>
                </a:cubicBezTo>
                <a:cubicBezTo>
                  <a:pt x="1279" y="112"/>
                  <a:pt x="1279" y="112"/>
                  <a:pt x="1279" y="112"/>
                </a:cubicBezTo>
                <a:cubicBezTo>
                  <a:pt x="1280" y="111"/>
                  <a:pt x="1280" y="111"/>
                  <a:pt x="1280" y="111"/>
                </a:cubicBezTo>
                <a:cubicBezTo>
                  <a:pt x="1280" y="111"/>
                  <a:pt x="1276" y="111"/>
                  <a:pt x="1274" y="111"/>
                </a:cubicBezTo>
                <a:cubicBezTo>
                  <a:pt x="1271" y="111"/>
                  <a:pt x="1270" y="110"/>
                  <a:pt x="1266" y="109"/>
                </a:cubicBezTo>
                <a:cubicBezTo>
                  <a:pt x="1263" y="109"/>
                  <a:pt x="1257" y="109"/>
                  <a:pt x="1254" y="110"/>
                </a:cubicBezTo>
                <a:cubicBezTo>
                  <a:pt x="1252" y="111"/>
                  <a:pt x="1247" y="111"/>
                  <a:pt x="1247" y="111"/>
                </a:cubicBezTo>
                <a:cubicBezTo>
                  <a:pt x="1245" y="112"/>
                  <a:pt x="1245" y="112"/>
                  <a:pt x="1245" y="112"/>
                </a:cubicBezTo>
                <a:cubicBezTo>
                  <a:pt x="1245" y="112"/>
                  <a:pt x="1236" y="113"/>
                  <a:pt x="1237" y="112"/>
                </a:cubicBezTo>
                <a:cubicBezTo>
                  <a:pt x="1239" y="111"/>
                  <a:pt x="1251" y="109"/>
                  <a:pt x="1251" y="109"/>
                </a:cubicBezTo>
                <a:cubicBezTo>
                  <a:pt x="1251" y="109"/>
                  <a:pt x="1264" y="106"/>
                  <a:pt x="1261" y="104"/>
                </a:cubicBezTo>
                <a:cubicBezTo>
                  <a:pt x="1258" y="103"/>
                  <a:pt x="1256" y="103"/>
                  <a:pt x="1256" y="103"/>
                </a:cubicBezTo>
                <a:cubicBezTo>
                  <a:pt x="1256" y="103"/>
                  <a:pt x="1244" y="106"/>
                  <a:pt x="1243" y="107"/>
                </a:cubicBezTo>
                <a:cubicBezTo>
                  <a:pt x="1242" y="108"/>
                  <a:pt x="1236" y="107"/>
                  <a:pt x="1236" y="107"/>
                </a:cubicBezTo>
                <a:cubicBezTo>
                  <a:pt x="1241" y="105"/>
                  <a:pt x="1241" y="105"/>
                  <a:pt x="1241" y="105"/>
                </a:cubicBezTo>
                <a:cubicBezTo>
                  <a:pt x="1244" y="102"/>
                  <a:pt x="1244" y="102"/>
                  <a:pt x="1244" y="102"/>
                </a:cubicBezTo>
                <a:cubicBezTo>
                  <a:pt x="1244" y="102"/>
                  <a:pt x="1249" y="103"/>
                  <a:pt x="1251" y="103"/>
                </a:cubicBezTo>
                <a:cubicBezTo>
                  <a:pt x="1252" y="102"/>
                  <a:pt x="1256" y="102"/>
                  <a:pt x="1258" y="102"/>
                </a:cubicBezTo>
                <a:cubicBezTo>
                  <a:pt x="1259" y="102"/>
                  <a:pt x="1264" y="101"/>
                  <a:pt x="1262" y="100"/>
                </a:cubicBezTo>
                <a:cubicBezTo>
                  <a:pt x="1259" y="99"/>
                  <a:pt x="1251" y="98"/>
                  <a:pt x="1251" y="98"/>
                </a:cubicBezTo>
                <a:cubicBezTo>
                  <a:pt x="1244" y="99"/>
                  <a:pt x="1244" y="99"/>
                  <a:pt x="1244" y="99"/>
                </a:cubicBezTo>
                <a:cubicBezTo>
                  <a:pt x="1248" y="97"/>
                  <a:pt x="1248" y="97"/>
                  <a:pt x="1248" y="97"/>
                </a:cubicBezTo>
                <a:cubicBezTo>
                  <a:pt x="1244" y="95"/>
                  <a:pt x="1244" y="95"/>
                  <a:pt x="1244" y="95"/>
                </a:cubicBezTo>
                <a:cubicBezTo>
                  <a:pt x="1244" y="95"/>
                  <a:pt x="1244" y="93"/>
                  <a:pt x="1245" y="93"/>
                </a:cubicBezTo>
                <a:cubicBezTo>
                  <a:pt x="1246" y="93"/>
                  <a:pt x="1250" y="97"/>
                  <a:pt x="1253" y="97"/>
                </a:cubicBezTo>
                <a:cubicBezTo>
                  <a:pt x="1255" y="97"/>
                  <a:pt x="1264" y="100"/>
                  <a:pt x="1264" y="100"/>
                </a:cubicBezTo>
                <a:cubicBezTo>
                  <a:pt x="1264" y="100"/>
                  <a:pt x="1268" y="98"/>
                  <a:pt x="1268" y="100"/>
                </a:cubicBezTo>
                <a:cubicBezTo>
                  <a:pt x="1268" y="102"/>
                  <a:pt x="1266" y="105"/>
                  <a:pt x="1270" y="106"/>
                </a:cubicBezTo>
                <a:cubicBezTo>
                  <a:pt x="1274" y="107"/>
                  <a:pt x="1279" y="108"/>
                  <a:pt x="1279" y="108"/>
                </a:cubicBezTo>
                <a:cubicBezTo>
                  <a:pt x="1279" y="108"/>
                  <a:pt x="1280" y="104"/>
                  <a:pt x="1280" y="105"/>
                </a:cubicBezTo>
                <a:cubicBezTo>
                  <a:pt x="1281" y="106"/>
                  <a:pt x="1280" y="109"/>
                  <a:pt x="1282" y="109"/>
                </a:cubicBezTo>
                <a:cubicBezTo>
                  <a:pt x="1284" y="109"/>
                  <a:pt x="1287" y="107"/>
                  <a:pt x="1287" y="107"/>
                </a:cubicBezTo>
                <a:cubicBezTo>
                  <a:pt x="1287" y="103"/>
                  <a:pt x="1287" y="103"/>
                  <a:pt x="1287" y="103"/>
                </a:cubicBezTo>
                <a:cubicBezTo>
                  <a:pt x="1285" y="103"/>
                  <a:pt x="1285" y="103"/>
                  <a:pt x="1285" y="103"/>
                </a:cubicBezTo>
                <a:cubicBezTo>
                  <a:pt x="1285" y="103"/>
                  <a:pt x="1288" y="101"/>
                  <a:pt x="1287" y="100"/>
                </a:cubicBezTo>
                <a:cubicBezTo>
                  <a:pt x="1286" y="99"/>
                  <a:pt x="1284" y="100"/>
                  <a:pt x="1284" y="100"/>
                </a:cubicBezTo>
                <a:cubicBezTo>
                  <a:pt x="1282" y="97"/>
                  <a:pt x="1282" y="97"/>
                  <a:pt x="1282" y="97"/>
                </a:cubicBezTo>
                <a:cubicBezTo>
                  <a:pt x="1280" y="96"/>
                  <a:pt x="1280" y="96"/>
                  <a:pt x="1280" y="96"/>
                </a:cubicBezTo>
                <a:cubicBezTo>
                  <a:pt x="1281" y="94"/>
                  <a:pt x="1281" y="94"/>
                  <a:pt x="1281" y="94"/>
                </a:cubicBezTo>
                <a:cubicBezTo>
                  <a:pt x="1271" y="90"/>
                  <a:pt x="1271" y="90"/>
                  <a:pt x="1271" y="90"/>
                </a:cubicBezTo>
                <a:cubicBezTo>
                  <a:pt x="1265" y="92"/>
                  <a:pt x="1265" y="92"/>
                  <a:pt x="1265" y="92"/>
                </a:cubicBezTo>
                <a:cubicBezTo>
                  <a:pt x="1264" y="91"/>
                  <a:pt x="1264" y="91"/>
                  <a:pt x="1264" y="91"/>
                </a:cubicBezTo>
                <a:cubicBezTo>
                  <a:pt x="1268" y="89"/>
                  <a:pt x="1268" y="89"/>
                  <a:pt x="1268" y="89"/>
                </a:cubicBezTo>
                <a:cubicBezTo>
                  <a:pt x="1269" y="89"/>
                  <a:pt x="1269" y="89"/>
                  <a:pt x="1269" y="89"/>
                </a:cubicBezTo>
                <a:cubicBezTo>
                  <a:pt x="1269" y="89"/>
                  <a:pt x="1268" y="87"/>
                  <a:pt x="1265" y="87"/>
                </a:cubicBezTo>
                <a:cubicBezTo>
                  <a:pt x="1261" y="87"/>
                  <a:pt x="1254" y="86"/>
                  <a:pt x="1254" y="86"/>
                </a:cubicBezTo>
                <a:cubicBezTo>
                  <a:pt x="1257" y="83"/>
                  <a:pt x="1257" y="83"/>
                  <a:pt x="1257" y="83"/>
                </a:cubicBezTo>
                <a:cubicBezTo>
                  <a:pt x="1257" y="83"/>
                  <a:pt x="1259" y="83"/>
                  <a:pt x="1262" y="84"/>
                </a:cubicBezTo>
                <a:cubicBezTo>
                  <a:pt x="1264" y="85"/>
                  <a:pt x="1267" y="82"/>
                  <a:pt x="1267" y="82"/>
                </a:cubicBezTo>
                <a:cubicBezTo>
                  <a:pt x="1271" y="82"/>
                  <a:pt x="1271" y="82"/>
                  <a:pt x="1271" y="82"/>
                </a:cubicBezTo>
                <a:cubicBezTo>
                  <a:pt x="1277" y="84"/>
                  <a:pt x="1277" y="84"/>
                  <a:pt x="1277" y="84"/>
                </a:cubicBezTo>
                <a:cubicBezTo>
                  <a:pt x="1280" y="83"/>
                  <a:pt x="1280" y="83"/>
                  <a:pt x="1280" y="83"/>
                </a:cubicBezTo>
                <a:cubicBezTo>
                  <a:pt x="1280" y="83"/>
                  <a:pt x="1286" y="88"/>
                  <a:pt x="1288" y="88"/>
                </a:cubicBezTo>
                <a:cubicBezTo>
                  <a:pt x="1290" y="88"/>
                  <a:pt x="1290" y="85"/>
                  <a:pt x="1290" y="85"/>
                </a:cubicBezTo>
                <a:cubicBezTo>
                  <a:pt x="1284" y="84"/>
                  <a:pt x="1284" y="84"/>
                  <a:pt x="1284" y="84"/>
                </a:cubicBezTo>
                <a:cubicBezTo>
                  <a:pt x="1280" y="82"/>
                  <a:pt x="1280" y="82"/>
                  <a:pt x="1280" y="82"/>
                </a:cubicBezTo>
                <a:cubicBezTo>
                  <a:pt x="1273" y="81"/>
                  <a:pt x="1273" y="81"/>
                  <a:pt x="1273" y="81"/>
                </a:cubicBezTo>
                <a:cubicBezTo>
                  <a:pt x="1273" y="81"/>
                  <a:pt x="1275" y="79"/>
                  <a:pt x="1276" y="79"/>
                </a:cubicBezTo>
                <a:cubicBezTo>
                  <a:pt x="1278" y="78"/>
                  <a:pt x="1281" y="82"/>
                  <a:pt x="1285" y="82"/>
                </a:cubicBezTo>
                <a:cubicBezTo>
                  <a:pt x="1288" y="82"/>
                  <a:pt x="1294" y="82"/>
                  <a:pt x="1294" y="82"/>
                </a:cubicBezTo>
                <a:cubicBezTo>
                  <a:pt x="1303" y="81"/>
                  <a:pt x="1303" y="81"/>
                  <a:pt x="1303" y="81"/>
                </a:cubicBezTo>
                <a:cubicBezTo>
                  <a:pt x="1303" y="77"/>
                  <a:pt x="1303" y="77"/>
                  <a:pt x="1303" y="77"/>
                </a:cubicBezTo>
                <a:cubicBezTo>
                  <a:pt x="1297" y="76"/>
                  <a:pt x="1297" y="76"/>
                  <a:pt x="1297" y="76"/>
                </a:cubicBezTo>
                <a:cubicBezTo>
                  <a:pt x="1294" y="78"/>
                  <a:pt x="1294" y="78"/>
                  <a:pt x="1294" y="78"/>
                </a:cubicBezTo>
                <a:cubicBezTo>
                  <a:pt x="1294" y="78"/>
                  <a:pt x="1291" y="75"/>
                  <a:pt x="1292" y="74"/>
                </a:cubicBezTo>
                <a:cubicBezTo>
                  <a:pt x="1293" y="74"/>
                  <a:pt x="1299" y="74"/>
                  <a:pt x="1299" y="74"/>
                </a:cubicBezTo>
                <a:cubicBezTo>
                  <a:pt x="1305" y="72"/>
                  <a:pt x="1305" y="72"/>
                  <a:pt x="1305" y="72"/>
                </a:cubicBezTo>
                <a:cubicBezTo>
                  <a:pt x="1305" y="72"/>
                  <a:pt x="1309" y="75"/>
                  <a:pt x="1312" y="74"/>
                </a:cubicBezTo>
                <a:cubicBezTo>
                  <a:pt x="1314" y="73"/>
                  <a:pt x="1317" y="71"/>
                  <a:pt x="1316" y="71"/>
                </a:cubicBezTo>
                <a:cubicBezTo>
                  <a:pt x="1315" y="70"/>
                  <a:pt x="1306" y="70"/>
                  <a:pt x="1305" y="70"/>
                </a:cubicBezTo>
                <a:cubicBezTo>
                  <a:pt x="1304" y="70"/>
                  <a:pt x="1306" y="68"/>
                  <a:pt x="1304" y="68"/>
                </a:cubicBezTo>
                <a:cubicBezTo>
                  <a:pt x="1301" y="67"/>
                  <a:pt x="1295" y="67"/>
                  <a:pt x="1295" y="67"/>
                </a:cubicBezTo>
                <a:cubicBezTo>
                  <a:pt x="1295" y="67"/>
                  <a:pt x="1302" y="67"/>
                  <a:pt x="1303" y="66"/>
                </a:cubicBezTo>
                <a:cubicBezTo>
                  <a:pt x="1304" y="65"/>
                  <a:pt x="1295" y="63"/>
                  <a:pt x="1295" y="63"/>
                </a:cubicBezTo>
                <a:cubicBezTo>
                  <a:pt x="1295" y="63"/>
                  <a:pt x="1300" y="62"/>
                  <a:pt x="1302" y="63"/>
                </a:cubicBezTo>
                <a:cubicBezTo>
                  <a:pt x="1303" y="63"/>
                  <a:pt x="1308" y="65"/>
                  <a:pt x="1309" y="65"/>
                </a:cubicBezTo>
                <a:cubicBezTo>
                  <a:pt x="1311" y="64"/>
                  <a:pt x="1311" y="67"/>
                  <a:pt x="1313" y="66"/>
                </a:cubicBezTo>
                <a:cubicBezTo>
                  <a:pt x="1315" y="65"/>
                  <a:pt x="1317" y="62"/>
                  <a:pt x="1315" y="61"/>
                </a:cubicBezTo>
                <a:cubicBezTo>
                  <a:pt x="1314" y="59"/>
                  <a:pt x="1310" y="57"/>
                  <a:pt x="1310" y="57"/>
                </a:cubicBezTo>
                <a:cubicBezTo>
                  <a:pt x="1302" y="55"/>
                  <a:pt x="1302" y="55"/>
                  <a:pt x="1302" y="55"/>
                </a:cubicBezTo>
                <a:cubicBezTo>
                  <a:pt x="1302" y="55"/>
                  <a:pt x="1298" y="54"/>
                  <a:pt x="1300" y="52"/>
                </a:cubicBezTo>
                <a:cubicBezTo>
                  <a:pt x="1301" y="51"/>
                  <a:pt x="1306" y="52"/>
                  <a:pt x="1306" y="52"/>
                </a:cubicBezTo>
                <a:cubicBezTo>
                  <a:pt x="1312" y="51"/>
                  <a:pt x="1312" y="51"/>
                  <a:pt x="1312" y="51"/>
                </a:cubicBezTo>
                <a:cubicBezTo>
                  <a:pt x="1312" y="51"/>
                  <a:pt x="1315" y="51"/>
                  <a:pt x="1321" y="52"/>
                </a:cubicBezTo>
                <a:cubicBezTo>
                  <a:pt x="1328" y="52"/>
                  <a:pt x="1331" y="47"/>
                  <a:pt x="1326" y="47"/>
                </a:cubicBezTo>
                <a:cubicBezTo>
                  <a:pt x="1322" y="46"/>
                  <a:pt x="1314" y="46"/>
                  <a:pt x="1314" y="46"/>
                </a:cubicBezTo>
                <a:cubicBezTo>
                  <a:pt x="1314" y="44"/>
                  <a:pt x="1314" y="44"/>
                  <a:pt x="1314" y="44"/>
                </a:cubicBezTo>
                <a:cubicBezTo>
                  <a:pt x="1318" y="44"/>
                  <a:pt x="1318" y="44"/>
                  <a:pt x="1318" y="44"/>
                </a:cubicBezTo>
                <a:cubicBezTo>
                  <a:pt x="1318" y="44"/>
                  <a:pt x="1317" y="41"/>
                  <a:pt x="1314" y="41"/>
                </a:cubicBezTo>
                <a:cubicBezTo>
                  <a:pt x="1311" y="42"/>
                  <a:pt x="1313" y="45"/>
                  <a:pt x="1311" y="45"/>
                </a:cubicBezTo>
                <a:cubicBezTo>
                  <a:pt x="1309" y="45"/>
                  <a:pt x="1304" y="43"/>
                  <a:pt x="1306" y="42"/>
                </a:cubicBezTo>
                <a:cubicBezTo>
                  <a:pt x="1308" y="41"/>
                  <a:pt x="1313" y="40"/>
                  <a:pt x="1313" y="39"/>
                </a:cubicBezTo>
                <a:cubicBezTo>
                  <a:pt x="1314" y="37"/>
                  <a:pt x="1316" y="35"/>
                  <a:pt x="1317" y="34"/>
                </a:cubicBezTo>
                <a:cubicBezTo>
                  <a:pt x="1317" y="34"/>
                  <a:pt x="1320" y="36"/>
                  <a:pt x="1322" y="35"/>
                </a:cubicBezTo>
                <a:cubicBezTo>
                  <a:pt x="1324" y="34"/>
                  <a:pt x="1327" y="32"/>
                  <a:pt x="1327" y="32"/>
                </a:cubicBezTo>
                <a:cubicBezTo>
                  <a:pt x="1325" y="30"/>
                  <a:pt x="1325" y="30"/>
                  <a:pt x="1325" y="30"/>
                </a:cubicBezTo>
                <a:cubicBezTo>
                  <a:pt x="1325" y="30"/>
                  <a:pt x="1330" y="27"/>
                  <a:pt x="1331" y="27"/>
                </a:cubicBezTo>
                <a:cubicBezTo>
                  <a:pt x="1333" y="27"/>
                  <a:pt x="1335" y="29"/>
                  <a:pt x="1336" y="28"/>
                </a:cubicBezTo>
                <a:cubicBezTo>
                  <a:pt x="1338" y="26"/>
                  <a:pt x="1342" y="26"/>
                  <a:pt x="1340" y="25"/>
                </a:cubicBezTo>
                <a:cubicBezTo>
                  <a:pt x="1337" y="24"/>
                  <a:pt x="1331" y="25"/>
                  <a:pt x="1331" y="25"/>
                </a:cubicBezTo>
                <a:cubicBezTo>
                  <a:pt x="1331" y="25"/>
                  <a:pt x="1320" y="28"/>
                  <a:pt x="1322" y="26"/>
                </a:cubicBezTo>
                <a:cubicBezTo>
                  <a:pt x="1324" y="24"/>
                  <a:pt x="1329" y="23"/>
                  <a:pt x="1329" y="23"/>
                </a:cubicBezTo>
                <a:cubicBezTo>
                  <a:pt x="1329" y="23"/>
                  <a:pt x="1338" y="24"/>
                  <a:pt x="1342" y="24"/>
                </a:cubicBezTo>
                <a:cubicBezTo>
                  <a:pt x="1346" y="23"/>
                  <a:pt x="1350" y="22"/>
                  <a:pt x="1350" y="22"/>
                </a:cubicBezTo>
                <a:cubicBezTo>
                  <a:pt x="1350" y="22"/>
                  <a:pt x="1342" y="20"/>
                  <a:pt x="1341" y="21"/>
                </a:cubicBezTo>
                <a:cubicBezTo>
                  <a:pt x="1340" y="21"/>
                  <a:pt x="1332" y="21"/>
                  <a:pt x="1332" y="21"/>
                </a:cubicBezTo>
                <a:cubicBezTo>
                  <a:pt x="1332" y="21"/>
                  <a:pt x="1322" y="22"/>
                  <a:pt x="1325" y="21"/>
                </a:cubicBezTo>
                <a:cubicBezTo>
                  <a:pt x="1329" y="20"/>
                  <a:pt x="1340" y="20"/>
                  <a:pt x="1340" y="20"/>
                </a:cubicBezTo>
                <a:cubicBezTo>
                  <a:pt x="1340" y="20"/>
                  <a:pt x="1353" y="20"/>
                  <a:pt x="1356" y="19"/>
                </a:cubicBezTo>
                <a:cubicBezTo>
                  <a:pt x="1358" y="19"/>
                  <a:pt x="1360" y="17"/>
                  <a:pt x="1360" y="17"/>
                </a:cubicBezTo>
                <a:cubicBezTo>
                  <a:pt x="1360" y="17"/>
                  <a:pt x="1366" y="17"/>
                  <a:pt x="1369" y="16"/>
                </a:cubicBezTo>
                <a:cubicBezTo>
                  <a:pt x="1373" y="16"/>
                  <a:pt x="1377" y="14"/>
                  <a:pt x="1377" y="14"/>
                </a:cubicBezTo>
                <a:cubicBezTo>
                  <a:pt x="1377" y="14"/>
                  <a:pt x="1372" y="12"/>
                  <a:pt x="1368" y="12"/>
                </a:cubicBezTo>
                <a:cubicBezTo>
                  <a:pt x="1364" y="12"/>
                  <a:pt x="1349" y="11"/>
                  <a:pt x="1348" y="12"/>
                </a:cubicBezTo>
                <a:cubicBezTo>
                  <a:pt x="1347" y="13"/>
                  <a:pt x="1342" y="15"/>
                  <a:pt x="1340" y="15"/>
                </a:cubicBezTo>
                <a:cubicBezTo>
                  <a:pt x="1338" y="15"/>
                  <a:pt x="1328" y="13"/>
                  <a:pt x="1326" y="13"/>
                </a:cubicBezTo>
                <a:cubicBezTo>
                  <a:pt x="1325" y="14"/>
                  <a:pt x="1314" y="17"/>
                  <a:pt x="1313" y="18"/>
                </a:cubicBezTo>
                <a:cubicBezTo>
                  <a:pt x="1311" y="19"/>
                  <a:pt x="1300" y="21"/>
                  <a:pt x="1302" y="20"/>
                </a:cubicBezTo>
                <a:cubicBezTo>
                  <a:pt x="1304" y="18"/>
                  <a:pt x="1320" y="15"/>
                  <a:pt x="1319" y="13"/>
                </a:cubicBezTo>
                <a:cubicBezTo>
                  <a:pt x="1318" y="11"/>
                  <a:pt x="1312" y="10"/>
                  <a:pt x="1309" y="11"/>
                </a:cubicBezTo>
                <a:cubicBezTo>
                  <a:pt x="1307" y="12"/>
                  <a:pt x="1303" y="13"/>
                  <a:pt x="1303" y="13"/>
                </a:cubicBezTo>
                <a:cubicBezTo>
                  <a:pt x="1287" y="15"/>
                  <a:pt x="1287" y="15"/>
                  <a:pt x="1287" y="15"/>
                </a:cubicBezTo>
                <a:cubicBezTo>
                  <a:pt x="1287" y="15"/>
                  <a:pt x="1302" y="12"/>
                  <a:pt x="1298" y="11"/>
                </a:cubicBezTo>
                <a:cubicBezTo>
                  <a:pt x="1295" y="11"/>
                  <a:pt x="1280" y="11"/>
                  <a:pt x="1280" y="11"/>
                </a:cubicBezTo>
                <a:cubicBezTo>
                  <a:pt x="1275" y="12"/>
                  <a:pt x="1275" y="12"/>
                  <a:pt x="1275" y="12"/>
                </a:cubicBezTo>
                <a:cubicBezTo>
                  <a:pt x="1266" y="11"/>
                  <a:pt x="1266" y="11"/>
                  <a:pt x="1266" y="11"/>
                </a:cubicBezTo>
                <a:cubicBezTo>
                  <a:pt x="1266" y="11"/>
                  <a:pt x="1255" y="14"/>
                  <a:pt x="1256" y="13"/>
                </a:cubicBezTo>
                <a:cubicBezTo>
                  <a:pt x="1256" y="11"/>
                  <a:pt x="1269" y="10"/>
                  <a:pt x="1273" y="10"/>
                </a:cubicBezTo>
                <a:cubicBezTo>
                  <a:pt x="1277" y="10"/>
                  <a:pt x="1306" y="9"/>
                  <a:pt x="1308" y="9"/>
                </a:cubicBezTo>
                <a:cubicBezTo>
                  <a:pt x="1309" y="9"/>
                  <a:pt x="1326" y="9"/>
                  <a:pt x="1324" y="7"/>
                </a:cubicBezTo>
                <a:cubicBezTo>
                  <a:pt x="1322" y="6"/>
                  <a:pt x="1312" y="5"/>
                  <a:pt x="1308" y="6"/>
                </a:cubicBezTo>
                <a:cubicBezTo>
                  <a:pt x="1304" y="6"/>
                  <a:pt x="1301" y="6"/>
                  <a:pt x="1301" y="6"/>
                </a:cubicBezTo>
                <a:cubicBezTo>
                  <a:pt x="1301" y="6"/>
                  <a:pt x="1306" y="4"/>
                  <a:pt x="1303" y="4"/>
                </a:cubicBezTo>
                <a:cubicBezTo>
                  <a:pt x="1300" y="3"/>
                  <a:pt x="1294" y="4"/>
                  <a:pt x="1294" y="4"/>
                </a:cubicBezTo>
                <a:cubicBezTo>
                  <a:pt x="1294" y="4"/>
                  <a:pt x="1288" y="4"/>
                  <a:pt x="1286" y="3"/>
                </a:cubicBezTo>
                <a:cubicBezTo>
                  <a:pt x="1285" y="3"/>
                  <a:pt x="1292" y="4"/>
                  <a:pt x="1294" y="2"/>
                </a:cubicBezTo>
                <a:cubicBezTo>
                  <a:pt x="1295" y="1"/>
                  <a:pt x="1286" y="1"/>
                  <a:pt x="1281" y="1"/>
                </a:cubicBezTo>
                <a:cubicBezTo>
                  <a:pt x="1277" y="1"/>
                  <a:pt x="1265" y="2"/>
                  <a:pt x="1265" y="2"/>
                </a:cubicBezTo>
                <a:cubicBezTo>
                  <a:pt x="1265" y="2"/>
                  <a:pt x="1257" y="1"/>
                  <a:pt x="1252" y="0"/>
                </a:cubicBezTo>
                <a:cubicBezTo>
                  <a:pt x="1247" y="0"/>
                  <a:pt x="1243" y="1"/>
                  <a:pt x="1241" y="1"/>
                </a:cubicBezTo>
                <a:cubicBezTo>
                  <a:pt x="1239" y="2"/>
                  <a:pt x="1235" y="2"/>
                  <a:pt x="1230" y="1"/>
                </a:cubicBezTo>
                <a:cubicBezTo>
                  <a:pt x="1226" y="1"/>
                  <a:pt x="1221" y="1"/>
                  <a:pt x="1222" y="2"/>
                </a:cubicBezTo>
                <a:cubicBezTo>
                  <a:pt x="1222" y="3"/>
                  <a:pt x="1228" y="3"/>
                  <a:pt x="1228" y="3"/>
                </a:cubicBezTo>
                <a:cubicBezTo>
                  <a:pt x="1228" y="3"/>
                  <a:pt x="1221" y="4"/>
                  <a:pt x="1218" y="4"/>
                </a:cubicBezTo>
                <a:cubicBezTo>
                  <a:pt x="1215" y="4"/>
                  <a:pt x="1204" y="3"/>
                  <a:pt x="1201" y="2"/>
                </a:cubicBezTo>
                <a:cubicBezTo>
                  <a:pt x="1198" y="2"/>
                  <a:pt x="1190" y="3"/>
                  <a:pt x="1189" y="3"/>
                </a:cubicBezTo>
                <a:cubicBezTo>
                  <a:pt x="1188" y="3"/>
                  <a:pt x="1177" y="4"/>
                  <a:pt x="1182" y="5"/>
                </a:cubicBezTo>
                <a:cubicBezTo>
                  <a:pt x="1186" y="6"/>
                  <a:pt x="1201" y="7"/>
                  <a:pt x="1201" y="7"/>
                </a:cubicBezTo>
                <a:cubicBezTo>
                  <a:pt x="1213" y="8"/>
                  <a:pt x="1213" y="8"/>
                  <a:pt x="1213" y="8"/>
                </a:cubicBezTo>
                <a:cubicBezTo>
                  <a:pt x="1213" y="8"/>
                  <a:pt x="1201" y="8"/>
                  <a:pt x="1199" y="8"/>
                </a:cubicBezTo>
                <a:cubicBezTo>
                  <a:pt x="1198" y="8"/>
                  <a:pt x="1188" y="6"/>
                  <a:pt x="1188" y="7"/>
                </a:cubicBezTo>
                <a:cubicBezTo>
                  <a:pt x="1188" y="7"/>
                  <a:pt x="1192" y="8"/>
                  <a:pt x="1192" y="8"/>
                </a:cubicBezTo>
                <a:cubicBezTo>
                  <a:pt x="1186" y="9"/>
                  <a:pt x="1186" y="9"/>
                  <a:pt x="1186" y="9"/>
                </a:cubicBezTo>
                <a:cubicBezTo>
                  <a:pt x="1186" y="9"/>
                  <a:pt x="1182" y="12"/>
                  <a:pt x="1183" y="12"/>
                </a:cubicBezTo>
                <a:cubicBezTo>
                  <a:pt x="1184" y="13"/>
                  <a:pt x="1178" y="13"/>
                  <a:pt x="1175" y="12"/>
                </a:cubicBezTo>
                <a:cubicBezTo>
                  <a:pt x="1173" y="10"/>
                  <a:pt x="1167" y="9"/>
                  <a:pt x="1162" y="8"/>
                </a:cubicBezTo>
                <a:cubicBezTo>
                  <a:pt x="1156" y="8"/>
                  <a:pt x="1150" y="8"/>
                  <a:pt x="1150" y="8"/>
                </a:cubicBezTo>
                <a:cubicBezTo>
                  <a:pt x="1150" y="12"/>
                  <a:pt x="1150" y="12"/>
                  <a:pt x="1150" y="12"/>
                </a:cubicBezTo>
                <a:cubicBezTo>
                  <a:pt x="1150" y="12"/>
                  <a:pt x="1146" y="13"/>
                  <a:pt x="1144" y="12"/>
                </a:cubicBezTo>
                <a:cubicBezTo>
                  <a:pt x="1141" y="12"/>
                  <a:pt x="1136" y="10"/>
                  <a:pt x="1134" y="11"/>
                </a:cubicBezTo>
                <a:cubicBezTo>
                  <a:pt x="1132" y="11"/>
                  <a:pt x="1129" y="13"/>
                  <a:pt x="1129" y="13"/>
                </a:cubicBezTo>
                <a:cubicBezTo>
                  <a:pt x="1129" y="13"/>
                  <a:pt x="1131" y="9"/>
                  <a:pt x="1128" y="9"/>
                </a:cubicBezTo>
                <a:cubicBezTo>
                  <a:pt x="1126" y="9"/>
                  <a:pt x="1111" y="9"/>
                  <a:pt x="1107" y="10"/>
                </a:cubicBezTo>
                <a:cubicBezTo>
                  <a:pt x="1103" y="11"/>
                  <a:pt x="1096" y="9"/>
                  <a:pt x="1097" y="10"/>
                </a:cubicBezTo>
                <a:cubicBezTo>
                  <a:pt x="1098" y="11"/>
                  <a:pt x="1105" y="15"/>
                  <a:pt x="1105" y="15"/>
                </a:cubicBezTo>
                <a:cubicBezTo>
                  <a:pt x="1105" y="15"/>
                  <a:pt x="1094" y="11"/>
                  <a:pt x="1092" y="11"/>
                </a:cubicBezTo>
                <a:cubicBezTo>
                  <a:pt x="1090" y="11"/>
                  <a:pt x="1085" y="10"/>
                  <a:pt x="1084" y="12"/>
                </a:cubicBezTo>
                <a:cubicBezTo>
                  <a:pt x="1083" y="15"/>
                  <a:pt x="1079" y="17"/>
                  <a:pt x="1076" y="17"/>
                </a:cubicBezTo>
                <a:cubicBezTo>
                  <a:pt x="1074" y="17"/>
                  <a:pt x="1066" y="17"/>
                  <a:pt x="1066" y="17"/>
                </a:cubicBezTo>
                <a:cubicBezTo>
                  <a:pt x="1066" y="17"/>
                  <a:pt x="1050" y="20"/>
                  <a:pt x="1050" y="20"/>
                </a:cubicBezTo>
                <a:cubicBezTo>
                  <a:pt x="1049" y="20"/>
                  <a:pt x="1034" y="22"/>
                  <a:pt x="1036" y="24"/>
                </a:cubicBezTo>
                <a:cubicBezTo>
                  <a:pt x="1038" y="25"/>
                  <a:pt x="1047" y="26"/>
                  <a:pt x="1048" y="25"/>
                </a:cubicBezTo>
                <a:cubicBezTo>
                  <a:pt x="1049" y="25"/>
                  <a:pt x="1052" y="25"/>
                  <a:pt x="1052" y="25"/>
                </a:cubicBezTo>
                <a:cubicBezTo>
                  <a:pt x="1047" y="27"/>
                  <a:pt x="1047" y="27"/>
                  <a:pt x="1047" y="27"/>
                </a:cubicBezTo>
                <a:cubicBezTo>
                  <a:pt x="1045" y="29"/>
                  <a:pt x="1045" y="29"/>
                  <a:pt x="1045" y="29"/>
                </a:cubicBezTo>
                <a:cubicBezTo>
                  <a:pt x="1045" y="29"/>
                  <a:pt x="1035" y="33"/>
                  <a:pt x="1031" y="33"/>
                </a:cubicBezTo>
                <a:cubicBezTo>
                  <a:pt x="1028" y="33"/>
                  <a:pt x="1013" y="33"/>
                  <a:pt x="1011" y="35"/>
                </a:cubicBezTo>
                <a:cubicBezTo>
                  <a:pt x="1008" y="38"/>
                  <a:pt x="1005" y="35"/>
                  <a:pt x="1005" y="35"/>
                </a:cubicBezTo>
                <a:cubicBezTo>
                  <a:pt x="1001" y="37"/>
                  <a:pt x="1001" y="37"/>
                  <a:pt x="1001" y="37"/>
                </a:cubicBezTo>
                <a:cubicBezTo>
                  <a:pt x="994" y="37"/>
                  <a:pt x="994" y="37"/>
                  <a:pt x="994" y="37"/>
                </a:cubicBezTo>
                <a:cubicBezTo>
                  <a:pt x="994" y="37"/>
                  <a:pt x="982" y="38"/>
                  <a:pt x="985" y="40"/>
                </a:cubicBezTo>
                <a:cubicBezTo>
                  <a:pt x="988" y="42"/>
                  <a:pt x="993" y="44"/>
                  <a:pt x="993" y="44"/>
                </a:cubicBezTo>
                <a:cubicBezTo>
                  <a:pt x="997" y="43"/>
                  <a:pt x="997" y="43"/>
                  <a:pt x="997" y="43"/>
                </a:cubicBezTo>
                <a:cubicBezTo>
                  <a:pt x="997" y="43"/>
                  <a:pt x="997" y="45"/>
                  <a:pt x="999" y="46"/>
                </a:cubicBezTo>
                <a:cubicBezTo>
                  <a:pt x="1001" y="47"/>
                  <a:pt x="1006" y="44"/>
                  <a:pt x="1006" y="44"/>
                </a:cubicBezTo>
                <a:cubicBezTo>
                  <a:pt x="1006" y="44"/>
                  <a:pt x="1005" y="46"/>
                  <a:pt x="1007" y="46"/>
                </a:cubicBezTo>
                <a:cubicBezTo>
                  <a:pt x="1009" y="46"/>
                  <a:pt x="1017" y="43"/>
                  <a:pt x="1019" y="44"/>
                </a:cubicBezTo>
                <a:cubicBezTo>
                  <a:pt x="1020" y="45"/>
                  <a:pt x="1020" y="46"/>
                  <a:pt x="1020" y="46"/>
                </a:cubicBezTo>
                <a:cubicBezTo>
                  <a:pt x="1017" y="46"/>
                  <a:pt x="1017" y="46"/>
                  <a:pt x="1017" y="46"/>
                </a:cubicBezTo>
                <a:cubicBezTo>
                  <a:pt x="1017" y="46"/>
                  <a:pt x="1016" y="49"/>
                  <a:pt x="1014" y="49"/>
                </a:cubicBezTo>
                <a:cubicBezTo>
                  <a:pt x="1013" y="49"/>
                  <a:pt x="1014" y="47"/>
                  <a:pt x="1011" y="47"/>
                </a:cubicBezTo>
                <a:cubicBezTo>
                  <a:pt x="1009" y="47"/>
                  <a:pt x="1002" y="48"/>
                  <a:pt x="1002" y="48"/>
                </a:cubicBezTo>
                <a:cubicBezTo>
                  <a:pt x="996" y="48"/>
                  <a:pt x="996" y="48"/>
                  <a:pt x="996" y="48"/>
                </a:cubicBezTo>
                <a:cubicBezTo>
                  <a:pt x="996" y="48"/>
                  <a:pt x="988" y="44"/>
                  <a:pt x="986" y="48"/>
                </a:cubicBezTo>
                <a:cubicBezTo>
                  <a:pt x="984" y="52"/>
                  <a:pt x="989" y="53"/>
                  <a:pt x="991" y="53"/>
                </a:cubicBezTo>
                <a:cubicBezTo>
                  <a:pt x="993" y="52"/>
                  <a:pt x="998" y="53"/>
                  <a:pt x="998" y="53"/>
                </a:cubicBezTo>
                <a:cubicBezTo>
                  <a:pt x="998" y="53"/>
                  <a:pt x="989" y="53"/>
                  <a:pt x="990" y="55"/>
                </a:cubicBezTo>
                <a:cubicBezTo>
                  <a:pt x="991" y="56"/>
                  <a:pt x="997" y="57"/>
                  <a:pt x="997" y="57"/>
                </a:cubicBezTo>
                <a:cubicBezTo>
                  <a:pt x="1002" y="58"/>
                  <a:pt x="1002" y="58"/>
                  <a:pt x="1002" y="58"/>
                </a:cubicBezTo>
                <a:cubicBezTo>
                  <a:pt x="1002" y="58"/>
                  <a:pt x="1003" y="56"/>
                  <a:pt x="1004" y="56"/>
                </a:cubicBezTo>
                <a:cubicBezTo>
                  <a:pt x="1005" y="56"/>
                  <a:pt x="1007" y="58"/>
                  <a:pt x="1007" y="58"/>
                </a:cubicBezTo>
                <a:cubicBezTo>
                  <a:pt x="1012" y="56"/>
                  <a:pt x="1012" y="56"/>
                  <a:pt x="1012" y="56"/>
                </a:cubicBezTo>
                <a:cubicBezTo>
                  <a:pt x="1012" y="56"/>
                  <a:pt x="1013" y="58"/>
                  <a:pt x="1013" y="58"/>
                </a:cubicBezTo>
                <a:cubicBezTo>
                  <a:pt x="1014" y="58"/>
                  <a:pt x="1020" y="55"/>
                  <a:pt x="1022" y="56"/>
                </a:cubicBezTo>
                <a:cubicBezTo>
                  <a:pt x="1024" y="56"/>
                  <a:pt x="1026" y="57"/>
                  <a:pt x="1027" y="57"/>
                </a:cubicBezTo>
                <a:cubicBezTo>
                  <a:pt x="1028" y="57"/>
                  <a:pt x="1030" y="55"/>
                  <a:pt x="1031" y="55"/>
                </a:cubicBezTo>
                <a:cubicBezTo>
                  <a:pt x="1032" y="55"/>
                  <a:pt x="1036" y="57"/>
                  <a:pt x="1036" y="57"/>
                </a:cubicBezTo>
                <a:cubicBezTo>
                  <a:pt x="1036" y="57"/>
                  <a:pt x="1043" y="56"/>
                  <a:pt x="1047" y="57"/>
                </a:cubicBezTo>
                <a:cubicBezTo>
                  <a:pt x="1052" y="59"/>
                  <a:pt x="1053" y="61"/>
                  <a:pt x="1053" y="61"/>
                </a:cubicBezTo>
                <a:cubicBezTo>
                  <a:pt x="1053" y="61"/>
                  <a:pt x="1057" y="60"/>
                  <a:pt x="1057" y="61"/>
                </a:cubicBezTo>
                <a:cubicBezTo>
                  <a:pt x="1057" y="62"/>
                  <a:pt x="1055" y="64"/>
                  <a:pt x="1055" y="64"/>
                </a:cubicBezTo>
                <a:cubicBezTo>
                  <a:pt x="1057" y="66"/>
                  <a:pt x="1057" y="66"/>
                  <a:pt x="1057" y="66"/>
                </a:cubicBezTo>
                <a:cubicBezTo>
                  <a:pt x="1057" y="66"/>
                  <a:pt x="1063" y="67"/>
                  <a:pt x="1063" y="69"/>
                </a:cubicBezTo>
                <a:cubicBezTo>
                  <a:pt x="1063" y="71"/>
                  <a:pt x="1060" y="72"/>
                  <a:pt x="1060" y="72"/>
                </a:cubicBezTo>
                <a:cubicBezTo>
                  <a:pt x="1062" y="75"/>
                  <a:pt x="1062" y="75"/>
                  <a:pt x="1062" y="75"/>
                </a:cubicBezTo>
                <a:cubicBezTo>
                  <a:pt x="1065" y="77"/>
                  <a:pt x="1065" y="77"/>
                  <a:pt x="1065" y="77"/>
                </a:cubicBezTo>
                <a:cubicBezTo>
                  <a:pt x="1062" y="78"/>
                  <a:pt x="1062" y="78"/>
                  <a:pt x="1062" y="78"/>
                </a:cubicBezTo>
                <a:cubicBezTo>
                  <a:pt x="1064" y="81"/>
                  <a:pt x="1064" y="81"/>
                  <a:pt x="1064" y="81"/>
                </a:cubicBezTo>
                <a:cubicBezTo>
                  <a:pt x="1064" y="81"/>
                  <a:pt x="1062" y="81"/>
                  <a:pt x="1062" y="83"/>
                </a:cubicBezTo>
                <a:cubicBezTo>
                  <a:pt x="1062" y="85"/>
                  <a:pt x="1067" y="85"/>
                  <a:pt x="1066" y="86"/>
                </a:cubicBezTo>
                <a:cubicBezTo>
                  <a:pt x="1065" y="87"/>
                  <a:pt x="1061" y="89"/>
                  <a:pt x="1061" y="89"/>
                </a:cubicBezTo>
                <a:cubicBezTo>
                  <a:pt x="1063" y="91"/>
                  <a:pt x="1063" y="91"/>
                  <a:pt x="1063" y="91"/>
                </a:cubicBezTo>
                <a:cubicBezTo>
                  <a:pt x="1063" y="91"/>
                  <a:pt x="1054" y="92"/>
                  <a:pt x="1055" y="92"/>
                </a:cubicBezTo>
                <a:cubicBezTo>
                  <a:pt x="1055" y="93"/>
                  <a:pt x="1057" y="93"/>
                  <a:pt x="1059" y="93"/>
                </a:cubicBezTo>
                <a:cubicBezTo>
                  <a:pt x="1062" y="93"/>
                  <a:pt x="1059" y="95"/>
                  <a:pt x="1059" y="95"/>
                </a:cubicBezTo>
                <a:cubicBezTo>
                  <a:pt x="1059" y="95"/>
                  <a:pt x="1048" y="95"/>
                  <a:pt x="1050" y="97"/>
                </a:cubicBezTo>
                <a:cubicBezTo>
                  <a:pt x="1053" y="99"/>
                  <a:pt x="1056" y="100"/>
                  <a:pt x="1059" y="100"/>
                </a:cubicBezTo>
                <a:cubicBezTo>
                  <a:pt x="1062" y="100"/>
                  <a:pt x="1063" y="98"/>
                  <a:pt x="1063" y="98"/>
                </a:cubicBezTo>
                <a:cubicBezTo>
                  <a:pt x="1063" y="98"/>
                  <a:pt x="1069" y="98"/>
                  <a:pt x="1068" y="96"/>
                </a:cubicBezTo>
                <a:cubicBezTo>
                  <a:pt x="1068" y="94"/>
                  <a:pt x="1070" y="92"/>
                  <a:pt x="1070" y="92"/>
                </a:cubicBezTo>
                <a:cubicBezTo>
                  <a:pt x="1070" y="96"/>
                  <a:pt x="1070" y="96"/>
                  <a:pt x="1070" y="96"/>
                </a:cubicBezTo>
                <a:cubicBezTo>
                  <a:pt x="1073" y="94"/>
                  <a:pt x="1073" y="94"/>
                  <a:pt x="1073" y="94"/>
                </a:cubicBezTo>
                <a:cubicBezTo>
                  <a:pt x="1073" y="94"/>
                  <a:pt x="1072" y="95"/>
                  <a:pt x="1073" y="96"/>
                </a:cubicBezTo>
                <a:cubicBezTo>
                  <a:pt x="1073" y="97"/>
                  <a:pt x="1079" y="97"/>
                  <a:pt x="1079" y="97"/>
                </a:cubicBezTo>
                <a:cubicBezTo>
                  <a:pt x="1077" y="99"/>
                  <a:pt x="1077" y="99"/>
                  <a:pt x="1077" y="99"/>
                </a:cubicBezTo>
                <a:cubicBezTo>
                  <a:pt x="1077" y="99"/>
                  <a:pt x="1076" y="101"/>
                  <a:pt x="1077" y="102"/>
                </a:cubicBezTo>
                <a:cubicBezTo>
                  <a:pt x="1079" y="103"/>
                  <a:pt x="1082" y="106"/>
                  <a:pt x="1081" y="107"/>
                </a:cubicBezTo>
                <a:cubicBezTo>
                  <a:pt x="1080" y="108"/>
                  <a:pt x="1077" y="107"/>
                  <a:pt x="1077" y="107"/>
                </a:cubicBezTo>
                <a:cubicBezTo>
                  <a:pt x="1077" y="109"/>
                  <a:pt x="1077" y="109"/>
                  <a:pt x="1077" y="109"/>
                </a:cubicBezTo>
                <a:cubicBezTo>
                  <a:pt x="1077" y="109"/>
                  <a:pt x="1074" y="108"/>
                  <a:pt x="1072" y="108"/>
                </a:cubicBezTo>
                <a:cubicBezTo>
                  <a:pt x="1070" y="108"/>
                  <a:pt x="1069" y="106"/>
                  <a:pt x="1069" y="106"/>
                </a:cubicBezTo>
                <a:cubicBezTo>
                  <a:pt x="1060" y="106"/>
                  <a:pt x="1060" y="106"/>
                  <a:pt x="1060" y="106"/>
                </a:cubicBezTo>
                <a:cubicBezTo>
                  <a:pt x="1060" y="106"/>
                  <a:pt x="1055" y="101"/>
                  <a:pt x="1054" y="106"/>
                </a:cubicBezTo>
                <a:cubicBezTo>
                  <a:pt x="1054" y="108"/>
                  <a:pt x="1056" y="109"/>
                  <a:pt x="1058" y="109"/>
                </a:cubicBezTo>
                <a:cubicBezTo>
                  <a:pt x="1059" y="109"/>
                  <a:pt x="1060" y="108"/>
                  <a:pt x="1062" y="109"/>
                </a:cubicBezTo>
                <a:cubicBezTo>
                  <a:pt x="1064" y="110"/>
                  <a:pt x="1066" y="113"/>
                  <a:pt x="1069" y="113"/>
                </a:cubicBezTo>
                <a:cubicBezTo>
                  <a:pt x="1072" y="113"/>
                  <a:pt x="1074" y="112"/>
                  <a:pt x="1074" y="112"/>
                </a:cubicBezTo>
                <a:cubicBezTo>
                  <a:pt x="1077" y="113"/>
                  <a:pt x="1077" y="113"/>
                  <a:pt x="1077" y="113"/>
                </a:cubicBezTo>
                <a:cubicBezTo>
                  <a:pt x="1080" y="112"/>
                  <a:pt x="1080" y="112"/>
                  <a:pt x="1080" y="112"/>
                </a:cubicBezTo>
                <a:cubicBezTo>
                  <a:pt x="1080" y="115"/>
                  <a:pt x="1080" y="115"/>
                  <a:pt x="1080" y="115"/>
                </a:cubicBezTo>
                <a:cubicBezTo>
                  <a:pt x="1080" y="115"/>
                  <a:pt x="1076" y="113"/>
                  <a:pt x="1076" y="115"/>
                </a:cubicBezTo>
                <a:cubicBezTo>
                  <a:pt x="1076" y="116"/>
                  <a:pt x="1078" y="117"/>
                  <a:pt x="1078" y="117"/>
                </a:cubicBezTo>
                <a:cubicBezTo>
                  <a:pt x="1078" y="117"/>
                  <a:pt x="1072" y="117"/>
                  <a:pt x="1072" y="119"/>
                </a:cubicBezTo>
                <a:cubicBezTo>
                  <a:pt x="1073" y="120"/>
                  <a:pt x="1077" y="120"/>
                  <a:pt x="1077" y="120"/>
                </a:cubicBezTo>
                <a:cubicBezTo>
                  <a:pt x="1077" y="120"/>
                  <a:pt x="1076" y="122"/>
                  <a:pt x="1075" y="122"/>
                </a:cubicBezTo>
                <a:cubicBezTo>
                  <a:pt x="1074" y="122"/>
                  <a:pt x="1071" y="120"/>
                  <a:pt x="1070" y="121"/>
                </a:cubicBezTo>
                <a:cubicBezTo>
                  <a:pt x="1069" y="122"/>
                  <a:pt x="1071" y="124"/>
                  <a:pt x="1071" y="124"/>
                </a:cubicBezTo>
                <a:cubicBezTo>
                  <a:pt x="1068" y="124"/>
                  <a:pt x="1068" y="124"/>
                  <a:pt x="1068" y="124"/>
                </a:cubicBezTo>
                <a:cubicBezTo>
                  <a:pt x="1069" y="127"/>
                  <a:pt x="1069" y="127"/>
                  <a:pt x="1069" y="127"/>
                </a:cubicBezTo>
                <a:cubicBezTo>
                  <a:pt x="1069" y="127"/>
                  <a:pt x="1064" y="127"/>
                  <a:pt x="1065" y="129"/>
                </a:cubicBezTo>
                <a:cubicBezTo>
                  <a:pt x="1066" y="131"/>
                  <a:pt x="1070" y="131"/>
                  <a:pt x="1070" y="131"/>
                </a:cubicBezTo>
                <a:cubicBezTo>
                  <a:pt x="1070" y="131"/>
                  <a:pt x="1070" y="134"/>
                  <a:pt x="1069" y="134"/>
                </a:cubicBezTo>
                <a:cubicBezTo>
                  <a:pt x="1067" y="134"/>
                  <a:pt x="1068" y="135"/>
                  <a:pt x="1068" y="135"/>
                </a:cubicBezTo>
                <a:cubicBezTo>
                  <a:pt x="1068" y="135"/>
                  <a:pt x="1068" y="136"/>
                  <a:pt x="1067" y="134"/>
                </a:cubicBezTo>
                <a:cubicBezTo>
                  <a:pt x="1067" y="132"/>
                  <a:pt x="1064" y="131"/>
                  <a:pt x="1064" y="131"/>
                </a:cubicBezTo>
                <a:cubicBezTo>
                  <a:pt x="1064" y="131"/>
                  <a:pt x="1061" y="124"/>
                  <a:pt x="1059" y="125"/>
                </a:cubicBezTo>
                <a:cubicBezTo>
                  <a:pt x="1057" y="125"/>
                  <a:pt x="1051" y="128"/>
                  <a:pt x="1054" y="129"/>
                </a:cubicBezTo>
                <a:cubicBezTo>
                  <a:pt x="1057" y="131"/>
                  <a:pt x="1062" y="131"/>
                  <a:pt x="1062" y="131"/>
                </a:cubicBezTo>
                <a:cubicBezTo>
                  <a:pt x="1062" y="131"/>
                  <a:pt x="1058" y="132"/>
                  <a:pt x="1056" y="132"/>
                </a:cubicBezTo>
                <a:cubicBezTo>
                  <a:pt x="1053" y="132"/>
                  <a:pt x="1050" y="131"/>
                  <a:pt x="1049" y="132"/>
                </a:cubicBezTo>
                <a:cubicBezTo>
                  <a:pt x="1047" y="133"/>
                  <a:pt x="1042" y="134"/>
                  <a:pt x="1044" y="135"/>
                </a:cubicBezTo>
                <a:cubicBezTo>
                  <a:pt x="1045" y="135"/>
                  <a:pt x="1054" y="134"/>
                  <a:pt x="1056" y="134"/>
                </a:cubicBezTo>
                <a:cubicBezTo>
                  <a:pt x="1058" y="134"/>
                  <a:pt x="1063" y="135"/>
                  <a:pt x="1063" y="135"/>
                </a:cubicBezTo>
                <a:cubicBezTo>
                  <a:pt x="1063" y="135"/>
                  <a:pt x="1059" y="135"/>
                  <a:pt x="1058" y="135"/>
                </a:cubicBezTo>
                <a:cubicBezTo>
                  <a:pt x="1056" y="135"/>
                  <a:pt x="1043" y="136"/>
                  <a:pt x="1041" y="137"/>
                </a:cubicBezTo>
                <a:cubicBezTo>
                  <a:pt x="1040" y="138"/>
                  <a:pt x="1040" y="139"/>
                  <a:pt x="1043" y="139"/>
                </a:cubicBezTo>
                <a:cubicBezTo>
                  <a:pt x="1047" y="138"/>
                  <a:pt x="1055" y="138"/>
                  <a:pt x="1055" y="138"/>
                </a:cubicBezTo>
                <a:cubicBezTo>
                  <a:pt x="1055" y="138"/>
                  <a:pt x="1060" y="137"/>
                  <a:pt x="1061" y="138"/>
                </a:cubicBezTo>
                <a:cubicBezTo>
                  <a:pt x="1061" y="139"/>
                  <a:pt x="1051" y="139"/>
                  <a:pt x="1051" y="139"/>
                </a:cubicBezTo>
                <a:cubicBezTo>
                  <a:pt x="1051" y="139"/>
                  <a:pt x="1039" y="139"/>
                  <a:pt x="1040" y="140"/>
                </a:cubicBezTo>
                <a:cubicBezTo>
                  <a:pt x="1040" y="140"/>
                  <a:pt x="1042" y="141"/>
                  <a:pt x="1044" y="141"/>
                </a:cubicBezTo>
                <a:cubicBezTo>
                  <a:pt x="1045" y="141"/>
                  <a:pt x="1048" y="143"/>
                  <a:pt x="1048" y="143"/>
                </a:cubicBezTo>
                <a:cubicBezTo>
                  <a:pt x="1048" y="143"/>
                  <a:pt x="1043" y="142"/>
                  <a:pt x="1042" y="143"/>
                </a:cubicBezTo>
                <a:cubicBezTo>
                  <a:pt x="1041" y="144"/>
                  <a:pt x="1042" y="144"/>
                  <a:pt x="1042" y="144"/>
                </a:cubicBezTo>
                <a:cubicBezTo>
                  <a:pt x="1042" y="144"/>
                  <a:pt x="1036" y="146"/>
                  <a:pt x="1037" y="148"/>
                </a:cubicBezTo>
                <a:cubicBezTo>
                  <a:pt x="1042" y="148"/>
                  <a:pt x="1042" y="148"/>
                  <a:pt x="1042" y="148"/>
                </a:cubicBezTo>
                <a:cubicBezTo>
                  <a:pt x="1037" y="150"/>
                  <a:pt x="1037" y="150"/>
                  <a:pt x="1037" y="150"/>
                </a:cubicBezTo>
                <a:cubicBezTo>
                  <a:pt x="1037" y="150"/>
                  <a:pt x="1037" y="153"/>
                  <a:pt x="1039" y="152"/>
                </a:cubicBezTo>
                <a:cubicBezTo>
                  <a:pt x="1041" y="152"/>
                  <a:pt x="1046" y="152"/>
                  <a:pt x="1046" y="152"/>
                </a:cubicBezTo>
                <a:cubicBezTo>
                  <a:pt x="1046" y="152"/>
                  <a:pt x="1038" y="154"/>
                  <a:pt x="1039" y="156"/>
                </a:cubicBezTo>
                <a:cubicBezTo>
                  <a:pt x="1041" y="157"/>
                  <a:pt x="1045" y="155"/>
                  <a:pt x="1045" y="155"/>
                </a:cubicBezTo>
                <a:cubicBezTo>
                  <a:pt x="1045" y="155"/>
                  <a:pt x="1042" y="158"/>
                  <a:pt x="1041" y="160"/>
                </a:cubicBezTo>
                <a:cubicBezTo>
                  <a:pt x="1041" y="161"/>
                  <a:pt x="1040" y="162"/>
                  <a:pt x="1042" y="162"/>
                </a:cubicBezTo>
                <a:cubicBezTo>
                  <a:pt x="1043" y="162"/>
                  <a:pt x="1045" y="161"/>
                  <a:pt x="1045" y="161"/>
                </a:cubicBezTo>
                <a:cubicBezTo>
                  <a:pt x="1045" y="161"/>
                  <a:pt x="1044" y="164"/>
                  <a:pt x="1043" y="164"/>
                </a:cubicBezTo>
                <a:cubicBezTo>
                  <a:pt x="1041" y="164"/>
                  <a:pt x="1038" y="166"/>
                  <a:pt x="1038" y="168"/>
                </a:cubicBezTo>
                <a:cubicBezTo>
                  <a:pt x="1039" y="170"/>
                  <a:pt x="1043" y="166"/>
                  <a:pt x="1043" y="166"/>
                </a:cubicBezTo>
                <a:cubicBezTo>
                  <a:pt x="1043" y="166"/>
                  <a:pt x="1046" y="162"/>
                  <a:pt x="1047" y="163"/>
                </a:cubicBezTo>
                <a:cubicBezTo>
                  <a:pt x="1048" y="164"/>
                  <a:pt x="1053" y="162"/>
                  <a:pt x="1053" y="162"/>
                </a:cubicBezTo>
                <a:cubicBezTo>
                  <a:pt x="1053" y="164"/>
                  <a:pt x="1053" y="164"/>
                  <a:pt x="1053" y="164"/>
                </a:cubicBezTo>
                <a:cubicBezTo>
                  <a:pt x="1055" y="162"/>
                  <a:pt x="1055" y="162"/>
                  <a:pt x="1055" y="162"/>
                </a:cubicBezTo>
                <a:cubicBezTo>
                  <a:pt x="1053" y="166"/>
                  <a:pt x="1053" y="166"/>
                  <a:pt x="1053" y="166"/>
                </a:cubicBezTo>
                <a:cubicBezTo>
                  <a:pt x="1057" y="166"/>
                  <a:pt x="1057" y="166"/>
                  <a:pt x="1057" y="166"/>
                </a:cubicBezTo>
                <a:cubicBezTo>
                  <a:pt x="1057" y="166"/>
                  <a:pt x="1051" y="166"/>
                  <a:pt x="1050" y="167"/>
                </a:cubicBezTo>
                <a:cubicBezTo>
                  <a:pt x="1050" y="168"/>
                  <a:pt x="1052" y="168"/>
                  <a:pt x="1052" y="168"/>
                </a:cubicBezTo>
                <a:cubicBezTo>
                  <a:pt x="1052" y="168"/>
                  <a:pt x="1047" y="169"/>
                  <a:pt x="1046" y="170"/>
                </a:cubicBezTo>
                <a:cubicBezTo>
                  <a:pt x="1045" y="170"/>
                  <a:pt x="1046" y="171"/>
                  <a:pt x="1046" y="171"/>
                </a:cubicBezTo>
                <a:cubicBezTo>
                  <a:pt x="1046" y="171"/>
                  <a:pt x="1041" y="172"/>
                  <a:pt x="1041" y="173"/>
                </a:cubicBezTo>
                <a:cubicBezTo>
                  <a:pt x="1040" y="174"/>
                  <a:pt x="1046" y="174"/>
                  <a:pt x="1046" y="174"/>
                </a:cubicBezTo>
                <a:cubicBezTo>
                  <a:pt x="1046" y="174"/>
                  <a:pt x="1041" y="174"/>
                  <a:pt x="1041" y="175"/>
                </a:cubicBezTo>
                <a:cubicBezTo>
                  <a:pt x="1041" y="176"/>
                  <a:pt x="1045" y="177"/>
                  <a:pt x="1045" y="177"/>
                </a:cubicBezTo>
                <a:cubicBezTo>
                  <a:pt x="1045" y="177"/>
                  <a:pt x="1042" y="177"/>
                  <a:pt x="1042" y="178"/>
                </a:cubicBezTo>
                <a:cubicBezTo>
                  <a:pt x="1041" y="180"/>
                  <a:pt x="1047" y="179"/>
                  <a:pt x="1047" y="179"/>
                </a:cubicBezTo>
                <a:cubicBezTo>
                  <a:pt x="1044" y="182"/>
                  <a:pt x="1044" y="182"/>
                  <a:pt x="1044" y="182"/>
                </a:cubicBezTo>
                <a:cubicBezTo>
                  <a:pt x="1048" y="181"/>
                  <a:pt x="1048" y="181"/>
                  <a:pt x="1048" y="181"/>
                </a:cubicBezTo>
                <a:cubicBezTo>
                  <a:pt x="1048" y="181"/>
                  <a:pt x="1044" y="184"/>
                  <a:pt x="1044" y="187"/>
                </a:cubicBezTo>
                <a:cubicBezTo>
                  <a:pt x="1045" y="189"/>
                  <a:pt x="1050" y="188"/>
                  <a:pt x="1050" y="188"/>
                </a:cubicBezTo>
                <a:cubicBezTo>
                  <a:pt x="1047" y="192"/>
                  <a:pt x="1047" y="192"/>
                  <a:pt x="1047" y="192"/>
                </a:cubicBezTo>
                <a:cubicBezTo>
                  <a:pt x="1052" y="190"/>
                  <a:pt x="1052" y="190"/>
                  <a:pt x="1052" y="190"/>
                </a:cubicBezTo>
                <a:cubicBezTo>
                  <a:pt x="1052" y="190"/>
                  <a:pt x="1049" y="193"/>
                  <a:pt x="1049" y="194"/>
                </a:cubicBezTo>
                <a:cubicBezTo>
                  <a:pt x="1050" y="195"/>
                  <a:pt x="1054" y="195"/>
                  <a:pt x="1054" y="195"/>
                </a:cubicBezTo>
                <a:cubicBezTo>
                  <a:pt x="1054" y="195"/>
                  <a:pt x="1052" y="196"/>
                  <a:pt x="1052" y="197"/>
                </a:cubicBezTo>
                <a:cubicBezTo>
                  <a:pt x="1053" y="198"/>
                  <a:pt x="1055" y="197"/>
                  <a:pt x="1055" y="197"/>
                </a:cubicBezTo>
                <a:cubicBezTo>
                  <a:pt x="1055" y="197"/>
                  <a:pt x="1052" y="200"/>
                  <a:pt x="1053" y="201"/>
                </a:cubicBezTo>
                <a:cubicBezTo>
                  <a:pt x="1053" y="202"/>
                  <a:pt x="1057" y="201"/>
                  <a:pt x="1057" y="201"/>
                </a:cubicBezTo>
                <a:cubicBezTo>
                  <a:pt x="1056" y="203"/>
                  <a:pt x="1056" y="203"/>
                  <a:pt x="1056" y="203"/>
                </a:cubicBezTo>
                <a:cubicBezTo>
                  <a:pt x="1062" y="202"/>
                  <a:pt x="1062" y="202"/>
                  <a:pt x="1062" y="202"/>
                </a:cubicBezTo>
                <a:cubicBezTo>
                  <a:pt x="1062" y="202"/>
                  <a:pt x="1063" y="204"/>
                  <a:pt x="1065" y="203"/>
                </a:cubicBezTo>
                <a:cubicBezTo>
                  <a:pt x="1067" y="201"/>
                  <a:pt x="1072" y="198"/>
                  <a:pt x="1073" y="198"/>
                </a:cubicBezTo>
                <a:cubicBezTo>
                  <a:pt x="1074" y="199"/>
                  <a:pt x="1071" y="201"/>
                  <a:pt x="1071" y="201"/>
                </a:cubicBezTo>
                <a:cubicBezTo>
                  <a:pt x="1075" y="201"/>
                  <a:pt x="1075" y="201"/>
                  <a:pt x="1075" y="201"/>
                </a:cubicBezTo>
                <a:cubicBezTo>
                  <a:pt x="1077" y="200"/>
                  <a:pt x="1077" y="200"/>
                  <a:pt x="1077" y="200"/>
                </a:cubicBezTo>
                <a:cubicBezTo>
                  <a:pt x="1077" y="200"/>
                  <a:pt x="1073" y="203"/>
                  <a:pt x="1072" y="204"/>
                </a:cubicBezTo>
                <a:cubicBezTo>
                  <a:pt x="1071" y="205"/>
                  <a:pt x="1070" y="206"/>
                  <a:pt x="1072" y="206"/>
                </a:cubicBezTo>
                <a:cubicBezTo>
                  <a:pt x="1073" y="206"/>
                  <a:pt x="1079" y="205"/>
                  <a:pt x="1079" y="205"/>
                </a:cubicBezTo>
                <a:cubicBezTo>
                  <a:pt x="1079" y="205"/>
                  <a:pt x="1073" y="208"/>
                  <a:pt x="1075" y="209"/>
                </a:cubicBezTo>
                <a:cubicBezTo>
                  <a:pt x="1076" y="211"/>
                  <a:pt x="1080" y="209"/>
                  <a:pt x="1080" y="209"/>
                </a:cubicBezTo>
                <a:cubicBezTo>
                  <a:pt x="1080" y="209"/>
                  <a:pt x="1082" y="213"/>
                  <a:pt x="1085" y="212"/>
                </a:cubicBezTo>
                <a:cubicBezTo>
                  <a:pt x="1087" y="210"/>
                  <a:pt x="1089" y="209"/>
                  <a:pt x="1089" y="209"/>
                </a:cubicBezTo>
                <a:cubicBezTo>
                  <a:pt x="1089" y="209"/>
                  <a:pt x="1088" y="208"/>
                  <a:pt x="1087" y="207"/>
                </a:cubicBezTo>
                <a:cubicBezTo>
                  <a:pt x="1086" y="206"/>
                  <a:pt x="1090" y="207"/>
                  <a:pt x="1091" y="206"/>
                </a:cubicBezTo>
                <a:cubicBezTo>
                  <a:pt x="1092" y="205"/>
                  <a:pt x="1091" y="202"/>
                  <a:pt x="1091" y="202"/>
                </a:cubicBezTo>
                <a:cubicBezTo>
                  <a:pt x="1091" y="202"/>
                  <a:pt x="1096" y="204"/>
                  <a:pt x="1096" y="202"/>
                </a:cubicBezTo>
                <a:cubicBezTo>
                  <a:pt x="1096" y="200"/>
                  <a:pt x="1095" y="198"/>
                  <a:pt x="1095" y="198"/>
                </a:cubicBezTo>
                <a:cubicBezTo>
                  <a:pt x="1095" y="198"/>
                  <a:pt x="1096" y="200"/>
                  <a:pt x="1097" y="201"/>
                </a:cubicBezTo>
                <a:cubicBezTo>
                  <a:pt x="1098" y="201"/>
                  <a:pt x="1099" y="199"/>
                  <a:pt x="1099" y="198"/>
                </a:cubicBezTo>
                <a:cubicBezTo>
                  <a:pt x="1098" y="196"/>
                  <a:pt x="1096" y="195"/>
                  <a:pt x="1096" y="195"/>
                </a:cubicBezTo>
                <a:cubicBezTo>
                  <a:pt x="1096" y="195"/>
                  <a:pt x="1101" y="196"/>
                  <a:pt x="1101" y="195"/>
                </a:cubicBezTo>
                <a:cubicBezTo>
                  <a:pt x="1101" y="194"/>
                  <a:pt x="1100" y="193"/>
                  <a:pt x="1100" y="193"/>
                </a:cubicBezTo>
                <a:cubicBezTo>
                  <a:pt x="1104" y="193"/>
                  <a:pt x="1104" y="193"/>
                  <a:pt x="1104" y="193"/>
                </a:cubicBezTo>
                <a:cubicBezTo>
                  <a:pt x="1102" y="190"/>
                  <a:pt x="1102" y="190"/>
                  <a:pt x="1102" y="190"/>
                </a:cubicBezTo>
                <a:cubicBezTo>
                  <a:pt x="1104" y="189"/>
                  <a:pt x="1104" y="189"/>
                  <a:pt x="1104" y="189"/>
                </a:cubicBezTo>
                <a:cubicBezTo>
                  <a:pt x="1104" y="189"/>
                  <a:pt x="1102" y="187"/>
                  <a:pt x="1101" y="187"/>
                </a:cubicBezTo>
                <a:cubicBezTo>
                  <a:pt x="1100" y="187"/>
                  <a:pt x="1103" y="186"/>
                  <a:pt x="1103" y="186"/>
                </a:cubicBezTo>
                <a:cubicBezTo>
                  <a:pt x="1100" y="183"/>
                  <a:pt x="1100" y="183"/>
                  <a:pt x="1100" y="183"/>
                </a:cubicBezTo>
                <a:cubicBezTo>
                  <a:pt x="1100" y="183"/>
                  <a:pt x="1103" y="185"/>
                  <a:pt x="1104" y="185"/>
                </a:cubicBezTo>
                <a:cubicBezTo>
                  <a:pt x="1105" y="184"/>
                  <a:pt x="1107" y="183"/>
                  <a:pt x="1107" y="183"/>
                </a:cubicBezTo>
                <a:cubicBezTo>
                  <a:pt x="1107" y="183"/>
                  <a:pt x="1110" y="183"/>
                  <a:pt x="1111" y="183"/>
                </a:cubicBezTo>
                <a:cubicBezTo>
                  <a:pt x="1111" y="182"/>
                  <a:pt x="1110" y="180"/>
                  <a:pt x="1110" y="180"/>
                </a:cubicBezTo>
                <a:cubicBezTo>
                  <a:pt x="1113" y="180"/>
                  <a:pt x="1113" y="180"/>
                  <a:pt x="1113" y="180"/>
                </a:cubicBezTo>
                <a:cubicBezTo>
                  <a:pt x="1114" y="176"/>
                  <a:pt x="1114" y="176"/>
                  <a:pt x="1114" y="176"/>
                </a:cubicBezTo>
                <a:cubicBezTo>
                  <a:pt x="1114" y="176"/>
                  <a:pt x="1118" y="178"/>
                  <a:pt x="1119" y="176"/>
                </a:cubicBezTo>
                <a:cubicBezTo>
                  <a:pt x="1120" y="175"/>
                  <a:pt x="1119" y="174"/>
                  <a:pt x="1119" y="174"/>
                </a:cubicBezTo>
                <a:cubicBezTo>
                  <a:pt x="1119" y="174"/>
                  <a:pt x="1121" y="176"/>
                  <a:pt x="1122" y="176"/>
                </a:cubicBezTo>
                <a:cubicBezTo>
                  <a:pt x="1123" y="176"/>
                  <a:pt x="1124" y="174"/>
                  <a:pt x="1124" y="173"/>
                </a:cubicBezTo>
                <a:cubicBezTo>
                  <a:pt x="1125" y="172"/>
                  <a:pt x="1124" y="170"/>
                  <a:pt x="1124" y="170"/>
                </a:cubicBezTo>
                <a:cubicBezTo>
                  <a:pt x="1119" y="169"/>
                  <a:pt x="1119" y="169"/>
                  <a:pt x="1119" y="169"/>
                </a:cubicBezTo>
                <a:cubicBezTo>
                  <a:pt x="1123" y="168"/>
                  <a:pt x="1123" y="168"/>
                  <a:pt x="1123" y="168"/>
                </a:cubicBezTo>
                <a:cubicBezTo>
                  <a:pt x="1127" y="166"/>
                  <a:pt x="1127" y="166"/>
                  <a:pt x="1127" y="166"/>
                </a:cubicBezTo>
                <a:cubicBezTo>
                  <a:pt x="1127" y="163"/>
                  <a:pt x="1127" y="163"/>
                  <a:pt x="1127" y="163"/>
                </a:cubicBezTo>
                <a:cubicBezTo>
                  <a:pt x="1124" y="163"/>
                  <a:pt x="1124" y="163"/>
                  <a:pt x="1124" y="163"/>
                </a:cubicBezTo>
                <a:cubicBezTo>
                  <a:pt x="1125" y="160"/>
                  <a:pt x="1125" y="160"/>
                  <a:pt x="1125" y="160"/>
                </a:cubicBezTo>
                <a:cubicBezTo>
                  <a:pt x="1130" y="160"/>
                  <a:pt x="1130" y="160"/>
                  <a:pt x="1130" y="160"/>
                </a:cubicBezTo>
                <a:cubicBezTo>
                  <a:pt x="1130" y="160"/>
                  <a:pt x="1133" y="161"/>
                  <a:pt x="1134" y="160"/>
                </a:cubicBezTo>
                <a:cubicBezTo>
                  <a:pt x="1136" y="158"/>
                  <a:pt x="1135" y="156"/>
                  <a:pt x="1135" y="156"/>
                </a:cubicBezTo>
                <a:cubicBezTo>
                  <a:pt x="1139" y="155"/>
                  <a:pt x="1139" y="155"/>
                  <a:pt x="1139" y="155"/>
                </a:cubicBezTo>
                <a:cubicBezTo>
                  <a:pt x="1139" y="155"/>
                  <a:pt x="1146" y="156"/>
                  <a:pt x="1147" y="155"/>
                </a:cubicBezTo>
                <a:cubicBezTo>
                  <a:pt x="1149" y="153"/>
                  <a:pt x="1150" y="152"/>
                  <a:pt x="1150" y="152"/>
                </a:cubicBezTo>
                <a:cubicBezTo>
                  <a:pt x="1152" y="151"/>
                  <a:pt x="1152" y="151"/>
                  <a:pt x="1152" y="151"/>
                </a:cubicBezTo>
                <a:cubicBezTo>
                  <a:pt x="1152" y="151"/>
                  <a:pt x="1152" y="149"/>
                  <a:pt x="1154" y="148"/>
                </a:cubicBezTo>
                <a:cubicBezTo>
                  <a:pt x="1157" y="148"/>
                  <a:pt x="1150" y="155"/>
                  <a:pt x="1152" y="155"/>
                </a:cubicBezTo>
                <a:cubicBezTo>
                  <a:pt x="1153" y="155"/>
                  <a:pt x="1155" y="154"/>
                  <a:pt x="1155" y="154"/>
                </a:cubicBezTo>
                <a:cubicBezTo>
                  <a:pt x="1156" y="152"/>
                  <a:pt x="1156" y="152"/>
                  <a:pt x="1156" y="152"/>
                </a:cubicBezTo>
                <a:cubicBezTo>
                  <a:pt x="1158" y="152"/>
                  <a:pt x="1158" y="152"/>
                  <a:pt x="1158" y="152"/>
                </a:cubicBezTo>
                <a:cubicBezTo>
                  <a:pt x="1159" y="150"/>
                  <a:pt x="1159" y="150"/>
                  <a:pt x="1159" y="150"/>
                </a:cubicBezTo>
                <a:cubicBezTo>
                  <a:pt x="1159" y="150"/>
                  <a:pt x="1163" y="153"/>
                  <a:pt x="1166" y="152"/>
                </a:cubicBezTo>
                <a:cubicBezTo>
                  <a:pt x="1168" y="150"/>
                  <a:pt x="1172" y="147"/>
                  <a:pt x="1172" y="147"/>
                </a:cubicBezTo>
                <a:cubicBezTo>
                  <a:pt x="1172" y="147"/>
                  <a:pt x="1175" y="148"/>
                  <a:pt x="1181" y="146"/>
                </a:cubicBezTo>
                <a:cubicBezTo>
                  <a:pt x="1186" y="144"/>
                  <a:pt x="1186" y="140"/>
                  <a:pt x="1189" y="138"/>
                </a:cubicBezTo>
                <a:cubicBezTo>
                  <a:pt x="1193" y="135"/>
                  <a:pt x="1202" y="133"/>
                  <a:pt x="1202" y="133"/>
                </a:cubicBezTo>
                <a:cubicBezTo>
                  <a:pt x="1202" y="133"/>
                  <a:pt x="1203" y="131"/>
                  <a:pt x="1202" y="130"/>
                </a:cubicBezTo>
                <a:cubicBezTo>
                  <a:pt x="1202" y="128"/>
                  <a:pt x="1201" y="126"/>
                  <a:pt x="1202" y="125"/>
                </a:cubicBezTo>
                <a:cubicBezTo>
                  <a:pt x="1204" y="125"/>
                  <a:pt x="1206" y="131"/>
                  <a:pt x="1208" y="131"/>
                </a:cubicBezTo>
                <a:cubicBezTo>
                  <a:pt x="1208" y="131"/>
                  <a:pt x="1217" y="131"/>
                  <a:pt x="1219" y="130"/>
                </a:cubicBezTo>
                <a:cubicBezTo>
                  <a:pt x="1222" y="130"/>
                  <a:pt x="1226" y="128"/>
                  <a:pt x="1231" y="127"/>
                </a:cubicBezTo>
                <a:cubicBezTo>
                  <a:pt x="1236" y="126"/>
                  <a:pt x="1244" y="126"/>
                  <a:pt x="1245" y="125"/>
                </a:cubicBezTo>
                <a:cubicBezTo>
                  <a:pt x="1247" y="125"/>
                  <a:pt x="1248" y="123"/>
                  <a:pt x="1248" y="123"/>
                </a:cubicBezTo>
                <a:close/>
                <a:moveTo>
                  <a:pt x="724" y="122"/>
                </a:moveTo>
                <a:cubicBezTo>
                  <a:pt x="728" y="123"/>
                  <a:pt x="730" y="124"/>
                  <a:pt x="733" y="126"/>
                </a:cubicBezTo>
                <a:cubicBezTo>
                  <a:pt x="736" y="128"/>
                  <a:pt x="748" y="126"/>
                  <a:pt x="748" y="126"/>
                </a:cubicBezTo>
                <a:cubicBezTo>
                  <a:pt x="745" y="116"/>
                  <a:pt x="745" y="116"/>
                  <a:pt x="745" y="116"/>
                </a:cubicBezTo>
                <a:cubicBezTo>
                  <a:pt x="731" y="113"/>
                  <a:pt x="731" y="113"/>
                  <a:pt x="731" y="113"/>
                </a:cubicBezTo>
                <a:cubicBezTo>
                  <a:pt x="726" y="119"/>
                  <a:pt x="726" y="119"/>
                  <a:pt x="726" y="119"/>
                </a:cubicBezTo>
                <a:cubicBezTo>
                  <a:pt x="722" y="119"/>
                  <a:pt x="722" y="119"/>
                  <a:pt x="722" y="119"/>
                </a:cubicBezTo>
                <a:cubicBezTo>
                  <a:pt x="722" y="119"/>
                  <a:pt x="720" y="122"/>
                  <a:pt x="724" y="122"/>
                </a:cubicBezTo>
                <a:close/>
                <a:moveTo>
                  <a:pt x="1054" y="119"/>
                </a:moveTo>
                <a:cubicBezTo>
                  <a:pt x="1056" y="119"/>
                  <a:pt x="1056" y="119"/>
                  <a:pt x="1056" y="119"/>
                </a:cubicBezTo>
                <a:cubicBezTo>
                  <a:pt x="1056" y="119"/>
                  <a:pt x="1059" y="118"/>
                  <a:pt x="1061" y="118"/>
                </a:cubicBezTo>
                <a:cubicBezTo>
                  <a:pt x="1062" y="118"/>
                  <a:pt x="1065" y="116"/>
                  <a:pt x="1064" y="114"/>
                </a:cubicBezTo>
                <a:cubicBezTo>
                  <a:pt x="1064" y="113"/>
                  <a:pt x="1059" y="112"/>
                  <a:pt x="1059" y="112"/>
                </a:cubicBezTo>
                <a:cubicBezTo>
                  <a:pt x="1059" y="112"/>
                  <a:pt x="1057" y="110"/>
                  <a:pt x="1055" y="110"/>
                </a:cubicBezTo>
                <a:cubicBezTo>
                  <a:pt x="1053" y="110"/>
                  <a:pt x="1052" y="111"/>
                  <a:pt x="1049" y="110"/>
                </a:cubicBezTo>
                <a:cubicBezTo>
                  <a:pt x="1048" y="113"/>
                  <a:pt x="1048" y="113"/>
                  <a:pt x="1048" y="113"/>
                </a:cubicBezTo>
                <a:cubicBezTo>
                  <a:pt x="1048" y="113"/>
                  <a:pt x="1046" y="114"/>
                  <a:pt x="1046" y="116"/>
                </a:cubicBezTo>
                <a:cubicBezTo>
                  <a:pt x="1046" y="117"/>
                  <a:pt x="1049" y="118"/>
                  <a:pt x="1049" y="118"/>
                </a:cubicBezTo>
                <a:cubicBezTo>
                  <a:pt x="1048" y="120"/>
                  <a:pt x="1048" y="120"/>
                  <a:pt x="1048" y="120"/>
                </a:cubicBezTo>
                <a:cubicBezTo>
                  <a:pt x="1054" y="119"/>
                  <a:pt x="1054" y="119"/>
                  <a:pt x="1054" y="119"/>
                </a:cubicBezTo>
                <a:cubicBezTo>
                  <a:pt x="1054" y="119"/>
                  <a:pt x="1054" y="119"/>
                  <a:pt x="1054" y="119"/>
                </a:cubicBezTo>
                <a:close/>
                <a:moveTo>
                  <a:pt x="802" y="151"/>
                </a:moveTo>
                <a:cubicBezTo>
                  <a:pt x="799" y="152"/>
                  <a:pt x="797" y="155"/>
                  <a:pt x="801" y="155"/>
                </a:cubicBezTo>
                <a:cubicBezTo>
                  <a:pt x="803" y="155"/>
                  <a:pt x="804" y="151"/>
                  <a:pt x="802" y="151"/>
                </a:cubicBezTo>
                <a:close/>
                <a:moveTo>
                  <a:pt x="335" y="230"/>
                </a:moveTo>
                <a:cubicBezTo>
                  <a:pt x="335" y="230"/>
                  <a:pt x="330" y="231"/>
                  <a:pt x="330" y="233"/>
                </a:cubicBezTo>
                <a:cubicBezTo>
                  <a:pt x="330" y="234"/>
                  <a:pt x="332" y="236"/>
                  <a:pt x="332" y="236"/>
                </a:cubicBezTo>
                <a:cubicBezTo>
                  <a:pt x="334" y="237"/>
                  <a:pt x="338" y="235"/>
                  <a:pt x="338" y="233"/>
                </a:cubicBezTo>
                <a:cubicBezTo>
                  <a:pt x="338" y="231"/>
                  <a:pt x="335" y="230"/>
                  <a:pt x="335" y="230"/>
                </a:cubicBezTo>
                <a:close/>
                <a:moveTo>
                  <a:pt x="329" y="307"/>
                </a:moveTo>
                <a:cubicBezTo>
                  <a:pt x="327" y="306"/>
                  <a:pt x="322" y="309"/>
                  <a:pt x="323" y="311"/>
                </a:cubicBezTo>
                <a:cubicBezTo>
                  <a:pt x="324" y="312"/>
                  <a:pt x="326" y="312"/>
                  <a:pt x="326" y="312"/>
                </a:cubicBezTo>
                <a:cubicBezTo>
                  <a:pt x="328" y="311"/>
                  <a:pt x="328" y="311"/>
                  <a:pt x="328" y="311"/>
                </a:cubicBezTo>
                <a:cubicBezTo>
                  <a:pt x="330" y="312"/>
                  <a:pt x="330" y="312"/>
                  <a:pt x="330" y="312"/>
                </a:cubicBezTo>
                <a:cubicBezTo>
                  <a:pt x="328" y="313"/>
                  <a:pt x="328" y="313"/>
                  <a:pt x="328" y="313"/>
                </a:cubicBezTo>
                <a:cubicBezTo>
                  <a:pt x="328" y="313"/>
                  <a:pt x="322" y="314"/>
                  <a:pt x="324" y="316"/>
                </a:cubicBezTo>
                <a:cubicBezTo>
                  <a:pt x="326" y="318"/>
                  <a:pt x="329" y="316"/>
                  <a:pt x="329" y="316"/>
                </a:cubicBezTo>
                <a:cubicBezTo>
                  <a:pt x="328" y="319"/>
                  <a:pt x="328" y="319"/>
                  <a:pt x="328" y="319"/>
                </a:cubicBezTo>
                <a:cubicBezTo>
                  <a:pt x="331" y="319"/>
                  <a:pt x="331" y="319"/>
                  <a:pt x="331" y="319"/>
                </a:cubicBezTo>
                <a:cubicBezTo>
                  <a:pt x="328" y="321"/>
                  <a:pt x="328" y="321"/>
                  <a:pt x="328" y="321"/>
                </a:cubicBezTo>
                <a:cubicBezTo>
                  <a:pt x="333" y="321"/>
                  <a:pt x="333" y="321"/>
                  <a:pt x="333" y="321"/>
                </a:cubicBezTo>
                <a:cubicBezTo>
                  <a:pt x="333" y="321"/>
                  <a:pt x="328" y="323"/>
                  <a:pt x="329" y="324"/>
                </a:cubicBezTo>
                <a:cubicBezTo>
                  <a:pt x="330" y="325"/>
                  <a:pt x="333" y="321"/>
                  <a:pt x="334" y="323"/>
                </a:cubicBezTo>
                <a:cubicBezTo>
                  <a:pt x="335" y="325"/>
                  <a:pt x="331" y="326"/>
                  <a:pt x="332" y="328"/>
                </a:cubicBezTo>
                <a:cubicBezTo>
                  <a:pt x="333" y="329"/>
                  <a:pt x="339" y="328"/>
                  <a:pt x="339" y="328"/>
                </a:cubicBezTo>
                <a:cubicBezTo>
                  <a:pt x="341" y="327"/>
                  <a:pt x="341" y="327"/>
                  <a:pt x="341" y="327"/>
                </a:cubicBezTo>
                <a:cubicBezTo>
                  <a:pt x="339" y="329"/>
                  <a:pt x="339" y="329"/>
                  <a:pt x="339" y="329"/>
                </a:cubicBezTo>
                <a:cubicBezTo>
                  <a:pt x="339" y="329"/>
                  <a:pt x="334" y="329"/>
                  <a:pt x="336" y="331"/>
                </a:cubicBezTo>
                <a:cubicBezTo>
                  <a:pt x="338" y="333"/>
                  <a:pt x="340" y="333"/>
                  <a:pt x="340" y="333"/>
                </a:cubicBezTo>
                <a:cubicBezTo>
                  <a:pt x="340" y="333"/>
                  <a:pt x="345" y="337"/>
                  <a:pt x="348" y="335"/>
                </a:cubicBezTo>
                <a:cubicBezTo>
                  <a:pt x="350" y="333"/>
                  <a:pt x="352" y="331"/>
                  <a:pt x="350" y="329"/>
                </a:cubicBezTo>
                <a:cubicBezTo>
                  <a:pt x="348" y="326"/>
                  <a:pt x="345" y="324"/>
                  <a:pt x="345" y="324"/>
                </a:cubicBezTo>
                <a:cubicBezTo>
                  <a:pt x="345" y="324"/>
                  <a:pt x="344" y="321"/>
                  <a:pt x="344" y="320"/>
                </a:cubicBezTo>
                <a:cubicBezTo>
                  <a:pt x="345" y="318"/>
                  <a:pt x="346" y="316"/>
                  <a:pt x="344" y="314"/>
                </a:cubicBezTo>
                <a:cubicBezTo>
                  <a:pt x="344" y="314"/>
                  <a:pt x="339" y="313"/>
                  <a:pt x="337" y="312"/>
                </a:cubicBezTo>
                <a:cubicBezTo>
                  <a:pt x="335" y="312"/>
                  <a:pt x="332" y="307"/>
                  <a:pt x="329" y="307"/>
                </a:cubicBezTo>
                <a:close/>
                <a:moveTo>
                  <a:pt x="343" y="308"/>
                </a:moveTo>
                <a:cubicBezTo>
                  <a:pt x="341" y="307"/>
                  <a:pt x="341" y="311"/>
                  <a:pt x="341" y="311"/>
                </a:cubicBezTo>
                <a:cubicBezTo>
                  <a:pt x="342" y="311"/>
                  <a:pt x="345" y="309"/>
                  <a:pt x="343" y="308"/>
                </a:cubicBezTo>
                <a:close/>
                <a:moveTo>
                  <a:pt x="340" y="290"/>
                </a:moveTo>
                <a:cubicBezTo>
                  <a:pt x="340" y="286"/>
                  <a:pt x="340" y="286"/>
                  <a:pt x="340" y="286"/>
                </a:cubicBezTo>
                <a:cubicBezTo>
                  <a:pt x="340" y="286"/>
                  <a:pt x="333" y="285"/>
                  <a:pt x="333" y="287"/>
                </a:cubicBezTo>
                <a:cubicBezTo>
                  <a:pt x="333" y="289"/>
                  <a:pt x="336" y="289"/>
                  <a:pt x="336" y="289"/>
                </a:cubicBezTo>
                <a:cubicBezTo>
                  <a:pt x="336" y="292"/>
                  <a:pt x="336" y="292"/>
                  <a:pt x="336" y="292"/>
                </a:cubicBezTo>
                <a:cubicBezTo>
                  <a:pt x="340" y="290"/>
                  <a:pt x="340" y="290"/>
                  <a:pt x="340" y="290"/>
                </a:cubicBezTo>
                <a:cubicBezTo>
                  <a:pt x="340" y="290"/>
                  <a:pt x="340" y="290"/>
                  <a:pt x="340" y="290"/>
                </a:cubicBezTo>
                <a:close/>
                <a:moveTo>
                  <a:pt x="331" y="280"/>
                </a:moveTo>
                <a:cubicBezTo>
                  <a:pt x="331" y="283"/>
                  <a:pt x="334" y="284"/>
                  <a:pt x="334" y="284"/>
                </a:cubicBezTo>
                <a:cubicBezTo>
                  <a:pt x="335" y="280"/>
                  <a:pt x="335" y="280"/>
                  <a:pt x="335" y="280"/>
                </a:cubicBezTo>
                <a:cubicBezTo>
                  <a:pt x="335" y="280"/>
                  <a:pt x="331" y="276"/>
                  <a:pt x="331" y="280"/>
                </a:cubicBezTo>
                <a:close/>
                <a:moveTo>
                  <a:pt x="329" y="256"/>
                </a:moveTo>
                <a:cubicBezTo>
                  <a:pt x="328" y="257"/>
                  <a:pt x="327" y="259"/>
                  <a:pt x="328" y="261"/>
                </a:cubicBezTo>
                <a:cubicBezTo>
                  <a:pt x="329" y="263"/>
                  <a:pt x="329" y="266"/>
                  <a:pt x="329" y="266"/>
                </a:cubicBezTo>
                <a:cubicBezTo>
                  <a:pt x="329" y="266"/>
                  <a:pt x="332" y="265"/>
                  <a:pt x="333" y="263"/>
                </a:cubicBezTo>
                <a:cubicBezTo>
                  <a:pt x="335" y="261"/>
                  <a:pt x="333" y="258"/>
                  <a:pt x="333" y="258"/>
                </a:cubicBezTo>
                <a:cubicBezTo>
                  <a:pt x="333" y="258"/>
                  <a:pt x="335" y="258"/>
                  <a:pt x="337" y="256"/>
                </a:cubicBezTo>
                <a:cubicBezTo>
                  <a:pt x="339" y="254"/>
                  <a:pt x="333" y="250"/>
                  <a:pt x="333" y="250"/>
                </a:cubicBezTo>
                <a:cubicBezTo>
                  <a:pt x="331" y="252"/>
                  <a:pt x="331" y="252"/>
                  <a:pt x="331" y="252"/>
                </a:cubicBezTo>
                <a:cubicBezTo>
                  <a:pt x="331" y="252"/>
                  <a:pt x="332" y="253"/>
                  <a:pt x="333" y="254"/>
                </a:cubicBezTo>
                <a:cubicBezTo>
                  <a:pt x="334" y="254"/>
                  <a:pt x="330" y="256"/>
                  <a:pt x="329" y="256"/>
                </a:cubicBezTo>
                <a:close/>
                <a:moveTo>
                  <a:pt x="342" y="230"/>
                </a:moveTo>
                <a:cubicBezTo>
                  <a:pt x="341" y="232"/>
                  <a:pt x="338" y="235"/>
                  <a:pt x="338" y="235"/>
                </a:cubicBezTo>
                <a:cubicBezTo>
                  <a:pt x="335" y="240"/>
                  <a:pt x="335" y="240"/>
                  <a:pt x="335" y="240"/>
                </a:cubicBezTo>
                <a:cubicBezTo>
                  <a:pt x="335" y="240"/>
                  <a:pt x="340" y="239"/>
                  <a:pt x="342" y="238"/>
                </a:cubicBezTo>
                <a:cubicBezTo>
                  <a:pt x="344" y="236"/>
                  <a:pt x="343" y="234"/>
                  <a:pt x="343" y="234"/>
                </a:cubicBezTo>
                <a:cubicBezTo>
                  <a:pt x="345" y="232"/>
                  <a:pt x="345" y="232"/>
                  <a:pt x="345" y="232"/>
                </a:cubicBezTo>
                <a:cubicBezTo>
                  <a:pt x="345" y="232"/>
                  <a:pt x="344" y="229"/>
                  <a:pt x="342" y="230"/>
                </a:cubicBezTo>
                <a:close/>
                <a:moveTo>
                  <a:pt x="338" y="278"/>
                </a:moveTo>
                <a:cubicBezTo>
                  <a:pt x="336" y="281"/>
                  <a:pt x="336" y="281"/>
                  <a:pt x="336" y="281"/>
                </a:cubicBezTo>
                <a:cubicBezTo>
                  <a:pt x="337" y="284"/>
                  <a:pt x="337" y="284"/>
                  <a:pt x="337" y="284"/>
                </a:cubicBezTo>
                <a:cubicBezTo>
                  <a:pt x="340" y="282"/>
                  <a:pt x="340" y="282"/>
                  <a:pt x="340" y="282"/>
                </a:cubicBezTo>
                <a:cubicBezTo>
                  <a:pt x="338" y="278"/>
                  <a:pt x="338" y="278"/>
                  <a:pt x="338" y="278"/>
                </a:cubicBezTo>
                <a:cubicBezTo>
                  <a:pt x="338" y="278"/>
                  <a:pt x="338" y="278"/>
                  <a:pt x="338" y="278"/>
                </a:cubicBezTo>
                <a:close/>
                <a:moveTo>
                  <a:pt x="896" y="206"/>
                </a:moveTo>
                <a:cubicBezTo>
                  <a:pt x="891" y="206"/>
                  <a:pt x="891" y="206"/>
                  <a:pt x="891" y="206"/>
                </a:cubicBezTo>
                <a:cubicBezTo>
                  <a:pt x="896" y="209"/>
                  <a:pt x="896" y="209"/>
                  <a:pt x="896" y="209"/>
                </a:cubicBezTo>
                <a:cubicBezTo>
                  <a:pt x="900" y="207"/>
                  <a:pt x="896" y="206"/>
                  <a:pt x="896" y="206"/>
                </a:cubicBezTo>
                <a:close/>
                <a:moveTo>
                  <a:pt x="926" y="195"/>
                </a:moveTo>
                <a:cubicBezTo>
                  <a:pt x="926" y="195"/>
                  <a:pt x="922" y="194"/>
                  <a:pt x="921" y="196"/>
                </a:cubicBezTo>
                <a:cubicBezTo>
                  <a:pt x="921" y="196"/>
                  <a:pt x="923" y="199"/>
                  <a:pt x="926" y="197"/>
                </a:cubicBezTo>
                <a:cubicBezTo>
                  <a:pt x="928" y="196"/>
                  <a:pt x="926" y="195"/>
                  <a:pt x="926" y="195"/>
                </a:cubicBezTo>
                <a:close/>
                <a:moveTo>
                  <a:pt x="311" y="293"/>
                </a:moveTo>
                <a:cubicBezTo>
                  <a:pt x="311" y="293"/>
                  <a:pt x="310" y="295"/>
                  <a:pt x="313" y="295"/>
                </a:cubicBezTo>
                <a:cubicBezTo>
                  <a:pt x="316" y="295"/>
                  <a:pt x="313" y="291"/>
                  <a:pt x="313" y="290"/>
                </a:cubicBezTo>
                <a:cubicBezTo>
                  <a:pt x="312" y="288"/>
                  <a:pt x="314" y="287"/>
                  <a:pt x="315" y="287"/>
                </a:cubicBezTo>
                <a:cubicBezTo>
                  <a:pt x="316" y="286"/>
                  <a:pt x="318" y="284"/>
                  <a:pt x="317" y="283"/>
                </a:cubicBezTo>
                <a:cubicBezTo>
                  <a:pt x="317" y="283"/>
                  <a:pt x="317" y="281"/>
                  <a:pt x="318" y="280"/>
                </a:cubicBezTo>
                <a:cubicBezTo>
                  <a:pt x="319" y="279"/>
                  <a:pt x="322" y="276"/>
                  <a:pt x="323" y="275"/>
                </a:cubicBezTo>
                <a:cubicBezTo>
                  <a:pt x="325" y="274"/>
                  <a:pt x="328" y="273"/>
                  <a:pt x="327" y="273"/>
                </a:cubicBezTo>
                <a:cubicBezTo>
                  <a:pt x="326" y="273"/>
                  <a:pt x="323" y="274"/>
                  <a:pt x="322" y="274"/>
                </a:cubicBezTo>
                <a:cubicBezTo>
                  <a:pt x="321" y="275"/>
                  <a:pt x="319" y="278"/>
                  <a:pt x="317" y="278"/>
                </a:cubicBezTo>
                <a:cubicBezTo>
                  <a:pt x="315" y="278"/>
                  <a:pt x="315" y="276"/>
                  <a:pt x="317" y="276"/>
                </a:cubicBezTo>
                <a:cubicBezTo>
                  <a:pt x="319" y="276"/>
                  <a:pt x="323" y="274"/>
                  <a:pt x="320" y="274"/>
                </a:cubicBezTo>
                <a:cubicBezTo>
                  <a:pt x="317" y="274"/>
                  <a:pt x="317" y="275"/>
                  <a:pt x="317" y="275"/>
                </a:cubicBezTo>
                <a:cubicBezTo>
                  <a:pt x="317" y="275"/>
                  <a:pt x="317" y="272"/>
                  <a:pt x="315" y="273"/>
                </a:cubicBezTo>
                <a:cubicBezTo>
                  <a:pt x="313" y="273"/>
                  <a:pt x="312" y="276"/>
                  <a:pt x="312" y="276"/>
                </a:cubicBezTo>
                <a:cubicBezTo>
                  <a:pt x="311" y="280"/>
                  <a:pt x="311" y="280"/>
                  <a:pt x="311" y="280"/>
                </a:cubicBezTo>
                <a:cubicBezTo>
                  <a:pt x="311" y="280"/>
                  <a:pt x="310" y="282"/>
                  <a:pt x="311" y="283"/>
                </a:cubicBezTo>
                <a:cubicBezTo>
                  <a:pt x="311" y="283"/>
                  <a:pt x="312" y="285"/>
                  <a:pt x="312" y="285"/>
                </a:cubicBezTo>
                <a:cubicBezTo>
                  <a:pt x="310" y="285"/>
                  <a:pt x="310" y="285"/>
                  <a:pt x="310" y="285"/>
                </a:cubicBezTo>
                <a:cubicBezTo>
                  <a:pt x="311" y="293"/>
                  <a:pt x="311" y="293"/>
                  <a:pt x="311" y="293"/>
                </a:cubicBezTo>
                <a:cubicBezTo>
                  <a:pt x="311" y="293"/>
                  <a:pt x="311" y="293"/>
                  <a:pt x="311" y="293"/>
                </a:cubicBezTo>
                <a:close/>
                <a:moveTo>
                  <a:pt x="833" y="176"/>
                </a:moveTo>
                <a:cubicBezTo>
                  <a:pt x="828" y="179"/>
                  <a:pt x="835" y="180"/>
                  <a:pt x="835" y="180"/>
                </a:cubicBezTo>
                <a:cubicBezTo>
                  <a:pt x="840" y="178"/>
                  <a:pt x="838" y="174"/>
                  <a:pt x="833" y="176"/>
                </a:cubicBezTo>
                <a:close/>
                <a:moveTo>
                  <a:pt x="774" y="253"/>
                </a:moveTo>
                <a:cubicBezTo>
                  <a:pt x="780" y="253"/>
                  <a:pt x="783" y="248"/>
                  <a:pt x="776" y="248"/>
                </a:cubicBezTo>
                <a:cubicBezTo>
                  <a:pt x="769" y="248"/>
                  <a:pt x="774" y="253"/>
                  <a:pt x="774" y="253"/>
                </a:cubicBezTo>
                <a:close/>
                <a:moveTo>
                  <a:pt x="811" y="188"/>
                </a:moveTo>
                <a:cubicBezTo>
                  <a:pt x="802" y="191"/>
                  <a:pt x="811" y="194"/>
                  <a:pt x="811" y="194"/>
                </a:cubicBezTo>
                <a:cubicBezTo>
                  <a:pt x="815" y="190"/>
                  <a:pt x="819" y="185"/>
                  <a:pt x="811" y="188"/>
                </a:cubicBezTo>
                <a:close/>
                <a:moveTo>
                  <a:pt x="824" y="175"/>
                </a:moveTo>
                <a:cubicBezTo>
                  <a:pt x="824" y="175"/>
                  <a:pt x="819" y="175"/>
                  <a:pt x="817" y="173"/>
                </a:cubicBezTo>
                <a:cubicBezTo>
                  <a:pt x="815" y="171"/>
                  <a:pt x="816" y="167"/>
                  <a:pt x="816" y="167"/>
                </a:cubicBezTo>
                <a:cubicBezTo>
                  <a:pt x="812" y="164"/>
                  <a:pt x="812" y="164"/>
                  <a:pt x="812" y="164"/>
                </a:cubicBezTo>
                <a:cubicBezTo>
                  <a:pt x="806" y="164"/>
                  <a:pt x="806" y="164"/>
                  <a:pt x="806" y="164"/>
                </a:cubicBezTo>
                <a:cubicBezTo>
                  <a:pt x="805" y="162"/>
                  <a:pt x="805" y="162"/>
                  <a:pt x="805" y="162"/>
                </a:cubicBezTo>
                <a:cubicBezTo>
                  <a:pt x="802" y="158"/>
                  <a:pt x="802" y="158"/>
                  <a:pt x="802" y="158"/>
                </a:cubicBezTo>
                <a:cubicBezTo>
                  <a:pt x="798" y="159"/>
                  <a:pt x="798" y="159"/>
                  <a:pt x="798" y="159"/>
                </a:cubicBezTo>
                <a:cubicBezTo>
                  <a:pt x="795" y="157"/>
                  <a:pt x="795" y="157"/>
                  <a:pt x="795" y="157"/>
                </a:cubicBezTo>
                <a:cubicBezTo>
                  <a:pt x="797" y="155"/>
                  <a:pt x="797" y="155"/>
                  <a:pt x="797" y="155"/>
                </a:cubicBezTo>
                <a:cubicBezTo>
                  <a:pt x="797" y="151"/>
                  <a:pt x="797" y="151"/>
                  <a:pt x="797" y="151"/>
                </a:cubicBezTo>
                <a:cubicBezTo>
                  <a:pt x="790" y="155"/>
                  <a:pt x="790" y="155"/>
                  <a:pt x="790" y="155"/>
                </a:cubicBezTo>
                <a:cubicBezTo>
                  <a:pt x="786" y="157"/>
                  <a:pt x="786" y="157"/>
                  <a:pt x="786" y="157"/>
                </a:cubicBezTo>
                <a:cubicBezTo>
                  <a:pt x="782" y="163"/>
                  <a:pt x="782" y="163"/>
                  <a:pt x="782" y="163"/>
                </a:cubicBezTo>
                <a:cubicBezTo>
                  <a:pt x="782" y="163"/>
                  <a:pt x="776" y="164"/>
                  <a:pt x="775" y="165"/>
                </a:cubicBezTo>
                <a:cubicBezTo>
                  <a:pt x="775" y="167"/>
                  <a:pt x="777" y="168"/>
                  <a:pt x="775" y="169"/>
                </a:cubicBezTo>
                <a:cubicBezTo>
                  <a:pt x="773" y="170"/>
                  <a:pt x="767" y="172"/>
                  <a:pt x="767" y="172"/>
                </a:cubicBezTo>
                <a:cubicBezTo>
                  <a:pt x="771" y="173"/>
                  <a:pt x="771" y="173"/>
                  <a:pt x="771" y="173"/>
                </a:cubicBezTo>
                <a:cubicBezTo>
                  <a:pt x="771" y="173"/>
                  <a:pt x="777" y="172"/>
                  <a:pt x="777" y="173"/>
                </a:cubicBezTo>
                <a:cubicBezTo>
                  <a:pt x="777" y="174"/>
                  <a:pt x="776" y="175"/>
                  <a:pt x="776" y="177"/>
                </a:cubicBezTo>
                <a:cubicBezTo>
                  <a:pt x="776" y="179"/>
                  <a:pt x="785" y="180"/>
                  <a:pt x="789" y="178"/>
                </a:cubicBezTo>
                <a:cubicBezTo>
                  <a:pt x="793" y="176"/>
                  <a:pt x="790" y="172"/>
                  <a:pt x="796" y="172"/>
                </a:cubicBezTo>
                <a:cubicBezTo>
                  <a:pt x="802" y="172"/>
                  <a:pt x="803" y="174"/>
                  <a:pt x="803" y="174"/>
                </a:cubicBezTo>
                <a:cubicBezTo>
                  <a:pt x="809" y="175"/>
                  <a:pt x="809" y="175"/>
                  <a:pt x="809" y="175"/>
                </a:cubicBezTo>
                <a:cubicBezTo>
                  <a:pt x="810" y="177"/>
                  <a:pt x="810" y="177"/>
                  <a:pt x="810" y="177"/>
                </a:cubicBezTo>
                <a:cubicBezTo>
                  <a:pt x="823" y="178"/>
                  <a:pt x="823" y="178"/>
                  <a:pt x="823" y="178"/>
                </a:cubicBezTo>
                <a:cubicBezTo>
                  <a:pt x="824" y="175"/>
                  <a:pt x="824" y="175"/>
                  <a:pt x="824" y="175"/>
                </a:cubicBezTo>
                <a:cubicBezTo>
                  <a:pt x="824" y="175"/>
                  <a:pt x="824" y="175"/>
                  <a:pt x="824" y="175"/>
                </a:cubicBezTo>
                <a:close/>
                <a:moveTo>
                  <a:pt x="788" y="185"/>
                </a:moveTo>
                <a:cubicBezTo>
                  <a:pt x="777" y="196"/>
                  <a:pt x="795" y="188"/>
                  <a:pt x="795" y="188"/>
                </a:cubicBezTo>
                <a:cubicBezTo>
                  <a:pt x="805" y="179"/>
                  <a:pt x="799" y="175"/>
                  <a:pt x="788" y="185"/>
                </a:cubicBezTo>
                <a:close/>
                <a:moveTo>
                  <a:pt x="887" y="183"/>
                </a:moveTo>
                <a:cubicBezTo>
                  <a:pt x="885" y="183"/>
                  <a:pt x="885" y="187"/>
                  <a:pt x="888" y="187"/>
                </a:cubicBezTo>
                <a:cubicBezTo>
                  <a:pt x="893" y="187"/>
                  <a:pt x="890" y="183"/>
                  <a:pt x="887" y="183"/>
                </a:cubicBezTo>
                <a:close/>
                <a:moveTo>
                  <a:pt x="344" y="260"/>
                </a:moveTo>
                <a:cubicBezTo>
                  <a:pt x="346" y="257"/>
                  <a:pt x="342" y="254"/>
                  <a:pt x="340" y="256"/>
                </a:cubicBezTo>
                <a:cubicBezTo>
                  <a:pt x="338" y="258"/>
                  <a:pt x="337" y="264"/>
                  <a:pt x="337" y="264"/>
                </a:cubicBezTo>
                <a:cubicBezTo>
                  <a:pt x="337" y="264"/>
                  <a:pt x="340" y="262"/>
                  <a:pt x="341" y="262"/>
                </a:cubicBezTo>
                <a:cubicBezTo>
                  <a:pt x="342" y="262"/>
                  <a:pt x="343" y="262"/>
                  <a:pt x="344" y="260"/>
                </a:cubicBezTo>
                <a:close/>
                <a:moveTo>
                  <a:pt x="343" y="243"/>
                </a:moveTo>
                <a:cubicBezTo>
                  <a:pt x="339" y="242"/>
                  <a:pt x="339" y="242"/>
                  <a:pt x="339" y="242"/>
                </a:cubicBezTo>
                <a:cubicBezTo>
                  <a:pt x="339" y="242"/>
                  <a:pt x="334" y="246"/>
                  <a:pt x="334" y="248"/>
                </a:cubicBezTo>
                <a:cubicBezTo>
                  <a:pt x="336" y="251"/>
                  <a:pt x="340" y="246"/>
                  <a:pt x="340" y="246"/>
                </a:cubicBezTo>
                <a:cubicBezTo>
                  <a:pt x="343" y="245"/>
                  <a:pt x="343" y="245"/>
                  <a:pt x="343" y="245"/>
                </a:cubicBezTo>
                <a:cubicBezTo>
                  <a:pt x="343" y="243"/>
                  <a:pt x="343" y="243"/>
                  <a:pt x="343" y="243"/>
                </a:cubicBezTo>
                <a:cubicBezTo>
                  <a:pt x="343" y="243"/>
                  <a:pt x="343" y="243"/>
                  <a:pt x="343" y="243"/>
                </a:cubicBezTo>
                <a:close/>
                <a:moveTo>
                  <a:pt x="325" y="266"/>
                </a:moveTo>
                <a:cubicBezTo>
                  <a:pt x="326" y="261"/>
                  <a:pt x="326" y="261"/>
                  <a:pt x="326" y="261"/>
                </a:cubicBezTo>
                <a:cubicBezTo>
                  <a:pt x="324" y="262"/>
                  <a:pt x="324" y="262"/>
                  <a:pt x="324" y="262"/>
                </a:cubicBezTo>
                <a:cubicBezTo>
                  <a:pt x="323" y="266"/>
                  <a:pt x="323" y="266"/>
                  <a:pt x="323" y="266"/>
                </a:cubicBezTo>
                <a:cubicBezTo>
                  <a:pt x="325" y="266"/>
                  <a:pt x="325" y="266"/>
                  <a:pt x="325" y="266"/>
                </a:cubicBezTo>
                <a:cubicBezTo>
                  <a:pt x="325" y="266"/>
                  <a:pt x="325" y="266"/>
                  <a:pt x="325" y="266"/>
                </a:cubicBezTo>
                <a:close/>
                <a:moveTo>
                  <a:pt x="326" y="240"/>
                </a:moveTo>
                <a:cubicBezTo>
                  <a:pt x="326" y="242"/>
                  <a:pt x="324" y="244"/>
                  <a:pt x="324" y="244"/>
                </a:cubicBezTo>
                <a:cubicBezTo>
                  <a:pt x="324" y="246"/>
                  <a:pt x="324" y="246"/>
                  <a:pt x="324" y="246"/>
                </a:cubicBezTo>
                <a:cubicBezTo>
                  <a:pt x="324" y="246"/>
                  <a:pt x="322" y="247"/>
                  <a:pt x="322" y="249"/>
                </a:cubicBezTo>
                <a:cubicBezTo>
                  <a:pt x="322" y="250"/>
                  <a:pt x="323" y="251"/>
                  <a:pt x="323" y="251"/>
                </a:cubicBezTo>
                <a:cubicBezTo>
                  <a:pt x="323" y="251"/>
                  <a:pt x="326" y="247"/>
                  <a:pt x="330" y="244"/>
                </a:cubicBezTo>
                <a:cubicBezTo>
                  <a:pt x="333" y="241"/>
                  <a:pt x="333" y="238"/>
                  <a:pt x="331" y="238"/>
                </a:cubicBezTo>
                <a:cubicBezTo>
                  <a:pt x="330" y="237"/>
                  <a:pt x="326" y="239"/>
                  <a:pt x="326" y="240"/>
                </a:cubicBezTo>
                <a:close/>
                <a:moveTo>
                  <a:pt x="927" y="892"/>
                </a:moveTo>
                <a:cubicBezTo>
                  <a:pt x="928" y="886"/>
                  <a:pt x="928" y="886"/>
                  <a:pt x="928" y="886"/>
                </a:cubicBezTo>
                <a:cubicBezTo>
                  <a:pt x="928" y="886"/>
                  <a:pt x="930" y="883"/>
                  <a:pt x="930" y="880"/>
                </a:cubicBezTo>
                <a:cubicBezTo>
                  <a:pt x="930" y="878"/>
                  <a:pt x="925" y="879"/>
                  <a:pt x="923" y="879"/>
                </a:cubicBezTo>
                <a:cubicBezTo>
                  <a:pt x="923" y="879"/>
                  <a:pt x="920" y="881"/>
                  <a:pt x="918" y="880"/>
                </a:cubicBezTo>
                <a:cubicBezTo>
                  <a:pt x="917" y="880"/>
                  <a:pt x="911" y="879"/>
                  <a:pt x="909" y="879"/>
                </a:cubicBezTo>
                <a:cubicBezTo>
                  <a:pt x="907" y="880"/>
                  <a:pt x="909" y="884"/>
                  <a:pt x="909" y="884"/>
                </a:cubicBezTo>
                <a:cubicBezTo>
                  <a:pt x="907" y="885"/>
                  <a:pt x="907" y="885"/>
                  <a:pt x="907" y="885"/>
                </a:cubicBezTo>
                <a:cubicBezTo>
                  <a:pt x="907" y="888"/>
                  <a:pt x="907" y="888"/>
                  <a:pt x="907" y="888"/>
                </a:cubicBezTo>
                <a:cubicBezTo>
                  <a:pt x="910" y="889"/>
                  <a:pt x="910" y="889"/>
                  <a:pt x="910" y="889"/>
                </a:cubicBezTo>
                <a:cubicBezTo>
                  <a:pt x="908" y="891"/>
                  <a:pt x="908" y="891"/>
                  <a:pt x="908" y="891"/>
                </a:cubicBezTo>
                <a:cubicBezTo>
                  <a:pt x="908" y="891"/>
                  <a:pt x="908" y="894"/>
                  <a:pt x="910" y="897"/>
                </a:cubicBezTo>
                <a:cubicBezTo>
                  <a:pt x="911" y="899"/>
                  <a:pt x="915" y="897"/>
                  <a:pt x="917" y="897"/>
                </a:cubicBezTo>
                <a:cubicBezTo>
                  <a:pt x="918" y="897"/>
                  <a:pt x="918" y="896"/>
                  <a:pt x="918" y="896"/>
                </a:cubicBezTo>
                <a:cubicBezTo>
                  <a:pt x="918" y="896"/>
                  <a:pt x="921" y="895"/>
                  <a:pt x="923" y="895"/>
                </a:cubicBezTo>
                <a:cubicBezTo>
                  <a:pt x="925" y="895"/>
                  <a:pt x="927" y="892"/>
                  <a:pt x="927" y="892"/>
                </a:cubicBezTo>
                <a:close/>
                <a:moveTo>
                  <a:pt x="906" y="877"/>
                </a:moveTo>
                <a:cubicBezTo>
                  <a:pt x="903" y="880"/>
                  <a:pt x="903" y="880"/>
                  <a:pt x="903" y="880"/>
                </a:cubicBezTo>
                <a:cubicBezTo>
                  <a:pt x="905" y="881"/>
                  <a:pt x="905" y="881"/>
                  <a:pt x="905" y="881"/>
                </a:cubicBezTo>
                <a:cubicBezTo>
                  <a:pt x="908" y="878"/>
                  <a:pt x="908" y="878"/>
                  <a:pt x="908" y="878"/>
                </a:cubicBezTo>
                <a:cubicBezTo>
                  <a:pt x="906" y="877"/>
                  <a:pt x="906" y="877"/>
                  <a:pt x="906" y="877"/>
                </a:cubicBezTo>
                <a:cubicBezTo>
                  <a:pt x="906" y="877"/>
                  <a:pt x="906" y="877"/>
                  <a:pt x="906" y="877"/>
                </a:cubicBezTo>
                <a:close/>
                <a:moveTo>
                  <a:pt x="914" y="874"/>
                </a:moveTo>
                <a:cubicBezTo>
                  <a:pt x="911" y="875"/>
                  <a:pt x="911" y="875"/>
                  <a:pt x="911" y="875"/>
                </a:cubicBezTo>
                <a:cubicBezTo>
                  <a:pt x="911" y="877"/>
                  <a:pt x="911" y="877"/>
                  <a:pt x="911" y="877"/>
                </a:cubicBezTo>
                <a:cubicBezTo>
                  <a:pt x="915" y="877"/>
                  <a:pt x="915" y="877"/>
                  <a:pt x="915" y="877"/>
                </a:cubicBezTo>
                <a:cubicBezTo>
                  <a:pt x="918" y="874"/>
                  <a:pt x="918" y="874"/>
                  <a:pt x="918" y="874"/>
                </a:cubicBezTo>
                <a:cubicBezTo>
                  <a:pt x="916" y="871"/>
                  <a:pt x="916" y="871"/>
                  <a:pt x="916" y="871"/>
                </a:cubicBezTo>
                <a:cubicBezTo>
                  <a:pt x="914" y="874"/>
                  <a:pt x="914" y="874"/>
                  <a:pt x="914" y="874"/>
                </a:cubicBezTo>
                <a:cubicBezTo>
                  <a:pt x="914" y="874"/>
                  <a:pt x="914" y="874"/>
                  <a:pt x="914" y="874"/>
                </a:cubicBezTo>
                <a:close/>
                <a:moveTo>
                  <a:pt x="921" y="878"/>
                </a:moveTo>
                <a:cubicBezTo>
                  <a:pt x="918" y="875"/>
                  <a:pt x="918" y="875"/>
                  <a:pt x="918" y="875"/>
                </a:cubicBezTo>
                <a:cubicBezTo>
                  <a:pt x="915" y="879"/>
                  <a:pt x="915" y="879"/>
                  <a:pt x="915" y="879"/>
                </a:cubicBezTo>
                <a:cubicBezTo>
                  <a:pt x="918" y="879"/>
                  <a:pt x="918" y="879"/>
                  <a:pt x="918" y="879"/>
                </a:cubicBezTo>
                <a:cubicBezTo>
                  <a:pt x="921" y="878"/>
                  <a:pt x="921" y="878"/>
                  <a:pt x="921" y="878"/>
                </a:cubicBezTo>
                <a:cubicBezTo>
                  <a:pt x="921" y="878"/>
                  <a:pt x="921" y="878"/>
                  <a:pt x="921" y="878"/>
                </a:cubicBezTo>
                <a:close/>
                <a:moveTo>
                  <a:pt x="787" y="1453"/>
                </a:moveTo>
                <a:cubicBezTo>
                  <a:pt x="788" y="1449"/>
                  <a:pt x="788" y="1449"/>
                  <a:pt x="788" y="1449"/>
                </a:cubicBezTo>
                <a:cubicBezTo>
                  <a:pt x="787" y="1444"/>
                  <a:pt x="787" y="1444"/>
                  <a:pt x="787" y="1444"/>
                </a:cubicBezTo>
                <a:cubicBezTo>
                  <a:pt x="785" y="1443"/>
                  <a:pt x="785" y="1443"/>
                  <a:pt x="785" y="1443"/>
                </a:cubicBezTo>
                <a:cubicBezTo>
                  <a:pt x="785" y="1445"/>
                  <a:pt x="785" y="1445"/>
                  <a:pt x="785" y="1445"/>
                </a:cubicBezTo>
                <a:cubicBezTo>
                  <a:pt x="780" y="1445"/>
                  <a:pt x="780" y="1445"/>
                  <a:pt x="780" y="1445"/>
                </a:cubicBezTo>
                <a:cubicBezTo>
                  <a:pt x="784" y="1449"/>
                  <a:pt x="784" y="1449"/>
                  <a:pt x="784" y="1449"/>
                </a:cubicBezTo>
                <a:cubicBezTo>
                  <a:pt x="783" y="1455"/>
                  <a:pt x="783" y="1455"/>
                  <a:pt x="783" y="1455"/>
                </a:cubicBezTo>
                <a:cubicBezTo>
                  <a:pt x="787" y="1453"/>
                  <a:pt x="787" y="1453"/>
                  <a:pt x="787" y="1453"/>
                </a:cubicBezTo>
                <a:cubicBezTo>
                  <a:pt x="787" y="1453"/>
                  <a:pt x="787" y="1453"/>
                  <a:pt x="787" y="1453"/>
                </a:cubicBezTo>
                <a:close/>
                <a:moveTo>
                  <a:pt x="857" y="1493"/>
                </a:moveTo>
                <a:cubicBezTo>
                  <a:pt x="859" y="1492"/>
                  <a:pt x="859" y="1492"/>
                  <a:pt x="859" y="1492"/>
                </a:cubicBezTo>
                <a:cubicBezTo>
                  <a:pt x="853" y="1491"/>
                  <a:pt x="853" y="1491"/>
                  <a:pt x="853" y="1491"/>
                </a:cubicBezTo>
                <a:cubicBezTo>
                  <a:pt x="848" y="1491"/>
                  <a:pt x="848" y="1491"/>
                  <a:pt x="848" y="1491"/>
                </a:cubicBezTo>
                <a:cubicBezTo>
                  <a:pt x="850" y="1496"/>
                  <a:pt x="850" y="1496"/>
                  <a:pt x="850" y="1496"/>
                </a:cubicBezTo>
                <a:cubicBezTo>
                  <a:pt x="855" y="1496"/>
                  <a:pt x="855" y="1496"/>
                  <a:pt x="855" y="1496"/>
                </a:cubicBezTo>
                <a:cubicBezTo>
                  <a:pt x="853" y="1494"/>
                  <a:pt x="853" y="1494"/>
                  <a:pt x="853" y="1494"/>
                </a:cubicBezTo>
                <a:cubicBezTo>
                  <a:pt x="855" y="1494"/>
                  <a:pt x="855" y="1494"/>
                  <a:pt x="855" y="1494"/>
                </a:cubicBezTo>
                <a:cubicBezTo>
                  <a:pt x="856" y="1496"/>
                  <a:pt x="856" y="1496"/>
                  <a:pt x="856" y="1496"/>
                </a:cubicBezTo>
                <a:cubicBezTo>
                  <a:pt x="863" y="1496"/>
                  <a:pt x="863" y="1496"/>
                  <a:pt x="863" y="1496"/>
                </a:cubicBezTo>
                <a:cubicBezTo>
                  <a:pt x="865" y="1498"/>
                  <a:pt x="865" y="1498"/>
                  <a:pt x="865" y="1498"/>
                </a:cubicBezTo>
                <a:cubicBezTo>
                  <a:pt x="867" y="1498"/>
                  <a:pt x="867" y="1498"/>
                  <a:pt x="867" y="1498"/>
                </a:cubicBezTo>
                <a:cubicBezTo>
                  <a:pt x="863" y="1494"/>
                  <a:pt x="863" y="1494"/>
                  <a:pt x="863" y="1494"/>
                </a:cubicBezTo>
                <a:cubicBezTo>
                  <a:pt x="857" y="1493"/>
                  <a:pt x="857" y="1493"/>
                  <a:pt x="857" y="1493"/>
                </a:cubicBezTo>
                <a:cubicBezTo>
                  <a:pt x="857" y="1493"/>
                  <a:pt x="857" y="1493"/>
                  <a:pt x="857" y="1493"/>
                </a:cubicBezTo>
                <a:close/>
                <a:moveTo>
                  <a:pt x="809" y="1462"/>
                </a:moveTo>
                <a:cubicBezTo>
                  <a:pt x="809" y="1462"/>
                  <a:pt x="804" y="1459"/>
                  <a:pt x="803" y="1462"/>
                </a:cubicBezTo>
                <a:cubicBezTo>
                  <a:pt x="802" y="1464"/>
                  <a:pt x="802" y="1467"/>
                  <a:pt x="802" y="1467"/>
                </a:cubicBezTo>
                <a:cubicBezTo>
                  <a:pt x="803" y="1467"/>
                  <a:pt x="807" y="1466"/>
                  <a:pt x="807" y="1466"/>
                </a:cubicBezTo>
                <a:cubicBezTo>
                  <a:pt x="807" y="1469"/>
                  <a:pt x="807" y="1469"/>
                  <a:pt x="807" y="1469"/>
                </a:cubicBezTo>
                <a:cubicBezTo>
                  <a:pt x="812" y="1467"/>
                  <a:pt x="812" y="1467"/>
                  <a:pt x="812" y="1467"/>
                </a:cubicBezTo>
                <a:cubicBezTo>
                  <a:pt x="809" y="1465"/>
                  <a:pt x="809" y="1465"/>
                  <a:pt x="809" y="1465"/>
                </a:cubicBezTo>
                <a:cubicBezTo>
                  <a:pt x="810" y="1462"/>
                  <a:pt x="810" y="1462"/>
                  <a:pt x="810" y="1462"/>
                </a:cubicBezTo>
                <a:cubicBezTo>
                  <a:pt x="809" y="1462"/>
                  <a:pt x="809" y="1462"/>
                  <a:pt x="809" y="1462"/>
                </a:cubicBezTo>
                <a:cubicBezTo>
                  <a:pt x="809" y="1462"/>
                  <a:pt x="809" y="1462"/>
                  <a:pt x="809" y="1462"/>
                </a:cubicBezTo>
                <a:close/>
                <a:moveTo>
                  <a:pt x="836" y="1478"/>
                </a:moveTo>
                <a:cubicBezTo>
                  <a:pt x="834" y="1480"/>
                  <a:pt x="834" y="1480"/>
                  <a:pt x="834" y="1480"/>
                </a:cubicBezTo>
                <a:cubicBezTo>
                  <a:pt x="835" y="1484"/>
                  <a:pt x="835" y="1484"/>
                  <a:pt x="835" y="1484"/>
                </a:cubicBezTo>
                <a:cubicBezTo>
                  <a:pt x="838" y="1483"/>
                  <a:pt x="838" y="1483"/>
                  <a:pt x="838" y="1483"/>
                </a:cubicBezTo>
                <a:cubicBezTo>
                  <a:pt x="836" y="1478"/>
                  <a:pt x="836" y="1478"/>
                  <a:pt x="836" y="1478"/>
                </a:cubicBezTo>
                <a:cubicBezTo>
                  <a:pt x="836" y="1478"/>
                  <a:pt x="836" y="1478"/>
                  <a:pt x="836" y="1478"/>
                </a:cubicBezTo>
                <a:close/>
                <a:moveTo>
                  <a:pt x="836" y="1487"/>
                </a:moveTo>
                <a:cubicBezTo>
                  <a:pt x="827" y="1486"/>
                  <a:pt x="827" y="1486"/>
                  <a:pt x="827" y="1486"/>
                </a:cubicBezTo>
                <a:cubicBezTo>
                  <a:pt x="828" y="1488"/>
                  <a:pt x="828" y="1488"/>
                  <a:pt x="828" y="1488"/>
                </a:cubicBezTo>
                <a:cubicBezTo>
                  <a:pt x="834" y="1488"/>
                  <a:pt x="834" y="1488"/>
                  <a:pt x="834" y="1488"/>
                </a:cubicBezTo>
                <a:cubicBezTo>
                  <a:pt x="836" y="1491"/>
                  <a:pt x="836" y="1491"/>
                  <a:pt x="836" y="1491"/>
                </a:cubicBezTo>
                <a:cubicBezTo>
                  <a:pt x="844" y="1494"/>
                  <a:pt x="844" y="1494"/>
                  <a:pt x="844" y="1494"/>
                </a:cubicBezTo>
                <a:cubicBezTo>
                  <a:pt x="839" y="1490"/>
                  <a:pt x="839" y="1490"/>
                  <a:pt x="839" y="1490"/>
                </a:cubicBezTo>
                <a:cubicBezTo>
                  <a:pt x="836" y="1487"/>
                  <a:pt x="836" y="1487"/>
                  <a:pt x="836" y="1487"/>
                </a:cubicBezTo>
                <a:cubicBezTo>
                  <a:pt x="836" y="1487"/>
                  <a:pt x="836" y="1487"/>
                  <a:pt x="836" y="1487"/>
                </a:cubicBezTo>
                <a:close/>
                <a:moveTo>
                  <a:pt x="832" y="1484"/>
                </a:moveTo>
                <a:cubicBezTo>
                  <a:pt x="831" y="1481"/>
                  <a:pt x="831" y="1481"/>
                  <a:pt x="831" y="1481"/>
                </a:cubicBezTo>
                <a:cubicBezTo>
                  <a:pt x="824" y="1480"/>
                  <a:pt x="824" y="1480"/>
                  <a:pt x="824" y="1480"/>
                </a:cubicBezTo>
                <a:cubicBezTo>
                  <a:pt x="822" y="1482"/>
                  <a:pt x="822" y="1482"/>
                  <a:pt x="822" y="1482"/>
                </a:cubicBezTo>
                <a:cubicBezTo>
                  <a:pt x="823" y="1485"/>
                  <a:pt x="823" y="1485"/>
                  <a:pt x="823" y="1485"/>
                </a:cubicBezTo>
                <a:cubicBezTo>
                  <a:pt x="827" y="1483"/>
                  <a:pt x="827" y="1483"/>
                  <a:pt x="827" y="1483"/>
                </a:cubicBezTo>
                <a:cubicBezTo>
                  <a:pt x="832" y="1484"/>
                  <a:pt x="832" y="1484"/>
                  <a:pt x="832" y="1484"/>
                </a:cubicBezTo>
                <a:cubicBezTo>
                  <a:pt x="832" y="1484"/>
                  <a:pt x="832" y="1484"/>
                  <a:pt x="832" y="1484"/>
                </a:cubicBezTo>
                <a:close/>
                <a:moveTo>
                  <a:pt x="855" y="1473"/>
                </a:moveTo>
                <a:cubicBezTo>
                  <a:pt x="850" y="1473"/>
                  <a:pt x="850" y="1473"/>
                  <a:pt x="850" y="1473"/>
                </a:cubicBezTo>
                <a:cubicBezTo>
                  <a:pt x="851" y="1471"/>
                  <a:pt x="851" y="1471"/>
                  <a:pt x="851" y="1471"/>
                </a:cubicBezTo>
                <a:cubicBezTo>
                  <a:pt x="845" y="1465"/>
                  <a:pt x="845" y="1465"/>
                  <a:pt x="845" y="1465"/>
                </a:cubicBezTo>
                <a:cubicBezTo>
                  <a:pt x="841" y="1467"/>
                  <a:pt x="841" y="1467"/>
                  <a:pt x="841" y="1467"/>
                </a:cubicBezTo>
                <a:cubicBezTo>
                  <a:pt x="839" y="1465"/>
                  <a:pt x="839" y="1465"/>
                  <a:pt x="839" y="1465"/>
                </a:cubicBezTo>
                <a:cubicBezTo>
                  <a:pt x="837" y="1468"/>
                  <a:pt x="837" y="1468"/>
                  <a:pt x="837" y="1468"/>
                </a:cubicBezTo>
                <a:cubicBezTo>
                  <a:pt x="835" y="1468"/>
                  <a:pt x="835" y="1468"/>
                  <a:pt x="835" y="1468"/>
                </a:cubicBezTo>
                <a:cubicBezTo>
                  <a:pt x="835" y="1471"/>
                  <a:pt x="835" y="1471"/>
                  <a:pt x="835" y="1471"/>
                </a:cubicBezTo>
                <a:cubicBezTo>
                  <a:pt x="833" y="1471"/>
                  <a:pt x="833" y="1471"/>
                  <a:pt x="833" y="1471"/>
                </a:cubicBezTo>
                <a:cubicBezTo>
                  <a:pt x="833" y="1475"/>
                  <a:pt x="833" y="1475"/>
                  <a:pt x="833" y="1475"/>
                </a:cubicBezTo>
                <a:cubicBezTo>
                  <a:pt x="836" y="1477"/>
                  <a:pt x="840" y="1473"/>
                  <a:pt x="840" y="1473"/>
                </a:cubicBezTo>
                <a:cubicBezTo>
                  <a:pt x="844" y="1474"/>
                  <a:pt x="844" y="1474"/>
                  <a:pt x="844" y="1474"/>
                </a:cubicBezTo>
                <a:cubicBezTo>
                  <a:pt x="844" y="1477"/>
                  <a:pt x="844" y="1477"/>
                  <a:pt x="844" y="1477"/>
                </a:cubicBezTo>
                <a:cubicBezTo>
                  <a:pt x="844" y="1477"/>
                  <a:pt x="837" y="1480"/>
                  <a:pt x="839" y="1481"/>
                </a:cubicBezTo>
                <a:cubicBezTo>
                  <a:pt x="841" y="1481"/>
                  <a:pt x="853" y="1485"/>
                  <a:pt x="853" y="1485"/>
                </a:cubicBezTo>
                <a:cubicBezTo>
                  <a:pt x="850" y="1488"/>
                  <a:pt x="850" y="1488"/>
                  <a:pt x="850" y="1488"/>
                </a:cubicBezTo>
                <a:cubicBezTo>
                  <a:pt x="850" y="1488"/>
                  <a:pt x="850" y="1485"/>
                  <a:pt x="848" y="1485"/>
                </a:cubicBezTo>
                <a:cubicBezTo>
                  <a:pt x="846" y="1485"/>
                  <a:pt x="845" y="1487"/>
                  <a:pt x="845" y="1487"/>
                </a:cubicBezTo>
                <a:cubicBezTo>
                  <a:pt x="843" y="1484"/>
                  <a:pt x="843" y="1484"/>
                  <a:pt x="843" y="1484"/>
                </a:cubicBezTo>
                <a:cubicBezTo>
                  <a:pt x="840" y="1485"/>
                  <a:pt x="840" y="1485"/>
                  <a:pt x="840" y="1485"/>
                </a:cubicBezTo>
                <a:cubicBezTo>
                  <a:pt x="842" y="1486"/>
                  <a:pt x="842" y="1486"/>
                  <a:pt x="842" y="1486"/>
                </a:cubicBezTo>
                <a:cubicBezTo>
                  <a:pt x="838" y="1486"/>
                  <a:pt x="838" y="1486"/>
                  <a:pt x="838" y="1486"/>
                </a:cubicBezTo>
                <a:cubicBezTo>
                  <a:pt x="838" y="1486"/>
                  <a:pt x="839" y="1489"/>
                  <a:pt x="842" y="1489"/>
                </a:cubicBezTo>
                <a:cubicBezTo>
                  <a:pt x="846" y="1489"/>
                  <a:pt x="848" y="1489"/>
                  <a:pt x="848" y="1489"/>
                </a:cubicBezTo>
                <a:cubicBezTo>
                  <a:pt x="848" y="1489"/>
                  <a:pt x="852" y="1490"/>
                  <a:pt x="854" y="1490"/>
                </a:cubicBezTo>
                <a:cubicBezTo>
                  <a:pt x="856" y="1490"/>
                  <a:pt x="865" y="1490"/>
                  <a:pt x="868" y="1490"/>
                </a:cubicBezTo>
                <a:cubicBezTo>
                  <a:pt x="871" y="1490"/>
                  <a:pt x="876" y="1492"/>
                  <a:pt x="876" y="1492"/>
                </a:cubicBezTo>
                <a:cubicBezTo>
                  <a:pt x="880" y="1490"/>
                  <a:pt x="880" y="1490"/>
                  <a:pt x="880" y="1490"/>
                </a:cubicBezTo>
                <a:cubicBezTo>
                  <a:pt x="882" y="1491"/>
                  <a:pt x="882" y="1491"/>
                  <a:pt x="882" y="1491"/>
                </a:cubicBezTo>
                <a:cubicBezTo>
                  <a:pt x="885" y="1491"/>
                  <a:pt x="885" y="1491"/>
                  <a:pt x="885" y="1491"/>
                </a:cubicBezTo>
                <a:cubicBezTo>
                  <a:pt x="885" y="1487"/>
                  <a:pt x="885" y="1487"/>
                  <a:pt x="885" y="1487"/>
                </a:cubicBezTo>
                <a:cubicBezTo>
                  <a:pt x="885" y="1487"/>
                  <a:pt x="876" y="1487"/>
                  <a:pt x="866" y="1481"/>
                </a:cubicBezTo>
                <a:cubicBezTo>
                  <a:pt x="855" y="1476"/>
                  <a:pt x="855" y="1473"/>
                  <a:pt x="855" y="1473"/>
                </a:cubicBezTo>
                <a:close/>
                <a:moveTo>
                  <a:pt x="862" y="1492"/>
                </a:moveTo>
                <a:cubicBezTo>
                  <a:pt x="865" y="1494"/>
                  <a:pt x="865" y="1494"/>
                  <a:pt x="865" y="1494"/>
                </a:cubicBezTo>
                <a:cubicBezTo>
                  <a:pt x="873" y="1495"/>
                  <a:pt x="873" y="1495"/>
                  <a:pt x="873" y="1495"/>
                </a:cubicBezTo>
                <a:cubicBezTo>
                  <a:pt x="869" y="1491"/>
                  <a:pt x="869" y="1491"/>
                  <a:pt x="869" y="1491"/>
                </a:cubicBezTo>
                <a:cubicBezTo>
                  <a:pt x="862" y="1492"/>
                  <a:pt x="862" y="1492"/>
                  <a:pt x="862" y="1492"/>
                </a:cubicBezTo>
                <a:cubicBezTo>
                  <a:pt x="862" y="1492"/>
                  <a:pt x="862" y="1492"/>
                  <a:pt x="862" y="1492"/>
                </a:cubicBezTo>
                <a:close/>
                <a:moveTo>
                  <a:pt x="898" y="886"/>
                </a:moveTo>
                <a:cubicBezTo>
                  <a:pt x="898" y="889"/>
                  <a:pt x="898" y="889"/>
                  <a:pt x="898" y="889"/>
                </a:cubicBezTo>
                <a:cubicBezTo>
                  <a:pt x="895" y="894"/>
                  <a:pt x="895" y="894"/>
                  <a:pt x="895" y="894"/>
                </a:cubicBezTo>
                <a:cubicBezTo>
                  <a:pt x="900" y="891"/>
                  <a:pt x="900" y="891"/>
                  <a:pt x="900" y="891"/>
                </a:cubicBezTo>
                <a:cubicBezTo>
                  <a:pt x="900" y="891"/>
                  <a:pt x="904" y="885"/>
                  <a:pt x="903" y="884"/>
                </a:cubicBezTo>
                <a:cubicBezTo>
                  <a:pt x="901" y="883"/>
                  <a:pt x="898" y="886"/>
                  <a:pt x="898" y="886"/>
                </a:cubicBezTo>
                <a:close/>
                <a:moveTo>
                  <a:pt x="758" y="1366"/>
                </a:moveTo>
                <a:cubicBezTo>
                  <a:pt x="758" y="1359"/>
                  <a:pt x="758" y="1359"/>
                  <a:pt x="758" y="1359"/>
                </a:cubicBezTo>
                <a:cubicBezTo>
                  <a:pt x="754" y="1355"/>
                  <a:pt x="754" y="1355"/>
                  <a:pt x="754" y="1355"/>
                </a:cubicBezTo>
                <a:cubicBezTo>
                  <a:pt x="756" y="1353"/>
                  <a:pt x="756" y="1353"/>
                  <a:pt x="756" y="1353"/>
                </a:cubicBezTo>
                <a:cubicBezTo>
                  <a:pt x="753" y="1350"/>
                  <a:pt x="753" y="1350"/>
                  <a:pt x="753" y="1350"/>
                </a:cubicBezTo>
                <a:cubicBezTo>
                  <a:pt x="748" y="1348"/>
                  <a:pt x="748" y="1348"/>
                  <a:pt x="748" y="1348"/>
                </a:cubicBezTo>
                <a:cubicBezTo>
                  <a:pt x="748" y="1348"/>
                  <a:pt x="748" y="1355"/>
                  <a:pt x="750" y="1356"/>
                </a:cubicBezTo>
                <a:cubicBezTo>
                  <a:pt x="751" y="1357"/>
                  <a:pt x="753" y="1361"/>
                  <a:pt x="753" y="1361"/>
                </a:cubicBezTo>
                <a:cubicBezTo>
                  <a:pt x="752" y="1364"/>
                  <a:pt x="752" y="1364"/>
                  <a:pt x="752" y="1364"/>
                </a:cubicBezTo>
                <a:cubicBezTo>
                  <a:pt x="758" y="1366"/>
                  <a:pt x="758" y="1366"/>
                  <a:pt x="758" y="1366"/>
                </a:cubicBezTo>
                <a:cubicBezTo>
                  <a:pt x="758" y="1366"/>
                  <a:pt x="758" y="1366"/>
                  <a:pt x="758" y="1366"/>
                </a:cubicBezTo>
                <a:close/>
                <a:moveTo>
                  <a:pt x="768" y="1381"/>
                </a:moveTo>
                <a:cubicBezTo>
                  <a:pt x="768" y="1381"/>
                  <a:pt x="775" y="1377"/>
                  <a:pt x="770" y="1376"/>
                </a:cubicBezTo>
                <a:cubicBezTo>
                  <a:pt x="766" y="1375"/>
                  <a:pt x="766" y="1381"/>
                  <a:pt x="768" y="1381"/>
                </a:cubicBezTo>
                <a:close/>
                <a:moveTo>
                  <a:pt x="1067" y="957"/>
                </a:moveTo>
                <a:cubicBezTo>
                  <a:pt x="1067" y="954"/>
                  <a:pt x="1063" y="949"/>
                  <a:pt x="1063" y="947"/>
                </a:cubicBezTo>
                <a:cubicBezTo>
                  <a:pt x="1063" y="944"/>
                  <a:pt x="1063" y="942"/>
                  <a:pt x="1063" y="940"/>
                </a:cubicBezTo>
                <a:cubicBezTo>
                  <a:pt x="1063" y="938"/>
                  <a:pt x="1059" y="935"/>
                  <a:pt x="1059" y="935"/>
                </a:cubicBezTo>
                <a:cubicBezTo>
                  <a:pt x="1055" y="934"/>
                  <a:pt x="1055" y="934"/>
                  <a:pt x="1055" y="934"/>
                </a:cubicBezTo>
                <a:cubicBezTo>
                  <a:pt x="1048" y="935"/>
                  <a:pt x="1048" y="935"/>
                  <a:pt x="1048" y="935"/>
                </a:cubicBezTo>
                <a:cubicBezTo>
                  <a:pt x="1045" y="933"/>
                  <a:pt x="1045" y="933"/>
                  <a:pt x="1045" y="933"/>
                </a:cubicBezTo>
                <a:cubicBezTo>
                  <a:pt x="1043" y="933"/>
                  <a:pt x="1043" y="933"/>
                  <a:pt x="1043" y="933"/>
                </a:cubicBezTo>
                <a:cubicBezTo>
                  <a:pt x="1040" y="929"/>
                  <a:pt x="1040" y="929"/>
                  <a:pt x="1040" y="929"/>
                </a:cubicBezTo>
                <a:cubicBezTo>
                  <a:pt x="1037" y="929"/>
                  <a:pt x="1037" y="929"/>
                  <a:pt x="1037" y="929"/>
                </a:cubicBezTo>
                <a:cubicBezTo>
                  <a:pt x="1037" y="929"/>
                  <a:pt x="1033" y="925"/>
                  <a:pt x="1030" y="921"/>
                </a:cubicBezTo>
                <a:cubicBezTo>
                  <a:pt x="1026" y="916"/>
                  <a:pt x="1016" y="910"/>
                  <a:pt x="1012" y="909"/>
                </a:cubicBezTo>
                <a:cubicBezTo>
                  <a:pt x="1009" y="909"/>
                  <a:pt x="1002" y="910"/>
                  <a:pt x="1002" y="910"/>
                </a:cubicBezTo>
                <a:cubicBezTo>
                  <a:pt x="1002" y="912"/>
                  <a:pt x="1002" y="912"/>
                  <a:pt x="1002" y="912"/>
                </a:cubicBezTo>
                <a:cubicBezTo>
                  <a:pt x="1002" y="912"/>
                  <a:pt x="999" y="910"/>
                  <a:pt x="998" y="909"/>
                </a:cubicBezTo>
                <a:cubicBezTo>
                  <a:pt x="996" y="908"/>
                  <a:pt x="991" y="908"/>
                  <a:pt x="991" y="908"/>
                </a:cubicBezTo>
                <a:cubicBezTo>
                  <a:pt x="991" y="908"/>
                  <a:pt x="985" y="905"/>
                  <a:pt x="981" y="904"/>
                </a:cubicBezTo>
                <a:cubicBezTo>
                  <a:pt x="977" y="903"/>
                  <a:pt x="973" y="910"/>
                  <a:pt x="973" y="910"/>
                </a:cubicBezTo>
                <a:cubicBezTo>
                  <a:pt x="970" y="908"/>
                  <a:pt x="970" y="908"/>
                  <a:pt x="970" y="908"/>
                </a:cubicBezTo>
                <a:cubicBezTo>
                  <a:pt x="970" y="912"/>
                  <a:pt x="970" y="912"/>
                  <a:pt x="970" y="912"/>
                </a:cubicBezTo>
                <a:cubicBezTo>
                  <a:pt x="966" y="915"/>
                  <a:pt x="966" y="915"/>
                  <a:pt x="966" y="915"/>
                </a:cubicBezTo>
                <a:cubicBezTo>
                  <a:pt x="968" y="906"/>
                  <a:pt x="968" y="906"/>
                  <a:pt x="968" y="906"/>
                </a:cubicBezTo>
                <a:cubicBezTo>
                  <a:pt x="968" y="906"/>
                  <a:pt x="972" y="904"/>
                  <a:pt x="971" y="902"/>
                </a:cubicBezTo>
                <a:cubicBezTo>
                  <a:pt x="969" y="900"/>
                  <a:pt x="967" y="904"/>
                  <a:pt x="967" y="904"/>
                </a:cubicBezTo>
                <a:cubicBezTo>
                  <a:pt x="968" y="899"/>
                  <a:pt x="968" y="899"/>
                  <a:pt x="968" y="899"/>
                </a:cubicBezTo>
                <a:cubicBezTo>
                  <a:pt x="968" y="899"/>
                  <a:pt x="967" y="899"/>
                  <a:pt x="967" y="898"/>
                </a:cubicBezTo>
                <a:cubicBezTo>
                  <a:pt x="967" y="896"/>
                  <a:pt x="963" y="894"/>
                  <a:pt x="963" y="894"/>
                </a:cubicBezTo>
                <a:cubicBezTo>
                  <a:pt x="961" y="897"/>
                  <a:pt x="961" y="897"/>
                  <a:pt x="961" y="897"/>
                </a:cubicBezTo>
                <a:cubicBezTo>
                  <a:pt x="961" y="897"/>
                  <a:pt x="958" y="893"/>
                  <a:pt x="956" y="891"/>
                </a:cubicBezTo>
                <a:cubicBezTo>
                  <a:pt x="954" y="889"/>
                  <a:pt x="948" y="889"/>
                  <a:pt x="948" y="889"/>
                </a:cubicBezTo>
                <a:cubicBezTo>
                  <a:pt x="947" y="888"/>
                  <a:pt x="942" y="884"/>
                  <a:pt x="942" y="884"/>
                </a:cubicBezTo>
                <a:cubicBezTo>
                  <a:pt x="940" y="886"/>
                  <a:pt x="940" y="886"/>
                  <a:pt x="940" y="886"/>
                </a:cubicBezTo>
                <a:cubicBezTo>
                  <a:pt x="940" y="886"/>
                  <a:pt x="936" y="885"/>
                  <a:pt x="934" y="885"/>
                </a:cubicBezTo>
                <a:cubicBezTo>
                  <a:pt x="932" y="885"/>
                  <a:pt x="930" y="892"/>
                  <a:pt x="930" y="892"/>
                </a:cubicBezTo>
                <a:cubicBezTo>
                  <a:pt x="932" y="895"/>
                  <a:pt x="932" y="895"/>
                  <a:pt x="932" y="895"/>
                </a:cubicBezTo>
                <a:cubicBezTo>
                  <a:pt x="932" y="895"/>
                  <a:pt x="929" y="895"/>
                  <a:pt x="927" y="895"/>
                </a:cubicBezTo>
                <a:cubicBezTo>
                  <a:pt x="925" y="895"/>
                  <a:pt x="923" y="900"/>
                  <a:pt x="923" y="900"/>
                </a:cubicBezTo>
                <a:cubicBezTo>
                  <a:pt x="923" y="900"/>
                  <a:pt x="921" y="907"/>
                  <a:pt x="920" y="906"/>
                </a:cubicBezTo>
                <a:cubicBezTo>
                  <a:pt x="918" y="906"/>
                  <a:pt x="922" y="901"/>
                  <a:pt x="921" y="899"/>
                </a:cubicBezTo>
                <a:cubicBezTo>
                  <a:pt x="921" y="896"/>
                  <a:pt x="916" y="901"/>
                  <a:pt x="916" y="901"/>
                </a:cubicBezTo>
                <a:cubicBezTo>
                  <a:pt x="915" y="899"/>
                  <a:pt x="915" y="899"/>
                  <a:pt x="915" y="899"/>
                </a:cubicBezTo>
                <a:cubicBezTo>
                  <a:pt x="915" y="899"/>
                  <a:pt x="911" y="900"/>
                  <a:pt x="908" y="899"/>
                </a:cubicBezTo>
                <a:cubicBezTo>
                  <a:pt x="906" y="898"/>
                  <a:pt x="906" y="895"/>
                  <a:pt x="906" y="893"/>
                </a:cubicBezTo>
                <a:cubicBezTo>
                  <a:pt x="906" y="890"/>
                  <a:pt x="905" y="888"/>
                  <a:pt x="905" y="888"/>
                </a:cubicBezTo>
                <a:cubicBezTo>
                  <a:pt x="904" y="887"/>
                  <a:pt x="901" y="892"/>
                  <a:pt x="901" y="892"/>
                </a:cubicBezTo>
                <a:cubicBezTo>
                  <a:pt x="901" y="892"/>
                  <a:pt x="896" y="895"/>
                  <a:pt x="894" y="896"/>
                </a:cubicBezTo>
                <a:cubicBezTo>
                  <a:pt x="891" y="896"/>
                  <a:pt x="888" y="895"/>
                  <a:pt x="888" y="895"/>
                </a:cubicBezTo>
                <a:cubicBezTo>
                  <a:pt x="894" y="893"/>
                  <a:pt x="894" y="893"/>
                  <a:pt x="894" y="893"/>
                </a:cubicBezTo>
                <a:cubicBezTo>
                  <a:pt x="894" y="893"/>
                  <a:pt x="896" y="891"/>
                  <a:pt x="896" y="890"/>
                </a:cubicBezTo>
                <a:cubicBezTo>
                  <a:pt x="897" y="889"/>
                  <a:pt x="897" y="886"/>
                  <a:pt x="897" y="886"/>
                </a:cubicBezTo>
                <a:cubicBezTo>
                  <a:pt x="897" y="886"/>
                  <a:pt x="899" y="885"/>
                  <a:pt x="900" y="882"/>
                </a:cubicBezTo>
                <a:cubicBezTo>
                  <a:pt x="900" y="880"/>
                  <a:pt x="905" y="876"/>
                  <a:pt x="908" y="874"/>
                </a:cubicBezTo>
                <a:cubicBezTo>
                  <a:pt x="910" y="873"/>
                  <a:pt x="910" y="871"/>
                  <a:pt x="911" y="869"/>
                </a:cubicBezTo>
                <a:cubicBezTo>
                  <a:pt x="912" y="867"/>
                  <a:pt x="916" y="865"/>
                  <a:pt x="916" y="865"/>
                </a:cubicBezTo>
                <a:cubicBezTo>
                  <a:pt x="913" y="864"/>
                  <a:pt x="913" y="864"/>
                  <a:pt x="913" y="864"/>
                </a:cubicBezTo>
                <a:cubicBezTo>
                  <a:pt x="913" y="864"/>
                  <a:pt x="916" y="863"/>
                  <a:pt x="916" y="859"/>
                </a:cubicBezTo>
                <a:cubicBezTo>
                  <a:pt x="916" y="856"/>
                  <a:pt x="910" y="858"/>
                  <a:pt x="908" y="856"/>
                </a:cubicBezTo>
                <a:cubicBezTo>
                  <a:pt x="906" y="853"/>
                  <a:pt x="906" y="849"/>
                  <a:pt x="905" y="841"/>
                </a:cubicBezTo>
                <a:cubicBezTo>
                  <a:pt x="904" y="833"/>
                  <a:pt x="903" y="829"/>
                  <a:pt x="901" y="829"/>
                </a:cubicBezTo>
                <a:cubicBezTo>
                  <a:pt x="899" y="828"/>
                  <a:pt x="900" y="832"/>
                  <a:pt x="900" y="833"/>
                </a:cubicBezTo>
                <a:cubicBezTo>
                  <a:pt x="900" y="834"/>
                  <a:pt x="898" y="833"/>
                  <a:pt x="898" y="832"/>
                </a:cubicBezTo>
                <a:cubicBezTo>
                  <a:pt x="897" y="831"/>
                  <a:pt x="895" y="824"/>
                  <a:pt x="895" y="824"/>
                </a:cubicBezTo>
                <a:cubicBezTo>
                  <a:pt x="891" y="822"/>
                  <a:pt x="891" y="822"/>
                  <a:pt x="891" y="822"/>
                </a:cubicBezTo>
                <a:cubicBezTo>
                  <a:pt x="887" y="816"/>
                  <a:pt x="887" y="816"/>
                  <a:pt x="887" y="816"/>
                </a:cubicBezTo>
                <a:cubicBezTo>
                  <a:pt x="883" y="816"/>
                  <a:pt x="883" y="816"/>
                  <a:pt x="883" y="816"/>
                </a:cubicBezTo>
                <a:cubicBezTo>
                  <a:pt x="883" y="816"/>
                  <a:pt x="878" y="814"/>
                  <a:pt x="876" y="812"/>
                </a:cubicBezTo>
                <a:cubicBezTo>
                  <a:pt x="876" y="812"/>
                  <a:pt x="876" y="812"/>
                  <a:pt x="876" y="812"/>
                </a:cubicBezTo>
                <a:cubicBezTo>
                  <a:pt x="874" y="810"/>
                  <a:pt x="864" y="810"/>
                  <a:pt x="864" y="810"/>
                </a:cubicBezTo>
                <a:cubicBezTo>
                  <a:pt x="864" y="812"/>
                  <a:pt x="864" y="812"/>
                  <a:pt x="864" y="812"/>
                </a:cubicBezTo>
                <a:cubicBezTo>
                  <a:pt x="857" y="811"/>
                  <a:pt x="857" y="811"/>
                  <a:pt x="857" y="811"/>
                </a:cubicBezTo>
                <a:cubicBezTo>
                  <a:pt x="857" y="813"/>
                  <a:pt x="857" y="813"/>
                  <a:pt x="857" y="813"/>
                </a:cubicBezTo>
                <a:cubicBezTo>
                  <a:pt x="849" y="810"/>
                  <a:pt x="849" y="810"/>
                  <a:pt x="849" y="810"/>
                </a:cubicBezTo>
                <a:cubicBezTo>
                  <a:pt x="845" y="811"/>
                  <a:pt x="845" y="811"/>
                  <a:pt x="845" y="811"/>
                </a:cubicBezTo>
                <a:cubicBezTo>
                  <a:pt x="845" y="811"/>
                  <a:pt x="845" y="809"/>
                  <a:pt x="844" y="807"/>
                </a:cubicBezTo>
                <a:cubicBezTo>
                  <a:pt x="844" y="806"/>
                  <a:pt x="841" y="807"/>
                  <a:pt x="841" y="807"/>
                </a:cubicBezTo>
                <a:cubicBezTo>
                  <a:pt x="840" y="804"/>
                  <a:pt x="840" y="804"/>
                  <a:pt x="840" y="804"/>
                </a:cubicBezTo>
                <a:cubicBezTo>
                  <a:pt x="840" y="804"/>
                  <a:pt x="837" y="801"/>
                  <a:pt x="834" y="801"/>
                </a:cubicBezTo>
                <a:cubicBezTo>
                  <a:pt x="831" y="800"/>
                  <a:pt x="830" y="806"/>
                  <a:pt x="830" y="806"/>
                </a:cubicBezTo>
                <a:cubicBezTo>
                  <a:pt x="830" y="806"/>
                  <a:pt x="832" y="797"/>
                  <a:pt x="832" y="796"/>
                </a:cubicBezTo>
                <a:cubicBezTo>
                  <a:pt x="832" y="794"/>
                  <a:pt x="830" y="789"/>
                  <a:pt x="828" y="787"/>
                </a:cubicBezTo>
                <a:cubicBezTo>
                  <a:pt x="827" y="786"/>
                  <a:pt x="819" y="783"/>
                  <a:pt x="819" y="783"/>
                </a:cubicBezTo>
                <a:cubicBezTo>
                  <a:pt x="819" y="783"/>
                  <a:pt x="818" y="781"/>
                  <a:pt x="817" y="780"/>
                </a:cubicBezTo>
                <a:cubicBezTo>
                  <a:pt x="816" y="778"/>
                  <a:pt x="813" y="782"/>
                  <a:pt x="813" y="782"/>
                </a:cubicBezTo>
                <a:cubicBezTo>
                  <a:pt x="813" y="782"/>
                  <a:pt x="811" y="781"/>
                  <a:pt x="809" y="780"/>
                </a:cubicBezTo>
                <a:cubicBezTo>
                  <a:pt x="808" y="780"/>
                  <a:pt x="805" y="783"/>
                  <a:pt x="805" y="783"/>
                </a:cubicBezTo>
                <a:cubicBezTo>
                  <a:pt x="801" y="780"/>
                  <a:pt x="801" y="780"/>
                  <a:pt x="801" y="780"/>
                </a:cubicBezTo>
                <a:cubicBezTo>
                  <a:pt x="801" y="780"/>
                  <a:pt x="806" y="780"/>
                  <a:pt x="807" y="779"/>
                </a:cubicBezTo>
                <a:cubicBezTo>
                  <a:pt x="808" y="777"/>
                  <a:pt x="808" y="775"/>
                  <a:pt x="808" y="775"/>
                </a:cubicBezTo>
                <a:cubicBezTo>
                  <a:pt x="808" y="775"/>
                  <a:pt x="810" y="775"/>
                  <a:pt x="810" y="772"/>
                </a:cubicBezTo>
                <a:cubicBezTo>
                  <a:pt x="811" y="769"/>
                  <a:pt x="805" y="770"/>
                  <a:pt x="805" y="770"/>
                </a:cubicBezTo>
                <a:cubicBezTo>
                  <a:pt x="805" y="770"/>
                  <a:pt x="804" y="767"/>
                  <a:pt x="802" y="767"/>
                </a:cubicBezTo>
                <a:cubicBezTo>
                  <a:pt x="801" y="766"/>
                  <a:pt x="801" y="770"/>
                  <a:pt x="801" y="770"/>
                </a:cubicBezTo>
                <a:cubicBezTo>
                  <a:pt x="801" y="770"/>
                  <a:pt x="800" y="768"/>
                  <a:pt x="800" y="767"/>
                </a:cubicBezTo>
                <a:cubicBezTo>
                  <a:pt x="800" y="765"/>
                  <a:pt x="797" y="766"/>
                  <a:pt x="797" y="766"/>
                </a:cubicBezTo>
                <a:cubicBezTo>
                  <a:pt x="796" y="770"/>
                  <a:pt x="796" y="770"/>
                  <a:pt x="796" y="770"/>
                </a:cubicBezTo>
                <a:cubicBezTo>
                  <a:pt x="796" y="770"/>
                  <a:pt x="795" y="768"/>
                  <a:pt x="794" y="767"/>
                </a:cubicBezTo>
                <a:cubicBezTo>
                  <a:pt x="794" y="766"/>
                  <a:pt x="794" y="763"/>
                  <a:pt x="794" y="763"/>
                </a:cubicBezTo>
                <a:cubicBezTo>
                  <a:pt x="789" y="764"/>
                  <a:pt x="789" y="764"/>
                  <a:pt x="789" y="764"/>
                </a:cubicBezTo>
                <a:cubicBezTo>
                  <a:pt x="789" y="764"/>
                  <a:pt x="793" y="762"/>
                  <a:pt x="793" y="761"/>
                </a:cubicBezTo>
                <a:cubicBezTo>
                  <a:pt x="793" y="760"/>
                  <a:pt x="790" y="760"/>
                  <a:pt x="790" y="759"/>
                </a:cubicBezTo>
                <a:cubicBezTo>
                  <a:pt x="790" y="758"/>
                  <a:pt x="799" y="758"/>
                  <a:pt x="799" y="757"/>
                </a:cubicBezTo>
                <a:cubicBezTo>
                  <a:pt x="800" y="756"/>
                  <a:pt x="781" y="757"/>
                  <a:pt x="781" y="757"/>
                </a:cubicBezTo>
                <a:cubicBezTo>
                  <a:pt x="782" y="759"/>
                  <a:pt x="782" y="759"/>
                  <a:pt x="782" y="759"/>
                </a:cubicBezTo>
                <a:cubicBezTo>
                  <a:pt x="782" y="759"/>
                  <a:pt x="778" y="760"/>
                  <a:pt x="776" y="761"/>
                </a:cubicBezTo>
                <a:cubicBezTo>
                  <a:pt x="774" y="761"/>
                  <a:pt x="769" y="765"/>
                  <a:pt x="769" y="765"/>
                </a:cubicBezTo>
                <a:cubicBezTo>
                  <a:pt x="764" y="765"/>
                  <a:pt x="757" y="758"/>
                  <a:pt x="757" y="758"/>
                </a:cubicBezTo>
                <a:cubicBezTo>
                  <a:pt x="757" y="758"/>
                  <a:pt x="740" y="759"/>
                  <a:pt x="738" y="759"/>
                </a:cubicBezTo>
                <a:cubicBezTo>
                  <a:pt x="736" y="759"/>
                  <a:pt x="736" y="757"/>
                  <a:pt x="736" y="754"/>
                </a:cubicBezTo>
                <a:cubicBezTo>
                  <a:pt x="736" y="751"/>
                  <a:pt x="734" y="749"/>
                  <a:pt x="729" y="748"/>
                </a:cubicBezTo>
                <a:cubicBezTo>
                  <a:pt x="723" y="747"/>
                  <a:pt x="716" y="752"/>
                  <a:pt x="716" y="752"/>
                </a:cubicBezTo>
                <a:cubicBezTo>
                  <a:pt x="716" y="752"/>
                  <a:pt x="710" y="753"/>
                  <a:pt x="707" y="756"/>
                </a:cubicBezTo>
                <a:cubicBezTo>
                  <a:pt x="703" y="759"/>
                  <a:pt x="708" y="764"/>
                  <a:pt x="709" y="768"/>
                </a:cubicBezTo>
                <a:cubicBezTo>
                  <a:pt x="709" y="772"/>
                  <a:pt x="703" y="776"/>
                  <a:pt x="703" y="776"/>
                </a:cubicBezTo>
                <a:cubicBezTo>
                  <a:pt x="704" y="772"/>
                  <a:pt x="704" y="772"/>
                  <a:pt x="704" y="772"/>
                </a:cubicBezTo>
                <a:cubicBezTo>
                  <a:pt x="704" y="772"/>
                  <a:pt x="700" y="771"/>
                  <a:pt x="699" y="769"/>
                </a:cubicBezTo>
                <a:cubicBezTo>
                  <a:pt x="697" y="767"/>
                  <a:pt x="701" y="763"/>
                  <a:pt x="702" y="761"/>
                </a:cubicBezTo>
                <a:cubicBezTo>
                  <a:pt x="704" y="759"/>
                  <a:pt x="703" y="756"/>
                  <a:pt x="703" y="753"/>
                </a:cubicBezTo>
                <a:cubicBezTo>
                  <a:pt x="703" y="751"/>
                  <a:pt x="701" y="748"/>
                  <a:pt x="701" y="748"/>
                </a:cubicBezTo>
                <a:cubicBezTo>
                  <a:pt x="701" y="748"/>
                  <a:pt x="705" y="746"/>
                  <a:pt x="706" y="745"/>
                </a:cubicBezTo>
                <a:cubicBezTo>
                  <a:pt x="707" y="745"/>
                  <a:pt x="710" y="744"/>
                  <a:pt x="710" y="740"/>
                </a:cubicBezTo>
                <a:cubicBezTo>
                  <a:pt x="710" y="736"/>
                  <a:pt x="702" y="739"/>
                  <a:pt x="700" y="739"/>
                </a:cubicBezTo>
                <a:cubicBezTo>
                  <a:pt x="699" y="739"/>
                  <a:pt x="699" y="744"/>
                  <a:pt x="698" y="745"/>
                </a:cubicBezTo>
                <a:cubicBezTo>
                  <a:pt x="696" y="746"/>
                  <a:pt x="694" y="745"/>
                  <a:pt x="692" y="745"/>
                </a:cubicBezTo>
                <a:cubicBezTo>
                  <a:pt x="691" y="745"/>
                  <a:pt x="688" y="750"/>
                  <a:pt x="688" y="750"/>
                </a:cubicBezTo>
                <a:cubicBezTo>
                  <a:pt x="683" y="751"/>
                  <a:pt x="683" y="751"/>
                  <a:pt x="683" y="751"/>
                </a:cubicBezTo>
                <a:cubicBezTo>
                  <a:pt x="683" y="751"/>
                  <a:pt x="681" y="749"/>
                  <a:pt x="680" y="750"/>
                </a:cubicBezTo>
                <a:cubicBezTo>
                  <a:pt x="678" y="751"/>
                  <a:pt x="678" y="754"/>
                  <a:pt x="678" y="754"/>
                </a:cubicBezTo>
                <a:cubicBezTo>
                  <a:pt x="678" y="754"/>
                  <a:pt x="677" y="757"/>
                  <a:pt x="676" y="757"/>
                </a:cubicBezTo>
                <a:cubicBezTo>
                  <a:pt x="675" y="757"/>
                  <a:pt x="676" y="755"/>
                  <a:pt x="676" y="755"/>
                </a:cubicBezTo>
                <a:cubicBezTo>
                  <a:pt x="676" y="755"/>
                  <a:pt x="675" y="754"/>
                  <a:pt x="674" y="754"/>
                </a:cubicBezTo>
                <a:cubicBezTo>
                  <a:pt x="673" y="754"/>
                  <a:pt x="670" y="755"/>
                  <a:pt x="669" y="755"/>
                </a:cubicBezTo>
                <a:cubicBezTo>
                  <a:pt x="668" y="756"/>
                  <a:pt x="665" y="759"/>
                  <a:pt x="664" y="761"/>
                </a:cubicBezTo>
                <a:cubicBezTo>
                  <a:pt x="664" y="762"/>
                  <a:pt x="665" y="764"/>
                  <a:pt x="665" y="764"/>
                </a:cubicBezTo>
                <a:cubicBezTo>
                  <a:pt x="663" y="768"/>
                  <a:pt x="663" y="768"/>
                  <a:pt x="663" y="768"/>
                </a:cubicBezTo>
                <a:cubicBezTo>
                  <a:pt x="664" y="771"/>
                  <a:pt x="664" y="771"/>
                  <a:pt x="664" y="771"/>
                </a:cubicBezTo>
                <a:cubicBezTo>
                  <a:pt x="664" y="771"/>
                  <a:pt x="661" y="772"/>
                  <a:pt x="660" y="772"/>
                </a:cubicBezTo>
                <a:cubicBezTo>
                  <a:pt x="659" y="773"/>
                  <a:pt x="657" y="776"/>
                  <a:pt x="657" y="777"/>
                </a:cubicBezTo>
                <a:cubicBezTo>
                  <a:pt x="656" y="778"/>
                  <a:pt x="653" y="779"/>
                  <a:pt x="653" y="779"/>
                </a:cubicBezTo>
                <a:cubicBezTo>
                  <a:pt x="650" y="780"/>
                  <a:pt x="650" y="780"/>
                  <a:pt x="650" y="780"/>
                </a:cubicBezTo>
                <a:cubicBezTo>
                  <a:pt x="652" y="784"/>
                  <a:pt x="652" y="784"/>
                  <a:pt x="652" y="784"/>
                </a:cubicBezTo>
                <a:cubicBezTo>
                  <a:pt x="652" y="784"/>
                  <a:pt x="652" y="788"/>
                  <a:pt x="651" y="789"/>
                </a:cubicBezTo>
                <a:cubicBezTo>
                  <a:pt x="649" y="789"/>
                  <a:pt x="650" y="787"/>
                  <a:pt x="650" y="785"/>
                </a:cubicBezTo>
                <a:cubicBezTo>
                  <a:pt x="650" y="783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5" y="781"/>
                  <a:pt x="645" y="781"/>
                  <a:pt x="645" y="781"/>
                </a:cubicBezTo>
                <a:cubicBezTo>
                  <a:pt x="642" y="778"/>
                  <a:pt x="642" y="778"/>
                  <a:pt x="642" y="778"/>
                </a:cubicBezTo>
                <a:cubicBezTo>
                  <a:pt x="642" y="778"/>
                  <a:pt x="641" y="774"/>
                  <a:pt x="638" y="772"/>
                </a:cubicBezTo>
                <a:cubicBezTo>
                  <a:pt x="635" y="771"/>
                  <a:pt x="630" y="771"/>
                  <a:pt x="630" y="771"/>
                </a:cubicBezTo>
                <a:cubicBezTo>
                  <a:pt x="630" y="770"/>
                  <a:pt x="630" y="770"/>
                  <a:pt x="630" y="770"/>
                </a:cubicBezTo>
                <a:cubicBezTo>
                  <a:pt x="630" y="770"/>
                  <a:pt x="624" y="769"/>
                  <a:pt x="623" y="770"/>
                </a:cubicBezTo>
                <a:cubicBezTo>
                  <a:pt x="622" y="772"/>
                  <a:pt x="619" y="774"/>
                  <a:pt x="619" y="774"/>
                </a:cubicBezTo>
                <a:cubicBezTo>
                  <a:pt x="619" y="774"/>
                  <a:pt x="617" y="772"/>
                  <a:pt x="615" y="774"/>
                </a:cubicBezTo>
                <a:cubicBezTo>
                  <a:pt x="614" y="775"/>
                  <a:pt x="611" y="779"/>
                  <a:pt x="609" y="779"/>
                </a:cubicBezTo>
                <a:cubicBezTo>
                  <a:pt x="607" y="779"/>
                  <a:pt x="605" y="778"/>
                  <a:pt x="605" y="778"/>
                </a:cubicBezTo>
                <a:cubicBezTo>
                  <a:pt x="603" y="775"/>
                  <a:pt x="603" y="775"/>
                  <a:pt x="603" y="775"/>
                </a:cubicBezTo>
                <a:cubicBezTo>
                  <a:pt x="601" y="777"/>
                  <a:pt x="601" y="777"/>
                  <a:pt x="601" y="777"/>
                </a:cubicBezTo>
                <a:cubicBezTo>
                  <a:pt x="601" y="777"/>
                  <a:pt x="598" y="778"/>
                  <a:pt x="597" y="776"/>
                </a:cubicBezTo>
                <a:cubicBezTo>
                  <a:pt x="596" y="774"/>
                  <a:pt x="598" y="772"/>
                  <a:pt x="596" y="771"/>
                </a:cubicBezTo>
                <a:cubicBezTo>
                  <a:pt x="596" y="770"/>
                  <a:pt x="595" y="770"/>
                  <a:pt x="595" y="770"/>
                </a:cubicBezTo>
                <a:cubicBezTo>
                  <a:pt x="593" y="769"/>
                  <a:pt x="591" y="767"/>
                  <a:pt x="590" y="765"/>
                </a:cubicBezTo>
                <a:cubicBezTo>
                  <a:pt x="589" y="763"/>
                  <a:pt x="587" y="760"/>
                  <a:pt x="587" y="760"/>
                </a:cubicBezTo>
                <a:cubicBezTo>
                  <a:pt x="586" y="757"/>
                  <a:pt x="586" y="757"/>
                  <a:pt x="586" y="757"/>
                </a:cubicBezTo>
                <a:cubicBezTo>
                  <a:pt x="586" y="757"/>
                  <a:pt x="586" y="757"/>
                  <a:pt x="586" y="756"/>
                </a:cubicBezTo>
                <a:cubicBezTo>
                  <a:pt x="586" y="756"/>
                  <a:pt x="586" y="756"/>
                  <a:pt x="586" y="756"/>
                </a:cubicBezTo>
                <a:cubicBezTo>
                  <a:pt x="586" y="756"/>
                  <a:pt x="584" y="753"/>
                  <a:pt x="584" y="750"/>
                </a:cubicBezTo>
                <a:cubicBezTo>
                  <a:pt x="584" y="747"/>
                  <a:pt x="586" y="748"/>
                  <a:pt x="586" y="746"/>
                </a:cubicBezTo>
                <a:cubicBezTo>
                  <a:pt x="586" y="744"/>
                  <a:pt x="585" y="742"/>
                  <a:pt x="585" y="742"/>
                </a:cubicBezTo>
                <a:cubicBezTo>
                  <a:pt x="586" y="735"/>
                  <a:pt x="586" y="735"/>
                  <a:pt x="586" y="735"/>
                </a:cubicBezTo>
                <a:cubicBezTo>
                  <a:pt x="588" y="738"/>
                  <a:pt x="588" y="738"/>
                  <a:pt x="588" y="738"/>
                </a:cubicBezTo>
                <a:cubicBezTo>
                  <a:pt x="589" y="726"/>
                  <a:pt x="589" y="726"/>
                  <a:pt x="589" y="726"/>
                </a:cubicBezTo>
                <a:cubicBezTo>
                  <a:pt x="589" y="726"/>
                  <a:pt x="590" y="721"/>
                  <a:pt x="592" y="719"/>
                </a:cubicBezTo>
                <a:cubicBezTo>
                  <a:pt x="594" y="718"/>
                  <a:pt x="594" y="714"/>
                  <a:pt x="594" y="713"/>
                </a:cubicBezTo>
                <a:cubicBezTo>
                  <a:pt x="593" y="712"/>
                  <a:pt x="592" y="711"/>
                  <a:pt x="592" y="710"/>
                </a:cubicBezTo>
                <a:cubicBezTo>
                  <a:pt x="592" y="710"/>
                  <a:pt x="595" y="710"/>
                  <a:pt x="595" y="708"/>
                </a:cubicBezTo>
                <a:cubicBezTo>
                  <a:pt x="594" y="707"/>
                  <a:pt x="593" y="705"/>
                  <a:pt x="593" y="705"/>
                </a:cubicBezTo>
                <a:cubicBezTo>
                  <a:pt x="589" y="704"/>
                  <a:pt x="589" y="704"/>
                  <a:pt x="589" y="704"/>
                </a:cubicBezTo>
                <a:cubicBezTo>
                  <a:pt x="589" y="704"/>
                  <a:pt x="587" y="703"/>
                  <a:pt x="585" y="701"/>
                </a:cubicBezTo>
                <a:cubicBezTo>
                  <a:pt x="583" y="699"/>
                  <a:pt x="581" y="700"/>
                  <a:pt x="581" y="700"/>
                </a:cubicBezTo>
                <a:cubicBezTo>
                  <a:pt x="581" y="700"/>
                  <a:pt x="581" y="697"/>
                  <a:pt x="578" y="697"/>
                </a:cubicBezTo>
                <a:cubicBezTo>
                  <a:pt x="576" y="697"/>
                  <a:pt x="573" y="699"/>
                  <a:pt x="573" y="699"/>
                </a:cubicBezTo>
                <a:cubicBezTo>
                  <a:pt x="573" y="699"/>
                  <a:pt x="571" y="697"/>
                  <a:pt x="569" y="697"/>
                </a:cubicBezTo>
                <a:cubicBezTo>
                  <a:pt x="568" y="697"/>
                  <a:pt x="564" y="701"/>
                  <a:pt x="564" y="701"/>
                </a:cubicBezTo>
                <a:cubicBezTo>
                  <a:pt x="559" y="700"/>
                  <a:pt x="559" y="700"/>
                  <a:pt x="559" y="700"/>
                </a:cubicBezTo>
                <a:cubicBezTo>
                  <a:pt x="559" y="700"/>
                  <a:pt x="557" y="699"/>
                  <a:pt x="556" y="699"/>
                </a:cubicBezTo>
                <a:cubicBezTo>
                  <a:pt x="555" y="699"/>
                  <a:pt x="552" y="700"/>
                  <a:pt x="552" y="700"/>
                </a:cubicBezTo>
                <a:cubicBezTo>
                  <a:pt x="552" y="700"/>
                  <a:pt x="551" y="697"/>
                  <a:pt x="550" y="697"/>
                </a:cubicBezTo>
                <a:cubicBezTo>
                  <a:pt x="550" y="697"/>
                  <a:pt x="546" y="700"/>
                  <a:pt x="546" y="700"/>
                </a:cubicBezTo>
                <a:cubicBezTo>
                  <a:pt x="544" y="698"/>
                  <a:pt x="544" y="698"/>
                  <a:pt x="544" y="698"/>
                </a:cubicBezTo>
                <a:cubicBezTo>
                  <a:pt x="541" y="700"/>
                  <a:pt x="541" y="700"/>
                  <a:pt x="541" y="700"/>
                </a:cubicBezTo>
                <a:cubicBezTo>
                  <a:pt x="540" y="699"/>
                  <a:pt x="540" y="699"/>
                  <a:pt x="540" y="699"/>
                </a:cubicBezTo>
                <a:cubicBezTo>
                  <a:pt x="542" y="693"/>
                  <a:pt x="542" y="693"/>
                  <a:pt x="542" y="693"/>
                </a:cubicBezTo>
                <a:cubicBezTo>
                  <a:pt x="544" y="694"/>
                  <a:pt x="544" y="694"/>
                  <a:pt x="544" y="694"/>
                </a:cubicBezTo>
                <a:cubicBezTo>
                  <a:pt x="544" y="694"/>
                  <a:pt x="547" y="691"/>
                  <a:pt x="547" y="689"/>
                </a:cubicBezTo>
                <a:cubicBezTo>
                  <a:pt x="547" y="686"/>
                  <a:pt x="546" y="684"/>
                  <a:pt x="547" y="682"/>
                </a:cubicBezTo>
                <a:cubicBezTo>
                  <a:pt x="548" y="680"/>
                  <a:pt x="551" y="675"/>
                  <a:pt x="551" y="674"/>
                </a:cubicBezTo>
                <a:cubicBezTo>
                  <a:pt x="551" y="673"/>
                  <a:pt x="547" y="672"/>
                  <a:pt x="547" y="672"/>
                </a:cubicBezTo>
                <a:cubicBezTo>
                  <a:pt x="549" y="669"/>
                  <a:pt x="549" y="669"/>
                  <a:pt x="549" y="669"/>
                </a:cubicBezTo>
                <a:cubicBezTo>
                  <a:pt x="552" y="666"/>
                  <a:pt x="552" y="666"/>
                  <a:pt x="552" y="666"/>
                </a:cubicBezTo>
                <a:cubicBezTo>
                  <a:pt x="552" y="666"/>
                  <a:pt x="551" y="670"/>
                  <a:pt x="552" y="671"/>
                </a:cubicBezTo>
                <a:cubicBezTo>
                  <a:pt x="553" y="671"/>
                  <a:pt x="554" y="671"/>
                  <a:pt x="554" y="671"/>
                </a:cubicBezTo>
                <a:cubicBezTo>
                  <a:pt x="557" y="662"/>
                  <a:pt x="557" y="662"/>
                  <a:pt x="557" y="662"/>
                </a:cubicBezTo>
                <a:cubicBezTo>
                  <a:pt x="556" y="660"/>
                  <a:pt x="556" y="660"/>
                  <a:pt x="556" y="660"/>
                </a:cubicBezTo>
                <a:cubicBezTo>
                  <a:pt x="559" y="659"/>
                  <a:pt x="559" y="659"/>
                  <a:pt x="559" y="659"/>
                </a:cubicBezTo>
                <a:cubicBezTo>
                  <a:pt x="559" y="658"/>
                  <a:pt x="559" y="658"/>
                  <a:pt x="559" y="658"/>
                </a:cubicBezTo>
                <a:cubicBezTo>
                  <a:pt x="557" y="657"/>
                  <a:pt x="557" y="657"/>
                  <a:pt x="557" y="657"/>
                </a:cubicBezTo>
                <a:cubicBezTo>
                  <a:pt x="559" y="654"/>
                  <a:pt x="559" y="654"/>
                  <a:pt x="559" y="654"/>
                </a:cubicBezTo>
                <a:cubicBezTo>
                  <a:pt x="560" y="651"/>
                  <a:pt x="560" y="651"/>
                  <a:pt x="560" y="651"/>
                </a:cubicBezTo>
                <a:cubicBezTo>
                  <a:pt x="560" y="651"/>
                  <a:pt x="566" y="644"/>
                  <a:pt x="567" y="642"/>
                </a:cubicBezTo>
                <a:cubicBezTo>
                  <a:pt x="568" y="641"/>
                  <a:pt x="570" y="636"/>
                  <a:pt x="567" y="635"/>
                </a:cubicBezTo>
                <a:cubicBezTo>
                  <a:pt x="565" y="635"/>
                  <a:pt x="560" y="636"/>
                  <a:pt x="560" y="636"/>
                </a:cubicBezTo>
                <a:cubicBezTo>
                  <a:pt x="560" y="636"/>
                  <a:pt x="555" y="635"/>
                  <a:pt x="554" y="635"/>
                </a:cubicBezTo>
                <a:cubicBezTo>
                  <a:pt x="553" y="635"/>
                  <a:pt x="547" y="636"/>
                  <a:pt x="544" y="637"/>
                </a:cubicBezTo>
                <a:cubicBezTo>
                  <a:pt x="541" y="638"/>
                  <a:pt x="536" y="637"/>
                  <a:pt x="534" y="638"/>
                </a:cubicBezTo>
                <a:cubicBezTo>
                  <a:pt x="533" y="640"/>
                  <a:pt x="531" y="644"/>
                  <a:pt x="531" y="647"/>
                </a:cubicBezTo>
                <a:cubicBezTo>
                  <a:pt x="530" y="651"/>
                  <a:pt x="530" y="654"/>
                  <a:pt x="530" y="654"/>
                </a:cubicBezTo>
                <a:cubicBezTo>
                  <a:pt x="528" y="655"/>
                  <a:pt x="528" y="655"/>
                  <a:pt x="528" y="655"/>
                </a:cubicBezTo>
                <a:cubicBezTo>
                  <a:pt x="528" y="655"/>
                  <a:pt x="528" y="659"/>
                  <a:pt x="527" y="660"/>
                </a:cubicBezTo>
                <a:cubicBezTo>
                  <a:pt x="526" y="661"/>
                  <a:pt x="521" y="663"/>
                  <a:pt x="520" y="664"/>
                </a:cubicBezTo>
                <a:cubicBezTo>
                  <a:pt x="519" y="666"/>
                  <a:pt x="520" y="670"/>
                  <a:pt x="517" y="671"/>
                </a:cubicBezTo>
                <a:cubicBezTo>
                  <a:pt x="514" y="671"/>
                  <a:pt x="516" y="667"/>
                  <a:pt x="513" y="667"/>
                </a:cubicBezTo>
                <a:cubicBezTo>
                  <a:pt x="509" y="667"/>
                  <a:pt x="504" y="669"/>
                  <a:pt x="500" y="669"/>
                </a:cubicBezTo>
                <a:cubicBezTo>
                  <a:pt x="495" y="669"/>
                  <a:pt x="490" y="674"/>
                  <a:pt x="488" y="673"/>
                </a:cubicBezTo>
                <a:cubicBezTo>
                  <a:pt x="486" y="673"/>
                  <a:pt x="486" y="668"/>
                  <a:pt x="484" y="668"/>
                </a:cubicBezTo>
                <a:cubicBezTo>
                  <a:pt x="481" y="667"/>
                  <a:pt x="476" y="667"/>
                  <a:pt x="476" y="667"/>
                </a:cubicBezTo>
                <a:cubicBezTo>
                  <a:pt x="476" y="667"/>
                  <a:pt x="475" y="663"/>
                  <a:pt x="474" y="662"/>
                </a:cubicBezTo>
                <a:cubicBezTo>
                  <a:pt x="473" y="660"/>
                  <a:pt x="471" y="658"/>
                  <a:pt x="471" y="658"/>
                </a:cubicBezTo>
                <a:cubicBezTo>
                  <a:pt x="471" y="654"/>
                  <a:pt x="471" y="654"/>
                  <a:pt x="471" y="654"/>
                </a:cubicBezTo>
                <a:cubicBezTo>
                  <a:pt x="466" y="645"/>
                  <a:pt x="466" y="645"/>
                  <a:pt x="466" y="645"/>
                </a:cubicBezTo>
                <a:cubicBezTo>
                  <a:pt x="466" y="639"/>
                  <a:pt x="466" y="639"/>
                  <a:pt x="466" y="639"/>
                </a:cubicBezTo>
                <a:cubicBezTo>
                  <a:pt x="463" y="635"/>
                  <a:pt x="463" y="635"/>
                  <a:pt x="463" y="635"/>
                </a:cubicBezTo>
                <a:cubicBezTo>
                  <a:pt x="463" y="623"/>
                  <a:pt x="463" y="623"/>
                  <a:pt x="463" y="623"/>
                </a:cubicBezTo>
                <a:cubicBezTo>
                  <a:pt x="463" y="623"/>
                  <a:pt x="466" y="619"/>
                  <a:pt x="466" y="616"/>
                </a:cubicBezTo>
                <a:cubicBezTo>
                  <a:pt x="466" y="614"/>
                  <a:pt x="467" y="608"/>
                  <a:pt x="467" y="608"/>
                </a:cubicBezTo>
                <a:cubicBezTo>
                  <a:pt x="466" y="602"/>
                  <a:pt x="466" y="602"/>
                  <a:pt x="466" y="602"/>
                </a:cubicBezTo>
                <a:cubicBezTo>
                  <a:pt x="469" y="601"/>
                  <a:pt x="469" y="601"/>
                  <a:pt x="469" y="601"/>
                </a:cubicBezTo>
                <a:cubicBezTo>
                  <a:pt x="469" y="601"/>
                  <a:pt x="469" y="593"/>
                  <a:pt x="471" y="592"/>
                </a:cubicBezTo>
                <a:cubicBezTo>
                  <a:pt x="473" y="592"/>
                  <a:pt x="474" y="594"/>
                  <a:pt x="475" y="592"/>
                </a:cubicBezTo>
                <a:cubicBezTo>
                  <a:pt x="475" y="590"/>
                  <a:pt x="477" y="586"/>
                  <a:pt x="477" y="586"/>
                </a:cubicBezTo>
                <a:cubicBezTo>
                  <a:pt x="475" y="576"/>
                  <a:pt x="475" y="576"/>
                  <a:pt x="475" y="576"/>
                </a:cubicBezTo>
                <a:cubicBezTo>
                  <a:pt x="478" y="574"/>
                  <a:pt x="478" y="574"/>
                  <a:pt x="478" y="574"/>
                </a:cubicBezTo>
                <a:cubicBezTo>
                  <a:pt x="475" y="572"/>
                  <a:pt x="475" y="572"/>
                  <a:pt x="475" y="572"/>
                </a:cubicBezTo>
                <a:cubicBezTo>
                  <a:pt x="475" y="569"/>
                  <a:pt x="475" y="569"/>
                  <a:pt x="475" y="569"/>
                </a:cubicBezTo>
                <a:cubicBezTo>
                  <a:pt x="475" y="569"/>
                  <a:pt x="479" y="572"/>
                  <a:pt x="480" y="569"/>
                </a:cubicBezTo>
                <a:cubicBezTo>
                  <a:pt x="480" y="567"/>
                  <a:pt x="480" y="565"/>
                  <a:pt x="480" y="565"/>
                </a:cubicBezTo>
                <a:cubicBezTo>
                  <a:pt x="483" y="564"/>
                  <a:pt x="483" y="564"/>
                  <a:pt x="483" y="564"/>
                </a:cubicBezTo>
                <a:cubicBezTo>
                  <a:pt x="484" y="560"/>
                  <a:pt x="484" y="560"/>
                  <a:pt x="484" y="560"/>
                </a:cubicBezTo>
                <a:cubicBezTo>
                  <a:pt x="486" y="561"/>
                  <a:pt x="486" y="561"/>
                  <a:pt x="486" y="561"/>
                </a:cubicBezTo>
                <a:cubicBezTo>
                  <a:pt x="489" y="560"/>
                  <a:pt x="489" y="560"/>
                  <a:pt x="489" y="560"/>
                </a:cubicBezTo>
                <a:cubicBezTo>
                  <a:pt x="488" y="557"/>
                  <a:pt x="488" y="557"/>
                  <a:pt x="488" y="557"/>
                </a:cubicBezTo>
                <a:cubicBezTo>
                  <a:pt x="490" y="558"/>
                  <a:pt x="490" y="558"/>
                  <a:pt x="490" y="558"/>
                </a:cubicBezTo>
                <a:cubicBezTo>
                  <a:pt x="490" y="558"/>
                  <a:pt x="491" y="554"/>
                  <a:pt x="492" y="554"/>
                </a:cubicBezTo>
                <a:cubicBezTo>
                  <a:pt x="493" y="555"/>
                  <a:pt x="493" y="558"/>
                  <a:pt x="495" y="557"/>
                </a:cubicBezTo>
                <a:cubicBezTo>
                  <a:pt x="496" y="556"/>
                  <a:pt x="502" y="555"/>
                  <a:pt x="503" y="553"/>
                </a:cubicBezTo>
                <a:cubicBezTo>
                  <a:pt x="505" y="551"/>
                  <a:pt x="508" y="547"/>
                  <a:pt x="508" y="547"/>
                </a:cubicBezTo>
                <a:cubicBezTo>
                  <a:pt x="508" y="547"/>
                  <a:pt x="506" y="542"/>
                  <a:pt x="508" y="542"/>
                </a:cubicBezTo>
                <a:cubicBezTo>
                  <a:pt x="510" y="542"/>
                  <a:pt x="513" y="547"/>
                  <a:pt x="515" y="546"/>
                </a:cubicBezTo>
                <a:cubicBezTo>
                  <a:pt x="518" y="544"/>
                  <a:pt x="519" y="538"/>
                  <a:pt x="520" y="540"/>
                </a:cubicBezTo>
                <a:cubicBezTo>
                  <a:pt x="521" y="541"/>
                  <a:pt x="522" y="542"/>
                  <a:pt x="523" y="542"/>
                </a:cubicBezTo>
                <a:cubicBezTo>
                  <a:pt x="524" y="542"/>
                  <a:pt x="526" y="539"/>
                  <a:pt x="526" y="539"/>
                </a:cubicBezTo>
                <a:cubicBezTo>
                  <a:pt x="526" y="539"/>
                  <a:pt x="530" y="546"/>
                  <a:pt x="533" y="545"/>
                </a:cubicBezTo>
                <a:cubicBezTo>
                  <a:pt x="536" y="545"/>
                  <a:pt x="536" y="538"/>
                  <a:pt x="540" y="542"/>
                </a:cubicBezTo>
                <a:cubicBezTo>
                  <a:pt x="543" y="545"/>
                  <a:pt x="541" y="549"/>
                  <a:pt x="544" y="549"/>
                </a:cubicBezTo>
                <a:cubicBezTo>
                  <a:pt x="546" y="549"/>
                  <a:pt x="549" y="550"/>
                  <a:pt x="549" y="550"/>
                </a:cubicBezTo>
                <a:cubicBezTo>
                  <a:pt x="549" y="550"/>
                  <a:pt x="549" y="547"/>
                  <a:pt x="550" y="548"/>
                </a:cubicBezTo>
                <a:cubicBezTo>
                  <a:pt x="552" y="549"/>
                  <a:pt x="553" y="553"/>
                  <a:pt x="554" y="550"/>
                </a:cubicBezTo>
                <a:cubicBezTo>
                  <a:pt x="555" y="548"/>
                  <a:pt x="554" y="545"/>
                  <a:pt x="554" y="545"/>
                </a:cubicBezTo>
                <a:cubicBezTo>
                  <a:pt x="557" y="546"/>
                  <a:pt x="557" y="546"/>
                  <a:pt x="557" y="546"/>
                </a:cubicBezTo>
                <a:cubicBezTo>
                  <a:pt x="558" y="548"/>
                  <a:pt x="558" y="548"/>
                  <a:pt x="558" y="548"/>
                </a:cubicBezTo>
                <a:cubicBezTo>
                  <a:pt x="560" y="549"/>
                  <a:pt x="560" y="549"/>
                  <a:pt x="560" y="549"/>
                </a:cubicBezTo>
                <a:cubicBezTo>
                  <a:pt x="560" y="551"/>
                  <a:pt x="560" y="551"/>
                  <a:pt x="560" y="551"/>
                </a:cubicBezTo>
                <a:cubicBezTo>
                  <a:pt x="560" y="551"/>
                  <a:pt x="565" y="552"/>
                  <a:pt x="564" y="550"/>
                </a:cubicBezTo>
                <a:cubicBezTo>
                  <a:pt x="563" y="547"/>
                  <a:pt x="560" y="546"/>
                  <a:pt x="560" y="546"/>
                </a:cubicBezTo>
                <a:cubicBezTo>
                  <a:pt x="559" y="544"/>
                  <a:pt x="559" y="544"/>
                  <a:pt x="559" y="544"/>
                </a:cubicBezTo>
                <a:cubicBezTo>
                  <a:pt x="559" y="544"/>
                  <a:pt x="563" y="543"/>
                  <a:pt x="563" y="542"/>
                </a:cubicBezTo>
                <a:cubicBezTo>
                  <a:pt x="562" y="540"/>
                  <a:pt x="562" y="540"/>
                  <a:pt x="560" y="540"/>
                </a:cubicBezTo>
                <a:cubicBezTo>
                  <a:pt x="558" y="540"/>
                  <a:pt x="552" y="541"/>
                  <a:pt x="554" y="538"/>
                </a:cubicBezTo>
                <a:cubicBezTo>
                  <a:pt x="556" y="535"/>
                  <a:pt x="558" y="537"/>
                  <a:pt x="560" y="538"/>
                </a:cubicBezTo>
                <a:cubicBezTo>
                  <a:pt x="563" y="538"/>
                  <a:pt x="564" y="538"/>
                  <a:pt x="566" y="536"/>
                </a:cubicBezTo>
                <a:cubicBezTo>
                  <a:pt x="568" y="535"/>
                  <a:pt x="571" y="535"/>
                  <a:pt x="571" y="535"/>
                </a:cubicBezTo>
                <a:cubicBezTo>
                  <a:pt x="571" y="536"/>
                  <a:pt x="571" y="536"/>
                  <a:pt x="571" y="536"/>
                </a:cubicBezTo>
                <a:cubicBezTo>
                  <a:pt x="571" y="536"/>
                  <a:pt x="577" y="536"/>
                  <a:pt x="577" y="534"/>
                </a:cubicBezTo>
                <a:cubicBezTo>
                  <a:pt x="577" y="533"/>
                  <a:pt x="578" y="530"/>
                  <a:pt x="579" y="531"/>
                </a:cubicBezTo>
                <a:cubicBezTo>
                  <a:pt x="580" y="532"/>
                  <a:pt x="580" y="536"/>
                  <a:pt x="580" y="536"/>
                </a:cubicBezTo>
                <a:cubicBezTo>
                  <a:pt x="580" y="536"/>
                  <a:pt x="587" y="534"/>
                  <a:pt x="589" y="534"/>
                </a:cubicBezTo>
                <a:cubicBezTo>
                  <a:pt x="590" y="534"/>
                  <a:pt x="592" y="536"/>
                  <a:pt x="592" y="536"/>
                </a:cubicBezTo>
                <a:cubicBezTo>
                  <a:pt x="592" y="536"/>
                  <a:pt x="591" y="533"/>
                  <a:pt x="593" y="534"/>
                </a:cubicBezTo>
                <a:cubicBezTo>
                  <a:pt x="595" y="535"/>
                  <a:pt x="595" y="538"/>
                  <a:pt x="595" y="538"/>
                </a:cubicBezTo>
                <a:cubicBezTo>
                  <a:pt x="600" y="537"/>
                  <a:pt x="600" y="537"/>
                  <a:pt x="600" y="537"/>
                </a:cubicBezTo>
                <a:cubicBezTo>
                  <a:pt x="599" y="538"/>
                  <a:pt x="599" y="538"/>
                  <a:pt x="599" y="538"/>
                </a:cubicBezTo>
                <a:cubicBezTo>
                  <a:pt x="599" y="538"/>
                  <a:pt x="599" y="545"/>
                  <a:pt x="603" y="544"/>
                </a:cubicBezTo>
                <a:cubicBezTo>
                  <a:pt x="607" y="543"/>
                  <a:pt x="609" y="538"/>
                  <a:pt x="613" y="539"/>
                </a:cubicBezTo>
                <a:cubicBezTo>
                  <a:pt x="617" y="540"/>
                  <a:pt x="617" y="547"/>
                  <a:pt x="619" y="548"/>
                </a:cubicBezTo>
                <a:cubicBezTo>
                  <a:pt x="621" y="549"/>
                  <a:pt x="625" y="549"/>
                  <a:pt x="625" y="549"/>
                </a:cubicBezTo>
                <a:cubicBezTo>
                  <a:pt x="624" y="555"/>
                  <a:pt x="624" y="555"/>
                  <a:pt x="624" y="555"/>
                </a:cubicBezTo>
                <a:cubicBezTo>
                  <a:pt x="624" y="555"/>
                  <a:pt x="620" y="560"/>
                  <a:pt x="620" y="562"/>
                </a:cubicBezTo>
                <a:cubicBezTo>
                  <a:pt x="621" y="564"/>
                  <a:pt x="623" y="564"/>
                  <a:pt x="623" y="564"/>
                </a:cubicBezTo>
                <a:cubicBezTo>
                  <a:pt x="624" y="566"/>
                  <a:pt x="624" y="566"/>
                  <a:pt x="624" y="566"/>
                </a:cubicBezTo>
                <a:cubicBezTo>
                  <a:pt x="620" y="569"/>
                  <a:pt x="620" y="569"/>
                  <a:pt x="620" y="569"/>
                </a:cubicBezTo>
                <a:cubicBezTo>
                  <a:pt x="623" y="576"/>
                  <a:pt x="623" y="576"/>
                  <a:pt x="623" y="576"/>
                </a:cubicBezTo>
                <a:cubicBezTo>
                  <a:pt x="623" y="576"/>
                  <a:pt x="626" y="572"/>
                  <a:pt x="626" y="573"/>
                </a:cubicBezTo>
                <a:cubicBezTo>
                  <a:pt x="626" y="574"/>
                  <a:pt x="624" y="579"/>
                  <a:pt x="624" y="579"/>
                </a:cubicBezTo>
                <a:cubicBezTo>
                  <a:pt x="626" y="579"/>
                  <a:pt x="626" y="579"/>
                  <a:pt x="626" y="579"/>
                </a:cubicBezTo>
                <a:cubicBezTo>
                  <a:pt x="626" y="586"/>
                  <a:pt x="626" y="586"/>
                  <a:pt x="626" y="586"/>
                </a:cubicBezTo>
                <a:cubicBezTo>
                  <a:pt x="626" y="586"/>
                  <a:pt x="630" y="586"/>
                  <a:pt x="630" y="587"/>
                </a:cubicBezTo>
                <a:cubicBezTo>
                  <a:pt x="630" y="588"/>
                  <a:pt x="629" y="591"/>
                  <a:pt x="629" y="591"/>
                </a:cubicBezTo>
                <a:cubicBezTo>
                  <a:pt x="632" y="595"/>
                  <a:pt x="632" y="595"/>
                  <a:pt x="632" y="595"/>
                </a:cubicBezTo>
                <a:cubicBezTo>
                  <a:pt x="632" y="595"/>
                  <a:pt x="637" y="594"/>
                  <a:pt x="638" y="592"/>
                </a:cubicBezTo>
                <a:cubicBezTo>
                  <a:pt x="638" y="591"/>
                  <a:pt x="639" y="588"/>
                  <a:pt x="639" y="588"/>
                </a:cubicBezTo>
                <a:cubicBezTo>
                  <a:pt x="641" y="588"/>
                  <a:pt x="641" y="588"/>
                  <a:pt x="641" y="588"/>
                </a:cubicBezTo>
                <a:cubicBezTo>
                  <a:pt x="641" y="588"/>
                  <a:pt x="641" y="584"/>
                  <a:pt x="643" y="582"/>
                </a:cubicBezTo>
                <a:cubicBezTo>
                  <a:pt x="644" y="579"/>
                  <a:pt x="645" y="576"/>
                  <a:pt x="644" y="574"/>
                </a:cubicBezTo>
                <a:cubicBezTo>
                  <a:pt x="644" y="572"/>
                  <a:pt x="641" y="565"/>
                  <a:pt x="641" y="563"/>
                </a:cubicBezTo>
                <a:cubicBezTo>
                  <a:pt x="641" y="561"/>
                  <a:pt x="643" y="558"/>
                  <a:pt x="643" y="555"/>
                </a:cubicBezTo>
                <a:cubicBezTo>
                  <a:pt x="643" y="551"/>
                  <a:pt x="639" y="546"/>
                  <a:pt x="639" y="543"/>
                </a:cubicBezTo>
                <a:cubicBezTo>
                  <a:pt x="640" y="540"/>
                  <a:pt x="639" y="532"/>
                  <a:pt x="641" y="529"/>
                </a:cubicBezTo>
                <a:cubicBezTo>
                  <a:pt x="644" y="526"/>
                  <a:pt x="645" y="520"/>
                  <a:pt x="645" y="520"/>
                </a:cubicBezTo>
                <a:cubicBezTo>
                  <a:pt x="647" y="519"/>
                  <a:pt x="647" y="519"/>
                  <a:pt x="647" y="519"/>
                </a:cubicBezTo>
                <a:cubicBezTo>
                  <a:pt x="650" y="517"/>
                  <a:pt x="650" y="517"/>
                  <a:pt x="650" y="517"/>
                </a:cubicBezTo>
                <a:cubicBezTo>
                  <a:pt x="651" y="513"/>
                  <a:pt x="651" y="513"/>
                  <a:pt x="651" y="513"/>
                </a:cubicBezTo>
                <a:cubicBezTo>
                  <a:pt x="653" y="514"/>
                  <a:pt x="653" y="514"/>
                  <a:pt x="653" y="514"/>
                </a:cubicBezTo>
                <a:cubicBezTo>
                  <a:pt x="654" y="511"/>
                  <a:pt x="654" y="511"/>
                  <a:pt x="654" y="511"/>
                </a:cubicBezTo>
                <a:cubicBezTo>
                  <a:pt x="654" y="511"/>
                  <a:pt x="660" y="512"/>
                  <a:pt x="661" y="511"/>
                </a:cubicBezTo>
                <a:cubicBezTo>
                  <a:pt x="662" y="510"/>
                  <a:pt x="661" y="508"/>
                  <a:pt x="661" y="508"/>
                </a:cubicBezTo>
                <a:cubicBezTo>
                  <a:pt x="664" y="508"/>
                  <a:pt x="664" y="508"/>
                  <a:pt x="664" y="508"/>
                </a:cubicBezTo>
                <a:cubicBezTo>
                  <a:pt x="665" y="506"/>
                  <a:pt x="665" y="506"/>
                  <a:pt x="665" y="506"/>
                </a:cubicBezTo>
                <a:cubicBezTo>
                  <a:pt x="667" y="506"/>
                  <a:pt x="667" y="506"/>
                  <a:pt x="667" y="506"/>
                </a:cubicBezTo>
                <a:cubicBezTo>
                  <a:pt x="671" y="502"/>
                  <a:pt x="671" y="502"/>
                  <a:pt x="671" y="502"/>
                </a:cubicBezTo>
                <a:cubicBezTo>
                  <a:pt x="671" y="502"/>
                  <a:pt x="672" y="498"/>
                  <a:pt x="676" y="497"/>
                </a:cubicBezTo>
                <a:cubicBezTo>
                  <a:pt x="680" y="496"/>
                  <a:pt x="682" y="498"/>
                  <a:pt x="684" y="496"/>
                </a:cubicBezTo>
                <a:cubicBezTo>
                  <a:pt x="686" y="494"/>
                  <a:pt x="687" y="491"/>
                  <a:pt x="687" y="491"/>
                </a:cubicBezTo>
                <a:cubicBezTo>
                  <a:pt x="689" y="491"/>
                  <a:pt x="689" y="491"/>
                  <a:pt x="689" y="491"/>
                </a:cubicBezTo>
                <a:cubicBezTo>
                  <a:pt x="690" y="488"/>
                  <a:pt x="690" y="488"/>
                  <a:pt x="690" y="488"/>
                </a:cubicBezTo>
                <a:cubicBezTo>
                  <a:pt x="701" y="487"/>
                  <a:pt x="701" y="487"/>
                  <a:pt x="701" y="487"/>
                </a:cubicBezTo>
                <a:cubicBezTo>
                  <a:pt x="702" y="484"/>
                  <a:pt x="702" y="484"/>
                  <a:pt x="702" y="484"/>
                </a:cubicBezTo>
                <a:cubicBezTo>
                  <a:pt x="697" y="484"/>
                  <a:pt x="697" y="484"/>
                  <a:pt x="697" y="484"/>
                </a:cubicBezTo>
                <a:cubicBezTo>
                  <a:pt x="697" y="484"/>
                  <a:pt x="700" y="483"/>
                  <a:pt x="699" y="482"/>
                </a:cubicBezTo>
                <a:cubicBezTo>
                  <a:pt x="699" y="480"/>
                  <a:pt x="697" y="479"/>
                  <a:pt x="697" y="479"/>
                </a:cubicBezTo>
                <a:cubicBezTo>
                  <a:pt x="702" y="478"/>
                  <a:pt x="702" y="478"/>
                  <a:pt x="702" y="478"/>
                </a:cubicBezTo>
                <a:cubicBezTo>
                  <a:pt x="705" y="479"/>
                  <a:pt x="705" y="479"/>
                  <a:pt x="705" y="479"/>
                </a:cubicBezTo>
                <a:cubicBezTo>
                  <a:pt x="710" y="474"/>
                  <a:pt x="710" y="474"/>
                  <a:pt x="710" y="474"/>
                </a:cubicBezTo>
                <a:cubicBezTo>
                  <a:pt x="702" y="474"/>
                  <a:pt x="702" y="474"/>
                  <a:pt x="702" y="474"/>
                </a:cubicBezTo>
                <a:cubicBezTo>
                  <a:pt x="702" y="470"/>
                  <a:pt x="702" y="470"/>
                  <a:pt x="702" y="470"/>
                </a:cubicBezTo>
                <a:cubicBezTo>
                  <a:pt x="704" y="472"/>
                  <a:pt x="704" y="472"/>
                  <a:pt x="704" y="472"/>
                </a:cubicBezTo>
                <a:cubicBezTo>
                  <a:pt x="710" y="470"/>
                  <a:pt x="710" y="470"/>
                  <a:pt x="710" y="470"/>
                </a:cubicBezTo>
                <a:cubicBezTo>
                  <a:pt x="711" y="462"/>
                  <a:pt x="711" y="462"/>
                  <a:pt x="711" y="462"/>
                </a:cubicBezTo>
                <a:cubicBezTo>
                  <a:pt x="707" y="464"/>
                  <a:pt x="707" y="464"/>
                  <a:pt x="707" y="464"/>
                </a:cubicBezTo>
                <a:cubicBezTo>
                  <a:pt x="706" y="460"/>
                  <a:pt x="706" y="460"/>
                  <a:pt x="706" y="460"/>
                </a:cubicBezTo>
                <a:cubicBezTo>
                  <a:pt x="703" y="457"/>
                  <a:pt x="703" y="457"/>
                  <a:pt x="703" y="457"/>
                </a:cubicBezTo>
                <a:cubicBezTo>
                  <a:pt x="709" y="461"/>
                  <a:pt x="709" y="461"/>
                  <a:pt x="709" y="461"/>
                </a:cubicBezTo>
                <a:cubicBezTo>
                  <a:pt x="710" y="459"/>
                  <a:pt x="710" y="459"/>
                  <a:pt x="710" y="459"/>
                </a:cubicBezTo>
                <a:cubicBezTo>
                  <a:pt x="707" y="457"/>
                  <a:pt x="707" y="457"/>
                  <a:pt x="707" y="457"/>
                </a:cubicBezTo>
                <a:cubicBezTo>
                  <a:pt x="711" y="457"/>
                  <a:pt x="711" y="457"/>
                  <a:pt x="711" y="457"/>
                </a:cubicBezTo>
                <a:cubicBezTo>
                  <a:pt x="711" y="457"/>
                  <a:pt x="707" y="451"/>
                  <a:pt x="707" y="450"/>
                </a:cubicBezTo>
                <a:cubicBezTo>
                  <a:pt x="707" y="448"/>
                  <a:pt x="708" y="448"/>
                  <a:pt x="708" y="448"/>
                </a:cubicBezTo>
                <a:cubicBezTo>
                  <a:pt x="708" y="448"/>
                  <a:pt x="704" y="445"/>
                  <a:pt x="704" y="445"/>
                </a:cubicBezTo>
                <a:cubicBezTo>
                  <a:pt x="705" y="444"/>
                  <a:pt x="709" y="442"/>
                  <a:pt x="709" y="442"/>
                </a:cubicBezTo>
                <a:cubicBezTo>
                  <a:pt x="708" y="445"/>
                  <a:pt x="708" y="445"/>
                  <a:pt x="708" y="445"/>
                </a:cubicBezTo>
                <a:cubicBezTo>
                  <a:pt x="712" y="449"/>
                  <a:pt x="712" y="449"/>
                  <a:pt x="712" y="449"/>
                </a:cubicBezTo>
                <a:cubicBezTo>
                  <a:pt x="712" y="449"/>
                  <a:pt x="714" y="444"/>
                  <a:pt x="714" y="441"/>
                </a:cubicBezTo>
                <a:cubicBezTo>
                  <a:pt x="714" y="438"/>
                  <a:pt x="722" y="432"/>
                  <a:pt x="722" y="434"/>
                </a:cubicBezTo>
                <a:cubicBezTo>
                  <a:pt x="721" y="435"/>
                  <a:pt x="717" y="442"/>
                  <a:pt x="717" y="442"/>
                </a:cubicBezTo>
                <a:cubicBezTo>
                  <a:pt x="715" y="447"/>
                  <a:pt x="715" y="447"/>
                  <a:pt x="715" y="447"/>
                </a:cubicBezTo>
                <a:cubicBezTo>
                  <a:pt x="718" y="447"/>
                  <a:pt x="718" y="447"/>
                  <a:pt x="718" y="447"/>
                </a:cubicBezTo>
                <a:cubicBezTo>
                  <a:pt x="718" y="447"/>
                  <a:pt x="717" y="452"/>
                  <a:pt x="716" y="452"/>
                </a:cubicBezTo>
                <a:cubicBezTo>
                  <a:pt x="715" y="453"/>
                  <a:pt x="712" y="460"/>
                  <a:pt x="713" y="460"/>
                </a:cubicBezTo>
                <a:cubicBezTo>
                  <a:pt x="714" y="460"/>
                  <a:pt x="717" y="455"/>
                  <a:pt x="718" y="454"/>
                </a:cubicBezTo>
                <a:cubicBezTo>
                  <a:pt x="719" y="453"/>
                  <a:pt x="725" y="450"/>
                  <a:pt x="726" y="447"/>
                </a:cubicBezTo>
                <a:cubicBezTo>
                  <a:pt x="726" y="445"/>
                  <a:pt x="725" y="440"/>
                  <a:pt x="725" y="438"/>
                </a:cubicBezTo>
                <a:cubicBezTo>
                  <a:pt x="725" y="436"/>
                  <a:pt x="726" y="430"/>
                  <a:pt x="728" y="429"/>
                </a:cubicBezTo>
                <a:cubicBezTo>
                  <a:pt x="729" y="429"/>
                  <a:pt x="728" y="430"/>
                  <a:pt x="727" y="433"/>
                </a:cubicBezTo>
                <a:cubicBezTo>
                  <a:pt x="727" y="435"/>
                  <a:pt x="729" y="436"/>
                  <a:pt x="729" y="436"/>
                </a:cubicBezTo>
                <a:cubicBezTo>
                  <a:pt x="729" y="436"/>
                  <a:pt x="728" y="441"/>
                  <a:pt x="729" y="441"/>
                </a:cubicBezTo>
                <a:cubicBezTo>
                  <a:pt x="729" y="441"/>
                  <a:pt x="736" y="433"/>
                  <a:pt x="738" y="431"/>
                </a:cubicBezTo>
                <a:cubicBezTo>
                  <a:pt x="740" y="429"/>
                  <a:pt x="745" y="426"/>
                  <a:pt x="744" y="425"/>
                </a:cubicBezTo>
                <a:cubicBezTo>
                  <a:pt x="743" y="424"/>
                  <a:pt x="741" y="425"/>
                  <a:pt x="741" y="423"/>
                </a:cubicBezTo>
                <a:cubicBezTo>
                  <a:pt x="741" y="420"/>
                  <a:pt x="745" y="422"/>
                  <a:pt x="749" y="422"/>
                </a:cubicBezTo>
                <a:cubicBezTo>
                  <a:pt x="754" y="422"/>
                  <a:pt x="763" y="417"/>
                  <a:pt x="763" y="417"/>
                </a:cubicBezTo>
                <a:cubicBezTo>
                  <a:pt x="760" y="416"/>
                  <a:pt x="760" y="416"/>
                  <a:pt x="760" y="416"/>
                </a:cubicBezTo>
                <a:cubicBezTo>
                  <a:pt x="760" y="416"/>
                  <a:pt x="755" y="418"/>
                  <a:pt x="753" y="418"/>
                </a:cubicBezTo>
                <a:cubicBezTo>
                  <a:pt x="750" y="418"/>
                  <a:pt x="746" y="420"/>
                  <a:pt x="747" y="417"/>
                </a:cubicBezTo>
                <a:cubicBezTo>
                  <a:pt x="748" y="415"/>
                  <a:pt x="755" y="414"/>
                  <a:pt x="755" y="414"/>
                </a:cubicBezTo>
                <a:cubicBezTo>
                  <a:pt x="767" y="414"/>
                  <a:pt x="767" y="414"/>
                  <a:pt x="767" y="414"/>
                </a:cubicBezTo>
                <a:cubicBezTo>
                  <a:pt x="773" y="408"/>
                  <a:pt x="773" y="408"/>
                  <a:pt x="773" y="408"/>
                </a:cubicBezTo>
                <a:cubicBezTo>
                  <a:pt x="775" y="410"/>
                  <a:pt x="775" y="410"/>
                  <a:pt x="775" y="410"/>
                </a:cubicBezTo>
                <a:cubicBezTo>
                  <a:pt x="778" y="408"/>
                  <a:pt x="778" y="408"/>
                  <a:pt x="778" y="408"/>
                </a:cubicBezTo>
                <a:cubicBezTo>
                  <a:pt x="778" y="413"/>
                  <a:pt x="778" y="413"/>
                  <a:pt x="778" y="413"/>
                </a:cubicBezTo>
                <a:cubicBezTo>
                  <a:pt x="782" y="410"/>
                  <a:pt x="782" y="410"/>
                  <a:pt x="782" y="410"/>
                </a:cubicBezTo>
                <a:cubicBezTo>
                  <a:pt x="786" y="410"/>
                  <a:pt x="786" y="410"/>
                  <a:pt x="786" y="410"/>
                </a:cubicBezTo>
                <a:cubicBezTo>
                  <a:pt x="787" y="405"/>
                  <a:pt x="787" y="405"/>
                  <a:pt x="787" y="405"/>
                </a:cubicBezTo>
                <a:cubicBezTo>
                  <a:pt x="785" y="403"/>
                  <a:pt x="785" y="403"/>
                  <a:pt x="785" y="403"/>
                </a:cubicBezTo>
                <a:cubicBezTo>
                  <a:pt x="784" y="407"/>
                  <a:pt x="784" y="407"/>
                  <a:pt x="784" y="407"/>
                </a:cubicBezTo>
                <a:cubicBezTo>
                  <a:pt x="781" y="408"/>
                  <a:pt x="781" y="408"/>
                  <a:pt x="781" y="408"/>
                </a:cubicBezTo>
                <a:cubicBezTo>
                  <a:pt x="781" y="404"/>
                  <a:pt x="781" y="404"/>
                  <a:pt x="781" y="404"/>
                </a:cubicBezTo>
                <a:cubicBezTo>
                  <a:pt x="778" y="401"/>
                  <a:pt x="778" y="401"/>
                  <a:pt x="778" y="401"/>
                </a:cubicBezTo>
                <a:cubicBezTo>
                  <a:pt x="782" y="399"/>
                  <a:pt x="782" y="399"/>
                  <a:pt x="782" y="399"/>
                </a:cubicBezTo>
                <a:cubicBezTo>
                  <a:pt x="782" y="395"/>
                  <a:pt x="782" y="395"/>
                  <a:pt x="782" y="395"/>
                </a:cubicBezTo>
                <a:cubicBezTo>
                  <a:pt x="782" y="395"/>
                  <a:pt x="786" y="391"/>
                  <a:pt x="788" y="390"/>
                </a:cubicBezTo>
                <a:cubicBezTo>
                  <a:pt x="790" y="389"/>
                  <a:pt x="791" y="385"/>
                  <a:pt x="791" y="385"/>
                </a:cubicBezTo>
                <a:cubicBezTo>
                  <a:pt x="795" y="386"/>
                  <a:pt x="795" y="386"/>
                  <a:pt x="795" y="386"/>
                </a:cubicBezTo>
                <a:cubicBezTo>
                  <a:pt x="797" y="383"/>
                  <a:pt x="797" y="383"/>
                  <a:pt x="797" y="383"/>
                </a:cubicBezTo>
                <a:cubicBezTo>
                  <a:pt x="797" y="383"/>
                  <a:pt x="798" y="385"/>
                  <a:pt x="799" y="384"/>
                </a:cubicBezTo>
                <a:cubicBezTo>
                  <a:pt x="801" y="383"/>
                  <a:pt x="807" y="378"/>
                  <a:pt x="807" y="378"/>
                </a:cubicBezTo>
                <a:cubicBezTo>
                  <a:pt x="807" y="382"/>
                  <a:pt x="807" y="382"/>
                  <a:pt x="807" y="382"/>
                </a:cubicBezTo>
                <a:cubicBezTo>
                  <a:pt x="807" y="382"/>
                  <a:pt x="814" y="378"/>
                  <a:pt x="816" y="377"/>
                </a:cubicBezTo>
                <a:cubicBezTo>
                  <a:pt x="817" y="375"/>
                  <a:pt x="824" y="375"/>
                  <a:pt x="824" y="375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4" y="371"/>
                  <a:pt x="824" y="371"/>
                  <a:pt x="824" y="371"/>
                </a:cubicBezTo>
                <a:cubicBezTo>
                  <a:pt x="825" y="371"/>
                  <a:pt x="827" y="372"/>
                  <a:pt x="830" y="371"/>
                </a:cubicBezTo>
                <a:cubicBezTo>
                  <a:pt x="833" y="370"/>
                  <a:pt x="835" y="366"/>
                  <a:pt x="835" y="366"/>
                </a:cubicBezTo>
                <a:cubicBezTo>
                  <a:pt x="837" y="369"/>
                  <a:pt x="837" y="369"/>
                  <a:pt x="837" y="369"/>
                </a:cubicBezTo>
                <a:cubicBezTo>
                  <a:pt x="837" y="369"/>
                  <a:pt x="843" y="366"/>
                  <a:pt x="844" y="366"/>
                </a:cubicBezTo>
                <a:cubicBezTo>
                  <a:pt x="845" y="365"/>
                  <a:pt x="850" y="364"/>
                  <a:pt x="850" y="364"/>
                </a:cubicBezTo>
                <a:cubicBezTo>
                  <a:pt x="852" y="364"/>
                  <a:pt x="852" y="364"/>
                  <a:pt x="852" y="364"/>
                </a:cubicBezTo>
                <a:cubicBezTo>
                  <a:pt x="846" y="369"/>
                  <a:pt x="846" y="369"/>
                  <a:pt x="846" y="369"/>
                </a:cubicBezTo>
                <a:cubicBezTo>
                  <a:pt x="859" y="367"/>
                  <a:pt x="859" y="367"/>
                  <a:pt x="859" y="367"/>
                </a:cubicBezTo>
                <a:cubicBezTo>
                  <a:pt x="859" y="367"/>
                  <a:pt x="853" y="368"/>
                  <a:pt x="852" y="369"/>
                </a:cubicBezTo>
                <a:cubicBezTo>
                  <a:pt x="852" y="370"/>
                  <a:pt x="851" y="372"/>
                  <a:pt x="851" y="372"/>
                </a:cubicBezTo>
                <a:cubicBezTo>
                  <a:pt x="851" y="372"/>
                  <a:pt x="847" y="370"/>
                  <a:pt x="846" y="370"/>
                </a:cubicBezTo>
                <a:cubicBezTo>
                  <a:pt x="844" y="371"/>
                  <a:pt x="830" y="378"/>
                  <a:pt x="830" y="380"/>
                </a:cubicBezTo>
                <a:cubicBezTo>
                  <a:pt x="829" y="381"/>
                  <a:pt x="828" y="386"/>
                  <a:pt x="829" y="387"/>
                </a:cubicBezTo>
                <a:cubicBezTo>
                  <a:pt x="830" y="387"/>
                  <a:pt x="831" y="386"/>
                  <a:pt x="831" y="386"/>
                </a:cubicBezTo>
                <a:cubicBezTo>
                  <a:pt x="831" y="386"/>
                  <a:pt x="831" y="389"/>
                  <a:pt x="833" y="388"/>
                </a:cubicBezTo>
                <a:cubicBezTo>
                  <a:pt x="835" y="388"/>
                  <a:pt x="836" y="385"/>
                  <a:pt x="836" y="385"/>
                </a:cubicBezTo>
                <a:cubicBezTo>
                  <a:pt x="836" y="385"/>
                  <a:pt x="841" y="385"/>
                  <a:pt x="844" y="382"/>
                </a:cubicBezTo>
                <a:cubicBezTo>
                  <a:pt x="847" y="380"/>
                  <a:pt x="850" y="375"/>
                  <a:pt x="850" y="375"/>
                </a:cubicBezTo>
                <a:cubicBezTo>
                  <a:pt x="850" y="375"/>
                  <a:pt x="850" y="379"/>
                  <a:pt x="853" y="378"/>
                </a:cubicBezTo>
                <a:cubicBezTo>
                  <a:pt x="856" y="377"/>
                  <a:pt x="863" y="374"/>
                  <a:pt x="866" y="374"/>
                </a:cubicBezTo>
                <a:cubicBezTo>
                  <a:pt x="868" y="373"/>
                  <a:pt x="879" y="370"/>
                  <a:pt x="879" y="370"/>
                </a:cubicBezTo>
                <a:cubicBezTo>
                  <a:pt x="877" y="368"/>
                  <a:pt x="877" y="368"/>
                  <a:pt x="877" y="368"/>
                </a:cubicBezTo>
                <a:cubicBezTo>
                  <a:pt x="878" y="365"/>
                  <a:pt x="878" y="365"/>
                  <a:pt x="878" y="365"/>
                </a:cubicBezTo>
                <a:cubicBezTo>
                  <a:pt x="873" y="366"/>
                  <a:pt x="873" y="366"/>
                  <a:pt x="873" y="366"/>
                </a:cubicBezTo>
                <a:cubicBezTo>
                  <a:pt x="873" y="363"/>
                  <a:pt x="873" y="363"/>
                  <a:pt x="873" y="363"/>
                </a:cubicBezTo>
                <a:cubicBezTo>
                  <a:pt x="873" y="363"/>
                  <a:pt x="868" y="366"/>
                  <a:pt x="867" y="366"/>
                </a:cubicBezTo>
                <a:cubicBezTo>
                  <a:pt x="866" y="365"/>
                  <a:pt x="866" y="364"/>
                  <a:pt x="866" y="364"/>
                </a:cubicBezTo>
                <a:cubicBezTo>
                  <a:pt x="866" y="364"/>
                  <a:pt x="859" y="364"/>
                  <a:pt x="858" y="363"/>
                </a:cubicBezTo>
                <a:cubicBezTo>
                  <a:pt x="857" y="362"/>
                  <a:pt x="855" y="360"/>
                  <a:pt x="857" y="360"/>
                </a:cubicBezTo>
                <a:cubicBezTo>
                  <a:pt x="859" y="360"/>
                  <a:pt x="856" y="357"/>
                  <a:pt x="854" y="358"/>
                </a:cubicBezTo>
                <a:cubicBezTo>
                  <a:pt x="852" y="359"/>
                  <a:pt x="851" y="355"/>
                  <a:pt x="851" y="353"/>
                </a:cubicBezTo>
                <a:cubicBezTo>
                  <a:pt x="851" y="352"/>
                  <a:pt x="853" y="350"/>
                  <a:pt x="853" y="350"/>
                </a:cubicBezTo>
                <a:cubicBezTo>
                  <a:pt x="850" y="350"/>
                  <a:pt x="850" y="350"/>
                  <a:pt x="850" y="350"/>
                </a:cubicBezTo>
                <a:cubicBezTo>
                  <a:pt x="850" y="350"/>
                  <a:pt x="854" y="346"/>
                  <a:pt x="855" y="345"/>
                </a:cubicBezTo>
                <a:cubicBezTo>
                  <a:pt x="857" y="343"/>
                  <a:pt x="861" y="339"/>
                  <a:pt x="861" y="339"/>
                </a:cubicBezTo>
                <a:cubicBezTo>
                  <a:pt x="859" y="338"/>
                  <a:pt x="859" y="338"/>
                  <a:pt x="859" y="338"/>
                </a:cubicBezTo>
                <a:cubicBezTo>
                  <a:pt x="856" y="342"/>
                  <a:pt x="856" y="342"/>
                  <a:pt x="856" y="342"/>
                </a:cubicBezTo>
                <a:cubicBezTo>
                  <a:pt x="853" y="341"/>
                  <a:pt x="853" y="341"/>
                  <a:pt x="853" y="341"/>
                </a:cubicBezTo>
                <a:cubicBezTo>
                  <a:pt x="849" y="343"/>
                  <a:pt x="849" y="343"/>
                  <a:pt x="849" y="343"/>
                </a:cubicBezTo>
                <a:cubicBezTo>
                  <a:pt x="848" y="341"/>
                  <a:pt x="848" y="341"/>
                  <a:pt x="848" y="341"/>
                </a:cubicBezTo>
                <a:cubicBezTo>
                  <a:pt x="844" y="339"/>
                  <a:pt x="844" y="339"/>
                  <a:pt x="844" y="339"/>
                </a:cubicBezTo>
                <a:cubicBezTo>
                  <a:pt x="841" y="340"/>
                  <a:pt x="841" y="340"/>
                  <a:pt x="841" y="340"/>
                </a:cubicBezTo>
                <a:cubicBezTo>
                  <a:pt x="849" y="337"/>
                  <a:pt x="849" y="337"/>
                  <a:pt x="849" y="337"/>
                </a:cubicBezTo>
                <a:cubicBezTo>
                  <a:pt x="849" y="337"/>
                  <a:pt x="850" y="339"/>
                  <a:pt x="852" y="339"/>
                </a:cubicBezTo>
                <a:cubicBezTo>
                  <a:pt x="854" y="339"/>
                  <a:pt x="859" y="335"/>
                  <a:pt x="859" y="335"/>
                </a:cubicBezTo>
                <a:cubicBezTo>
                  <a:pt x="859" y="335"/>
                  <a:pt x="864" y="336"/>
                  <a:pt x="865" y="334"/>
                </a:cubicBezTo>
                <a:cubicBezTo>
                  <a:pt x="865" y="333"/>
                  <a:pt x="863" y="331"/>
                  <a:pt x="863" y="331"/>
                </a:cubicBezTo>
                <a:cubicBezTo>
                  <a:pt x="867" y="330"/>
                  <a:pt x="867" y="330"/>
                  <a:pt x="867" y="330"/>
                </a:cubicBezTo>
                <a:cubicBezTo>
                  <a:pt x="867" y="330"/>
                  <a:pt x="865" y="326"/>
                  <a:pt x="856" y="326"/>
                </a:cubicBezTo>
                <a:cubicBezTo>
                  <a:pt x="847" y="326"/>
                  <a:pt x="837" y="330"/>
                  <a:pt x="832" y="331"/>
                </a:cubicBezTo>
                <a:cubicBezTo>
                  <a:pt x="827" y="332"/>
                  <a:pt x="819" y="337"/>
                  <a:pt x="818" y="338"/>
                </a:cubicBezTo>
                <a:cubicBezTo>
                  <a:pt x="816" y="339"/>
                  <a:pt x="808" y="346"/>
                  <a:pt x="805" y="348"/>
                </a:cubicBezTo>
                <a:cubicBezTo>
                  <a:pt x="803" y="350"/>
                  <a:pt x="796" y="351"/>
                  <a:pt x="796" y="351"/>
                </a:cubicBezTo>
                <a:cubicBezTo>
                  <a:pt x="796" y="351"/>
                  <a:pt x="806" y="345"/>
                  <a:pt x="808" y="343"/>
                </a:cubicBezTo>
                <a:cubicBezTo>
                  <a:pt x="810" y="341"/>
                  <a:pt x="813" y="338"/>
                  <a:pt x="813" y="338"/>
                </a:cubicBezTo>
                <a:cubicBezTo>
                  <a:pt x="810" y="336"/>
                  <a:pt x="810" y="336"/>
                  <a:pt x="810" y="336"/>
                </a:cubicBezTo>
                <a:cubicBezTo>
                  <a:pt x="810" y="336"/>
                  <a:pt x="814" y="338"/>
                  <a:pt x="815" y="337"/>
                </a:cubicBezTo>
                <a:cubicBezTo>
                  <a:pt x="816" y="336"/>
                  <a:pt x="827" y="329"/>
                  <a:pt x="829" y="327"/>
                </a:cubicBezTo>
                <a:cubicBezTo>
                  <a:pt x="832" y="325"/>
                  <a:pt x="840" y="324"/>
                  <a:pt x="840" y="324"/>
                </a:cubicBezTo>
                <a:cubicBezTo>
                  <a:pt x="841" y="325"/>
                  <a:pt x="846" y="317"/>
                  <a:pt x="852" y="316"/>
                </a:cubicBezTo>
                <a:cubicBezTo>
                  <a:pt x="858" y="315"/>
                  <a:pt x="874" y="314"/>
                  <a:pt x="878" y="314"/>
                </a:cubicBezTo>
                <a:cubicBezTo>
                  <a:pt x="881" y="314"/>
                  <a:pt x="893" y="318"/>
                  <a:pt x="895" y="317"/>
                </a:cubicBezTo>
                <a:cubicBezTo>
                  <a:pt x="898" y="317"/>
                  <a:pt x="902" y="314"/>
                  <a:pt x="904" y="314"/>
                </a:cubicBezTo>
                <a:cubicBezTo>
                  <a:pt x="906" y="314"/>
                  <a:pt x="913" y="313"/>
                  <a:pt x="915" y="311"/>
                </a:cubicBezTo>
                <a:cubicBezTo>
                  <a:pt x="918" y="309"/>
                  <a:pt x="923" y="304"/>
                  <a:pt x="925" y="303"/>
                </a:cubicBezTo>
                <a:cubicBezTo>
                  <a:pt x="927" y="303"/>
                  <a:pt x="931" y="303"/>
                  <a:pt x="931" y="303"/>
                </a:cubicBezTo>
                <a:cubicBezTo>
                  <a:pt x="931" y="303"/>
                  <a:pt x="934" y="301"/>
                  <a:pt x="936" y="301"/>
                </a:cubicBezTo>
                <a:cubicBezTo>
                  <a:pt x="938" y="301"/>
                  <a:pt x="938" y="302"/>
                  <a:pt x="941" y="300"/>
                </a:cubicBezTo>
                <a:cubicBezTo>
                  <a:pt x="941" y="300"/>
                  <a:pt x="955" y="297"/>
                  <a:pt x="954" y="294"/>
                </a:cubicBezTo>
                <a:cubicBezTo>
                  <a:pt x="953" y="292"/>
                  <a:pt x="949" y="290"/>
                  <a:pt x="949" y="290"/>
                </a:cubicBezTo>
                <a:cubicBezTo>
                  <a:pt x="949" y="290"/>
                  <a:pt x="954" y="290"/>
                  <a:pt x="954" y="288"/>
                </a:cubicBezTo>
                <a:cubicBezTo>
                  <a:pt x="954" y="286"/>
                  <a:pt x="953" y="284"/>
                  <a:pt x="953" y="284"/>
                </a:cubicBezTo>
                <a:cubicBezTo>
                  <a:pt x="953" y="284"/>
                  <a:pt x="959" y="285"/>
                  <a:pt x="957" y="281"/>
                </a:cubicBezTo>
                <a:cubicBezTo>
                  <a:pt x="956" y="278"/>
                  <a:pt x="951" y="276"/>
                  <a:pt x="950" y="277"/>
                </a:cubicBezTo>
                <a:cubicBezTo>
                  <a:pt x="948" y="279"/>
                  <a:pt x="949" y="282"/>
                  <a:pt x="945" y="280"/>
                </a:cubicBezTo>
                <a:cubicBezTo>
                  <a:pt x="942" y="278"/>
                  <a:pt x="947" y="276"/>
                  <a:pt x="947" y="276"/>
                </a:cubicBezTo>
                <a:cubicBezTo>
                  <a:pt x="947" y="273"/>
                  <a:pt x="947" y="273"/>
                  <a:pt x="947" y="273"/>
                </a:cubicBezTo>
                <a:cubicBezTo>
                  <a:pt x="943" y="272"/>
                  <a:pt x="943" y="272"/>
                  <a:pt x="943" y="272"/>
                </a:cubicBezTo>
                <a:cubicBezTo>
                  <a:pt x="943" y="272"/>
                  <a:pt x="933" y="276"/>
                  <a:pt x="932" y="277"/>
                </a:cubicBezTo>
                <a:cubicBezTo>
                  <a:pt x="932" y="278"/>
                  <a:pt x="924" y="279"/>
                  <a:pt x="924" y="279"/>
                </a:cubicBezTo>
                <a:cubicBezTo>
                  <a:pt x="920" y="282"/>
                  <a:pt x="920" y="282"/>
                  <a:pt x="920" y="282"/>
                </a:cubicBezTo>
                <a:cubicBezTo>
                  <a:pt x="921" y="279"/>
                  <a:pt x="921" y="279"/>
                  <a:pt x="921" y="279"/>
                </a:cubicBezTo>
                <a:cubicBezTo>
                  <a:pt x="918" y="276"/>
                  <a:pt x="918" y="276"/>
                  <a:pt x="918" y="276"/>
                </a:cubicBezTo>
                <a:cubicBezTo>
                  <a:pt x="923" y="278"/>
                  <a:pt x="923" y="278"/>
                  <a:pt x="923" y="278"/>
                </a:cubicBezTo>
                <a:cubicBezTo>
                  <a:pt x="925" y="276"/>
                  <a:pt x="925" y="276"/>
                  <a:pt x="925" y="276"/>
                </a:cubicBezTo>
                <a:cubicBezTo>
                  <a:pt x="929" y="276"/>
                  <a:pt x="929" y="276"/>
                  <a:pt x="929" y="276"/>
                </a:cubicBezTo>
                <a:cubicBezTo>
                  <a:pt x="929" y="273"/>
                  <a:pt x="929" y="273"/>
                  <a:pt x="929" y="273"/>
                </a:cubicBezTo>
                <a:cubicBezTo>
                  <a:pt x="929" y="273"/>
                  <a:pt x="934" y="274"/>
                  <a:pt x="936" y="273"/>
                </a:cubicBezTo>
                <a:cubicBezTo>
                  <a:pt x="939" y="271"/>
                  <a:pt x="942" y="270"/>
                  <a:pt x="942" y="270"/>
                </a:cubicBezTo>
                <a:cubicBezTo>
                  <a:pt x="942" y="270"/>
                  <a:pt x="952" y="271"/>
                  <a:pt x="952" y="270"/>
                </a:cubicBezTo>
                <a:cubicBezTo>
                  <a:pt x="952" y="269"/>
                  <a:pt x="948" y="267"/>
                  <a:pt x="948" y="267"/>
                </a:cubicBezTo>
                <a:cubicBezTo>
                  <a:pt x="948" y="264"/>
                  <a:pt x="948" y="264"/>
                  <a:pt x="948" y="264"/>
                </a:cubicBezTo>
                <a:cubicBezTo>
                  <a:pt x="948" y="264"/>
                  <a:pt x="942" y="265"/>
                  <a:pt x="941" y="265"/>
                </a:cubicBezTo>
                <a:cubicBezTo>
                  <a:pt x="940" y="265"/>
                  <a:pt x="939" y="262"/>
                  <a:pt x="939" y="262"/>
                </a:cubicBezTo>
                <a:cubicBezTo>
                  <a:pt x="931" y="265"/>
                  <a:pt x="931" y="265"/>
                  <a:pt x="931" y="265"/>
                </a:cubicBezTo>
                <a:cubicBezTo>
                  <a:pt x="931" y="261"/>
                  <a:pt x="931" y="261"/>
                  <a:pt x="931" y="261"/>
                </a:cubicBezTo>
                <a:cubicBezTo>
                  <a:pt x="925" y="263"/>
                  <a:pt x="925" y="263"/>
                  <a:pt x="925" y="263"/>
                </a:cubicBezTo>
                <a:cubicBezTo>
                  <a:pt x="925" y="263"/>
                  <a:pt x="932" y="256"/>
                  <a:pt x="930" y="255"/>
                </a:cubicBezTo>
                <a:cubicBezTo>
                  <a:pt x="928" y="254"/>
                  <a:pt x="923" y="254"/>
                  <a:pt x="923" y="254"/>
                </a:cubicBezTo>
                <a:cubicBezTo>
                  <a:pt x="924" y="251"/>
                  <a:pt x="924" y="251"/>
                  <a:pt x="924" y="251"/>
                </a:cubicBezTo>
                <a:cubicBezTo>
                  <a:pt x="919" y="251"/>
                  <a:pt x="919" y="251"/>
                  <a:pt x="919" y="251"/>
                </a:cubicBezTo>
                <a:cubicBezTo>
                  <a:pt x="921" y="248"/>
                  <a:pt x="921" y="248"/>
                  <a:pt x="921" y="248"/>
                </a:cubicBezTo>
                <a:cubicBezTo>
                  <a:pt x="917" y="244"/>
                  <a:pt x="917" y="244"/>
                  <a:pt x="917" y="244"/>
                </a:cubicBezTo>
                <a:cubicBezTo>
                  <a:pt x="917" y="244"/>
                  <a:pt x="923" y="246"/>
                  <a:pt x="925" y="244"/>
                </a:cubicBezTo>
                <a:cubicBezTo>
                  <a:pt x="927" y="243"/>
                  <a:pt x="929" y="242"/>
                  <a:pt x="929" y="242"/>
                </a:cubicBezTo>
                <a:cubicBezTo>
                  <a:pt x="923" y="238"/>
                  <a:pt x="923" y="238"/>
                  <a:pt x="923" y="238"/>
                </a:cubicBezTo>
                <a:cubicBezTo>
                  <a:pt x="930" y="234"/>
                  <a:pt x="930" y="234"/>
                  <a:pt x="930" y="234"/>
                </a:cubicBezTo>
                <a:cubicBezTo>
                  <a:pt x="923" y="231"/>
                  <a:pt x="923" y="231"/>
                  <a:pt x="923" y="231"/>
                </a:cubicBezTo>
                <a:cubicBezTo>
                  <a:pt x="917" y="232"/>
                  <a:pt x="917" y="232"/>
                  <a:pt x="917" y="232"/>
                </a:cubicBezTo>
                <a:cubicBezTo>
                  <a:pt x="924" y="229"/>
                  <a:pt x="924" y="229"/>
                  <a:pt x="924" y="229"/>
                </a:cubicBezTo>
                <a:cubicBezTo>
                  <a:pt x="919" y="228"/>
                  <a:pt x="919" y="228"/>
                  <a:pt x="919" y="228"/>
                </a:cubicBezTo>
                <a:cubicBezTo>
                  <a:pt x="925" y="225"/>
                  <a:pt x="925" y="225"/>
                  <a:pt x="925" y="225"/>
                </a:cubicBezTo>
                <a:cubicBezTo>
                  <a:pt x="924" y="221"/>
                  <a:pt x="924" y="221"/>
                  <a:pt x="924" y="221"/>
                </a:cubicBezTo>
                <a:cubicBezTo>
                  <a:pt x="920" y="221"/>
                  <a:pt x="920" y="221"/>
                  <a:pt x="920" y="221"/>
                </a:cubicBezTo>
                <a:cubicBezTo>
                  <a:pt x="920" y="221"/>
                  <a:pt x="923" y="219"/>
                  <a:pt x="922" y="215"/>
                </a:cubicBezTo>
                <a:cubicBezTo>
                  <a:pt x="920" y="211"/>
                  <a:pt x="918" y="211"/>
                  <a:pt x="918" y="211"/>
                </a:cubicBezTo>
                <a:cubicBezTo>
                  <a:pt x="920" y="208"/>
                  <a:pt x="920" y="208"/>
                  <a:pt x="920" y="208"/>
                </a:cubicBezTo>
                <a:cubicBezTo>
                  <a:pt x="920" y="208"/>
                  <a:pt x="915" y="211"/>
                  <a:pt x="914" y="212"/>
                </a:cubicBezTo>
                <a:cubicBezTo>
                  <a:pt x="913" y="214"/>
                  <a:pt x="914" y="215"/>
                  <a:pt x="914" y="215"/>
                </a:cubicBezTo>
                <a:cubicBezTo>
                  <a:pt x="910" y="214"/>
                  <a:pt x="910" y="214"/>
                  <a:pt x="910" y="214"/>
                </a:cubicBezTo>
                <a:cubicBezTo>
                  <a:pt x="911" y="218"/>
                  <a:pt x="911" y="218"/>
                  <a:pt x="911" y="218"/>
                </a:cubicBezTo>
                <a:cubicBezTo>
                  <a:pt x="907" y="218"/>
                  <a:pt x="907" y="218"/>
                  <a:pt x="907" y="218"/>
                </a:cubicBezTo>
                <a:cubicBezTo>
                  <a:pt x="905" y="221"/>
                  <a:pt x="905" y="221"/>
                  <a:pt x="905" y="221"/>
                </a:cubicBezTo>
                <a:cubicBezTo>
                  <a:pt x="906" y="222"/>
                  <a:pt x="906" y="222"/>
                  <a:pt x="906" y="222"/>
                </a:cubicBezTo>
                <a:cubicBezTo>
                  <a:pt x="903" y="223"/>
                  <a:pt x="903" y="223"/>
                  <a:pt x="903" y="223"/>
                </a:cubicBezTo>
                <a:cubicBezTo>
                  <a:pt x="900" y="229"/>
                  <a:pt x="900" y="229"/>
                  <a:pt x="900" y="229"/>
                </a:cubicBezTo>
                <a:cubicBezTo>
                  <a:pt x="898" y="229"/>
                  <a:pt x="898" y="229"/>
                  <a:pt x="898" y="229"/>
                </a:cubicBezTo>
                <a:cubicBezTo>
                  <a:pt x="900" y="224"/>
                  <a:pt x="900" y="224"/>
                  <a:pt x="900" y="224"/>
                </a:cubicBezTo>
                <a:cubicBezTo>
                  <a:pt x="900" y="224"/>
                  <a:pt x="898" y="220"/>
                  <a:pt x="896" y="222"/>
                </a:cubicBezTo>
                <a:cubicBezTo>
                  <a:pt x="894" y="224"/>
                  <a:pt x="892" y="227"/>
                  <a:pt x="890" y="227"/>
                </a:cubicBezTo>
                <a:cubicBezTo>
                  <a:pt x="889" y="227"/>
                  <a:pt x="883" y="232"/>
                  <a:pt x="883" y="232"/>
                </a:cubicBezTo>
                <a:cubicBezTo>
                  <a:pt x="884" y="229"/>
                  <a:pt x="884" y="229"/>
                  <a:pt x="884" y="229"/>
                </a:cubicBezTo>
                <a:cubicBezTo>
                  <a:pt x="884" y="226"/>
                  <a:pt x="884" y="226"/>
                  <a:pt x="884" y="226"/>
                </a:cubicBezTo>
                <a:cubicBezTo>
                  <a:pt x="879" y="231"/>
                  <a:pt x="879" y="231"/>
                  <a:pt x="879" y="231"/>
                </a:cubicBezTo>
                <a:cubicBezTo>
                  <a:pt x="869" y="233"/>
                  <a:pt x="869" y="233"/>
                  <a:pt x="869" y="233"/>
                </a:cubicBezTo>
                <a:cubicBezTo>
                  <a:pt x="878" y="230"/>
                  <a:pt x="878" y="230"/>
                  <a:pt x="878" y="230"/>
                </a:cubicBezTo>
                <a:cubicBezTo>
                  <a:pt x="878" y="230"/>
                  <a:pt x="883" y="224"/>
                  <a:pt x="880" y="223"/>
                </a:cubicBezTo>
                <a:cubicBezTo>
                  <a:pt x="878" y="222"/>
                  <a:pt x="875" y="223"/>
                  <a:pt x="875" y="223"/>
                </a:cubicBezTo>
                <a:cubicBezTo>
                  <a:pt x="875" y="223"/>
                  <a:pt x="868" y="226"/>
                  <a:pt x="868" y="224"/>
                </a:cubicBezTo>
                <a:cubicBezTo>
                  <a:pt x="868" y="221"/>
                  <a:pt x="872" y="221"/>
                  <a:pt x="872" y="221"/>
                </a:cubicBezTo>
                <a:cubicBezTo>
                  <a:pt x="872" y="222"/>
                  <a:pt x="872" y="222"/>
                  <a:pt x="872" y="222"/>
                </a:cubicBezTo>
                <a:cubicBezTo>
                  <a:pt x="875" y="221"/>
                  <a:pt x="875" y="221"/>
                  <a:pt x="875" y="221"/>
                </a:cubicBezTo>
                <a:cubicBezTo>
                  <a:pt x="874" y="217"/>
                  <a:pt x="874" y="217"/>
                  <a:pt x="874" y="217"/>
                </a:cubicBezTo>
                <a:cubicBezTo>
                  <a:pt x="874" y="217"/>
                  <a:pt x="879" y="214"/>
                  <a:pt x="877" y="213"/>
                </a:cubicBezTo>
                <a:cubicBezTo>
                  <a:pt x="876" y="211"/>
                  <a:pt x="870" y="211"/>
                  <a:pt x="870" y="211"/>
                </a:cubicBezTo>
                <a:cubicBezTo>
                  <a:pt x="870" y="211"/>
                  <a:pt x="879" y="211"/>
                  <a:pt x="880" y="208"/>
                </a:cubicBezTo>
                <a:cubicBezTo>
                  <a:pt x="881" y="206"/>
                  <a:pt x="881" y="205"/>
                  <a:pt x="882" y="205"/>
                </a:cubicBezTo>
                <a:cubicBezTo>
                  <a:pt x="884" y="204"/>
                  <a:pt x="888" y="203"/>
                  <a:pt x="886" y="202"/>
                </a:cubicBezTo>
                <a:cubicBezTo>
                  <a:pt x="884" y="200"/>
                  <a:pt x="882" y="203"/>
                  <a:pt x="882" y="203"/>
                </a:cubicBezTo>
                <a:cubicBezTo>
                  <a:pt x="880" y="199"/>
                  <a:pt x="880" y="199"/>
                  <a:pt x="880" y="199"/>
                </a:cubicBezTo>
                <a:cubicBezTo>
                  <a:pt x="880" y="199"/>
                  <a:pt x="874" y="200"/>
                  <a:pt x="872" y="200"/>
                </a:cubicBezTo>
                <a:cubicBezTo>
                  <a:pt x="870" y="200"/>
                  <a:pt x="870" y="197"/>
                  <a:pt x="871" y="196"/>
                </a:cubicBezTo>
                <a:cubicBezTo>
                  <a:pt x="873" y="195"/>
                  <a:pt x="873" y="194"/>
                  <a:pt x="872" y="193"/>
                </a:cubicBezTo>
                <a:cubicBezTo>
                  <a:pt x="870" y="193"/>
                  <a:pt x="869" y="194"/>
                  <a:pt x="869" y="194"/>
                </a:cubicBezTo>
                <a:cubicBezTo>
                  <a:pt x="870" y="191"/>
                  <a:pt x="870" y="191"/>
                  <a:pt x="870" y="191"/>
                </a:cubicBezTo>
                <a:cubicBezTo>
                  <a:pt x="865" y="192"/>
                  <a:pt x="865" y="192"/>
                  <a:pt x="865" y="192"/>
                </a:cubicBezTo>
                <a:cubicBezTo>
                  <a:pt x="865" y="192"/>
                  <a:pt x="866" y="186"/>
                  <a:pt x="862" y="186"/>
                </a:cubicBezTo>
                <a:cubicBezTo>
                  <a:pt x="859" y="186"/>
                  <a:pt x="853" y="189"/>
                  <a:pt x="853" y="189"/>
                </a:cubicBezTo>
                <a:cubicBezTo>
                  <a:pt x="853" y="189"/>
                  <a:pt x="851" y="187"/>
                  <a:pt x="850" y="187"/>
                </a:cubicBezTo>
                <a:cubicBezTo>
                  <a:pt x="848" y="187"/>
                  <a:pt x="844" y="189"/>
                  <a:pt x="844" y="189"/>
                </a:cubicBezTo>
                <a:cubicBezTo>
                  <a:pt x="844" y="189"/>
                  <a:pt x="835" y="184"/>
                  <a:pt x="831" y="185"/>
                </a:cubicBezTo>
                <a:cubicBezTo>
                  <a:pt x="828" y="186"/>
                  <a:pt x="827" y="188"/>
                  <a:pt x="827" y="188"/>
                </a:cubicBezTo>
                <a:cubicBezTo>
                  <a:pt x="827" y="188"/>
                  <a:pt x="822" y="190"/>
                  <a:pt x="824" y="192"/>
                </a:cubicBezTo>
                <a:cubicBezTo>
                  <a:pt x="825" y="194"/>
                  <a:pt x="828" y="194"/>
                  <a:pt x="827" y="196"/>
                </a:cubicBezTo>
                <a:cubicBezTo>
                  <a:pt x="826" y="197"/>
                  <a:pt x="820" y="201"/>
                  <a:pt x="820" y="201"/>
                </a:cubicBezTo>
                <a:cubicBezTo>
                  <a:pt x="817" y="202"/>
                  <a:pt x="817" y="202"/>
                  <a:pt x="817" y="202"/>
                </a:cubicBezTo>
                <a:cubicBezTo>
                  <a:pt x="820" y="204"/>
                  <a:pt x="820" y="204"/>
                  <a:pt x="820" y="204"/>
                </a:cubicBezTo>
                <a:cubicBezTo>
                  <a:pt x="820" y="204"/>
                  <a:pt x="817" y="205"/>
                  <a:pt x="817" y="207"/>
                </a:cubicBezTo>
                <a:cubicBezTo>
                  <a:pt x="817" y="209"/>
                  <a:pt x="818" y="211"/>
                  <a:pt x="817" y="213"/>
                </a:cubicBezTo>
                <a:cubicBezTo>
                  <a:pt x="815" y="215"/>
                  <a:pt x="813" y="213"/>
                  <a:pt x="811" y="215"/>
                </a:cubicBezTo>
                <a:cubicBezTo>
                  <a:pt x="808" y="216"/>
                  <a:pt x="808" y="219"/>
                  <a:pt x="808" y="219"/>
                </a:cubicBezTo>
                <a:cubicBezTo>
                  <a:pt x="808" y="219"/>
                  <a:pt x="805" y="220"/>
                  <a:pt x="804" y="221"/>
                </a:cubicBezTo>
                <a:cubicBezTo>
                  <a:pt x="803" y="222"/>
                  <a:pt x="798" y="223"/>
                  <a:pt x="799" y="225"/>
                </a:cubicBezTo>
                <a:cubicBezTo>
                  <a:pt x="799" y="227"/>
                  <a:pt x="807" y="230"/>
                  <a:pt x="807" y="232"/>
                </a:cubicBezTo>
                <a:cubicBezTo>
                  <a:pt x="807" y="233"/>
                  <a:pt x="807" y="247"/>
                  <a:pt x="799" y="251"/>
                </a:cubicBezTo>
                <a:cubicBezTo>
                  <a:pt x="792" y="255"/>
                  <a:pt x="783" y="263"/>
                  <a:pt x="779" y="263"/>
                </a:cubicBezTo>
                <a:cubicBezTo>
                  <a:pt x="775" y="263"/>
                  <a:pt x="765" y="264"/>
                  <a:pt x="764" y="266"/>
                </a:cubicBezTo>
                <a:cubicBezTo>
                  <a:pt x="764" y="267"/>
                  <a:pt x="766" y="273"/>
                  <a:pt x="766" y="274"/>
                </a:cubicBezTo>
                <a:cubicBezTo>
                  <a:pt x="766" y="275"/>
                  <a:pt x="762" y="280"/>
                  <a:pt x="761" y="283"/>
                </a:cubicBezTo>
                <a:cubicBezTo>
                  <a:pt x="760" y="286"/>
                  <a:pt x="761" y="293"/>
                  <a:pt x="761" y="293"/>
                </a:cubicBezTo>
                <a:cubicBezTo>
                  <a:pt x="761" y="293"/>
                  <a:pt x="754" y="297"/>
                  <a:pt x="753" y="298"/>
                </a:cubicBezTo>
                <a:cubicBezTo>
                  <a:pt x="753" y="299"/>
                  <a:pt x="753" y="302"/>
                  <a:pt x="753" y="302"/>
                </a:cubicBezTo>
                <a:cubicBezTo>
                  <a:pt x="750" y="306"/>
                  <a:pt x="750" y="306"/>
                  <a:pt x="750" y="306"/>
                </a:cubicBezTo>
                <a:cubicBezTo>
                  <a:pt x="750" y="306"/>
                  <a:pt x="752" y="301"/>
                  <a:pt x="749" y="300"/>
                </a:cubicBezTo>
                <a:cubicBezTo>
                  <a:pt x="747" y="300"/>
                  <a:pt x="743" y="303"/>
                  <a:pt x="744" y="305"/>
                </a:cubicBezTo>
                <a:cubicBezTo>
                  <a:pt x="745" y="308"/>
                  <a:pt x="743" y="310"/>
                  <a:pt x="743" y="310"/>
                </a:cubicBezTo>
                <a:cubicBezTo>
                  <a:pt x="743" y="310"/>
                  <a:pt x="743" y="305"/>
                  <a:pt x="742" y="304"/>
                </a:cubicBezTo>
                <a:cubicBezTo>
                  <a:pt x="740" y="303"/>
                  <a:pt x="732" y="306"/>
                  <a:pt x="732" y="306"/>
                </a:cubicBezTo>
                <a:cubicBezTo>
                  <a:pt x="732" y="306"/>
                  <a:pt x="740" y="301"/>
                  <a:pt x="739" y="298"/>
                </a:cubicBezTo>
                <a:cubicBezTo>
                  <a:pt x="738" y="296"/>
                  <a:pt x="731" y="293"/>
                  <a:pt x="731" y="293"/>
                </a:cubicBezTo>
                <a:cubicBezTo>
                  <a:pt x="731" y="293"/>
                  <a:pt x="734" y="293"/>
                  <a:pt x="734" y="291"/>
                </a:cubicBezTo>
                <a:cubicBezTo>
                  <a:pt x="734" y="290"/>
                  <a:pt x="732" y="284"/>
                  <a:pt x="732" y="284"/>
                </a:cubicBezTo>
                <a:cubicBezTo>
                  <a:pt x="736" y="281"/>
                  <a:pt x="736" y="281"/>
                  <a:pt x="736" y="281"/>
                </a:cubicBezTo>
                <a:cubicBezTo>
                  <a:pt x="736" y="278"/>
                  <a:pt x="736" y="278"/>
                  <a:pt x="736" y="278"/>
                </a:cubicBezTo>
                <a:cubicBezTo>
                  <a:pt x="740" y="276"/>
                  <a:pt x="740" y="276"/>
                  <a:pt x="740" y="276"/>
                </a:cubicBezTo>
                <a:cubicBezTo>
                  <a:pt x="740" y="271"/>
                  <a:pt x="740" y="271"/>
                  <a:pt x="740" y="271"/>
                </a:cubicBezTo>
                <a:cubicBezTo>
                  <a:pt x="740" y="271"/>
                  <a:pt x="750" y="265"/>
                  <a:pt x="745" y="262"/>
                </a:cubicBezTo>
                <a:cubicBezTo>
                  <a:pt x="740" y="260"/>
                  <a:pt x="725" y="261"/>
                  <a:pt x="725" y="261"/>
                </a:cubicBezTo>
                <a:cubicBezTo>
                  <a:pt x="720" y="262"/>
                  <a:pt x="720" y="262"/>
                  <a:pt x="720" y="262"/>
                </a:cubicBezTo>
                <a:cubicBezTo>
                  <a:pt x="720" y="262"/>
                  <a:pt x="723" y="258"/>
                  <a:pt x="721" y="257"/>
                </a:cubicBezTo>
                <a:cubicBezTo>
                  <a:pt x="719" y="256"/>
                  <a:pt x="709" y="254"/>
                  <a:pt x="709" y="254"/>
                </a:cubicBezTo>
                <a:cubicBezTo>
                  <a:pt x="709" y="254"/>
                  <a:pt x="710" y="249"/>
                  <a:pt x="706" y="246"/>
                </a:cubicBezTo>
                <a:cubicBezTo>
                  <a:pt x="702" y="243"/>
                  <a:pt x="697" y="243"/>
                  <a:pt x="697" y="243"/>
                </a:cubicBezTo>
                <a:cubicBezTo>
                  <a:pt x="697" y="243"/>
                  <a:pt x="697" y="241"/>
                  <a:pt x="691" y="240"/>
                </a:cubicBezTo>
                <a:cubicBezTo>
                  <a:pt x="686" y="240"/>
                  <a:pt x="671" y="243"/>
                  <a:pt x="671" y="243"/>
                </a:cubicBezTo>
                <a:cubicBezTo>
                  <a:pt x="671" y="243"/>
                  <a:pt x="678" y="241"/>
                  <a:pt x="678" y="238"/>
                </a:cubicBezTo>
                <a:cubicBezTo>
                  <a:pt x="678" y="236"/>
                  <a:pt x="682" y="225"/>
                  <a:pt x="682" y="225"/>
                </a:cubicBezTo>
                <a:cubicBezTo>
                  <a:pt x="682" y="225"/>
                  <a:pt x="676" y="224"/>
                  <a:pt x="675" y="224"/>
                </a:cubicBezTo>
                <a:cubicBezTo>
                  <a:pt x="675" y="224"/>
                  <a:pt x="670" y="228"/>
                  <a:pt x="670" y="228"/>
                </a:cubicBezTo>
                <a:cubicBezTo>
                  <a:pt x="672" y="224"/>
                  <a:pt x="672" y="224"/>
                  <a:pt x="672" y="224"/>
                </a:cubicBezTo>
                <a:cubicBezTo>
                  <a:pt x="671" y="221"/>
                  <a:pt x="671" y="221"/>
                  <a:pt x="671" y="221"/>
                </a:cubicBezTo>
                <a:cubicBezTo>
                  <a:pt x="671" y="221"/>
                  <a:pt x="677" y="216"/>
                  <a:pt x="679" y="212"/>
                </a:cubicBezTo>
                <a:cubicBezTo>
                  <a:pt x="682" y="207"/>
                  <a:pt x="696" y="199"/>
                  <a:pt x="696" y="199"/>
                </a:cubicBezTo>
                <a:cubicBezTo>
                  <a:pt x="695" y="197"/>
                  <a:pt x="695" y="197"/>
                  <a:pt x="695" y="197"/>
                </a:cubicBezTo>
                <a:cubicBezTo>
                  <a:pt x="704" y="194"/>
                  <a:pt x="704" y="194"/>
                  <a:pt x="704" y="194"/>
                </a:cubicBezTo>
                <a:cubicBezTo>
                  <a:pt x="704" y="192"/>
                  <a:pt x="704" y="192"/>
                  <a:pt x="704" y="192"/>
                </a:cubicBezTo>
                <a:cubicBezTo>
                  <a:pt x="709" y="191"/>
                  <a:pt x="709" y="191"/>
                  <a:pt x="709" y="191"/>
                </a:cubicBezTo>
                <a:cubicBezTo>
                  <a:pt x="710" y="188"/>
                  <a:pt x="710" y="188"/>
                  <a:pt x="710" y="188"/>
                </a:cubicBezTo>
                <a:cubicBezTo>
                  <a:pt x="714" y="188"/>
                  <a:pt x="714" y="188"/>
                  <a:pt x="714" y="188"/>
                </a:cubicBezTo>
                <a:cubicBezTo>
                  <a:pt x="721" y="182"/>
                  <a:pt x="721" y="182"/>
                  <a:pt x="721" y="182"/>
                </a:cubicBezTo>
                <a:cubicBezTo>
                  <a:pt x="721" y="182"/>
                  <a:pt x="737" y="183"/>
                  <a:pt x="737" y="180"/>
                </a:cubicBezTo>
                <a:cubicBezTo>
                  <a:pt x="737" y="177"/>
                  <a:pt x="733" y="174"/>
                  <a:pt x="733" y="174"/>
                </a:cubicBezTo>
                <a:cubicBezTo>
                  <a:pt x="724" y="175"/>
                  <a:pt x="724" y="175"/>
                  <a:pt x="724" y="175"/>
                </a:cubicBezTo>
                <a:cubicBezTo>
                  <a:pt x="726" y="173"/>
                  <a:pt x="726" y="173"/>
                  <a:pt x="726" y="173"/>
                </a:cubicBezTo>
                <a:cubicBezTo>
                  <a:pt x="718" y="170"/>
                  <a:pt x="718" y="170"/>
                  <a:pt x="718" y="170"/>
                </a:cubicBezTo>
                <a:cubicBezTo>
                  <a:pt x="721" y="169"/>
                  <a:pt x="721" y="169"/>
                  <a:pt x="721" y="169"/>
                </a:cubicBezTo>
                <a:cubicBezTo>
                  <a:pt x="733" y="172"/>
                  <a:pt x="733" y="172"/>
                  <a:pt x="733" y="172"/>
                </a:cubicBezTo>
                <a:cubicBezTo>
                  <a:pt x="733" y="172"/>
                  <a:pt x="737" y="177"/>
                  <a:pt x="741" y="175"/>
                </a:cubicBezTo>
                <a:cubicBezTo>
                  <a:pt x="745" y="174"/>
                  <a:pt x="749" y="167"/>
                  <a:pt x="750" y="168"/>
                </a:cubicBezTo>
                <a:cubicBezTo>
                  <a:pt x="752" y="169"/>
                  <a:pt x="756" y="171"/>
                  <a:pt x="758" y="171"/>
                </a:cubicBezTo>
                <a:cubicBezTo>
                  <a:pt x="758" y="171"/>
                  <a:pt x="767" y="167"/>
                  <a:pt x="771" y="165"/>
                </a:cubicBezTo>
                <a:cubicBezTo>
                  <a:pt x="775" y="164"/>
                  <a:pt x="782" y="160"/>
                  <a:pt x="779" y="159"/>
                </a:cubicBezTo>
                <a:cubicBezTo>
                  <a:pt x="777" y="158"/>
                  <a:pt x="765" y="158"/>
                  <a:pt x="765" y="158"/>
                </a:cubicBezTo>
                <a:cubicBezTo>
                  <a:pt x="764" y="155"/>
                  <a:pt x="764" y="155"/>
                  <a:pt x="764" y="155"/>
                </a:cubicBezTo>
                <a:cubicBezTo>
                  <a:pt x="753" y="151"/>
                  <a:pt x="753" y="151"/>
                  <a:pt x="753" y="151"/>
                </a:cubicBezTo>
                <a:cubicBezTo>
                  <a:pt x="753" y="151"/>
                  <a:pt x="764" y="149"/>
                  <a:pt x="767" y="151"/>
                </a:cubicBezTo>
                <a:cubicBezTo>
                  <a:pt x="771" y="152"/>
                  <a:pt x="773" y="157"/>
                  <a:pt x="777" y="157"/>
                </a:cubicBezTo>
                <a:cubicBezTo>
                  <a:pt x="780" y="157"/>
                  <a:pt x="796" y="149"/>
                  <a:pt x="796" y="149"/>
                </a:cubicBezTo>
                <a:cubicBezTo>
                  <a:pt x="792" y="148"/>
                  <a:pt x="792" y="148"/>
                  <a:pt x="792" y="148"/>
                </a:cubicBezTo>
                <a:cubicBezTo>
                  <a:pt x="792" y="148"/>
                  <a:pt x="795" y="145"/>
                  <a:pt x="799" y="145"/>
                </a:cubicBezTo>
                <a:cubicBezTo>
                  <a:pt x="803" y="145"/>
                  <a:pt x="804" y="148"/>
                  <a:pt x="804" y="148"/>
                </a:cubicBezTo>
                <a:cubicBezTo>
                  <a:pt x="808" y="149"/>
                  <a:pt x="808" y="149"/>
                  <a:pt x="808" y="149"/>
                </a:cubicBezTo>
                <a:cubicBezTo>
                  <a:pt x="808" y="147"/>
                  <a:pt x="808" y="147"/>
                  <a:pt x="808" y="147"/>
                </a:cubicBezTo>
                <a:cubicBezTo>
                  <a:pt x="808" y="147"/>
                  <a:pt x="811" y="150"/>
                  <a:pt x="812" y="148"/>
                </a:cubicBezTo>
                <a:cubicBezTo>
                  <a:pt x="813" y="147"/>
                  <a:pt x="810" y="143"/>
                  <a:pt x="810" y="143"/>
                </a:cubicBezTo>
                <a:cubicBezTo>
                  <a:pt x="807" y="142"/>
                  <a:pt x="807" y="142"/>
                  <a:pt x="807" y="142"/>
                </a:cubicBezTo>
                <a:cubicBezTo>
                  <a:pt x="812" y="140"/>
                  <a:pt x="812" y="140"/>
                  <a:pt x="812" y="140"/>
                </a:cubicBezTo>
                <a:cubicBezTo>
                  <a:pt x="812" y="140"/>
                  <a:pt x="815" y="149"/>
                  <a:pt x="817" y="148"/>
                </a:cubicBezTo>
                <a:cubicBezTo>
                  <a:pt x="819" y="148"/>
                  <a:pt x="843" y="141"/>
                  <a:pt x="840" y="137"/>
                </a:cubicBezTo>
                <a:cubicBezTo>
                  <a:pt x="837" y="133"/>
                  <a:pt x="835" y="130"/>
                  <a:pt x="837" y="128"/>
                </a:cubicBezTo>
                <a:cubicBezTo>
                  <a:pt x="839" y="127"/>
                  <a:pt x="850" y="126"/>
                  <a:pt x="850" y="125"/>
                </a:cubicBezTo>
                <a:cubicBezTo>
                  <a:pt x="850" y="124"/>
                  <a:pt x="848" y="119"/>
                  <a:pt x="848" y="119"/>
                </a:cubicBezTo>
                <a:cubicBezTo>
                  <a:pt x="845" y="115"/>
                  <a:pt x="845" y="115"/>
                  <a:pt x="845" y="115"/>
                </a:cubicBezTo>
                <a:cubicBezTo>
                  <a:pt x="845" y="115"/>
                  <a:pt x="832" y="112"/>
                  <a:pt x="827" y="115"/>
                </a:cubicBezTo>
                <a:cubicBezTo>
                  <a:pt x="821" y="119"/>
                  <a:pt x="826" y="122"/>
                  <a:pt x="826" y="122"/>
                </a:cubicBezTo>
                <a:cubicBezTo>
                  <a:pt x="821" y="125"/>
                  <a:pt x="821" y="125"/>
                  <a:pt x="821" y="125"/>
                </a:cubicBezTo>
                <a:cubicBezTo>
                  <a:pt x="818" y="125"/>
                  <a:pt x="818" y="125"/>
                  <a:pt x="818" y="125"/>
                </a:cubicBezTo>
                <a:cubicBezTo>
                  <a:pt x="809" y="131"/>
                  <a:pt x="809" y="131"/>
                  <a:pt x="809" y="131"/>
                </a:cubicBezTo>
                <a:cubicBezTo>
                  <a:pt x="805" y="133"/>
                  <a:pt x="805" y="133"/>
                  <a:pt x="805" y="133"/>
                </a:cubicBezTo>
                <a:cubicBezTo>
                  <a:pt x="805" y="133"/>
                  <a:pt x="803" y="136"/>
                  <a:pt x="802" y="137"/>
                </a:cubicBezTo>
                <a:cubicBezTo>
                  <a:pt x="801" y="138"/>
                  <a:pt x="797" y="138"/>
                  <a:pt x="797" y="138"/>
                </a:cubicBezTo>
                <a:cubicBezTo>
                  <a:pt x="792" y="140"/>
                  <a:pt x="792" y="140"/>
                  <a:pt x="792" y="140"/>
                </a:cubicBezTo>
                <a:cubicBezTo>
                  <a:pt x="792" y="140"/>
                  <a:pt x="790" y="133"/>
                  <a:pt x="791" y="131"/>
                </a:cubicBezTo>
                <a:cubicBezTo>
                  <a:pt x="792" y="129"/>
                  <a:pt x="799" y="130"/>
                  <a:pt x="800" y="126"/>
                </a:cubicBezTo>
                <a:cubicBezTo>
                  <a:pt x="801" y="123"/>
                  <a:pt x="798" y="120"/>
                  <a:pt x="797" y="120"/>
                </a:cubicBezTo>
                <a:cubicBezTo>
                  <a:pt x="796" y="120"/>
                  <a:pt x="785" y="125"/>
                  <a:pt x="785" y="125"/>
                </a:cubicBezTo>
                <a:cubicBezTo>
                  <a:pt x="781" y="129"/>
                  <a:pt x="781" y="129"/>
                  <a:pt x="781" y="129"/>
                </a:cubicBezTo>
                <a:cubicBezTo>
                  <a:pt x="780" y="127"/>
                  <a:pt x="780" y="127"/>
                  <a:pt x="780" y="127"/>
                </a:cubicBezTo>
                <a:cubicBezTo>
                  <a:pt x="784" y="123"/>
                  <a:pt x="784" y="123"/>
                  <a:pt x="784" y="123"/>
                </a:cubicBezTo>
                <a:cubicBezTo>
                  <a:pt x="783" y="121"/>
                  <a:pt x="783" y="121"/>
                  <a:pt x="783" y="121"/>
                </a:cubicBezTo>
                <a:cubicBezTo>
                  <a:pt x="790" y="118"/>
                  <a:pt x="790" y="118"/>
                  <a:pt x="790" y="118"/>
                </a:cubicBezTo>
                <a:cubicBezTo>
                  <a:pt x="784" y="117"/>
                  <a:pt x="784" y="117"/>
                  <a:pt x="784" y="117"/>
                </a:cubicBezTo>
                <a:cubicBezTo>
                  <a:pt x="785" y="115"/>
                  <a:pt x="785" y="115"/>
                  <a:pt x="785" y="115"/>
                </a:cubicBezTo>
                <a:cubicBezTo>
                  <a:pt x="778" y="117"/>
                  <a:pt x="778" y="117"/>
                  <a:pt x="778" y="117"/>
                </a:cubicBezTo>
                <a:cubicBezTo>
                  <a:pt x="775" y="116"/>
                  <a:pt x="775" y="116"/>
                  <a:pt x="775" y="116"/>
                </a:cubicBezTo>
                <a:cubicBezTo>
                  <a:pt x="781" y="114"/>
                  <a:pt x="781" y="114"/>
                  <a:pt x="781" y="114"/>
                </a:cubicBezTo>
                <a:cubicBezTo>
                  <a:pt x="781" y="112"/>
                  <a:pt x="781" y="112"/>
                  <a:pt x="781" y="112"/>
                </a:cubicBezTo>
                <a:cubicBezTo>
                  <a:pt x="781" y="112"/>
                  <a:pt x="788" y="113"/>
                  <a:pt x="788" y="111"/>
                </a:cubicBezTo>
                <a:cubicBezTo>
                  <a:pt x="787" y="108"/>
                  <a:pt x="782" y="108"/>
                  <a:pt x="784" y="105"/>
                </a:cubicBezTo>
                <a:cubicBezTo>
                  <a:pt x="787" y="101"/>
                  <a:pt x="789" y="96"/>
                  <a:pt x="786" y="96"/>
                </a:cubicBezTo>
                <a:cubicBezTo>
                  <a:pt x="780" y="94"/>
                  <a:pt x="780" y="94"/>
                  <a:pt x="780" y="94"/>
                </a:cubicBezTo>
                <a:cubicBezTo>
                  <a:pt x="776" y="95"/>
                  <a:pt x="776" y="95"/>
                  <a:pt x="776" y="95"/>
                </a:cubicBezTo>
                <a:cubicBezTo>
                  <a:pt x="776" y="95"/>
                  <a:pt x="771" y="96"/>
                  <a:pt x="771" y="97"/>
                </a:cubicBezTo>
                <a:cubicBezTo>
                  <a:pt x="770" y="98"/>
                  <a:pt x="772" y="99"/>
                  <a:pt x="771" y="100"/>
                </a:cubicBezTo>
                <a:cubicBezTo>
                  <a:pt x="769" y="100"/>
                  <a:pt x="762" y="98"/>
                  <a:pt x="760" y="100"/>
                </a:cubicBezTo>
                <a:cubicBezTo>
                  <a:pt x="759" y="102"/>
                  <a:pt x="755" y="104"/>
                  <a:pt x="757" y="105"/>
                </a:cubicBezTo>
                <a:cubicBezTo>
                  <a:pt x="759" y="106"/>
                  <a:pt x="761" y="106"/>
                  <a:pt x="761" y="106"/>
                </a:cubicBezTo>
                <a:cubicBezTo>
                  <a:pt x="761" y="106"/>
                  <a:pt x="751" y="109"/>
                  <a:pt x="751" y="112"/>
                </a:cubicBezTo>
                <a:cubicBezTo>
                  <a:pt x="752" y="114"/>
                  <a:pt x="757" y="116"/>
                  <a:pt x="757" y="116"/>
                </a:cubicBezTo>
                <a:cubicBezTo>
                  <a:pt x="761" y="115"/>
                  <a:pt x="761" y="115"/>
                  <a:pt x="761" y="115"/>
                </a:cubicBezTo>
                <a:cubicBezTo>
                  <a:pt x="761" y="115"/>
                  <a:pt x="760" y="119"/>
                  <a:pt x="762" y="119"/>
                </a:cubicBezTo>
                <a:cubicBezTo>
                  <a:pt x="763" y="118"/>
                  <a:pt x="769" y="117"/>
                  <a:pt x="767" y="119"/>
                </a:cubicBezTo>
                <a:cubicBezTo>
                  <a:pt x="764" y="120"/>
                  <a:pt x="763" y="120"/>
                  <a:pt x="763" y="120"/>
                </a:cubicBezTo>
                <a:cubicBezTo>
                  <a:pt x="760" y="119"/>
                  <a:pt x="760" y="119"/>
                  <a:pt x="760" y="119"/>
                </a:cubicBezTo>
                <a:cubicBezTo>
                  <a:pt x="759" y="121"/>
                  <a:pt x="759" y="121"/>
                  <a:pt x="759" y="121"/>
                </a:cubicBezTo>
                <a:cubicBezTo>
                  <a:pt x="759" y="121"/>
                  <a:pt x="752" y="122"/>
                  <a:pt x="754" y="123"/>
                </a:cubicBezTo>
                <a:cubicBezTo>
                  <a:pt x="757" y="124"/>
                  <a:pt x="763" y="120"/>
                  <a:pt x="761" y="122"/>
                </a:cubicBezTo>
                <a:cubicBezTo>
                  <a:pt x="760" y="125"/>
                  <a:pt x="756" y="127"/>
                  <a:pt x="753" y="128"/>
                </a:cubicBezTo>
                <a:cubicBezTo>
                  <a:pt x="751" y="129"/>
                  <a:pt x="746" y="132"/>
                  <a:pt x="746" y="132"/>
                </a:cubicBezTo>
                <a:cubicBezTo>
                  <a:pt x="746" y="132"/>
                  <a:pt x="742" y="129"/>
                  <a:pt x="741" y="131"/>
                </a:cubicBezTo>
                <a:cubicBezTo>
                  <a:pt x="740" y="132"/>
                  <a:pt x="736" y="134"/>
                  <a:pt x="736" y="136"/>
                </a:cubicBezTo>
                <a:cubicBezTo>
                  <a:pt x="736" y="138"/>
                  <a:pt x="735" y="140"/>
                  <a:pt x="735" y="140"/>
                </a:cubicBezTo>
                <a:cubicBezTo>
                  <a:pt x="734" y="138"/>
                  <a:pt x="734" y="138"/>
                  <a:pt x="734" y="138"/>
                </a:cubicBezTo>
                <a:cubicBezTo>
                  <a:pt x="734" y="138"/>
                  <a:pt x="729" y="138"/>
                  <a:pt x="729" y="136"/>
                </a:cubicBezTo>
                <a:cubicBezTo>
                  <a:pt x="730" y="135"/>
                  <a:pt x="738" y="129"/>
                  <a:pt x="738" y="129"/>
                </a:cubicBezTo>
                <a:cubicBezTo>
                  <a:pt x="733" y="129"/>
                  <a:pt x="733" y="129"/>
                  <a:pt x="733" y="129"/>
                </a:cubicBezTo>
                <a:cubicBezTo>
                  <a:pt x="733" y="129"/>
                  <a:pt x="732" y="126"/>
                  <a:pt x="730" y="126"/>
                </a:cubicBezTo>
                <a:cubicBezTo>
                  <a:pt x="729" y="126"/>
                  <a:pt x="725" y="128"/>
                  <a:pt x="725" y="128"/>
                </a:cubicBezTo>
                <a:cubicBezTo>
                  <a:pt x="725" y="128"/>
                  <a:pt x="721" y="126"/>
                  <a:pt x="720" y="128"/>
                </a:cubicBezTo>
                <a:cubicBezTo>
                  <a:pt x="720" y="129"/>
                  <a:pt x="719" y="131"/>
                  <a:pt x="720" y="131"/>
                </a:cubicBezTo>
                <a:cubicBezTo>
                  <a:pt x="721" y="131"/>
                  <a:pt x="727" y="134"/>
                  <a:pt x="725" y="135"/>
                </a:cubicBezTo>
                <a:cubicBezTo>
                  <a:pt x="723" y="135"/>
                  <a:pt x="719" y="132"/>
                  <a:pt x="719" y="132"/>
                </a:cubicBezTo>
                <a:cubicBezTo>
                  <a:pt x="716" y="130"/>
                  <a:pt x="716" y="130"/>
                  <a:pt x="716" y="130"/>
                </a:cubicBezTo>
                <a:cubicBezTo>
                  <a:pt x="716" y="134"/>
                  <a:pt x="716" y="134"/>
                  <a:pt x="716" y="134"/>
                </a:cubicBezTo>
                <a:cubicBezTo>
                  <a:pt x="716" y="134"/>
                  <a:pt x="713" y="136"/>
                  <a:pt x="711" y="136"/>
                </a:cubicBezTo>
                <a:cubicBezTo>
                  <a:pt x="709" y="135"/>
                  <a:pt x="702" y="134"/>
                  <a:pt x="700" y="134"/>
                </a:cubicBezTo>
                <a:cubicBezTo>
                  <a:pt x="698" y="134"/>
                  <a:pt x="693" y="134"/>
                  <a:pt x="691" y="134"/>
                </a:cubicBezTo>
                <a:cubicBezTo>
                  <a:pt x="688" y="134"/>
                  <a:pt x="685" y="130"/>
                  <a:pt x="685" y="130"/>
                </a:cubicBezTo>
                <a:cubicBezTo>
                  <a:pt x="677" y="131"/>
                  <a:pt x="677" y="131"/>
                  <a:pt x="677" y="131"/>
                </a:cubicBezTo>
                <a:cubicBezTo>
                  <a:pt x="677" y="131"/>
                  <a:pt x="673" y="128"/>
                  <a:pt x="672" y="128"/>
                </a:cubicBezTo>
                <a:cubicBezTo>
                  <a:pt x="670" y="127"/>
                  <a:pt x="667" y="127"/>
                  <a:pt x="664" y="129"/>
                </a:cubicBezTo>
                <a:cubicBezTo>
                  <a:pt x="662" y="130"/>
                  <a:pt x="663" y="130"/>
                  <a:pt x="660" y="130"/>
                </a:cubicBezTo>
                <a:cubicBezTo>
                  <a:pt x="657" y="130"/>
                  <a:pt x="651" y="129"/>
                  <a:pt x="650" y="131"/>
                </a:cubicBezTo>
                <a:cubicBezTo>
                  <a:pt x="648" y="133"/>
                  <a:pt x="646" y="138"/>
                  <a:pt x="646" y="138"/>
                </a:cubicBezTo>
                <a:cubicBezTo>
                  <a:pt x="644" y="142"/>
                  <a:pt x="644" y="142"/>
                  <a:pt x="644" y="142"/>
                </a:cubicBezTo>
                <a:cubicBezTo>
                  <a:pt x="640" y="143"/>
                  <a:pt x="640" y="143"/>
                  <a:pt x="640" y="143"/>
                </a:cubicBezTo>
                <a:cubicBezTo>
                  <a:pt x="639" y="147"/>
                  <a:pt x="639" y="147"/>
                  <a:pt x="639" y="147"/>
                </a:cubicBezTo>
                <a:cubicBezTo>
                  <a:pt x="636" y="140"/>
                  <a:pt x="636" y="140"/>
                  <a:pt x="636" y="140"/>
                </a:cubicBezTo>
                <a:cubicBezTo>
                  <a:pt x="636" y="140"/>
                  <a:pt x="644" y="142"/>
                  <a:pt x="642" y="138"/>
                </a:cubicBezTo>
                <a:cubicBezTo>
                  <a:pt x="640" y="134"/>
                  <a:pt x="633" y="134"/>
                  <a:pt x="633" y="134"/>
                </a:cubicBezTo>
                <a:cubicBezTo>
                  <a:pt x="634" y="132"/>
                  <a:pt x="634" y="132"/>
                  <a:pt x="634" y="132"/>
                </a:cubicBezTo>
                <a:cubicBezTo>
                  <a:pt x="634" y="132"/>
                  <a:pt x="619" y="134"/>
                  <a:pt x="611" y="134"/>
                </a:cubicBezTo>
                <a:cubicBezTo>
                  <a:pt x="604" y="134"/>
                  <a:pt x="590" y="134"/>
                  <a:pt x="593" y="132"/>
                </a:cubicBezTo>
                <a:cubicBezTo>
                  <a:pt x="595" y="131"/>
                  <a:pt x="613" y="132"/>
                  <a:pt x="609" y="127"/>
                </a:cubicBezTo>
                <a:cubicBezTo>
                  <a:pt x="604" y="122"/>
                  <a:pt x="600" y="122"/>
                  <a:pt x="595" y="122"/>
                </a:cubicBezTo>
                <a:cubicBezTo>
                  <a:pt x="590" y="123"/>
                  <a:pt x="582" y="120"/>
                  <a:pt x="581" y="119"/>
                </a:cubicBezTo>
                <a:cubicBezTo>
                  <a:pt x="580" y="119"/>
                  <a:pt x="576" y="119"/>
                  <a:pt x="576" y="119"/>
                </a:cubicBezTo>
                <a:cubicBezTo>
                  <a:pt x="576" y="119"/>
                  <a:pt x="566" y="113"/>
                  <a:pt x="562" y="113"/>
                </a:cubicBezTo>
                <a:cubicBezTo>
                  <a:pt x="558" y="113"/>
                  <a:pt x="552" y="119"/>
                  <a:pt x="552" y="119"/>
                </a:cubicBezTo>
                <a:cubicBezTo>
                  <a:pt x="544" y="119"/>
                  <a:pt x="544" y="119"/>
                  <a:pt x="544" y="119"/>
                </a:cubicBezTo>
                <a:cubicBezTo>
                  <a:pt x="548" y="116"/>
                  <a:pt x="548" y="116"/>
                  <a:pt x="548" y="116"/>
                </a:cubicBezTo>
                <a:cubicBezTo>
                  <a:pt x="548" y="115"/>
                  <a:pt x="548" y="115"/>
                  <a:pt x="548" y="115"/>
                </a:cubicBezTo>
                <a:cubicBezTo>
                  <a:pt x="552" y="110"/>
                  <a:pt x="552" y="110"/>
                  <a:pt x="552" y="110"/>
                </a:cubicBezTo>
                <a:cubicBezTo>
                  <a:pt x="552" y="110"/>
                  <a:pt x="544" y="114"/>
                  <a:pt x="542" y="116"/>
                </a:cubicBezTo>
                <a:cubicBezTo>
                  <a:pt x="541" y="117"/>
                  <a:pt x="537" y="122"/>
                  <a:pt x="534" y="119"/>
                </a:cubicBezTo>
                <a:cubicBezTo>
                  <a:pt x="531" y="115"/>
                  <a:pt x="536" y="112"/>
                  <a:pt x="535" y="110"/>
                </a:cubicBezTo>
                <a:cubicBezTo>
                  <a:pt x="534" y="107"/>
                  <a:pt x="530" y="105"/>
                  <a:pt x="529" y="107"/>
                </a:cubicBezTo>
                <a:cubicBezTo>
                  <a:pt x="528" y="109"/>
                  <a:pt x="531" y="110"/>
                  <a:pt x="531" y="110"/>
                </a:cubicBezTo>
                <a:cubicBezTo>
                  <a:pt x="531" y="110"/>
                  <a:pt x="527" y="110"/>
                  <a:pt x="525" y="111"/>
                </a:cubicBezTo>
                <a:cubicBezTo>
                  <a:pt x="522" y="111"/>
                  <a:pt x="519" y="114"/>
                  <a:pt x="518" y="115"/>
                </a:cubicBezTo>
                <a:cubicBezTo>
                  <a:pt x="517" y="115"/>
                  <a:pt x="513" y="114"/>
                  <a:pt x="513" y="114"/>
                </a:cubicBezTo>
                <a:cubicBezTo>
                  <a:pt x="513" y="114"/>
                  <a:pt x="503" y="116"/>
                  <a:pt x="502" y="117"/>
                </a:cubicBezTo>
                <a:cubicBezTo>
                  <a:pt x="501" y="117"/>
                  <a:pt x="496" y="120"/>
                  <a:pt x="496" y="120"/>
                </a:cubicBezTo>
                <a:cubicBezTo>
                  <a:pt x="493" y="117"/>
                  <a:pt x="493" y="117"/>
                  <a:pt x="493" y="117"/>
                </a:cubicBezTo>
                <a:cubicBezTo>
                  <a:pt x="493" y="117"/>
                  <a:pt x="486" y="121"/>
                  <a:pt x="484" y="121"/>
                </a:cubicBezTo>
                <a:cubicBezTo>
                  <a:pt x="482" y="121"/>
                  <a:pt x="478" y="124"/>
                  <a:pt x="478" y="124"/>
                </a:cubicBezTo>
                <a:cubicBezTo>
                  <a:pt x="474" y="124"/>
                  <a:pt x="474" y="124"/>
                  <a:pt x="474" y="124"/>
                </a:cubicBezTo>
                <a:cubicBezTo>
                  <a:pt x="474" y="124"/>
                  <a:pt x="477" y="120"/>
                  <a:pt x="481" y="120"/>
                </a:cubicBezTo>
                <a:cubicBezTo>
                  <a:pt x="484" y="119"/>
                  <a:pt x="491" y="116"/>
                  <a:pt x="491" y="116"/>
                </a:cubicBezTo>
                <a:cubicBezTo>
                  <a:pt x="491" y="116"/>
                  <a:pt x="497" y="117"/>
                  <a:pt x="500" y="116"/>
                </a:cubicBezTo>
                <a:cubicBezTo>
                  <a:pt x="502" y="115"/>
                  <a:pt x="515" y="112"/>
                  <a:pt x="515" y="112"/>
                </a:cubicBezTo>
                <a:cubicBezTo>
                  <a:pt x="515" y="112"/>
                  <a:pt x="517" y="111"/>
                  <a:pt x="516" y="110"/>
                </a:cubicBezTo>
                <a:cubicBezTo>
                  <a:pt x="514" y="109"/>
                  <a:pt x="510" y="111"/>
                  <a:pt x="510" y="111"/>
                </a:cubicBezTo>
                <a:cubicBezTo>
                  <a:pt x="510" y="111"/>
                  <a:pt x="506" y="111"/>
                  <a:pt x="505" y="111"/>
                </a:cubicBezTo>
                <a:cubicBezTo>
                  <a:pt x="503" y="111"/>
                  <a:pt x="502" y="113"/>
                  <a:pt x="501" y="113"/>
                </a:cubicBezTo>
                <a:cubicBezTo>
                  <a:pt x="500" y="113"/>
                  <a:pt x="496" y="113"/>
                  <a:pt x="496" y="113"/>
                </a:cubicBezTo>
                <a:cubicBezTo>
                  <a:pt x="492" y="114"/>
                  <a:pt x="492" y="114"/>
                  <a:pt x="492" y="114"/>
                </a:cubicBezTo>
                <a:cubicBezTo>
                  <a:pt x="492" y="114"/>
                  <a:pt x="489" y="114"/>
                  <a:pt x="486" y="115"/>
                </a:cubicBezTo>
                <a:cubicBezTo>
                  <a:pt x="484" y="115"/>
                  <a:pt x="482" y="118"/>
                  <a:pt x="482" y="118"/>
                </a:cubicBezTo>
                <a:cubicBezTo>
                  <a:pt x="479" y="118"/>
                  <a:pt x="479" y="118"/>
                  <a:pt x="479" y="118"/>
                </a:cubicBezTo>
                <a:cubicBezTo>
                  <a:pt x="471" y="121"/>
                  <a:pt x="471" y="121"/>
                  <a:pt x="471" y="121"/>
                </a:cubicBezTo>
                <a:cubicBezTo>
                  <a:pt x="471" y="121"/>
                  <a:pt x="468" y="122"/>
                  <a:pt x="468" y="122"/>
                </a:cubicBezTo>
                <a:cubicBezTo>
                  <a:pt x="467" y="123"/>
                  <a:pt x="467" y="126"/>
                  <a:pt x="465" y="125"/>
                </a:cubicBezTo>
                <a:cubicBezTo>
                  <a:pt x="464" y="125"/>
                  <a:pt x="463" y="121"/>
                  <a:pt x="466" y="121"/>
                </a:cubicBezTo>
                <a:cubicBezTo>
                  <a:pt x="468" y="121"/>
                  <a:pt x="474" y="119"/>
                  <a:pt x="476" y="117"/>
                </a:cubicBezTo>
                <a:cubicBezTo>
                  <a:pt x="478" y="116"/>
                  <a:pt x="469" y="115"/>
                  <a:pt x="468" y="117"/>
                </a:cubicBezTo>
                <a:cubicBezTo>
                  <a:pt x="466" y="119"/>
                  <a:pt x="460" y="120"/>
                  <a:pt x="459" y="120"/>
                </a:cubicBezTo>
                <a:cubicBezTo>
                  <a:pt x="458" y="120"/>
                  <a:pt x="458" y="125"/>
                  <a:pt x="458" y="125"/>
                </a:cubicBezTo>
                <a:cubicBezTo>
                  <a:pt x="454" y="123"/>
                  <a:pt x="454" y="123"/>
                  <a:pt x="454" y="123"/>
                </a:cubicBezTo>
                <a:cubicBezTo>
                  <a:pt x="445" y="122"/>
                  <a:pt x="445" y="122"/>
                  <a:pt x="445" y="122"/>
                </a:cubicBezTo>
                <a:cubicBezTo>
                  <a:pt x="445" y="122"/>
                  <a:pt x="440" y="120"/>
                  <a:pt x="440" y="119"/>
                </a:cubicBezTo>
                <a:cubicBezTo>
                  <a:pt x="441" y="117"/>
                  <a:pt x="442" y="116"/>
                  <a:pt x="442" y="116"/>
                </a:cubicBezTo>
                <a:cubicBezTo>
                  <a:pt x="426" y="116"/>
                  <a:pt x="426" y="116"/>
                  <a:pt x="426" y="116"/>
                </a:cubicBezTo>
                <a:cubicBezTo>
                  <a:pt x="426" y="116"/>
                  <a:pt x="426" y="111"/>
                  <a:pt x="420" y="111"/>
                </a:cubicBezTo>
                <a:cubicBezTo>
                  <a:pt x="415" y="112"/>
                  <a:pt x="408" y="114"/>
                  <a:pt x="407" y="114"/>
                </a:cubicBezTo>
                <a:cubicBezTo>
                  <a:pt x="407" y="114"/>
                  <a:pt x="401" y="111"/>
                  <a:pt x="400" y="110"/>
                </a:cubicBezTo>
                <a:cubicBezTo>
                  <a:pt x="399" y="110"/>
                  <a:pt x="389" y="110"/>
                  <a:pt x="389" y="110"/>
                </a:cubicBezTo>
                <a:cubicBezTo>
                  <a:pt x="389" y="110"/>
                  <a:pt x="385" y="108"/>
                  <a:pt x="382" y="108"/>
                </a:cubicBezTo>
                <a:cubicBezTo>
                  <a:pt x="378" y="108"/>
                  <a:pt x="363" y="108"/>
                  <a:pt x="362" y="108"/>
                </a:cubicBezTo>
                <a:cubicBezTo>
                  <a:pt x="362" y="108"/>
                  <a:pt x="363" y="105"/>
                  <a:pt x="363" y="105"/>
                </a:cubicBezTo>
                <a:cubicBezTo>
                  <a:pt x="363" y="105"/>
                  <a:pt x="355" y="104"/>
                  <a:pt x="354" y="104"/>
                </a:cubicBezTo>
                <a:cubicBezTo>
                  <a:pt x="353" y="104"/>
                  <a:pt x="346" y="105"/>
                  <a:pt x="346" y="105"/>
                </a:cubicBezTo>
                <a:cubicBezTo>
                  <a:pt x="351" y="101"/>
                  <a:pt x="351" y="101"/>
                  <a:pt x="351" y="101"/>
                </a:cubicBezTo>
                <a:cubicBezTo>
                  <a:pt x="339" y="105"/>
                  <a:pt x="339" y="105"/>
                  <a:pt x="339" y="105"/>
                </a:cubicBezTo>
                <a:cubicBezTo>
                  <a:pt x="344" y="101"/>
                  <a:pt x="344" y="101"/>
                  <a:pt x="344" y="101"/>
                </a:cubicBezTo>
                <a:cubicBezTo>
                  <a:pt x="339" y="100"/>
                  <a:pt x="339" y="100"/>
                  <a:pt x="339" y="100"/>
                </a:cubicBezTo>
                <a:cubicBezTo>
                  <a:pt x="339" y="100"/>
                  <a:pt x="333" y="105"/>
                  <a:pt x="327" y="105"/>
                </a:cubicBezTo>
                <a:cubicBezTo>
                  <a:pt x="320" y="105"/>
                  <a:pt x="311" y="104"/>
                  <a:pt x="309" y="105"/>
                </a:cubicBezTo>
                <a:cubicBezTo>
                  <a:pt x="307" y="107"/>
                  <a:pt x="301" y="108"/>
                  <a:pt x="301" y="108"/>
                </a:cubicBezTo>
                <a:cubicBezTo>
                  <a:pt x="301" y="108"/>
                  <a:pt x="291" y="108"/>
                  <a:pt x="285" y="109"/>
                </a:cubicBezTo>
                <a:cubicBezTo>
                  <a:pt x="280" y="110"/>
                  <a:pt x="267" y="119"/>
                  <a:pt x="258" y="121"/>
                </a:cubicBezTo>
                <a:cubicBezTo>
                  <a:pt x="250" y="122"/>
                  <a:pt x="239" y="123"/>
                  <a:pt x="239" y="123"/>
                </a:cubicBezTo>
                <a:cubicBezTo>
                  <a:pt x="239" y="123"/>
                  <a:pt x="226" y="127"/>
                  <a:pt x="226" y="128"/>
                </a:cubicBezTo>
                <a:cubicBezTo>
                  <a:pt x="227" y="129"/>
                  <a:pt x="231" y="131"/>
                  <a:pt x="231" y="131"/>
                </a:cubicBezTo>
                <a:cubicBezTo>
                  <a:pt x="231" y="131"/>
                  <a:pt x="234" y="136"/>
                  <a:pt x="233" y="137"/>
                </a:cubicBezTo>
                <a:cubicBezTo>
                  <a:pt x="231" y="138"/>
                  <a:pt x="230" y="139"/>
                  <a:pt x="230" y="139"/>
                </a:cubicBezTo>
                <a:cubicBezTo>
                  <a:pt x="242" y="140"/>
                  <a:pt x="242" y="140"/>
                  <a:pt x="242" y="140"/>
                </a:cubicBezTo>
                <a:cubicBezTo>
                  <a:pt x="238" y="144"/>
                  <a:pt x="238" y="144"/>
                  <a:pt x="238" y="144"/>
                </a:cubicBezTo>
                <a:cubicBezTo>
                  <a:pt x="247" y="145"/>
                  <a:pt x="247" y="145"/>
                  <a:pt x="247" y="145"/>
                </a:cubicBezTo>
                <a:cubicBezTo>
                  <a:pt x="246" y="147"/>
                  <a:pt x="246" y="147"/>
                  <a:pt x="246" y="147"/>
                </a:cubicBezTo>
                <a:cubicBezTo>
                  <a:pt x="238" y="147"/>
                  <a:pt x="238" y="147"/>
                  <a:pt x="238" y="147"/>
                </a:cubicBezTo>
                <a:cubicBezTo>
                  <a:pt x="237" y="149"/>
                  <a:pt x="237" y="149"/>
                  <a:pt x="237" y="149"/>
                </a:cubicBezTo>
                <a:cubicBezTo>
                  <a:pt x="232" y="149"/>
                  <a:pt x="232" y="149"/>
                  <a:pt x="232" y="149"/>
                </a:cubicBezTo>
                <a:cubicBezTo>
                  <a:pt x="232" y="149"/>
                  <a:pt x="225" y="150"/>
                  <a:pt x="220" y="150"/>
                </a:cubicBezTo>
                <a:cubicBezTo>
                  <a:pt x="215" y="150"/>
                  <a:pt x="216" y="148"/>
                  <a:pt x="219" y="147"/>
                </a:cubicBezTo>
                <a:cubicBezTo>
                  <a:pt x="222" y="146"/>
                  <a:pt x="213" y="145"/>
                  <a:pt x="213" y="145"/>
                </a:cubicBezTo>
                <a:cubicBezTo>
                  <a:pt x="213" y="145"/>
                  <a:pt x="203" y="145"/>
                  <a:pt x="202" y="147"/>
                </a:cubicBezTo>
                <a:cubicBezTo>
                  <a:pt x="202" y="148"/>
                  <a:pt x="203" y="149"/>
                  <a:pt x="203" y="149"/>
                </a:cubicBezTo>
                <a:cubicBezTo>
                  <a:pt x="203" y="149"/>
                  <a:pt x="195" y="150"/>
                  <a:pt x="191" y="150"/>
                </a:cubicBezTo>
                <a:cubicBezTo>
                  <a:pt x="186" y="151"/>
                  <a:pt x="172" y="154"/>
                  <a:pt x="175" y="155"/>
                </a:cubicBezTo>
                <a:cubicBezTo>
                  <a:pt x="179" y="156"/>
                  <a:pt x="183" y="157"/>
                  <a:pt x="183" y="157"/>
                </a:cubicBezTo>
                <a:cubicBezTo>
                  <a:pt x="177" y="159"/>
                  <a:pt x="177" y="159"/>
                  <a:pt x="177" y="159"/>
                </a:cubicBezTo>
                <a:cubicBezTo>
                  <a:pt x="176" y="165"/>
                  <a:pt x="176" y="165"/>
                  <a:pt x="176" y="165"/>
                </a:cubicBezTo>
                <a:cubicBezTo>
                  <a:pt x="176" y="165"/>
                  <a:pt x="181" y="165"/>
                  <a:pt x="184" y="165"/>
                </a:cubicBezTo>
                <a:cubicBezTo>
                  <a:pt x="187" y="165"/>
                  <a:pt x="190" y="165"/>
                  <a:pt x="190" y="165"/>
                </a:cubicBezTo>
                <a:cubicBezTo>
                  <a:pt x="196" y="166"/>
                  <a:pt x="196" y="166"/>
                  <a:pt x="196" y="166"/>
                </a:cubicBezTo>
                <a:cubicBezTo>
                  <a:pt x="198" y="164"/>
                  <a:pt x="198" y="164"/>
                  <a:pt x="198" y="164"/>
                </a:cubicBezTo>
                <a:cubicBezTo>
                  <a:pt x="200" y="166"/>
                  <a:pt x="200" y="166"/>
                  <a:pt x="200" y="166"/>
                </a:cubicBezTo>
                <a:cubicBezTo>
                  <a:pt x="200" y="166"/>
                  <a:pt x="207" y="162"/>
                  <a:pt x="208" y="162"/>
                </a:cubicBezTo>
                <a:cubicBezTo>
                  <a:pt x="209" y="162"/>
                  <a:pt x="211" y="164"/>
                  <a:pt x="213" y="163"/>
                </a:cubicBezTo>
                <a:cubicBezTo>
                  <a:pt x="215" y="162"/>
                  <a:pt x="219" y="159"/>
                  <a:pt x="219" y="161"/>
                </a:cubicBezTo>
                <a:cubicBezTo>
                  <a:pt x="219" y="163"/>
                  <a:pt x="217" y="165"/>
                  <a:pt x="217" y="165"/>
                </a:cubicBezTo>
                <a:cubicBezTo>
                  <a:pt x="209" y="166"/>
                  <a:pt x="209" y="166"/>
                  <a:pt x="209" y="166"/>
                </a:cubicBezTo>
                <a:cubicBezTo>
                  <a:pt x="210" y="170"/>
                  <a:pt x="210" y="170"/>
                  <a:pt x="210" y="170"/>
                </a:cubicBezTo>
                <a:cubicBezTo>
                  <a:pt x="210" y="170"/>
                  <a:pt x="204" y="176"/>
                  <a:pt x="200" y="176"/>
                </a:cubicBezTo>
                <a:cubicBezTo>
                  <a:pt x="197" y="176"/>
                  <a:pt x="192" y="176"/>
                  <a:pt x="192" y="176"/>
                </a:cubicBezTo>
                <a:cubicBezTo>
                  <a:pt x="190" y="174"/>
                  <a:pt x="190" y="174"/>
                  <a:pt x="190" y="174"/>
                </a:cubicBezTo>
                <a:cubicBezTo>
                  <a:pt x="188" y="175"/>
                  <a:pt x="188" y="175"/>
                  <a:pt x="188" y="175"/>
                </a:cubicBezTo>
                <a:cubicBezTo>
                  <a:pt x="188" y="177"/>
                  <a:pt x="188" y="177"/>
                  <a:pt x="188" y="177"/>
                </a:cubicBezTo>
                <a:cubicBezTo>
                  <a:pt x="188" y="177"/>
                  <a:pt x="179" y="182"/>
                  <a:pt x="177" y="180"/>
                </a:cubicBezTo>
                <a:cubicBezTo>
                  <a:pt x="174" y="178"/>
                  <a:pt x="172" y="178"/>
                  <a:pt x="172" y="178"/>
                </a:cubicBezTo>
                <a:cubicBezTo>
                  <a:pt x="159" y="185"/>
                  <a:pt x="159" y="185"/>
                  <a:pt x="159" y="185"/>
                </a:cubicBezTo>
                <a:cubicBezTo>
                  <a:pt x="157" y="188"/>
                  <a:pt x="157" y="188"/>
                  <a:pt x="157" y="188"/>
                </a:cubicBezTo>
                <a:cubicBezTo>
                  <a:pt x="156" y="185"/>
                  <a:pt x="156" y="185"/>
                  <a:pt x="156" y="185"/>
                </a:cubicBezTo>
                <a:cubicBezTo>
                  <a:pt x="156" y="185"/>
                  <a:pt x="151" y="187"/>
                  <a:pt x="148" y="188"/>
                </a:cubicBezTo>
                <a:cubicBezTo>
                  <a:pt x="145" y="189"/>
                  <a:pt x="143" y="192"/>
                  <a:pt x="143" y="192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39" y="194"/>
                  <a:pt x="139" y="194"/>
                  <a:pt x="139" y="194"/>
                </a:cubicBezTo>
                <a:cubicBezTo>
                  <a:pt x="139" y="194"/>
                  <a:pt x="136" y="193"/>
                  <a:pt x="135" y="194"/>
                </a:cubicBezTo>
                <a:cubicBezTo>
                  <a:pt x="135" y="195"/>
                  <a:pt x="135" y="197"/>
                  <a:pt x="135" y="197"/>
                </a:cubicBezTo>
                <a:cubicBezTo>
                  <a:pt x="133" y="199"/>
                  <a:pt x="133" y="199"/>
                  <a:pt x="133" y="199"/>
                </a:cubicBezTo>
                <a:cubicBezTo>
                  <a:pt x="141" y="196"/>
                  <a:pt x="141" y="196"/>
                  <a:pt x="141" y="196"/>
                </a:cubicBezTo>
                <a:cubicBezTo>
                  <a:pt x="138" y="198"/>
                  <a:pt x="138" y="198"/>
                  <a:pt x="138" y="198"/>
                </a:cubicBezTo>
                <a:cubicBezTo>
                  <a:pt x="138" y="200"/>
                  <a:pt x="138" y="200"/>
                  <a:pt x="138" y="200"/>
                </a:cubicBezTo>
                <a:cubicBezTo>
                  <a:pt x="136" y="201"/>
                  <a:pt x="136" y="201"/>
                  <a:pt x="136" y="201"/>
                </a:cubicBezTo>
                <a:cubicBezTo>
                  <a:pt x="136" y="201"/>
                  <a:pt x="146" y="201"/>
                  <a:pt x="144" y="203"/>
                </a:cubicBezTo>
                <a:cubicBezTo>
                  <a:pt x="142" y="205"/>
                  <a:pt x="138" y="205"/>
                  <a:pt x="138" y="205"/>
                </a:cubicBezTo>
                <a:cubicBezTo>
                  <a:pt x="134" y="205"/>
                  <a:pt x="134" y="205"/>
                  <a:pt x="134" y="205"/>
                </a:cubicBezTo>
                <a:cubicBezTo>
                  <a:pt x="136" y="204"/>
                  <a:pt x="136" y="204"/>
                  <a:pt x="136" y="204"/>
                </a:cubicBezTo>
                <a:cubicBezTo>
                  <a:pt x="134" y="203"/>
                  <a:pt x="134" y="203"/>
                  <a:pt x="134" y="203"/>
                </a:cubicBezTo>
                <a:cubicBezTo>
                  <a:pt x="134" y="203"/>
                  <a:pt x="128" y="205"/>
                  <a:pt x="128" y="206"/>
                </a:cubicBezTo>
                <a:cubicBezTo>
                  <a:pt x="128" y="206"/>
                  <a:pt x="130" y="207"/>
                  <a:pt x="130" y="207"/>
                </a:cubicBezTo>
                <a:cubicBezTo>
                  <a:pt x="130" y="207"/>
                  <a:pt x="127" y="213"/>
                  <a:pt x="128" y="213"/>
                </a:cubicBezTo>
                <a:cubicBezTo>
                  <a:pt x="129" y="213"/>
                  <a:pt x="138" y="212"/>
                  <a:pt x="138" y="212"/>
                </a:cubicBezTo>
                <a:cubicBezTo>
                  <a:pt x="145" y="209"/>
                  <a:pt x="145" y="209"/>
                  <a:pt x="145" y="209"/>
                </a:cubicBezTo>
                <a:cubicBezTo>
                  <a:pt x="154" y="205"/>
                  <a:pt x="154" y="205"/>
                  <a:pt x="154" y="205"/>
                </a:cubicBezTo>
                <a:cubicBezTo>
                  <a:pt x="154" y="205"/>
                  <a:pt x="145" y="209"/>
                  <a:pt x="144" y="211"/>
                </a:cubicBezTo>
                <a:cubicBezTo>
                  <a:pt x="143" y="212"/>
                  <a:pt x="143" y="216"/>
                  <a:pt x="142" y="216"/>
                </a:cubicBezTo>
                <a:cubicBezTo>
                  <a:pt x="140" y="217"/>
                  <a:pt x="138" y="215"/>
                  <a:pt x="137" y="217"/>
                </a:cubicBezTo>
                <a:cubicBezTo>
                  <a:pt x="135" y="219"/>
                  <a:pt x="135" y="221"/>
                  <a:pt x="133" y="222"/>
                </a:cubicBezTo>
                <a:cubicBezTo>
                  <a:pt x="132" y="223"/>
                  <a:pt x="129" y="225"/>
                  <a:pt x="129" y="225"/>
                </a:cubicBezTo>
                <a:cubicBezTo>
                  <a:pt x="137" y="224"/>
                  <a:pt x="137" y="224"/>
                  <a:pt x="137" y="224"/>
                </a:cubicBezTo>
                <a:cubicBezTo>
                  <a:pt x="135" y="227"/>
                  <a:pt x="135" y="227"/>
                  <a:pt x="135" y="227"/>
                </a:cubicBezTo>
                <a:cubicBezTo>
                  <a:pt x="135" y="227"/>
                  <a:pt x="142" y="220"/>
                  <a:pt x="145" y="221"/>
                </a:cubicBezTo>
                <a:cubicBezTo>
                  <a:pt x="149" y="221"/>
                  <a:pt x="147" y="223"/>
                  <a:pt x="147" y="223"/>
                </a:cubicBezTo>
                <a:cubicBezTo>
                  <a:pt x="150" y="222"/>
                  <a:pt x="150" y="222"/>
                  <a:pt x="150" y="222"/>
                </a:cubicBezTo>
                <a:cubicBezTo>
                  <a:pt x="150" y="222"/>
                  <a:pt x="148" y="227"/>
                  <a:pt x="150" y="227"/>
                </a:cubicBezTo>
                <a:cubicBezTo>
                  <a:pt x="153" y="227"/>
                  <a:pt x="157" y="223"/>
                  <a:pt x="157" y="223"/>
                </a:cubicBezTo>
                <a:cubicBezTo>
                  <a:pt x="163" y="220"/>
                  <a:pt x="163" y="220"/>
                  <a:pt x="163" y="220"/>
                </a:cubicBezTo>
                <a:cubicBezTo>
                  <a:pt x="164" y="222"/>
                  <a:pt x="164" y="222"/>
                  <a:pt x="164" y="222"/>
                </a:cubicBezTo>
                <a:cubicBezTo>
                  <a:pt x="160" y="222"/>
                  <a:pt x="160" y="222"/>
                  <a:pt x="160" y="222"/>
                </a:cubicBezTo>
                <a:cubicBezTo>
                  <a:pt x="160" y="222"/>
                  <a:pt x="157" y="225"/>
                  <a:pt x="159" y="225"/>
                </a:cubicBezTo>
                <a:cubicBezTo>
                  <a:pt x="162" y="225"/>
                  <a:pt x="171" y="222"/>
                  <a:pt x="171" y="222"/>
                </a:cubicBezTo>
                <a:cubicBezTo>
                  <a:pt x="177" y="220"/>
                  <a:pt x="177" y="220"/>
                  <a:pt x="177" y="220"/>
                </a:cubicBezTo>
                <a:cubicBezTo>
                  <a:pt x="171" y="223"/>
                  <a:pt x="171" y="223"/>
                  <a:pt x="171" y="223"/>
                </a:cubicBezTo>
                <a:cubicBezTo>
                  <a:pt x="171" y="225"/>
                  <a:pt x="171" y="225"/>
                  <a:pt x="171" y="225"/>
                </a:cubicBezTo>
                <a:cubicBezTo>
                  <a:pt x="171" y="225"/>
                  <a:pt x="167" y="226"/>
                  <a:pt x="164" y="226"/>
                </a:cubicBezTo>
                <a:cubicBezTo>
                  <a:pt x="162" y="227"/>
                  <a:pt x="160" y="230"/>
                  <a:pt x="160" y="230"/>
                </a:cubicBezTo>
                <a:cubicBezTo>
                  <a:pt x="156" y="230"/>
                  <a:pt x="156" y="230"/>
                  <a:pt x="156" y="230"/>
                </a:cubicBezTo>
                <a:cubicBezTo>
                  <a:pt x="151" y="235"/>
                  <a:pt x="151" y="235"/>
                  <a:pt x="151" y="235"/>
                </a:cubicBezTo>
                <a:cubicBezTo>
                  <a:pt x="151" y="237"/>
                  <a:pt x="151" y="237"/>
                  <a:pt x="151" y="237"/>
                </a:cubicBezTo>
                <a:cubicBezTo>
                  <a:pt x="146" y="237"/>
                  <a:pt x="146" y="237"/>
                  <a:pt x="146" y="237"/>
                </a:cubicBezTo>
                <a:cubicBezTo>
                  <a:pt x="146" y="237"/>
                  <a:pt x="136" y="239"/>
                  <a:pt x="135" y="240"/>
                </a:cubicBezTo>
                <a:cubicBezTo>
                  <a:pt x="134" y="242"/>
                  <a:pt x="135" y="245"/>
                  <a:pt x="133" y="245"/>
                </a:cubicBezTo>
                <a:cubicBezTo>
                  <a:pt x="131" y="245"/>
                  <a:pt x="126" y="245"/>
                  <a:pt x="122" y="245"/>
                </a:cubicBezTo>
                <a:cubicBezTo>
                  <a:pt x="119" y="246"/>
                  <a:pt x="108" y="254"/>
                  <a:pt x="108" y="254"/>
                </a:cubicBezTo>
                <a:cubicBezTo>
                  <a:pt x="105" y="255"/>
                  <a:pt x="105" y="255"/>
                  <a:pt x="105" y="255"/>
                </a:cubicBezTo>
                <a:cubicBezTo>
                  <a:pt x="103" y="257"/>
                  <a:pt x="103" y="257"/>
                  <a:pt x="103" y="257"/>
                </a:cubicBezTo>
                <a:cubicBezTo>
                  <a:pt x="103" y="254"/>
                  <a:pt x="103" y="254"/>
                  <a:pt x="103" y="254"/>
                </a:cubicBezTo>
                <a:cubicBezTo>
                  <a:pt x="103" y="254"/>
                  <a:pt x="96" y="253"/>
                  <a:pt x="94" y="255"/>
                </a:cubicBezTo>
                <a:cubicBezTo>
                  <a:pt x="91" y="256"/>
                  <a:pt x="86" y="258"/>
                  <a:pt x="86" y="258"/>
                </a:cubicBezTo>
                <a:cubicBezTo>
                  <a:pt x="84" y="258"/>
                  <a:pt x="84" y="258"/>
                  <a:pt x="84" y="258"/>
                </a:cubicBezTo>
                <a:cubicBezTo>
                  <a:pt x="85" y="259"/>
                  <a:pt x="85" y="259"/>
                  <a:pt x="85" y="259"/>
                </a:cubicBezTo>
                <a:cubicBezTo>
                  <a:pt x="81" y="260"/>
                  <a:pt x="81" y="260"/>
                  <a:pt x="81" y="260"/>
                </a:cubicBezTo>
                <a:cubicBezTo>
                  <a:pt x="79" y="261"/>
                  <a:pt x="79" y="261"/>
                  <a:pt x="79" y="261"/>
                </a:cubicBezTo>
                <a:cubicBezTo>
                  <a:pt x="76" y="261"/>
                  <a:pt x="76" y="261"/>
                  <a:pt x="76" y="261"/>
                </a:cubicBezTo>
                <a:cubicBezTo>
                  <a:pt x="72" y="264"/>
                  <a:pt x="72" y="264"/>
                  <a:pt x="72" y="264"/>
                </a:cubicBezTo>
                <a:cubicBezTo>
                  <a:pt x="73" y="265"/>
                  <a:pt x="73" y="265"/>
                  <a:pt x="73" y="265"/>
                </a:cubicBezTo>
                <a:cubicBezTo>
                  <a:pt x="75" y="263"/>
                  <a:pt x="75" y="263"/>
                  <a:pt x="75" y="263"/>
                </a:cubicBezTo>
                <a:cubicBezTo>
                  <a:pt x="78" y="264"/>
                  <a:pt x="78" y="264"/>
                  <a:pt x="78" y="264"/>
                </a:cubicBezTo>
                <a:cubicBezTo>
                  <a:pt x="81" y="262"/>
                  <a:pt x="81" y="262"/>
                  <a:pt x="81" y="262"/>
                </a:cubicBezTo>
                <a:cubicBezTo>
                  <a:pt x="81" y="263"/>
                  <a:pt x="81" y="263"/>
                  <a:pt x="81" y="263"/>
                </a:cubicBezTo>
                <a:cubicBezTo>
                  <a:pt x="81" y="263"/>
                  <a:pt x="86" y="263"/>
                  <a:pt x="87" y="262"/>
                </a:cubicBezTo>
                <a:cubicBezTo>
                  <a:pt x="89" y="260"/>
                  <a:pt x="92" y="257"/>
                  <a:pt x="94" y="257"/>
                </a:cubicBezTo>
                <a:cubicBezTo>
                  <a:pt x="96" y="256"/>
                  <a:pt x="94" y="260"/>
                  <a:pt x="97" y="260"/>
                </a:cubicBezTo>
                <a:cubicBezTo>
                  <a:pt x="100" y="260"/>
                  <a:pt x="108" y="256"/>
                  <a:pt x="108" y="256"/>
                </a:cubicBezTo>
                <a:cubicBezTo>
                  <a:pt x="112" y="258"/>
                  <a:pt x="112" y="258"/>
                  <a:pt x="112" y="258"/>
                </a:cubicBezTo>
                <a:cubicBezTo>
                  <a:pt x="115" y="255"/>
                  <a:pt x="115" y="255"/>
                  <a:pt x="115" y="255"/>
                </a:cubicBezTo>
                <a:cubicBezTo>
                  <a:pt x="115" y="255"/>
                  <a:pt x="122" y="255"/>
                  <a:pt x="125" y="253"/>
                </a:cubicBezTo>
                <a:cubicBezTo>
                  <a:pt x="127" y="251"/>
                  <a:pt x="130" y="248"/>
                  <a:pt x="131" y="248"/>
                </a:cubicBezTo>
                <a:cubicBezTo>
                  <a:pt x="133" y="248"/>
                  <a:pt x="136" y="248"/>
                  <a:pt x="136" y="248"/>
                </a:cubicBezTo>
                <a:cubicBezTo>
                  <a:pt x="137" y="246"/>
                  <a:pt x="137" y="246"/>
                  <a:pt x="137" y="246"/>
                </a:cubicBezTo>
                <a:cubicBezTo>
                  <a:pt x="142" y="246"/>
                  <a:pt x="142" y="246"/>
                  <a:pt x="142" y="246"/>
                </a:cubicBezTo>
                <a:cubicBezTo>
                  <a:pt x="143" y="245"/>
                  <a:pt x="143" y="245"/>
                  <a:pt x="143" y="245"/>
                </a:cubicBezTo>
                <a:cubicBezTo>
                  <a:pt x="143" y="245"/>
                  <a:pt x="150" y="243"/>
                  <a:pt x="153" y="242"/>
                </a:cubicBezTo>
                <a:cubicBezTo>
                  <a:pt x="156" y="240"/>
                  <a:pt x="159" y="238"/>
                  <a:pt x="159" y="238"/>
                </a:cubicBezTo>
                <a:cubicBezTo>
                  <a:pt x="168" y="236"/>
                  <a:pt x="168" y="236"/>
                  <a:pt x="168" y="236"/>
                </a:cubicBezTo>
                <a:cubicBezTo>
                  <a:pt x="176" y="232"/>
                  <a:pt x="176" y="232"/>
                  <a:pt x="176" y="232"/>
                </a:cubicBezTo>
                <a:cubicBezTo>
                  <a:pt x="176" y="232"/>
                  <a:pt x="185" y="232"/>
                  <a:pt x="187" y="230"/>
                </a:cubicBezTo>
                <a:cubicBezTo>
                  <a:pt x="188" y="229"/>
                  <a:pt x="191" y="226"/>
                  <a:pt x="191" y="226"/>
                </a:cubicBezTo>
                <a:cubicBezTo>
                  <a:pt x="191" y="226"/>
                  <a:pt x="200" y="225"/>
                  <a:pt x="200" y="223"/>
                </a:cubicBezTo>
                <a:cubicBezTo>
                  <a:pt x="201" y="221"/>
                  <a:pt x="198" y="221"/>
                  <a:pt x="198" y="221"/>
                </a:cubicBezTo>
                <a:cubicBezTo>
                  <a:pt x="198" y="221"/>
                  <a:pt x="203" y="218"/>
                  <a:pt x="205" y="217"/>
                </a:cubicBezTo>
                <a:cubicBezTo>
                  <a:pt x="207" y="216"/>
                  <a:pt x="212" y="214"/>
                  <a:pt x="212" y="214"/>
                </a:cubicBezTo>
                <a:cubicBezTo>
                  <a:pt x="223" y="210"/>
                  <a:pt x="223" y="210"/>
                  <a:pt x="223" y="210"/>
                </a:cubicBezTo>
                <a:cubicBezTo>
                  <a:pt x="222" y="208"/>
                  <a:pt x="222" y="208"/>
                  <a:pt x="222" y="208"/>
                </a:cubicBezTo>
                <a:cubicBezTo>
                  <a:pt x="222" y="208"/>
                  <a:pt x="227" y="209"/>
                  <a:pt x="228" y="208"/>
                </a:cubicBezTo>
                <a:cubicBezTo>
                  <a:pt x="230" y="207"/>
                  <a:pt x="236" y="204"/>
                  <a:pt x="236" y="204"/>
                </a:cubicBezTo>
                <a:cubicBezTo>
                  <a:pt x="236" y="204"/>
                  <a:pt x="249" y="199"/>
                  <a:pt x="250" y="198"/>
                </a:cubicBezTo>
                <a:cubicBezTo>
                  <a:pt x="252" y="197"/>
                  <a:pt x="258" y="202"/>
                  <a:pt x="258" y="202"/>
                </a:cubicBezTo>
                <a:cubicBezTo>
                  <a:pt x="253" y="202"/>
                  <a:pt x="253" y="202"/>
                  <a:pt x="253" y="202"/>
                </a:cubicBezTo>
                <a:cubicBezTo>
                  <a:pt x="250" y="200"/>
                  <a:pt x="250" y="200"/>
                  <a:pt x="250" y="200"/>
                </a:cubicBezTo>
                <a:cubicBezTo>
                  <a:pt x="246" y="203"/>
                  <a:pt x="246" y="203"/>
                  <a:pt x="246" y="203"/>
                </a:cubicBezTo>
                <a:cubicBezTo>
                  <a:pt x="241" y="203"/>
                  <a:pt x="241" y="203"/>
                  <a:pt x="241" y="203"/>
                </a:cubicBezTo>
                <a:cubicBezTo>
                  <a:pt x="241" y="203"/>
                  <a:pt x="236" y="208"/>
                  <a:pt x="234" y="209"/>
                </a:cubicBezTo>
                <a:cubicBezTo>
                  <a:pt x="232" y="209"/>
                  <a:pt x="224" y="211"/>
                  <a:pt x="225" y="212"/>
                </a:cubicBezTo>
                <a:cubicBezTo>
                  <a:pt x="226" y="214"/>
                  <a:pt x="230" y="214"/>
                  <a:pt x="230" y="214"/>
                </a:cubicBezTo>
                <a:cubicBezTo>
                  <a:pt x="230" y="214"/>
                  <a:pt x="226" y="216"/>
                  <a:pt x="225" y="216"/>
                </a:cubicBezTo>
                <a:cubicBezTo>
                  <a:pt x="224" y="216"/>
                  <a:pt x="218" y="216"/>
                  <a:pt x="218" y="217"/>
                </a:cubicBezTo>
                <a:cubicBezTo>
                  <a:pt x="218" y="218"/>
                  <a:pt x="219" y="221"/>
                  <a:pt x="223" y="219"/>
                </a:cubicBezTo>
                <a:cubicBezTo>
                  <a:pt x="227" y="217"/>
                  <a:pt x="236" y="212"/>
                  <a:pt x="240" y="212"/>
                </a:cubicBezTo>
                <a:cubicBezTo>
                  <a:pt x="244" y="211"/>
                  <a:pt x="250" y="213"/>
                  <a:pt x="253" y="211"/>
                </a:cubicBezTo>
                <a:cubicBezTo>
                  <a:pt x="256" y="210"/>
                  <a:pt x="261" y="205"/>
                  <a:pt x="261" y="205"/>
                </a:cubicBezTo>
                <a:cubicBezTo>
                  <a:pt x="260" y="203"/>
                  <a:pt x="260" y="203"/>
                  <a:pt x="260" y="203"/>
                </a:cubicBezTo>
                <a:cubicBezTo>
                  <a:pt x="260" y="203"/>
                  <a:pt x="272" y="199"/>
                  <a:pt x="274" y="199"/>
                </a:cubicBezTo>
                <a:cubicBezTo>
                  <a:pt x="276" y="199"/>
                  <a:pt x="277" y="201"/>
                  <a:pt x="277" y="201"/>
                </a:cubicBezTo>
                <a:cubicBezTo>
                  <a:pt x="285" y="199"/>
                  <a:pt x="285" y="199"/>
                  <a:pt x="285" y="199"/>
                </a:cubicBezTo>
                <a:cubicBezTo>
                  <a:pt x="280" y="203"/>
                  <a:pt x="280" y="203"/>
                  <a:pt x="280" y="203"/>
                </a:cubicBezTo>
                <a:cubicBezTo>
                  <a:pt x="282" y="205"/>
                  <a:pt x="282" y="205"/>
                  <a:pt x="282" y="205"/>
                </a:cubicBezTo>
                <a:cubicBezTo>
                  <a:pt x="282" y="205"/>
                  <a:pt x="282" y="207"/>
                  <a:pt x="282" y="207"/>
                </a:cubicBezTo>
                <a:cubicBezTo>
                  <a:pt x="283" y="207"/>
                  <a:pt x="292" y="202"/>
                  <a:pt x="292" y="202"/>
                </a:cubicBezTo>
                <a:cubicBezTo>
                  <a:pt x="292" y="202"/>
                  <a:pt x="284" y="208"/>
                  <a:pt x="286" y="209"/>
                </a:cubicBezTo>
                <a:cubicBezTo>
                  <a:pt x="288" y="210"/>
                  <a:pt x="294" y="210"/>
                  <a:pt x="294" y="210"/>
                </a:cubicBezTo>
                <a:cubicBezTo>
                  <a:pt x="308" y="212"/>
                  <a:pt x="308" y="212"/>
                  <a:pt x="308" y="212"/>
                </a:cubicBezTo>
                <a:cubicBezTo>
                  <a:pt x="312" y="209"/>
                  <a:pt x="312" y="209"/>
                  <a:pt x="312" y="209"/>
                </a:cubicBezTo>
                <a:cubicBezTo>
                  <a:pt x="312" y="209"/>
                  <a:pt x="310" y="214"/>
                  <a:pt x="312" y="214"/>
                </a:cubicBezTo>
                <a:cubicBezTo>
                  <a:pt x="314" y="214"/>
                  <a:pt x="321" y="214"/>
                  <a:pt x="321" y="214"/>
                </a:cubicBezTo>
                <a:cubicBezTo>
                  <a:pt x="326" y="212"/>
                  <a:pt x="326" y="212"/>
                  <a:pt x="326" y="212"/>
                </a:cubicBezTo>
                <a:cubicBezTo>
                  <a:pt x="326" y="212"/>
                  <a:pt x="317" y="215"/>
                  <a:pt x="318" y="217"/>
                </a:cubicBezTo>
                <a:cubicBezTo>
                  <a:pt x="319" y="219"/>
                  <a:pt x="322" y="220"/>
                  <a:pt x="322" y="220"/>
                </a:cubicBezTo>
                <a:cubicBezTo>
                  <a:pt x="322" y="220"/>
                  <a:pt x="322" y="228"/>
                  <a:pt x="324" y="228"/>
                </a:cubicBezTo>
                <a:cubicBezTo>
                  <a:pt x="327" y="228"/>
                  <a:pt x="333" y="227"/>
                  <a:pt x="333" y="227"/>
                </a:cubicBezTo>
                <a:cubicBezTo>
                  <a:pt x="332" y="223"/>
                  <a:pt x="332" y="223"/>
                  <a:pt x="332" y="223"/>
                </a:cubicBezTo>
                <a:cubicBezTo>
                  <a:pt x="335" y="222"/>
                  <a:pt x="335" y="222"/>
                  <a:pt x="335" y="222"/>
                </a:cubicBezTo>
                <a:cubicBezTo>
                  <a:pt x="337" y="224"/>
                  <a:pt x="337" y="224"/>
                  <a:pt x="337" y="224"/>
                </a:cubicBezTo>
                <a:cubicBezTo>
                  <a:pt x="341" y="223"/>
                  <a:pt x="341" y="223"/>
                  <a:pt x="341" y="223"/>
                </a:cubicBezTo>
                <a:cubicBezTo>
                  <a:pt x="341" y="223"/>
                  <a:pt x="337" y="228"/>
                  <a:pt x="339" y="228"/>
                </a:cubicBezTo>
                <a:cubicBezTo>
                  <a:pt x="341" y="229"/>
                  <a:pt x="345" y="223"/>
                  <a:pt x="345" y="223"/>
                </a:cubicBezTo>
                <a:cubicBezTo>
                  <a:pt x="349" y="217"/>
                  <a:pt x="349" y="217"/>
                  <a:pt x="349" y="217"/>
                </a:cubicBezTo>
                <a:cubicBezTo>
                  <a:pt x="346" y="226"/>
                  <a:pt x="346" y="226"/>
                  <a:pt x="346" y="226"/>
                </a:cubicBezTo>
                <a:cubicBezTo>
                  <a:pt x="346" y="229"/>
                  <a:pt x="346" y="229"/>
                  <a:pt x="346" y="229"/>
                </a:cubicBezTo>
                <a:cubicBezTo>
                  <a:pt x="351" y="227"/>
                  <a:pt x="351" y="227"/>
                  <a:pt x="351" y="227"/>
                </a:cubicBezTo>
                <a:cubicBezTo>
                  <a:pt x="348" y="231"/>
                  <a:pt x="348" y="231"/>
                  <a:pt x="348" y="231"/>
                </a:cubicBezTo>
                <a:cubicBezTo>
                  <a:pt x="352" y="234"/>
                  <a:pt x="352" y="234"/>
                  <a:pt x="352" y="234"/>
                </a:cubicBezTo>
                <a:cubicBezTo>
                  <a:pt x="349" y="233"/>
                  <a:pt x="349" y="233"/>
                  <a:pt x="349" y="233"/>
                </a:cubicBezTo>
                <a:cubicBezTo>
                  <a:pt x="349" y="236"/>
                  <a:pt x="349" y="236"/>
                  <a:pt x="349" y="236"/>
                </a:cubicBezTo>
                <a:cubicBezTo>
                  <a:pt x="345" y="238"/>
                  <a:pt x="345" y="238"/>
                  <a:pt x="345" y="238"/>
                </a:cubicBezTo>
                <a:cubicBezTo>
                  <a:pt x="342" y="240"/>
                  <a:pt x="342" y="240"/>
                  <a:pt x="342" y="240"/>
                </a:cubicBezTo>
                <a:cubicBezTo>
                  <a:pt x="347" y="243"/>
                  <a:pt x="347" y="243"/>
                  <a:pt x="347" y="243"/>
                </a:cubicBezTo>
                <a:cubicBezTo>
                  <a:pt x="346" y="247"/>
                  <a:pt x="346" y="247"/>
                  <a:pt x="346" y="247"/>
                </a:cubicBezTo>
                <a:cubicBezTo>
                  <a:pt x="344" y="250"/>
                  <a:pt x="344" y="250"/>
                  <a:pt x="344" y="250"/>
                </a:cubicBezTo>
                <a:cubicBezTo>
                  <a:pt x="346" y="251"/>
                  <a:pt x="346" y="251"/>
                  <a:pt x="346" y="251"/>
                </a:cubicBezTo>
                <a:cubicBezTo>
                  <a:pt x="343" y="254"/>
                  <a:pt x="343" y="254"/>
                  <a:pt x="343" y="254"/>
                </a:cubicBezTo>
                <a:cubicBezTo>
                  <a:pt x="347" y="254"/>
                  <a:pt x="347" y="254"/>
                  <a:pt x="347" y="254"/>
                </a:cubicBezTo>
                <a:cubicBezTo>
                  <a:pt x="353" y="252"/>
                  <a:pt x="353" y="252"/>
                  <a:pt x="353" y="252"/>
                </a:cubicBezTo>
                <a:cubicBezTo>
                  <a:pt x="348" y="257"/>
                  <a:pt x="348" y="257"/>
                  <a:pt x="348" y="257"/>
                </a:cubicBezTo>
                <a:cubicBezTo>
                  <a:pt x="346" y="259"/>
                  <a:pt x="346" y="259"/>
                  <a:pt x="346" y="259"/>
                </a:cubicBezTo>
                <a:cubicBezTo>
                  <a:pt x="349" y="260"/>
                  <a:pt x="349" y="260"/>
                  <a:pt x="349" y="260"/>
                </a:cubicBezTo>
                <a:cubicBezTo>
                  <a:pt x="342" y="263"/>
                  <a:pt x="342" y="263"/>
                  <a:pt x="342" y="263"/>
                </a:cubicBezTo>
                <a:cubicBezTo>
                  <a:pt x="340" y="265"/>
                  <a:pt x="340" y="265"/>
                  <a:pt x="340" y="265"/>
                </a:cubicBezTo>
                <a:cubicBezTo>
                  <a:pt x="342" y="266"/>
                  <a:pt x="342" y="266"/>
                  <a:pt x="342" y="266"/>
                </a:cubicBezTo>
                <a:cubicBezTo>
                  <a:pt x="342" y="266"/>
                  <a:pt x="342" y="266"/>
                  <a:pt x="342" y="267"/>
                </a:cubicBezTo>
                <a:cubicBezTo>
                  <a:pt x="341" y="268"/>
                  <a:pt x="341" y="269"/>
                  <a:pt x="341" y="270"/>
                </a:cubicBezTo>
                <a:cubicBezTo>
                  <a:pt x="341" y="272"/>
                  <a:pt x="340" y="275"/>
                  <a:pt x="340" y="275"/>
                </a:cubicBezTo>
                <a:cubicBezTo>
                  <a:pt x="338" y="276"/>
                  <a:pt x="338" y="276"/>
                  <a:pt x="338" y="276"/>
                </a:cubicBezTo>
                <a:cubicBezTo>
                  <a:pt x="338" y="276"/>
                  <a:pt x="340" y="277"/>
                  <a:pt x="340" y="278"/>
                </a:cubicBezTo>
                <a:cubicBezTo>
                  <a:pt x="340" y="280"/>
                  <a:pt x="342" y="280"/>
                  <a:pt x="342" y="280"/>
                </a:cubicBezTo>
                <a:cubicBezTo>
                  <a:pt x="342" y="280"/>
                  <a:pt x="352" y="272"/>
                  <a:pt x="352" y="274"/>
                </a:cubicBezTo>
                <a:cubicBezTo>
                  <a:pt x="352" y="276"/>
                  <a:pt x="349" y="276"/>
                  <a:pt x="348" y="277"/>
                </a:cubicBezTo>
                <a:cubicBezTo>
                  <a:pt x="348" y="278"/>
                  <a:pt x="349" y="280"/>
                  <a:pt x="349" y="280"/>
                </a:cubicBezTo>
                <a:cubicBezTo>
                  <a:pt x="351" y="282"/>
                  <a:pt x="351" y="282"/>
                  <a:pt x="351" y="282"/>
                </a:cubicBezTo>
                <a:cubicBezTo>
                  <a:pt x="345" y="282"/>
                  <a:pt x="345" y="282"/>
                  <a:pt x="345" y="282"/>
                </a:cubicBezTo>
                <a:cubicBezTo>
                  <a:pt x="345" y="282"/>
                  <a:pt x="340" y="287"/>
                  <a:pt x="342" y="287"/>
                </a:cubicBezTo>
                <a:cubicBezTo>
                  <a:pt x="344" y="288"/>
                  <a:pt x="345" y="289"/>
                  <a:pt x="345" y="289"/>
                </a:cubicBezTo>
                <a:cubicBezTo>
                  <a:pt x="345" y="289"/>
                  <a:pt x="343" y="293"/>
                  <a:pt x="344" y="293"/>
                </a:cubicBezTo>
                <a:cubicBezTo>
                  <a:pt x="346" y="292"/>
                  <a:pt x="354" y="286"/>
                  <a:pt x="354" y="286"/>
                </a:cubicBezTo>
                <a:cubicBezTo>
                  <a:pt x="354" y="288"/>
                  <a:pt x="354" y="288"/>
                  <a:pt x="354" y="288"/>
                </a:cubicBezTo>
                <a:cubicBezTo>
                  <a:pt x="350" y="290"/>
                  <a:pt x="350" y="290"/>
                  <a:pt x="350" y="290"/>
                </a:cubicBezTo>
                <a:cubicBezTo>
                  <a:pt x="353" y="292"/>
                  <a:pt x="353" y="292"/>
                  <a:pt x="353" y="292"/>
                </a:cubicBezTo>
                <a:cubicBezTo>
                  <a:pt x="353" y="292"/>
                  <a:pt x="352" y="296"/>
                  <a:pt x="351" y="295"/>
                </a:cubicBezTo>
                <a:cubicBezTo>
                  <a:pt x="349" y="295"/>
                  <a:pt x="349" y="293"/>
                  <a:pt x="349" y="293"/>
                </a:cubicBezTo>
                <a:cubicBezTo>
                  <a:pt x="349" y="293"/>
                  <a:pt x="342" y="295"/>
                  <a:pt x="340" y="296"/>
                </a:cubicBezTo>
                <a:cubicBezTo>
                  <a:pt x="339" y="298"/>
                  <a:pt x="338" y="299"/>
                  <a:pt x="338" y="299"/>
                </a:cubicBezTo>
                <a:cubicBezTo>
                  <a:pt x="338" y="299"/>
                  <a:pt x="342" y="298"/>
                  <a:pt x="343" y="298"/>
                </a:cubicBezTo>
                <a:cubicBezTo>
                  <a:pt x="344" y="298"/>
                  <a:pt x="348" y="298"/>
                  <a:pt x="348" y="298"/>
                </a:cubicBezTo>
                <a:cubicBezTo>
                  <a:pt x="348" y="298"/>
                  <a:pt x="341" y="300"/>
                  <a:pt x="339" y="301"/>
                </a:cubicBezTo>
                <a:cubicBezTo>
                  <a:pt x="338" y="301"/>
                  <a:pt x="339" y="303"/>
                  <a:pt x="339" y="303"/>
                </a:cubicBezTo>
                <a:cubicBezTo>
                  <a:pt x="339" y="303"/>
                  <a:pt x="332" y="301"/>
                  <a:pt x="334" y="303"/>
                </a:cubicBezTo>
                <a:cubicBezTo>
                  <a:pt x="336" y="306"/>
                  <a:pt x="338" y="307"/>
                  <a:pt x="338" y="307"/>
                </a:cubicBezTo>
                <a:cubicBezTo>
                  <a:pt x="344" y="305"/>
                  <a:pt x="344" y="305"/>
                  <a:pt x="344" y="305"/>
                </a:cubicBezTo>
                <a:cubicBezTo>
                  <a:pt x="346" y="308"/>
                  <a:pt x="346" y="308"/>
                  <a:pt x="346" y="308"/>
                </a:cubicBezTo>
                <a:cubicBezTo>
                  <a:pt x="351" y="305"/>
                  <a:pt x="351" y="305"/>
                  <a:pt x="351" y="305"/>
                </a:cubicBezTo>
                <a:cubicBezTo>
                  <a:pt x="351" y="305"/>
                  <a:pt x="345" y="312"/>
                  <a:pt x="347" y="312"/>
                </a:cubicBezTo>
                <a:cubicBezTo>
                  <a:pt x="349" y="312"/>
                  <a:pt x="355" y="307"/>
                  <a:pt x="355" y="307"/>
                </a:cubicBezTo>
                <a:cubicBezTo>
                  <a:pt x="355" y="307"/>
                  <a:pt x="350" y="313"/>
                  <a:pt x="351" y="313"/>
                </a:cubicBezTo>
                <a:cubicBezTo>
                  <a:pt x="351" y="313"/>
                  <a:pt x="355" y="312"/>
                  <a:pt x="355" y="312"/>
                </a:cubicBezTo>
                <a:cubicBezTo>
                  <a:pt x="355" y="312"/>
                  <a:pt x="347" y="318"/>
                  <a:pt x="350" y="319"/>
                </a:cubicBezTo>
                <a:cubicBezTo>
                  <a:pt x="352" y="319"/>
                  <a:pt x="358" y="315"/>
                  <a:pt x="358" y="315"/>
                </a:cubicBezTo>
                <a:cubicBezTo>
                  <a:pt x="358" y="315"/>
                  <a:pt x="353" y="320"/>
                  <a:pt x="354" y="321"/>
                </a:cubicBezTo>
                <a:cubicBezTo>
                  <a:pt x="355" y="321"/>
                  <a:pt x="359" y="322"/>
                  <a:pt x="359" y="323"/>
                </a:cubicBezTo>
                <a:cubicBezTo>
                  <a:pt x="359" y="323"/>
                  <a:pt x="358" y="327"/>
                  <a:pt x="358" y="329"/>
                </a:cubicBezTo>
                <a:cubicBezTo>
                  <a:pt x="358" y="329"/>
                  <a:pt x="358" y="329"/>
                  <a:pt x="358" y="329"/>
                </a:cubicBezTo>
                <a:cubicBezTo>
                  <a:pt x="358" y="331"/>
                  <a:pt x="357" y="332"/>
                  <a:pt x="357" y="333"/>
                </a:cubicBezTo>
                <a:cubicBezTo>
                  <a:pt x="356" y="334"/>
                  <a:pt x="356" y="339"/>
                  <a:pt x="356" y="339"/>
                </a:cubicBezTo>
                <a:cubicBezTo>
                  <a:pt x="351" y="341"/>
                  <a:pt x="351" y="341"/>
                  <a:pt x="351" y="341"/>
                </a:cubicBezTo>
                <a:cubicBezTo>
                  <a:pt x="351" y="344"/>
                  <a:pt x="351" y="344"/>
                  <a:pt x="351" y="344"/>
                </a:cubicBezTo>
                <a:cubicBezTo>
                  <a:pt x="349" y="347"/>
                  <a:pt x="349" y="347"/>
                  <a:pt x="349" y="347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4" y="346"/>
                  <a:pt x="344" y="346"/>
                  <a:pt x="344" y="346"/>
                </a:cubicBezTo>
                <a:cubicBezTo>
                  <a:pt x="344" y="346"/>
                  <a:pt x="346" y="342"/>
                  <a:pt x="347" y="341"/>
                </a:cubicBezTo>
                <a:cubicBezTo>
                  <a:pt x="348" y="341"/>
                  <a:pt x="352" y="338"/>
                  <a:pt x="350" y="338"/>
                </a:cubicBezTo>
                <a:cubicBezTo>
                  <a:pt x="348" y="338"/>
                  <a:pt x="346" y="338"/>
                  <a:pt x="344" y="338"/>
                </a:cubicBezTo>
                <a:cubicBezTo>
                  <a:pt x="342" y="338"/>
                  <a:pt x="340" y="334"/>
                  <a:pt x="338" y="335"/>
                </a:cubicBezTo>
                <a:cubicBezTo>
                  <a:pt x="336" y="336"/>
                  <a:pt x="335" y="334"/>
                  <a:pt x="334" y="338"/>
                </a:cubicBezTo>
                <a:cubicBezTo>
                  <a:pt x="334" y="343"/>
                  <a:pt x="334" y="345"/>
                  <a:pt x="333" y="346"/>
                </a:cubicBezTo>
                <a:cubicBezTo>
                  <a:pt x="333" y="346"/>
                  <a:pt x="331" y="349"/>
                  <a:pt x="331" y="349"/>
                </a:cubicBezTo>
                <a:cubicBezTo>
                  <a:pt x="335" y="350"/>
                  <a:pt x="335" y="350"/>
                  <a:pt x="335" y="350"/>
                </a:cubicBezTo>
                <a:cubicBezTo>
                  <a:pt x="331" y="351"/>
                  <a:pt x="331" y="351"/>
                  <a:pt x="331" y="351"/>
                </a:cubicBezTo>
                <a:cubicBezTo>
                  <a:pt x="331" y="353"/>
                  <a:pt x="331" y="353"/>
                  <a:pt x="331" y="353"/>
                </a:cubicBezTo>
                <a:cubicBezTo>
                  <a:pt x="329" y="357"/>
                  <a:pt x="329" y="357"/>
                  <a:pt x="329" y="357"/>
                </a:cubicBezTo>
                <a:cubicBezTo>
                  <a:pt x="329" y="357"/>
                  <a:pt x="333" y="358"/>
                  <a:pt x="333" y="359"/>
                </a:cubicBezTo>
                <a:cubicBezTo>
                  <a:pt x="333" y="360"/>
                  <a:pt x="326" y="359"/>
                  <a:pt x="326" y="359"/>
                </a:cubicBezTo>
                <a:cubicBezTo>
                  <a:pt x="326" y="359"/>
                  <a:pt x="318" y="371"/>
                  <a:pt x="316" y="374"/>
                </a:cubicBezTo>
                <a:cubicBezTo>
                  <a:pt x="314" y="376"/>
                  <a:pt x="304" y="388"/>
                  <a:pt x="304" y="388"/>
                </a:cubicBezTo>
                <a:cubicBezTo>
                  <a:pt x="305" y="391"/>
                  <a:pt x="305" y="391"/>
                  <a:pt x="305" y="391"/>
                </a:cubicBezTo>
                <a:cubicBezTo>
                  <a:pt x="305" y="391"/>
                  <a:pt x="302" y="392"/>
                  <a:pt x="300" y="394"/>
                </a:cubicBezTo>
                <a:cubicBezTo>
                  <a:pt x="297" y="397"/>
                  <a:pt x="297" y="400"/>
                  <a:pt x="297" y="400"/>
                </a:cubicBezTo>
                <a:cubicBezTo>
                  <a:pt x="295" y="403"/>
                  <a:pt x="295" y="403"/>
                  <a:pt x="295" y="403"/>
                </a:cubicBezTo>
                <a:cubicBezTo>
                  <a:pt x="294" y="410"/>
                  <a:pt x="294" y="410"/>
                  <a:pt x="294" y="410"/>
                </a:cubicBezTo>
                <a:cubicBezTo>
                  <a:pt x="294" y="410"/>
                  <a:pt x="289" y="417"/>
                  <a:pt x="288" y="418"/>
                </a:cubicBezTo>
                <a:cubicBezTo>
                  <a:pt x="286" y="419"/>
                  <a:pt x="282" y="422"/>
                  <a:pt x="282" y="424"/>
                </a:cubicBezTo>
                <a:cubicBezTo>
                  <a:pt x="283" y="427"/>
                  <a:pt x="286" y="428"/>
                  <a:pt x="286" y="430"/>
                </a:cubicBezTo>
                <a:cubicBezTo>
                  <a:pt x="285" y="432"/>
                  <a:pt x="281" y="437"/>
                  <a:pt x="281" y="440"/>
                </a:cubicBezTo>
                <a:cubicBezTo>
                  <a:pt x="281" y="442"/>
                  <a:pt x="283" y="451"/>
                  <a:pt x="283" y="451"/>
                </a:cubicBezTo>
                <a:cubicBezTo>
                  <a:pt x="287" y="449"/>
                  <a:pt x="287" y="449"/>
                  <a:pt x="287" y="449"/>
                </a:cubicBezTo>
                <a:cubicBezTo>
                  <a:pt x="296" y="450"/>
                  <a:pt x="296" y="450"/>
                  <a:pt x="296" y="450"/>
                </a:cubicBezTo>
                <a:cubicBezTo>
                  <a:pt x="296" y="450"/>
                  <a:pt x="288" y="450"/>
                  <a:pt x="288" y="451"/>
                </a:cubicBezTo>
                <a:cubicBezTo>
                  <a:pt x="287" y="452"/>
                  <a:pt x="287" y="455"/>
                  <a:pt x="287" y="455"/>
                </a:cubicBezTo>
                <a:cubicBezTo>
                  <a:pt x="287" y="455"/>
                  <a:pt x="285" y="452"/>
                  <a:pt x="284" y="453"/>
                </a:cubicBezTo>
                <a:cubicBezTo>
                  <a:pt x="283" y="454"/>
                  <a:pt x="281" y="458"/>
                  <a:pt x="282" y="460"/>
                </a:cubicBezTo>
                <a:cubicBezTo>
                  <a:pt x="283" y="462"/>
                  <a:pt x="286" y="462"/>
                  <a:pt x="286" y="462"/>
                </a:cubicBezTo>
                <a:cubicBezTo>
                  <a:pt x="286" y="462"/>
                  <a:pt x="286" y="466"/>
                  <a:pt x="285" y="466"/>
                </a:cubicBezTo>
                <a:cubicBezTo>
                  <a:pt x="284" y="466"/>
                  <a:pt x="282" y="469"/>
                  <a:pt x="282" y="470"/>
                </a:cubicBezTo>
                <a:cubicBezTo>
                  <a:pt x="282" y="472"/>
                  <a:pt x="285" y="475"/>
                  <a:pt x="285" y="475"/>
                </a:cubicBezTo>
                <a:cubicBezTo>
                  <a:pt x="285" y="475"/>
                  <a:pt x="289" y="482"/>
                  <a:pt x="289" y="483"/>
                </a:cubicBezTo>
                <a:cubicBezTo>
                  <a:pt x="289" y="485"/>
                  <a:pt x="284" y="489"/>
                  <a:pt x="287" y="490"/>
                </a:cubicBezTo>
                <a:cubicBezTo>
                  <a:pt x="289" y="491"/>
                  <a:pt x="294" y="491"/>
                  <a:pt x="294" y="491"/>
                </a:cubicBezTo>
                <a:cubicBezTo>
                  <a:pt x="294" y="491"/>
                  <a:pt x="295" y="495"/>
                  <a:pt x="297" y="495"/>
                </a:cubicBezTo>
                <a:cubicBezTo>
                  <a:pt x="300" y="495"/>
                  <a:pt x="303" y="494"/>
                  <a:pt x="303" y="494"/>
                </a:cubicBezTo>
                <a:cubicBezTo>
                  <a:pt x="304" y="498"/>
                  <a:pt x="304" y="498"/>
                  <a:pt x="304" y="498"/>
                </a:cubicBezTo>
                <a:cubicBezTo>
                  <a:pt x="304" y="498"/>
                  <a:pt x="311" y="500"/>
                  <a:pt x="311" y="504"/>
                </a:cubicBezTo>
                <a:cubicBezTo>
                  <a:pt x="311" y="505"/>
                  <a:pt x="310" y="508"/>
                  <a:pt x="310" y="511"/>
                </a:cubicBezTo>
                <a:cubicBezTo>
                  <a:pt x="309" y="513"/>
                  <a:pt x="309" y="514"/>
                  <a:pt x="309" y="515"/>
                </a:cubicBezTo>
                <a:cubicBezTo>
                  <a:pt x="309" y="518"/>
                  <a:pt x="312" y="522"/>
                  <a:pt x="312" y="522"/>
                </a:cubicBezTo>
                <a:cubicBezTo>
                  <a:pt x="309" y="523"/>
                  <a:pt x="309" y="523"/>
                  <a:pt x="309" y="523"/>
                </a:cubicBezTo>
                <a:cubicBezTo>
                  <a:pt x="311" y="526"/>
                  <a:pt x="311" y="526"/>
                  <a:pt x="311" y="526"/>
                </a:cubicBezTo>
                <a:cubicBezTo>
                  <a:pt x="309" y="528"/>
                  <a:pt x="309" y="528"/>
                  <a:pt x="309" y="528"/>
                </a:cubicBezTo>
                <a:cubicBezTo>
                  <a:pt x="312" y="531"/>
                  <a:pt x="312" y="531"/>
                  <a:pt x="312" y="531"/>
                </a:cubicBezTo>
                <a:cubicBezTo>
                  <a:pt x="310" y="535"/>
                  <a:pt x="310" y="535"/>
                  <a:pt x="310" y="535"/>
                </a:cubicBezTo>
                <a:cubicBezTo>
                  <a:pt x="312" y="536"/>
                  <a:pt x="312" y="536"/>
                  <a:pt x="312" y="536"/>
                </a:cubicBezTo>
                <a:cubicBezTo>
                  <a:pt x="312" y="536"/>
                  <a:pt x="311" y="544"/>
                  <a:pt x="313" y="546"/>
                </a:cubicBezTo>
                <a:cubicBezTo>
                  <a:pt x="315" y="548"/>
                  <a:pt x="318" y="547"/>
                  <a:pt x="318" y="547"/>
                </a:cubicBezTo>
                <a:cubicBezTo>
                  <a:pt x="318" y="547"/>
                  <a:pt x="323" y="556"/>
                  <a:pt x="323" y="558"/>
                </a:cubicBezTo>
                <a:cubicBezTo>
                  <a:pt x="323" y="559"/>
                  <a:pt x="319" y="565"/>
                  <a:pt x="319" y="565"/>
                </a:cubicBezTo>
                <a:cubicBezTo>
                  <a:pt x="321" y="566"/>
                  <a:pt x="321" y="566"/>
                  <a:pt x="321" y="566"/>
                </a:cubicBezTo>
                <a:cubicBezTo>
                  <a:pt x="319" y="568"/>
                  <a:pt x="319" y="568"/>
                  <a:pt x="319" y="568"/>
                </a:cubicBezTo>
                <a:cubicBezTo>
                  <a:pt x="317" y="565"/>
                  <a:pt x="317" y="565"/>
                  <a:pt x="317" y="565"/>
                </a:cubicBezTo>
                <a:cubicBezTo>
                  <a:pt x="310" y="565"/>
                  <a:pt x="310" y="565"/>
                  <a:pt x="310" y="565"/>
                </a:cubicBezTo>
                <a:cubicBezTo>
                  <a:pt x="314" y="569"/>
                  <a:pt x="314" y="569"/>
                  <a:pt x="314" y="569"/>
                </a:cubicBezTo>
                <a:cubicBezTo>
                  <a:pt x="315" y="572"/>
                  <a:pt x="315" y="572"/>
                  <a:pt x="315" y="572"/>
                </a:cubicBezTo>
                <a:cubicBezTo>
                  <a:pt x="318" y="572"/>
                  <a:pt x="318" y="572"/>
                  <a:pt x="318" y="572"/>
                </a:cubicBezTo>
                <a:cubicBezTo>
                  <a:pt x="318" y="572"/>
                  <a:pt x="321" y="577"/>
                  <a:pt x="322" y="577"/>
                </a:cubicBezTo>
                <a:cubicBezTo>
                  <a:pt x="323" y="576"/>
                  <a:pt x="327" y="574"/>
                  <a:pt x="327" y="574"/>
                </a:cubicBezTo>
                <a:cubicBezTo>
                  <a:pt x="327" y="574"/>
                  <a:pt x="326" y="579"/>
                  <a:pt x="328" y="581"/>
                </a:cubicBezTo>
                <a:cubicBezTo>
                  <a:pt x="329" y="583"/>
                  <a:pt x="332" y="585"/>
                  <a:pt x="332" y="587"/>
                </a:cubicBezTo>
                <a:cubicBezTo>
                  <a:pt x="332" y="589"/>
                  <a:pt x="329" y="594"/>
                  <a:pt x="330" y="596"/>
                </a:cubicBezTo>
                <a:cubicBezTo>
                  <a:pt x="331" y="599"/>
                  <a:pt x="336" y="603"/>
                  <a:pt x="339" y="606"/>
                </a:cubicBezTo>
                <a:cubicBezTo>
                  <a:pt x="341" y="610"/>
                  <a:pt x="345" y="614"/>
                  <a:pt x="345" y="614"/>
                </a:cubicBezTo>
                <a:cubicBezTo>
                  <a:pt x="345" y="614"/>
                  <a:pt x="343" y="620"/>
                  <a:pt x="346" y="620"/>
                </a:cubicBezTo>
                <a:cubicBezTo>
                  <a:pt x="349" y="620"/>
                  <a:pt x="353" y="616"/>
                  <a:pt x="353" y="616"/>
                </a:cubicBezTo>
                <a:cubicBezTo>
                  <a:pt x="352" y="613"/>
                  <a:pt x="352" y="613"/>
                  <a:pt x="352" y="613"/>
                </a:cubicBezTo>
                <a:cubicBezTo>
                  <a:pt x="352" y="613"/>
                  <a:pt x="350" y="606"/>
                  <a:pt x="349" y="605"/>
                </a:cubicBezTo>
                <a:cubicBezTo>
                  <a:pt x="347" y="604"/>
                  <a:pt x="345" y="605"/>
                  <a:pt x="345" y="605"/>
                </a:cubicBezTo>
                <a:cubicBezTo>
                  <a:pt x="342" y="601"/>
                  <a:pt x="342" y="601"/>
                  <a:pt x="342" y="601"/>
                </a:cubicBezTo>
                <a:cubicBezTo>
                  <a:pt x="342" y="601"/>
                  <a:pt x="343" y="599"/>
                  <a:pt x="343" y="597"/>
                </a:cubicBezTo>
                <a:cubicBezTo>
                  <a:pt x="342" y="595"/>
                  <a:pt x="343" y="591"/>
                  <a:pt x="343" y="591"/>
                </a:cubicBezTo>
                <a:cubicBezTo>
                  <a:pt x="340" y="587"/>
                  <a:pt x="340" y="587"/>
                  <a:pt x="340" y="587"/>
                </a:cubicBezTo>
                <a:cubicBezTo>
                  <a:pt x="340" y="587"/>
                  <a:pt x="342" y="582"/>
                  <a:pt x="341" y="579"/>
                </a:cubicBezTo>
                <a:cubicBezTo>
                  <a:pt x="341" y="577"/>
                  <a:pt x="336" y="577"/>
                  <a:pt x="336" y="577"/>
                </a:cubicBezTo>
                <a:cubicBezTo>
                  <a:pt x="336" y="570"/>
                  <a:pt x="336" y="570"/>
                  <a:pt x="336" y="570"/>
                </a:cubicBezTo>
                <a:cubicBezTo>
                  <a:pt x="333" y="566"/>
                  <a:pt x="333" y="566"/>
                  <a:pt x="333" y="566"/>
                </a:cubicBezTo>
                <a:cubicBezTo>
                  <a:pt x="333" y="558"/>
                  <a:pt x="333" y="558"/>
                  <a:pt x="333" y="558"/>
                </a:cubicBezTo>
                <a:cubicBezTo>
                  <a:pt x="333" y="558"/>
                  <a:pt x="330" y="554"/>
                  <a:pt x="329" y="552"/>
                </a:cubicBezTo>
                <a:cubicBezTo>
                  <a:pt x="328" y="551"/>
                  <a:pt x="327" y="546"/>
                  <a:pt x="327" y="546"/>
                </a:cubicBezTo>
                <a:cubicBezTo>
                  <a:pt x="327" y="546"/>
                  <a:pt x="322" y="538"/>
                  <a:pt x="323" y="537"/>
                </a:cubicBezTo>
                <a:cubicBezTo>
                  <a:pt x="323" y="536"/>
                  <a:pt x="325" y="533"/>
                  <a:pt x="324" y="530"/>
                </a:cubicBezTo>
                <a:cubicBezTo>
                  <a:pt x="324" y="528"/>
                  <a:pt x="327" y="524"/>
                  <a:pt x="327" y="524"/>
                </a:cubicBezTo>
                <a:cubicBezTo>
                  <a:pt x="326" y="519"/>
                  <a:pt x="326" y="519"/>
                  <a:pt x="326" y="519"/>
                </a:cubicBezTo>
                <a:cubicBezTo>
                  <a:pt x="326" y="519"/>
                  <a:pt x="331" y="523"/>
                  <a:pt x="332" y="523"/>
                </a:cubicBezTo>
                <a:cubicBezTo>
                  <a:pt x="334" y="523"/>
                  <a:pt x="337" y="522"/>
                  <a:pt x="337" y="522"/>
                </a:cubicBezTo>
                <a:cubicBezTo>
                  <a:pt x="337" y="522"/>
                  <a:pt x="336" y="525"/>
                  <a:pt x="338" y="526"/>
                </a:cubicBezTo>
                <a:cubicBezTo>
                  <a:pt x="339" y="526"/>
                  <a:pt x="341" y="526"/>
                  <a:pt x="341" y="526"/>
                </a:cubicBezTo>
                <a:cubicBezTo>
                  <a:pt x="341" y="526"/>
                  <a:pt x="341" y="529"/>
                  <a:pt x="341" y="532"/>
                </a:cubicBezTo>
                <a:cubicBezTo>
                  <a:pt x="341" y="536"/>
                  <a:pt x="342" y="548"/>
                  <a:pt x="342" y="548"/>
                </a:cubicBezTo>
                <a:cubicBezTo>
                  <a:pt x="342" y="548"/>
                  <a:pt x="347" y="564"/>
                  <a:pt x="348" y="564"/>
                </a:cubicBezTo>
                <a:cubicBezTo>
                  <a:pt x="350" y="564"/>
                  <a:pt x="354" y="564"/>
                  <a:pt x="354" y="564"/>
                </a:cubicBezTo>
                <a:cubicBezTo>
                  <a:pt x="354" y="564"/>
                  <a:pt x="350" y="566"/>
                  <a:pt x="352" y="570"/>
                </a:cubicBezTo>
                <a:cubicBezTo>
                  <a:pt x="354" y="573"/>
                  <a:pt x="358" y="573"/>
                  <a:pt x="358" y="573"/>
                </a:cubicBezTo>
                <a:cubicBezTo>
                  <a:pt x="358" y="577"/>
                  <a:pt x="358" y="577"/>
                  <a:pt x="358" y="577"/>
                </a:cubicBezTo>
                <a:cubicBezTo>
                  <a:pt x="363" y="577"/>
                  <a:pt x="363" y="577"/>
                  <a:pt x="363" y="577"/>
                </a:cubicBezTo>
                <a:cubicBezTo>
                  <a:pt x="363" y="583"/>
                  <a:pt x="363" y="583"/>
                  <a:pt x="363" y="583"/>
                </a:cubicBezTo>
                <a:cubicBezTo>
                  <a:pt x="363" y="583"/>
                  <a:pt x="357" y="585"/>
                  <a:pt x="359" y="588"/>
                </a:cubicBezTo>
                <a:cubicBezTo>
                  <a:pt x="361" y="592"/>
                  <a:pt x="362" y="589"/>
                  <a:pt x="362" y="589"/>
                </a:cubicBezTo>
                <a:cubicBezTo>
                  <a:pt x="362" y="589"/>
                  <a:pt x="364" y="593"/>
                  <a:pt x="365" y="593"/>
                </a:cubicBezTo>
                <a:cubicBezTo>
                  <a:pt x="367" y="594"/>
                  <a:pt x="370" y="594"/>
                  <a:pt x="370" y="595"/>
                </a:cubicBezTo>
                <a:cubicBezTo>
                  <a:pt x="370" y="595"/>
                  <a:pt x="370" y="598"/>
                  <a:pt x="370" y="598"/>
                </a:cubicBezTo>
                <a:cubicBezTo>
                  <a:pt x="370" y="598"/>
                  <a:pt x="367" y="602"/>
                  <a:pt x="369" y="602"/>
                </a:cubicBezTo>
                <a:cubicBezTo>
                  <a:pt x="372" y="602"/>
                  <a:pt x="374" y="602"/>
                  <a:pt x="374" y="602"/>
                </a:cubicBezTo>
                <a:cubicBezTo>
                  <a:pt x="374" y="606"/>
                  <a:pt x="374" y="606"/>
                  <a:pt x="374" y="606"/>
                </a:cubicBezTo>
                <a:cubicBezTo>
                  <a:pt x="374" y="606"/>
                  <a:pt x="379" y="611"/>
                  <a:pt x="381" y="614"/>
                </a:cubicBezTo>
                <a:cubicBezTo>
                  <a:pt x="383" y="617"/>
                  <a:pt x="387" y="623"/>
                  <a:pt x="387" y="625"/>
                </a:cubicBezTo>
                <a:cubicBezTo>
                  <a:pt x="387" y="627"/>
                  <a:pt x="386" y="628"/>
                  <a:pt x="386" y="631"/>
                </a:cubicBezTo>
                <a:cubicBezTo>
                  <a:pt x="387" y="633"/>
                  <a:pt x="390" y="635"/>
                  <a:pt x="389" y="637"/>
                </a:cubicBezTo>
                <a:cubicBezTo>
                  <a:pt x="389" y="639"/>
                  <a:pt x="385" y="641"/>
                  <a:pt x="385" y="642"/>
                </a:cubicBezTo>
                <a:cubicBezTo>
                  <a:pt x="385" y="644"/>
                  <a:pt x="387" y="645"/>
                  <a:pt x="387" y="645"/>
                </a:cubicBezTo>
                <a:cubicBezTo>
                  <a:pt x="387" y="645"/>
                  <a:pt x="382" y="645"/>
                  <a:pt x="382" y="648"/>
                </a:cubicBezTo>
                <a:cubicBezTo>
                  <a:pt x="382" y="652"/>
                  <a:pt x="382" y="660"/>
                  <a:pt x="387" y="661"/>
                </a:cubicBezTo>
                <a:cubicBezTo>
                  <a:pt x="392" y="661"/>
                  <a:pt x="396" y="662"/>
                  <a:pt x="397" y="665"/>
                </a:cubicBezTo>
                <a:cubicBezTo>
                  <a:pt x="399" y="668"/>
                  <a:pt x="400" y="673"/>
                  <a:pt x="404" y="674"/>
                </a:cubicBezTo>
                <a:cubicBezTo>
                  <a:pt x="407" y="674"/>
                  <a:pt x="413" y="673"/>
                  <a:pt x="415" y="675"/>
                </a:cubicBezTo>
                <a:cubicBezTo>
                  <a:pt x="417" y="677"/>
                  <a:pt x="419" y="683"/>
                  <a:pt x="425" y="686"/>
                </a:cubicBezTo>
                <a:cubicBezTo>
                  <a:pt x="432" y="688"/>
                  <a:pt x="441" y="688"/>
                  <a:pt x="442" y="690"/>
                </a:cubicBezTo>
                <a:cubicBezTo>
                  <a:pt x="444" y="692"/>
                  <a:pt x="445" y="695"/>
                  <a:pt x="447" y="695"/>
                </a:cubicBezTo>
                <a:cubicBezTo>
                  <a:pt x="449" y="695"/>
                  <a:pt x="450" y="698"/>
                  <a:pt x="450" y="698"/>
                </a:cubicBezTo>
                <a:cubicBezTo>
                  <a:pt x="450" y="698"/>
                  <a:pt x="459" y="697"/>
                  <a:pt x="460" y="698"/>
                </a:cubicBezTo>
                <a:cubicBezTo>
                  <a:pt x="460" y="699"/>
                  <a:pt x="462" y="703"/>
                  <a:pt x="465" y="702"/>
                </a:cubicBezTo>
                <a:cubicBezTo>
                  <a:pt x="468" y="701"/>
                  <a:pt x="482" y="693"/>
                  <a:pt x="485" y="694"/>
                </a:cubicBezTo>
                <a:cubicBezTo>
                  <a:pt x="487" y="695"/>
                  <a:pt x="501" y="707"/>
                  <a:pt x="502" y="708"/>
                </a:cubicBezTo>
                <a:cubicBezTo>
                  <a:pt x="503" y="709"/>
                  <a:pt x="503" y="712"/>
                  <a:pt x="504" y="714"/>
                </a:cubicBezTo>
                <a:cubicBezTo>
                  <a:pt x="505" y="715"/>
                  <a:pt x="505" y="716"/>
                  <a:pt x="507" y="717"/>
                </a:cubicBezTo>
                <a:cubicBezTo>
                  <a:pt x="511" y="718"/>
                  <a:pt x="512" y="720"/>
                  <a:pt x="514" y="721"/>
                </a:cubicBezTo>
                <a:cubicBezTo>
                  <a:pt x="516" y="722"/>
                  <a:pt x="521" y="721"/>
                  <a:pt x="521" y="721"/>
                </a:cubicBezTo>
                <a:cubicBezTo>
                  <a:pt x="521" y="721"/>
                  <a:pt x="522" y="722"/>
                  <a:pt x="523" y="723"/>
                </a:cubicBezTo>
                <a:cubicBezTo>
                  <a:pt x="525" y="724"/>
                  <a:pt x="527" y="725"/>
                  <a:pt x="527" y="726"/>
                </a:cubicBezTo>
                <a:cubicBezTo>
                  <a:pt x="529" y="726"/>
                  <a:pt x="533" y="726"/>
                  <a:pt x="533" y="726"/>
                </a:cubicBezTo>
                <a:cubicBezTo>
                  <a:pt x="537" y="729"/>
                  <a:pt x="537" y="729"/>
                  <a:pt x="537" y="729"/>
                </a:cubicBezTo>
                <a:cubicBezTo>
                  <a:pt x="541" y="728"/>
                  <a:pt x="541" y="728"/>
                  <a:pt x="541" y="728"/>
                </a:cubicBezTo>
                <a:cubicBezTo>
                  <a:pt x="544" y="730"/>
                  <a:pt x="544" y="730"/>
                  <a:pt x="544" y="730"/>
                </a:cubicBezTo>
                <a:cubicBezTo>
                  <a:pt x="546" y="726"/>
                  <a:pt x="546" y="726"/>
                  <a:pt x="546" y="726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48" y="727"/>
                  <a:pt x="548" y="727"/>
                  <a:pt x="548" y="727"/>
                </a:cubicBezTo>
                <a:cubicBezTo>
                  <a:pt x="551" y="728"/>
                  <a:pt x="551" y="728"/>
                  <a:pt x="551" y="728"/>
                </a:cubicBezTo>
                <a:cubicBezTo>
                  <a:pt x="553" y="730"/>
                  <a:pt x="552" y="732"/>
                  <a:pt x="552" y="732"/>
                </a:cubicBezTo>
                <a:cubicBezTo>
                  <a:pt x="548" y="732"/>
                  <a:pt x="548" y="732"/>
                  <a:pt x="548" y="732"/>
                </a:cubicBezTo>
                <a:cubicBezTo>
                  <a:pt x="555" y="739"/>
                  <a:pt x="555" y="739"/>
                  <a:pt x="555" y="739"/>
                </a:cubicBezTo>
                <a:cubicBezTo>
                  <a:pt x="555" y="739"/>
                  <a:pt x="556" y="745"/>
                  <a:pt x="558" y="747"/>
                </a:cubicBezTo>
                <a:cubicBezTo>
                  <a:pt x="560" y="748"/>
                  <a:pt x="564" y="751"/>
                  <a:pt x="565" y="752"/>
                </a:cubicBezTo>
                <a:cubicBezTo>
                  <a:pt x="565" y="752"/>
                  <a:pt x="565" y="752"/>
                  <a:pt x="565" y="752"/>
                </a:cubicBezTo>
                <a:cubicBezTo>
                  <a:pt x="563" y="755"/>
                  <a:pt x="563" y="755"/>
                  <a:pt x="563" y="755"/>
                </a:cubicBezTo>
                <a:cubicBezTo>
                  <a:pt x="563" y="755"/>
                  <a:pt x="566" y="757"/>
                  <a:pt x="565" y="758"/>
                </a:cubicBezTo>
                <a:cubicBezTo>
                  <a:pt x="564" y="759"/>
                  <a:pt x="561" y="761"/>
                  <a:pt x="563" y="764"/>
                </a:cubicBezTo>
                <a:cubicBezTo>
                  <a:pt x="564" y="767"/>
                  <a:pt x="568" y="767"/>
                  <a:pt x="568" y="767"/>
                </a:cubicBezTo>
                <a:cubicBezTo>
                  <a:pt x="568" y="767"/>
                  <a:pt x="571" y="771"/>
                  <a:pt x="572" y="769"/>
                </a:cubicBezTo>
                <a:cubicBezTo>
                  <a:pt x="572" y="768"/>
                  <a:pt x="571" y="766"/>
                  <a:pt x="571" y="766"/>
                </a:cubicBezTo>
                <a:cubicBezTo>
                  <a:pt x="571" y="766"/>
                  <a:pt x="566" y="762"/>
                  <a:pt x="568" y="762"/>
                </a:cubicBezTo>
                <a:cubicBezTo>
                  <a:pt x="569" y="762"/>
                  <a:pt x="575" y="766"/>
                  <a:pt x="575" y="766"/>
                </a:cubicBezTo>
                <a:cubicBezTo>
                  <a:pt x="575" y="766"/>
                  <a:pt x="574" y="770"/>
                  <a:pt x="575" y="770"/>
                </a:cubicBezTo>
                <a:cubicBezTo>
                  <a:pt x="576" y="770"/>
                  <a:pt x="581" y="771"/>
                  <a:pt x="581" y="771"/>
                </a:cubicBezTo>
                <a:cubicBezTo>
                  <a:pt x="583" y="777"/>
                  <a:pt x="583" y="777"/>
                  <a:pt x="583" y="777"/>
                </a:cubicBezTo>
                <a:cubicBezTo>
                  <a:pt x="583" y="777"/>
                  <a:pt x="581" y="778"/>
                  <a:pt x="583" y="780"/>
                </a:cubicBezTo>
                <a:cubicBezTo>
                  <a:pt x="585" y="782"/>
                  <a:pt x="588" y="783"/>
                  <a:pt x="588" y="783"/>
                </a:cubicBezTo>
                <a:cubicBezTo>
                  <a:pt x="586" y="779"/>
                  <a:pt x="586" y="779"/>
                  <a:pt x="586" y="779"/>
                </a:cubicBezTo>
                <a:cubicBezTo>
                  <a:pt x="591" y="784"/>
                  <a:pt x="591" y="784"/>
                  <a:pt x="591" y="784"/>
                </a:cubicBezTo>
                <a:cubicBezTo>
                  <a:pt x="597" y="783"/>
                  <a:pt x="597" y="783"/>
                  <a:pt x="597" y="783"/>
                </a:cubicBezTo>
                <a:cubicBezTo>
                  <a:pt x="598" y="786"/>
                  <a:pt x="598" y="786"/>
                  <a:pt x="598" y="786"/>
                </a:cubicBezTo>
                <a:cubicBezTo>
                  <a:pt x="602" y="785"/>
                  <a:pt x="602" y="785"/>
                  <a:pt x="602" y="785"/>
                </a:cubicBezTo>
                <a:cubicBezTo>
                  <a:pt x="602" y="785"/>
                  <a:pt x="601" y="790"/>
                  <a:pt x="603" y="791"/>
                </a:cubicBezTo>
                <a:cubicBezTo>
                  <a:pt x="605" y="792"/>
                  <a:pt x="607" y="790"/>
                  <a:pt x="607" y="790"/>
                </a:cubicBezTo>
                <a:cubicBezTo>
                  <a:pt x="607" y="787"/>
                  <a:pt x="607" y="787"/>
                  <a:pt x="607" y="787"/>
                </a:cubicBezTo>
                <a:cubicBezTo>
                  <a:pt x="609" y="787"/>
                  <a:pt x="609" y="787"/>
                  <a:pt x="609" y="787"/>
                </a:cubicBezTo>
                <a:cubicBezTo>
                  <a:pt x="609" y="787"/>
                  <a:pt x="610" y="798"/>
                  <a:pt x="613" y="797"/>
                </a:cubicBezTo>
                <a:cubicBezTo>
                  <a:pt x="616" y="795"/>
                  <a:pt x="619" y="793"/>
                  <a:pt x="619" y="793"/>
                </a:cubicBezTo>
                <a:cubicBezTo>
                  <a:pt x="619" y="793"/>
                  <a:pt x="611" y="788"/>
                  <a:pt x="613" y="786"/>
                </a:cubicBezTo>
                <a:cubicBezTo>
                  <a:pt x="616" y="784"/>
                  <a:pt x="618" y="783"/>
                  <a:pt x="620" y="782"/>
                </a:cubicBezTo>
                <a:cubicBezTo>
                  <a:pt x="622" y="780"/>
                  <a:pt x="624" y="776"/>
                  <a:pt x="626" y="776"/>
                </a:cubicBezTo>
                <a:cubicBezTo>
                  <a:pt x="628" y="777"/>
                  <a:pt x="631" y="778"/>
                  <a:pt x="633" y="778"/>
                </a:cubicBezTo>
                <a:cubicBezTo>
                  <a:pt x="634" y="779"/>
                  <a:pt x="636" y="782"/>
                  <a:pt x="636" y="782"/>
                </a:cubicBezTo>
                <a:cubicBezTo>
                  <a:pt x="637" y="782"/>
                  <a:pt x="637" y="782"/>
                  <a:pt x="637" y="782"/>
                </a:cubicBezTo>
                <a:cubicBezTo>
                  <a:pt x="642" y="786"/>
                  <a:pt x="642" y="786"/>
                  <a:pt x="642" y="786"/>
                </a:cubicBezTo>
                <a:cubicBezTo>
                  <a:pt x="637" y="784"/>
                  <a:pt x="637" y="784"/>
                  <a:pt x="637" y="784"/>
                </a:cubicBezTo>
                <a:cubicBezTo>
                  <a:pt x="637" y="784"/>
                  <a:pt x="637" y="790"/>
                  <a:pt x="637" y="791"/>
                </a:cubicBezTo>
                <a:cubicBezTo>
                  <a:pt x="637" y="792"/>
                  <a:pt x="639" y="795"/>
                  <a:pt x="640" y="795"/>
                </a:cubicBezTo>
                <a:cubicBezTo>
                  <a:pt x="641" y="799"/>
                  <a:pt x="641" y="799"/>
                  <a:pt x="641" y="799"/>
                </a:cubicBezTo>
                <a:cubicBezTo>
                  <a:pt x="641" y="800"/>
                  <a:pt x="641" y="800"/>
                  <a:pt x="641" y="800"/>
                </a:cubicBezTo>
                <a:cubicBezTo>
                  <a:pt x="641" y="800"/>
                  <a:pt x="643" y="801"/>
                  <a:pt x="644" y="804"/>
                </a:cubicBezTo>
                <a:cubicBezTo>
                  <a:pt x="645" y="806"/>
                  <a:pt x="642" y="806"/>
                  <a:pt x="642" y="806"/>
                </a:cubicBezTo>
                <a:cubicBezTo>
                  <a:pt x="644" y="809"/>
                  <a:pt x="644" y="809"/>
                  <a:pt x="644" y="809"/>
                </a:cubicBezTo>
                <a:cubicBezTo>
                  <a:pt x="645" y="814"/>
                  <a:pt x="645" y="814"/>
                  <a:pt x="645" y="814"/>
                </a:cubicBezTo>
                <a:cubicBezTo>
                  <a:pt x="642" y="815"/>
                  <a:pt x="642" y="815"/>
                  <a:pt x="642" y="815"/>
                </a:cubicBezTo>
                <a:cubicBezTo>
                  <a:pt x="644" y="817"/>
                  <a:pt x="644" y="817"/>
                  <a:pt x="644" y="817"/>
                </a:cubicBezTo>
                <a:cubicBezTo>
                  <a:pt x="644" y="826"/>
                  <a:pt x="644" y="826"/>
                  <a:pt x="644" y="826"/>
                </a:cubicBezTo>
                <a:cubicBezTo>
                  <a:pt x="644" y="826"/>
                  <a:pt x="641" y="828"/>
                  <a:pt x="641" y="831"/>
                </a:cubicBezTo>
                <a:cubicBezTo>
                  <a:pt x="641" y="833"/>
                  <a:pt x="645" y="833"/>
                  <a:pt x="645" y="836"/>
                </a:cubicBezTo>
                <a:cubicBezTo>
                  <a:pt x="645" y="840"/>
                  <a:pt x="640" y="843"/>
                  <a:pt x="640" y="843"/>
                </a:cubicBezTo>
                <a:cubicBezTo>
                  <a:pt x="641" y="845"/>
                  <a:pt x="641" y="845"/>
                  <a:pt x="641" y="845"/>
                </a:cubicBezTo>
                <a:cubicBezTo>
                  <a:pt x="637" y="848"/>
                  <a:pt x="637" y="848"/>
                  <a:pt x="637" y="848"/>
                </a:cubicBezTo>
                <a:cubicBezTo>
                  <a:pt x="637" y="848"/>
                  <a:pt x="633" y="848"/>
                  <a:pt x="631" y="850"/>
                </a:cubicBezTo>
                <a:cubicBezTo>
                  <a:pt x="630" y="852"/>
                  <a:pt x="631" y="857"/>
                  <a:pt x="631" y="857"/>
                </a:cubicBezTo>
                <a:cubicBezTo>
                  <a:pt x="631" y="857"/>
                  <a:pt x="626" y="855"/>
                  <a:pt x="626" y="858"/>
                </a:cubicBezTo>
                <a:cubicBezTo>
                  <a:pt x="626" y="859"/>
                  <a:pt x="626" y="859"/>
                  <a:pt x="626" y="859"/>
                </a:cubicBezTo>
                <a:cubicBezTo>
                  <a:pt x="626" y="862"/>
                  <a:pt x="627" y="862"/>
                  <a:pt x="627" y="864"/>
                </a:cubicBezTo>
                <a:cubicBezTo>
                  <a:pt x="626" y="866"/>
                  <a:pt x="620" y="867"/>
                  <a:pt x="620" y="867"/>
                </a:cubicBezTo>
                <a:cubicBezTo>
                  <a:pt x="619" y="865"/>
                  <a:pt x="619" y="865"/>
                  <a:pt x="619" y="865"/>
                </a:cubicBezTo>
                <a:cubicBezTo>
                  <a:pt x="619" y="865"/>
                  <a:pt x="615" y="867"/>
                  <a:pt x="615" y="869"/>
                </a:cubicBezTo>
                <a:cubicBezTo>
                  <a:pt x="614" y="871"/>
                  <a:pt x="616" y="873"/>
                  <a:pt x="616" y="876"/>
                </a:cubicBezTo>
                <a:cubicBezTo>
                  <a:pt x="616" y="878"/>
                  <a:pt x="613" y="878"/>
                  <a:pt x="612" y="880"/>
                </a:cubicBezTo>
                <a:cubicBezTo>
                  <a:pt x="611" y="881"/>
                  <a:pt x="614" y="884"/>
                  <a:pt x="614" y="884"/>
                </a:cubicBezTo>
                <a:cubicBezTo>
                  <a:pt x="611" y="884"/>
                  <a:pt x="611" y="884"/>
                  <a:pt x="611" y="884"/>
                </a:cubicBezTo>
                <a:cubicBezTo>
                  <a:pt x="611" y="887"/>
                  <a:pt x="611" y="887"/>
                  <a:pt x="611" y="887"/>
                </a:cubicBezTo>
                <a:cubicBezTo>
                  <a:pt x="606" y="890"/>
                  <a:pt x="606" y="890"/>
                  <a:pt x="606" y="890"/>
                </a:cubicBezTo>
                <a:cubicBezTo>
                  <a:pt x="609" y="892"/>
                  <a:pt x="609" y="892"/>
                  <a:pt x="609" y="892"/>
                </a:cubicBezTo>
                <a:cubicBezTo>
                  <a:pt x="607" y="896"/>
                  <a:pt x="607" y="896"/>
                  <a:pt x="607" y="896"/>
                </a:cubicBezTo>
                <a:cubicBezTo>
                  <a:pt x="607" y="896"/>
                  <a:pt x="609" y="896"/>
                  <a:pt x="609" y="899"/>
                </a:cubicBezTo>
                <a:cubicBezTo>
                  <a:pt x="609" y="901"/>
                  <a:pt x="606" y="902"/>
                  <a:pt x="606" y="902"/>
                </a:cubicBezTo>
                <a:cubicBezTo>
                  <a:pt x="608" y="903"/>
                  <a:pt x="608" y="903"/>
                  <a:pt x="608" y="903"/>
                </a:cubicBezTo>
                <a:cubicBezTo>
                  <a:pt x="608" y="903"/>
                  <a:pt x="605" y="906"/>
                  <a:pt x="610" y="907"/>
                </a:cubicBezTo>
                <a:cubicBezTo>
                  <a:pt x="615" y="909"/>
                  <a:pt x="616" y="904"/>
                  <a:pt x="616" y="904"/>
                </a:cubicBezTo>
                <a:cubicBezTo>
                  <a:pt x="619" y="905"/>
                  <a:pt x="619" y="905"/>
                  <a:pt x="619" y="905"/>
                </a:cubicBezTo>
                <a:cubicBezTo>
                  <a:pt x="621" y="907"/>
                  <a:pt x="619" y="911"/>
                  <a:pt x="618" y="913"/>
                </a:cubicBezTo>
                <a:cubicBezTo>
                  <a:pt x="618" y="916"/>
                  <a:pt x="613" y="916"/>
                  <a:pt x="613" y="916"/>
                </a:cubicBezTo>
                <a:cubicBezTo>
                  <a:pt x="613" y="916"/>
                  <a:pt x="608" y="922"/>
                  <a:pt x="606" y="924"/>
                </a:cubicBezTo>
                <a:cubicBezTo>
                  <a:pt x="604" y="925"/>
                  <a:pt x="604" y="927"/>
                  <a:pt x="604" y="930"/>
                </a:cubicBezTo>
                <a:cubicBezTo>
                  <a:pt x="604" y="933"/>
                  <a:pt x="607" y="932"/>
                  <a:pt x="607" y="932"/>
                </a:cubicBezTo>
                <a:cubicBezTo>
                  <a:pt x="606" y="936"/>
                  <a:pt x="606" y="936"/>
                  <a:pt x="606" y="936"/>
                </a:cubicBezTo>
                <a:cubicBezTo>
                  <a:pt x="606" y="936"/>
                  <a:pt x="609" y="938"/>
                  <a:pt x="610" y="940"/>
                </a:cubicBezTo>
                <a:cubicBezTo>
                  <a:pt x="610" y="943"/>
                  <a:pt x="606" y="943"/>
                  <a:pt x="606" y="946"/>
                </a:cubicBezTo>
                <a:cubicBezTo>
                  <a:pt x="606" y="949"/>
                  <a:pt x="613" y="949"/>
                  <a:pt x="615" y="951"/>
                </a:cubicBezTo>
                <a:cubicBezTo>
                  <a:pt x="616" y="952"/>
                  <a:pt x="621" y="958"/>
                  <a:pt x="622" y="959"/>
                </a:cubicBezTo>
                <a:cubicBezTo>
                  <a:pt x="622" y="960"/>
                  <a:pt x="625" y="964"/>
                  <a:pt x="625" y="966"/>
                </a:cubicBezTo>
                <a:cubicBezTo>
                  <a:pt x="625" y="967"/>
                  <a:pt x="630" y="972"/>
                  <a:pt x="630" y="974"/>
                </a:cubicBezTo>
                <a:cubicBezTo>
                  <a:pt x="631" y="975"/>
                  <a:pt x="638" y="986"/>
                  <a:pt x="638" y="986"/>
                </a:cubicBezTo>
                <a:cubicBezTo>
                  <a:pt x="639" y="991"/>
                  <a:pt x="639" y="991"/>
                  <a:pt x="639" y="991"/>
                </a:cubicBezTo>
                <a:cubicBezTo>
                  <a:pt x="639" y="991"/>
                  <a:pt x="645" y="1003"/>
                  <a:pt x="645" y="1004"/>
                </a:cubicBezTo>
                <a:cubicBezTo>
                  <a:pt x="645" y="1006"/>
                  <a:pt x="647" y="1006"/>
                  <a:pt x="649" y="1007"/>
                </a:cubicBezTo>
                <a:cubicBezTo>
                  <a:pt x="650" y="1008"/>
                  <a:pt x="650" y="1010"/>
                  <a:pt x="650" y="1012"/>
                </a:cubicBezTo>
                <a:cubicBezTo>
                  <a:pt x="650" y="1015"/>
                  <a:pt x="657" y="1023"/>
                  <a:pt x="660" y="1026"/>
                </a:cubicBezTo>
                <a:cubicBezTo>
                  <a:pt x="662" y="1030"/>
                  <a:pt x="660" y="1035"/>
                  <a:pt x="660" y="1036"/>
                </a:cubicBezTo>
                <a:cubicBezTo>
                  <a:pt x="660" y="1038"/>
                  <a:pt x="665" y="1043"/>
                  <a:pt x="668" y="1045"/>
                </a:cubicBezTo>
                <a:cubicBezTo>
                  <a:pt x="670" y="1046"/>
                  <a:pt x="672" y="1050"/>
                  <a:pt x="673" y="1052"/>
                </a:cubicBezTo>
                <a:cubicBezTo>
                  <a:pt x="675" y="1053"/>
                  <a:pt x="685" y="1057"/>
                  <a:pt x="688" y="1059"/>
                </a:cubicBezTo>
                <a:cubicBezTo>
                  <a:pt x="691" y="1060"/>
                  <a:pt x="696" y="1062"/>
                  <a:pt x="701" y="1065"/>
                </a:cubicBezTo>
                <a:cubicBezTo>
                  <a:pt x="705" y="1069"/>
                  <a:pt x="712" y="1073"/>
                  <a:pt x="712" y="1073"/>
                </a:cubicBezTo>
                <a:cubicBezTo>
                  <a:pt x="713" y="1076"/>
                  <a:pt x="713" y="1076"/>
                  <a:pt x="713" y="1076"/>
                </a:cubicBezTo>
                <a:cubicBezTo>
                  <a:pt x="713" y="1076"/>
                  <a:pt x="716" y="1078"/>
                  <a:pt x="717" y="1079"/>
                </a:cubicBezTo>
                <a:cubicBezTo>
                  <a:pt x="718" y="1081"/>
                  <a:pt x="724" y="1084"/>
                  <a:pt x="724" y="1084"/>
                </a:cubicBezTo>
                <a:cubicBezTo>
                  <a:pt x="724" y="1085"/>
                  <a:pt x="724" y="1085"/>
                  <a:pt x="724" y="1085"/>
                </a:cubicBezTo>
                <a:cubicBezTo>
                  <a:pt x="724" y="1090"/>
                  <a:pt x="724" y="1090"/>
                  <a:pt x="724" y="1090"/>
                </a:cubicBezTo>
                <a:cubicBezTo>
                  <a:pt x="724" y="1090"/>
                  <a:pt x="727" y="1096"/>
                  <a:pt x="728" y="1100"/>
                </a:cubicBezTo>
                <a:cubicBezTo>
                  <a:pt x="729" y="1104"/>
                  <a:pt x="729" y="1110"/>
                  <a:pt x="729" y="1113"/>
                </a:cubicBezTo>
                <a:cubicBezTo>
                  <a:pt x="729" y="1116"/>
                  <a:pt x="731" y="1118"/>
                  <a:pt x="731" y="1123"/>
                </a:cubicBezTo>
                <a:cubicBezTo>
                  <a:pt x="731" y="1128"/>
                  <a:pt x="731" y="1136"/>
                  <a:pt x="731" y="1136"/>
                </a:cubicBezTo>
                <a:cubicBezTo>
                  <a:pt x="728" y="1137"/>
                  <a:pt x="728" y="1137"/>
                  <a:pt x="728" y="1137"/>
                </a:cubicBezTo>
                <a:cubicBezTo>
                  <a:pt x="729" y="1142"/>
                  <a:pt x="729" y="1142"/>
                  <a:pt x="729" y="1142"/>
                </a:cubicBezTo>
                <a:cubicBezTo>
                  <a:pt x="732" y="1143"/>
                  <a:pt x="732" y="1143"/>
                  <a:pt x="732" y="1143"/>
                </a:cubicBezTo>
                <a:cubicBezTo>
                  <a:pt x="731" y="1156"/>
                  <a:pt x="731" y="1156"/>
                  <a:pt x="731" y="1156"/>
                </a:cubicBezTo>
                <a:cubicBezTo>
                  <a:pt x="734" y="1162"/>
                  <a:pt x="734" y="1162"/>
                  <a:pt x="734" y="1162"/>
                </a:cubicBezTo>
                <a:cubicBezTo>
                  <a:pt x="731" y="1165"/>
                  <a:pt x="731" y="1165"/>
                  <a:pt x="731" y="1165"/>
                </a:cubicBezTo>
                <a:cubicBezTo>
                  <a:pt x="733" y="1174"/>
                  <a:pt x="733" y="1174"/>
                  <a:pt x="733" y="1174"/>
                </a:cubicBezTo>
                <a:cubicBezTo>
                  <a:pt x="733" y="1174"/>
                  <a:pt x="734" y="1174"/>
                  <a:pt x="735" y="1178"/>
                </a:cubicBezTo>
                <a:cubicBezTo>
                  <a:pt x="735" y="1181"/>
                  <a:pt x="733" y="1182"/>
                  <a:pt x="733" y="1182"/>
                </a:cubicBezTo>
                <a:cubicBezTo>
                  <a:pt x="732" y="1186"/>
                  <a:pt x="732" y="1186"/>
                  <a:pt x="732" y="1186"/>
                </a:cubicBezTo>
                <a:cubicBezTo>
                  <a:pt x="734" y="1188"/>
                  <a:pt x="734" y="1188"/>
                  <a:pt x="734" y="1188"/>
                </a:cubicBezTo>
                <a:cubicBezTo>
                  <a:pt x="734" y="1188"/>
                  <a:pt x="732" y="1189"/>
                  <a:pt x="731" y="1192"/>
                </a:cubicBezTo>
                <a:cubicBezTo>
                  <a:pt x="730" y="1195"/>
                  <a:pt x="732" y="1195"/>
                  <a:pt x="732" y="1195"/>
                </a:cubicBezTo>
                <a:cubicBezTo>
                  <a:pt x="732" y="1195"/>
                  <a:pt x="733" y="1196"/>
                  <a:pt x="733" y="1199"/>
                </a:cubicBezTo>
                <a:cubicBezTo>
                  <a:pt x="733" y="1201"/>
                  <a:pt x="731" y="1200"/>
                  <a:pt x="731" y="1205"/>
                </a:cubicBezTo>
                <a:cubicBezTo>
                  <a:pt x="731" y="1209"/>
                  <a:pt x="734" y="1209"/>
                  <a:pt x="735" y="1211"/>
                </a:cubicBezTo>
                <a:cubicBezTo>
                  <a:pt x="736" y="1212"/>
                  <a:pt x="735" y="1218"/>
                  <a:pt x="735" y="1218"/>
                </a:cubicBezTo>
                <a:cubicBezTo>
                  <a:pt x="735" y="1218"/>
                  <a:pt x="733" y="1217"/>
                  <a:pt x="732" y="1218"/>
                </a:cubicBezTo>
                <a:cubicBezTo>
                  <a:pt x="731" y="1218"/>
                  <a:pt x="732" y="1221"/>
                  <a:pt x="734" y="1226"/>
                </a:cubicBezTo>
                <a:cubicBezTo>
                  <a:pt x="735" y="1230"/>
                  <a:pt x="738" y="1236"/>
                  <a:pt x="738" y="1236"/>
                </a:cubicBezTo>
                <a:cubicBezTo>
                  <a:pt x="738" y="1236"/>
                  <a:pt x="738" y="1239"/>
                  <a:pt x="740" y="1240"/>
                </a:cubicBezTo>
                <a:cubicBezTo>
                  <a:pt x="741" y="1242"/>
                  <a:pt x="740" y="1248"/>
                  <a:pt x="740" y="1248"/>
                </a:cubicBezTo>
                <a:cubicBezTo>
                  <a:pt x="740" y="1252"/>
                  <a:pt x="740" y="1252"/>
                  <a:pt x="740" y="1252"/>
                </a:cubicBezTo>
                <a:cubicBezTo>
                  <a:pt x="743" y="1255"/>
                  <a:pt x="743" y="1255"/>
                  <a:pt x="743" y="1255"/>
                </a:cubicBezTo>
                <a:cubicBezTo>
                  <a:pt x="743" y="1255"/>
                  <a:pt x="741" y="1261"/>
                  <a:pt x="741" y="1264"/>
                </a:cubicBezTo>
                <a:cubicBezTo>
                  <a:pt x="741" y="1267"/>
                  <a:pt x="741" y="1273"/>
                  <a:pt x="741" y="1273"/>
                </a:cubicBezTo>
                <a:cubicBezTo>
                  <a:pt x="738" y="1278"/>
                  <a:pt x="738" y="1278"/>
                  <a:pt x="738" y="1278"/>
                </a:cubicBezTo>
                <a:cubicBezTo>
                  <a:pt x="740" y="1280"/>
                  <a:pt x="740" y="1280"/>
                  <a:pt x="740" y="1280"/>
                </a:cubicBezTo>
                <a:cubicBezTo>
                  <a:pt x="740" y="1280"/>
                  <a:pt x="739" y="1283"/>
                  <a:pt x="739" y="1285"/>
                </a:cubicBezTo>
                <a:cubicBezTo>
                  <a:pt x="739" y="1287"/>
                  <a:pt x="738" y="1296"/>
                  <a:pt x="738" y="1296"/>
                </a:cubicBezTo>
                <a:cubicBezTo>
                  <a:pt x="736" y="1296"/>
                  <a:pt x="736" y="1296"/>
                  <a:pt x="736" y="1296"/>
                </a:cubicBezTo>
                <a:cubicBezTo>
                  <a:pt x="736" y="1299"/>
                  <a:pt x="736" y="1299"/>
                  <a:pt x="736" y="1299"/>
                </a:cubicBezTo>
                <a:cubicBezTo>
                  <a:pt x="739" y="1306"/>
                  <a:pt x="739" y="1306"/>
                  <a:pt x="739" y="1306"/>
                </a:cubicBezTo>
                <a:cubicBezTo>
                  <a:pt x="739" y="1306"/>
                  <a:pt x="739" y="1310"/>
                  <a:pt x="739" y="1312"/>
                </a:cubicBezTo>
                <a:cubicBezTo>
                  <a:pt x="739" y="1314"/>
                  <a:pt x="744" y="1315"/>
                  <a:pt x="745" y="1319"/>
                </a:cubicBezTo>
                <a:cubicBezTo>
                  <a:pt x="746" y="1322"/>
                  <a:pt x="744" y="1330"/>
                  <a:pt x="744" y="1330"/>
                </a:cubicBezTo>
                <a:cubicBezTo>
                  <a:pt x="746" y="1331"/>
                  <a:pt x="746" y="1331"/>
                  <a:pt x="746" y="1331"/>
                </a:cubicBezTo>
                <a:cubicBezTo>
                  <a:pt x="746" y="1331"/>
                  <a:pt x="746" y="1337"/>
                  <a:pt x="746" y="1340"/>
                </a:cubicBezTo>
                <a:cubicBezTo>
                  <a:pt x="746" y="1342"/>
                  <a:pt x="752" y="1344"/>
                  <a:pt x="752" y="1344"/>
                </a:cubicBezTo>
                <a:cubicBezTo>
                  <a:pt x="751" y="1347"/>
                  <a:pt x="751" y="1347"/>
                  <a:pt x="751" y="1347"/>
                </a:cubicBezTo>
                <a:cubicBezTo>
                  <a:pt x="757" y="1347"/>
                  <a:pt x="757" y="1347"/>
                  <a:pt x="757" y="1347"/>
                </a:cubicBezTo>
                <a:cubicBezTo>
                  <a:pt x="757" y="1343"/>
                  <a:pt x="757" y="1343"/>
                  <a:pt x="757" y="1343"/>
                </a:cubicBezTo>
                <a:cubicBezTo>
                  <a:pt x="757" y="1343"/>
                  <a:pt x="759" y="1345"/>
                  <a:pt x="761" y="1345"/>
                </a:cubicBezTo>
                <a:cubicBezTo>
                  <a:pt x="763" y="1345"/>
                  <a:pt x="763" y="1342"/>
                  <a:pt x="763" y="1342"/>
                </a:cubicBezTo>
                <a:cubicBezTo>
                  <a:pt x="764" y="1345"/>
                  <a:pt x="764" y="1345"/>
                  <a:pt x="764" y="1345"/>
                </a:cubicBezTo>
                <a:cubicBezTo>
                  <a:pt x="764" y="1345"/>
                  <a:pt x="760" y="1347"/>
                  <a:pt x="760" y="1349"/>
                </a:cubicBezTo>
                <a:cubicBezTo>
                  <a:pt x="759" y="1352"/>
                  <a:pt x="763" y="1349"/>
                  <a:pt x="764" y="1350"/>
                </a:cubicBezTo>
                <a:cubicBezTo>
                  <a:pt x="766" y="1351"/>
                  <a:pt x="765" y="1353"/>
                  <a:pt x="765" y="1353"/>
                </a:cubicBezTo>
                <a:cubicBezTo>
                  <a:pt x="761" y="1353"/>
                  <a:pt x="761" y="1353"/>
                  <a:pt x="761" y="1353"/>
                </a:cubicBezTo>
                <a:cubicBezTo>
                  <a:pt x="764" y="1356"/>
                  <a:pt x="764" y="1356"/>
                  <a:pt x="764" y="1356"/>
                </a:cubicBezTo>
                <a:cubicBezTo>
                  <a:pt x="762" y="1357"/>
                  <a:pt x="762" y="1357"/>
                  <a:pt x="762" y="1357"/>
                </a:cubicBezTo>
                <a:cubicBezTo>
                  <a:pt x="765" y="1361"/>
                  <a:pt x="765" y="1361"/>
                  <a:pt x="765" y="1361"/>
                </a:cubicBezTo>
                <a:cubicBezTo>
                  <a:pt x="765" y="1361"/>
                  <a:pt x="763" y="1363"/>
                  <a:pt x="762" y="1365"/>
                </a:cubicBezTo>
                <a:cubicBezTo>
                  <a:pt x="760" y="1367"/>
                  <a:pt x="768" y="1369"/>
                  <a:pt x="768" y="1369"/>
                </a:cubicBezTo>
                <a:cubicBezTo>
                  <a:pt x="768" y="1369"/>
                  <a:pt x="767" y="1370"/>
                  <a:pt x="766" y="1371"/>
                </a:cubicBezTo>
                <a:cubicBezTo>
                  <a:pt x="765" y="1371"/>
                  <a:pt x="766" y="1374"/>
                  <a:pt x="768" y="1375"/>
                </a:cubicBezTo>
                <a:cubicBezTo>
                  <a:pt x="770" y="1376"/>
                  <a:pt x="773" y="1375"/>
                  <a:pt x="773" y="1375"/>
                </a:cubicBezTo>
                <a:cubicBezTo>
                  <a:pt x="774" y="1380"/>
                  <a:pt x="774" y="1380"/>
                  <a:pt x="774" y="1380"/>
                </a:cubicBezTo>
                <a:cubicBezTo>
                  <a:pt x="774" y="1380"/>
                  <a:pt x="770" y="1383"/>
                  <a:pt x="769" y="1384"/>
                </a:cubicBezTo>
                <a:cubicBezTo>
                  <a:pt x="768" y="1386"/>
                  <a:pt x="772" y="1386"/>
                  <a:pt x="772" y="1386"/>
                </a:cubicBezTo>
                <a:cubicBezTo>
                  <a:pt x="772" y="1386"/>
                  <a:pt x="777" y="1387"/>
                  <a:pt x="777" y="1388"/>
                </a:cubicBezTo>
                <a:cubicBezTo>
                  <a:pt x="777" y="1390"/>
                  <a:pt x="773" y="1388"/>
                  <a:pt x="771" y="1387"/>
                </a:cubicBezTo>
                <a:cubicBezTo>
                  <a:pt x="769" y="1386"/>
                  <a:pt x="769" y="1390"/>
                  <a:pt x="769" y="1390"/>
                </a:cubicBezTo>
                <a:cubicBezTo>
                  <a:pt x="773" y="1390"/>
                  <a:pt x="773" y="1390"/>
                  <a:pt x="773" y="1390"/>
                </a:cubicBezTo>
                <a:cubicBezTo>
                  <a:pt x="770" y="1392"/>
                  <a:pt x="770" y="1392"/>
                  <a:pt x="770" y="1392"/>
                </a:cubicBezTo>
                <a:cubicBezTo>
                  <a:pt x="770" y="1395"/>
                  <a:pt x="770" y="1395"/>
                  <a:pt x="770" y="1395"/>
                </a:cubicBezTo>
                <a:cubicBezTo>
                  <a:pt x="770" y="1395"/>
                  <a:pt x="774" y="1394"/>
                  <a:pt x="772" y="1398"/>
                </a:cubicBezTo>
                <a:cubicBezTo>
                  <a:pt x="771" y="1403"/>
                  <a:pt x="769" y="1396"/>
                  <a:pt x="769" y="1396"/>
                </a:cubicBezTo>
                <a:cubicBezTo>
                  <a:pt x="764" y="1396"/>
                  <a:pt x="764" y="1396"/>
                  <a:pt x="764" y="1396"/>
                </a:cubicBezTo>
                <a:cubicBezTo>
                  <a:pt x="767" y="1395"/>
                  <a:pt x="767" y="1395"/>
                  <a:pt x="767" y="1395"/>
                </a:cubicBezTo>
                <a:cubicBezTo>
                  <a:pt x="767" y="1395"/>
                  <a:pt x="763" y="1391"/>
                  <a:pt x="763" y="1391"/>
                </a:cubicBezTo>
                <a:cubicBezTo>
                  <a:pt x="762" y="1392"/>
                  <a:pt x="763" y="1394"/>
                  <a:pt x="763" y="1394"/>
                </a:cubicBezTo>
                <a:cubicBezTo>
                  <a:pt x="761" y="1392"/>
                  <a:pt x="761" y="1392"/>
                  <a:pt x="761" y="1392"/>
                </a:cubicBezTo>
                <a:cubicBezTo>
                  <a:pt x="756" y="1394"/>
                  <a:pt x="756" y="1394"/>
                  <a:pt x="756" y="1394"/>
                </a:cubicBezTo>
                <a:cubicBezTo>
                  <a:pt x="761" y="1395"/>
                  <a:pt x="761" y="1395"/>
                  <a:pt x="761" y="1395"/>
                </a:cubicBezTo>
                <a:cubicBezTo>
                  <a:pt x="761" y="1395"/>
                  <a:pt x="760" y="1395"/>
                  <a:pt x="759" y="1397"/>
                </a:cubicBezTo>
                <a:cubicBezTo>
                  <a:pt x="758" y="1398"/>
                  <a:pt x="755" y="1399"/>
                  <a:pt x="755" y="1401"/>
                </a:cubicBezTo>
                <a:cubicBezTo>
                  <a:pt x="754" y="1403"/>
                  <a:pt x="759" y="1404"/>
                  <a:pt x="759" y="1404"/>
                </a:cubicBezTo>
                <a:cubicBezTo>
                  <a:pt x="760" y="1403"/>
                  <a:pt x="758" y="1401"/>
                  <a:pt x="758" y="1401"/>
                </a:cubicBezTo>
                <a:cubicBezTo>
                  <a:pt x="761" y="1401"/>
                  <a:pt x="761" y="1401"/>
                  <a:pt x="761" y="1401"/>
                </a:cubicBezTo>
                <a:cubicBezTo>
                  <a:pt x="761" y="1401"/>
                  <a:pt x="762" y="1402"/>
                  <a:pt x="763" y="1403"/>
                </a:cubicBezTo>
                <a:cubicBezTo>
                  <a:pt x="764" y="1404"/>
                  <a:pt x="769" y="1403"/>
                  <a:pt x="769" y="1403"/>
                </a:cubicBezTo>
                <a:cubicBezTo>
                  <a:pt x="769" y="1403"/>
                  <a:pt x="772" y="1404"/>
                  <a:pt x="773" y="1406"/>
                </a:cubicBezTo>
                <a:cubicBezTo>
                  <a:pt x="774" y="1408"/>
                  <a:pt x="770" y="1409"/>
                  <a:pt x="770" y="1409"/>
                </a:cubicBezTo>
                <a:cubicBezTo>
                  <a:pt x="772" y="1411"/>
                  <a:pt x="772" y="1411"/>
                  <a:pt x="772" y="1411"/>
                </a:cubicBezTo>
                <a:cubicBezTo>
                  <a:pt x="774" y="1411"/>
                  <a:pt x="774" y="1411"/>
                  <a:pt x="774" y="1411"/>
                </a:cubicBezTo>
                <a:cubicBezTo>
                  <a:pt x="774" y="1413"/>
                  <a:pt x="774" y="1413"/>
                  <a:pt x="774" y="1413"/>
                </a:cubicBezTo>
                <a:cubicBezTo>
                  <a:pt x="777" y="1414"/>
                  <a:pt x="777" y="1414"/>
                  <a:pt x="777" y="1414"/>
                </a:cubicBezTo>
                <a:cubicBezTo>
                  <a:pt x="778" y="1411"/>
                  <a:pt x="778" y="1411"/>
                  <a:pt x="778" y="1411"/>
                </a:cubicBezTo>
                <a:cubicBezTo>
                  <a:pt x="780" y="1414"/>
                  <a:pt x="780" y="1414"/>
                  <a:pt x="780" y="1414"/>
                </a:cubicBezTo>
                <a:cubicBezTo>
                  <a:pt x="780" y="1414"/>
                  <a:pt x="784" y="1414"/>
                  <a:pt x="783" y="1417"/>
                </a:cubicBezTo>
                <a:cubicBezTo>
                  <a:pt x="782" y="1420"/>
                  <a:pt x="778" y="1417"/>
                  <a:pt x="776" y="1416"/>
                </a:cubicBezTo>
                <a:cubicBezTo>
                  <a:pt x="774" y="1416"/>
                  <a:pt x="776" y="1419"/>
                  <a:pt x="776" y="1419"/>
                </a:cubicBezTo>
                <a:cubicBezTo>
                  <a:pt x="776" y="1419"/>
                  <a:pt x="780" y="1420"/>
                  <a:pt x="780" y="1423"/>
                </a:cubicBezTo>
                <a:cubicBezTo>
                  <a:pt x="781" y="1426"/>
                  <a:pt x="777" y="1425"/>
                  <a:pt x="777" y="1425"/>
                </a:cubicBezTo>
                <a:cubicBezTo>
                  <a:pt x="779" y="1428"/>
                  <a:pt x="779" y="1428"/>
                  <a:pt x="779" y="1428"/>
                </a:cubicBezTo>
                <a:cubicBezTo>
                  <a:pt x="781" y="1433"/>
                  <a:pt x="781" y="1433"/>
                  <a:pt x="781" y="1433"/>
                </a:cubicBezTo>
                <a:cubicBezTo>
                  <a:pt x="783" y="1427"/>
                  <a:pt x="783" y="1427"/>
                  <a:pt x="783" y="1427"/>
                </a:cubicBezTo>
                <a:cubicBezTo>
                  <a:pt x="783" y="1431"/>
                  <a:pt x="783" y="1431"/>
                  <a:pt x="783" y="1431"/>
                </a:cubicBezTo>
                <a:cubicBezTo>
                  <a:pt x="786" y="1434"/>
                  <a:pt x="786" y="1434"/>
                  <a:pt x="786" y="1434"/>
                </a:cubicBezTo>
                <a:cubicBezTo>
                  <a:pt x="782" y="1434"/>
                  <a:pt x="782" y="1434"/>
                  <a:pt x="782" y="1434"/>
                </a:cubicBezTo>
                <a:cubicBezTo>
                  <a:pt x="783" y="1437"/>
                  <a:pt x="783" y="1437"/>
                  <a:pt x="783" y="1437"/>
                </a:cubicBezTo>
                <a:cubicBezTo>
                  <a:pt x="786" y="1437"/>
                  <a:pt x="786" y="1437"/>
                  <a:pt x="786" y="1437"/>
                </a:cubicBezTo>
                <a:cubicBezTo>
                  <a:pt x="784" y="1439"/>
                  <a:pt x="784" y="1439"/>
                  <a:pt x="784" y="1439"/>
                </a:cubicBezTo>
                <a:cubicBezTo>
                  <a:pt x="789" y="1440"/>
                  <a:pt x="789" y="1440"/>
                  <a:pt x="789" y="1440"/>
                </a:cubicBezTo>
                <a:cubicBezTo>
                  <a:pt x="786" y="1442"/>
                  <a:pt x="786" y="1442"/>
                  <a:pt x="786" y="1442"/>
                </a:cubicBezTo>
                <a:cubicBezTo>
                  <a:pt x="790" y="1443"/>
                  <a:pt x="790" y="1443"/>
                  <a:pt x="790" y="1443"/>
                </a:cubicBezTo>
                <a:cubicBezTo>
                  <a:pt x="789" y="1445"/>
                  <a:pt x="789" y="1445"/>
                  <a:pt x="789" y="1445"/>
                </a:cubicBezTo>
                <a:cubicBezTo>
                  <a:pt x="791" y="1446"/>
                  <a:pt x="791" y="1446"/>
                  <a:pt x="791" y="1446"/>
                </a:cubicBezTo>
                <a:cubicBezTo>
                  <a:pt x="791" y="1446"/>
                  <a:pt x="792" y="1441"/>
                  <a:pt x="793" y="1444"/>
                </a:cubicBezTo>
                <a:cubicBezTo>
                  <a:pt x="795" y="1446"/>
                  <a:pt x="793" y="1447"/>
                  <a:pt x="791" y="1448"/>
                </a:cubicBezTo>
                <a:cubicBezTo>
                  <a:pt x="790" y="1449"/>
                  <a:pt x="791" y="1450"/>
                  <a:pt x="791" y="1450"/>
                </a:cubicBezTo>
                <a:cubicBezTo>
                  <a:pt x="796" y="1451"/>
                  <a:pt x="796" y="1451"/>
                  <a:pt x="796" y="1451"/>
                </a:cubicBezTo>
                <a:cubicBezTo>
                  <a:pt x="796" y="1451"/>
                  <a:pt x="796" y="1453"/>
                  <a:pt x="797" y="1454"/>
                </a:cubicBezTo>
                <a:cubicBezTo>
                  <a:pt x="798" y="1455"/>
                  <a:pt x="802" y="1457"/>
                  <a:pt x="802" y="1457"/>
                </a:cubicBezTo>
                <a:cubicBezTo>
                  <a:pt x="801" y="1452"/>
                  <a:pt x="801" y="1452"/>
                  <a:pt x="801" y="1452"/>
                </a:cubicBezTo>
                <a:cubicBezTo>
                  <a:pt x="801" y="1452"/>
                  <a:pt x="806" y="1454"/>
                  <a:pt x="809" y="1456"/>
                </a:cubicBezTo>
                <a:cubicBezTo>
                  <a:pt x="812" y="1458"/>
                  <a:pt x="809" y="1460"/>
                  <a:pt x="809" y="1460"/>
                </a:cubicBezTo>
                <a:cubicBezTo>
                  <a:pt x="812" y="1462"/>
                  <a:pt x="812" y="1462"/>
                  <a:pt x="812" y="1462"/>
                </a:cubicBezTo>
                <a:cubicBezTo>
                  <a:pt x="812" y="1464"/>
                  <a:pt x="812" y="1464"/>
                  <a:pt x="812" y="1464"/>
                </a:cubicBezTo>
                <a:cubicBezTo>
                  <a:pt x="820" y="1464"/>
                  <a:pt x="820" y="1464"/>
                  <a:pt x="820" y="1464"/>
                </a:cubicBezTo>
                <a:cubicBezTo>
                  <a:pt x="821" y="1466"/>
                  <a:pt x="821" y="1466"/>
                  <a:pt x="821" y="1466"/>
                </a:cubicBezTo>
                <a:cubicBezTo>
                  <a:pt x="816" y="1466"/>
                  <a:pt x="816" y="1466"/>
                  <a:pt x="816" y="1466"/>
                </a:cubicBezTo>
                <a:cubicBezTo>
                  <a:pt x="815" y="1468"/>
                  <a:pt x="815" y="1468"/>
                  <a:pt x="815" y="1468"/>
                </a:cubicBezTo>
                <a:cubicBezTo>
                  <a:pt x="812" y="1468"/>
                  <a:pt x="812" y="1468"/>
                  <a:pt x="812" y="1468"/>
                </a:cubicBezTo>
                <a:cubicBezTo>
                  <a:pt x="810" y="1470"/>
                  <a:pt x="810" y="1470"/>
                  <a:pt x="810" y="1470"/>
                </a:cubicBezTo>
                <a:cubicBezTo>
                  <a:pt x="814" y="1471"/>
                  <a:pt x="814" y="1471"/>
                  <a:pt x="814" y="1471"/>
                </a:cubicBezTo>
                <a:cubicBezTo>
                  <a:pt x="813" y="1473"/>
                  <a:pt x="813" y="1473"/>
                  <a:pt x="813" y="1473"/>
                </a:cubicBezTo>
                <a:cubicBezTo>
                  <a:pt x="816" y="1473"/>
                  <a:pt x="816" y="1473"/>
                  <a:pt x="816" y="1473"/>
                </a:cubicBezTo>
                <a:cubicBezTo>
                  <a:pt x="817" y="1470"/>
                  <a:pt x="817" y="1470"/>
                  <a:pt x="817" y="1470"/>
                </a:cubicBezTo>
                <a:cubicBezTo>
                  <a:pt x="820" y="1471"/>
                  <a:pt x="820" y="1471"/>
                  <a:pt x="820" y="1471"/>
                </a:cubicBezTo>
                <a:cubicBezTo>
                  <a:pt x="820" y="1471"/>
                  <a:pt x="824" y="1466"/>
                  <a:pt x="826" y="1467"/>
                </a:cubicBezTo>
                <a:cubicBezTo>
                  <a:pt x="828" y="1469"/>
                  <a:pt x="822" y="1474"/>
                  <a:pt x="822" y="1474"/>
                </a:cubicBezTo>
                <a:cubicBezTo>
                  <a:pt x="822" y="1474"/>
                  <a:pt x="821" y="1473"/>
                  <a:pt x="819" y="1473"/>
                </a:cubicBezTo>
                <a:cubicBezTo>
                  <a:pt x="817" y="1473"/>
                  <a:pt x="818" y="1475"/>
                  <a:pt x="818" y="1475"/>
                </a:cubicBezTo>
                <a:cubicBezTo>
                  <a:pt x="816" y="1475"/>
                  <a:pt x="816" y="1475"/>
                  <a:pt x="816" y="1475"/>
                </a:cubicBezTo>
                <a:cubicBezTo>
                  <a:pt x="814" y="1475"/>
                  <a:pt x="812" y="1477"/>
                  <a:pt x="812" y="1477"/>
                </a:cubicBezTo>
                <a:cubicBezTo>
                  <a:pt x="813" y="1478"/>
                  <a:pt x="813" y="1478"/>
                  <a:pt x="813" y="1478"/>
                </a:cubicBezTo>
                <a:cubicBezTo>
                  <a:pt x="814" y="1482"/>
                  <a:pt x="814" y="1482"/>
                  <a:pt x="814" y="1482"/>
                </a:cubicBezTo>
                <a:cubicBezTo>
                  <a:pt x="818" y="1480"/>
                  <a:pt x="818" y="1480"/>
                  <a:pt x="818" y="1480"/>
                </a:cubicBezTo>
                <a:cubicBezTo>
                  <a:pt x="818" y="1480"/>
                  <a:pt x="819" y="1482"/>
                  <a:pt x="820" y="1482"/>
                </a:cubicBezTo>
                <a:cubicBezTo>
                  <a:pt x="821" y="1482"/>
                  <a:pt x="822" y="1478"/>
                  <a:pt x="823" y="1477"/>
                </a:cubicBezTo>
                <a:cubicBezTo>
                  <a:pt x="825" y="1476"/>
                  <a:pt x="825" y="1478"/>
                  <a:pt x="825" y="1478"/>
                </a:cubicBezTo>
                <a:cubicBezTo>
                  <a:pt x="825" y="1478"/>
                  <a:pt x="828" y="1478"/>
                  <a:pt x="831" y="1478"/>
                </a:cubicBezTo>
                <a:cubicBezTo>
                  <a:pt x="834" y="1477"/>
                  <a:pt x="828" y="1472"/>
                  <a:pt x="828" y="1472"/>
                </a:cubicBezTo>
                <a:cubicBezTo>
                  <a:pt x="828" y="1467"/>
                  <a:pt x="828" y="1467"/>
                  <a:pt x="828" y="1467"/>
                </a:cubicBezTo>
                <a:cubicBezTo>
                  <a:pt x="833" y="1467"/>
                  <a:pt x="833" y="1467"/>
                  <a:pt x="833" y="1467"/>
                </a:cubicBezTo>
                <a:cubicBezTo>
                  <a:pt x="833" y="1464"/>
                  <a:pt x="833" y="1464"/>
                  <a:pt x="833" y="1464"/>
                </a:cubicBezTo>
                <a:cubicBezTo>
                  <a:pt x="836" y="1465"/>
                  <a:pt x="836" y="1465"/>
                  <a:pt x="836" y="1465"/>
                </a:cubicBezTo>
                <a:cubicBezTo>
                  <a:pt x="837" y="1462"/>
                  <a:pt x="837" y="1462"/>
                  <a:pt x="837" y="1462"/>
                </a:cubicBezTo>
                <a:cubicBezTo>
                  <a:pt x="837" y="1464"/>
                  <a:pt x="837" y="1464"/>
                  <a:pt x="837" y="1464"/>
                </a:cubicBezTo>
                <a:cubicBezTo>
                  <a:pt x="838" y="1461"/>
                  <a:pt x="838" y="1461"/>
                  <a:pt x="838" y="1461"/>
                </a:cubicBezTo>
                <a:cubicBezTo>
                  <a:pt x="839" y="1459"/>
                  <a:pt x="845" y="1463"/>
                  <a:pt x="845" y="1463"/>
                </a:cubicBezTo>
                <a:cubicBezTo>
                  <a:pt x="840" y="1455"/>
                  <a:pt x="840" y="1455"/>
                  <a:pt x="840" y="1455"/>
                </a:cubicBezTo>
                <a:cubicBezTo>
                  <a:pt x="837" y="1456"/>
                  <a:pt x="837" y="1456"/>
                  <a:pt x="837" y="1456"/>
                </a:cubicBezTo>
                <a:cubicBezTo>
                  <a:pt x="837" y="1454"/>
                  <a:pt x="837" y="1454"/>
                  <a:pt x="837" y="1454"/>
                </a:cubicBezTo>
                <a:cubicBezTo>
                  <a:pt x="832" y="1450"/>
                  <a:pt x="832" y="1450"/>
                  <a:pt x="832" y="1450"/>
                </a:cubicBezTo>
                <a:cubicBezTo>
                  <a:pt x="833" y="1445"/>
                  <a:pt x="833" y="1445"/>
                  <a:pt x="833" y="1445"/>
                </a:cubicBezTo>
                <a:cubicBezTo>
                  <a:pt x="831" y="1444"/>
                  <a:pt x="831" y="1444"/>
                  <a:pt x="831" y="1444"/>
                </a:cubicBezTo>
                <a:cubicBezTo>
                  <a:pt x="832" y="1442"/>
                  <a:pt x="832" y="1442"/>
                  <a:pt x="832" y="1442"/>
                </a:cubicBezTo>
                <a:cubicBezTo>
                  <a:pt x="832" y="1442"/>
                  <a:pt x="834" y="1442"/>
                  <a:pt x="834" y="1440"/>
                </a:cubicBezTo>
                <a:cubicBezTo>
                  <a:pt x="835" y="1438"/>
                  <a:pt x="829" y="1438"/>
                  <a:pt x="829" y="1438"/>
                </a:cubicBezTo>
                <a:cubicBezTo>
                  <a:pt x="831" y="1437"/>
                  <a:pt x="831" y="1437"/>
                  <a:pt x="831" y="1437"/>
                </a:cubicBezTo>
                <a:cubicBezTo>
                  <a:pt x="831" y="1435"/>
                  <a:pt x="831" y="1435"/>
                  <a:pt x="831" y="1435"/>
                </a:cubicBezTo>
                <a:cubicBezTo>
                  <a:pt x="834" y="1438"/>
                  <a:pt x="834" y="1438"/>
                  <a:pt x="834" y="1438"/>
                </a:cubicBezTo>
                <a:cubicBezTo>
                  <a:pt x="834" y="1438"/>
                  <a:pt x="837" y="1440"/>
                  <a:pt x="839" y="1438"/>
                </a:cubicBezTo>
                <a:cubicBezTo>
                  <a:pt x="841" y="1435"/>
                  <a:pt x="837" y="1430"/>
                  <a:pt x="837" y="1427"/>
                </a:cubicBezTo>
                <a:cubicBezTo>
                  <a:pt x="838" y="1424"/>
                  <a:pt x="847" y="1418"/>
                  <a:pt x="847" y="1416"/>
                </a:cubicBezTo>
                <a:cubicBezTo>
                  <a:pt x="848" y="1414"/>
                  <a:pt x="843" y="1414"/>
                  <a:pt x="843" y="1414"/>
                </a:cubicBezTo>
                <a:cubicBezTo>
                  <a:pt x="846" y="1414"/>
                  <a:pt x="846" y="1414"/>
                  <a:pt x="846" y="1414"/>
                </a:cubicBezTo>
                <a:cubicBezTo>
                  <a:pt x="846" y="1414"/>
                  <a:pt x="846" y="1410"/>
                  <a:pt x="845" y="1408"/>
                </a:cubicBezTo>
                <a:cubicBezTo>
                  <a:pt x="843" y="1405"/>
                  <a:pt x="841" y="1406"/>
                  <a:pt x="841" y="1406"/>
                </a:cubicBezTo>
                <a:cubicBezTo>
                  <a:pt x="838" y="1405"/>
                  <a:pt x="838" y="1405"/>
                  <a:pt x="838" y="1405"/>
                </a:cubicBezTo>
                <a:cubicBezTo>
                  <a:pt x="835" y="1405"/>
                  <a:pt x="835" y="1405"/>
                  <a:pt x="835" y="1405"/>
                </a:cubicBezTo>
                <a:cubicBezTo>
                  <a:pt x="835" y="1405"/>
                  <a:pt x="827" y="1401"/>
                  <a:pt x="825" y="1395"/>
                </a:cubicBezTo>
                <a:cubicBezTo>
                  <a:pt x="822" y="1390"/>
                  <a:pt x="826" y="1389"/>
                  <a:pt x="826" y="1389"/>
                </a:cubicBezTo>
                <a:cubicBezTo>
                  <a:pt x="827" y="1385"/>
                  <a:pt x="827" y="1385"/>
                  <a:pt x="827" y="1385"/>
                </a:cubicBezTo>
                <a:cubicBezTo>
                  <a:pt x="829" y="1385"/>
                  <a:pt x="829" y="1385"/>
                  <a:pt x="829" y="1385"/>
                </a:cubicBezTo>
                <a:cubicBezTo>
                  <a:pt x="830" y="1383"/>
                  <a:pt x="830" y="1383"/>
                  <a:pt x="830" y="1383"/>
                </a:cubicBezTo>
                <a:cubicBezTo>
                  <a:pt x="838" y="1382"/>
                  <a:pt x="838" y="1382"/>
                  <a:pt x="838" y="1382"/>
                </a:cubicBezTo>
                <a:cubicBezTo>
                  <a:pt x="836" y="1381"/>
                  <a:pt x="836" y="1381"/>
                  <a:pt x="836" y="1381"/>
                </a:cubicBezTo>
                <a:cubicBezTo>
                  <a:pt x="836" y="1378"/>
                  <a:pt x="836" y="1378"/>
                  <a:pt x="836" y="1378"/>
                </a:cubicBezTo>
                <a:cubicBezTo>
                  <a:pt x="838" y="1378"/>
                  <a:pt x="838" y="1378"/>
                  <a:pt x="838" y="1378"/>
                </a:cubicBezTo>
                <a:cubicBezTo>
                  <a:pt x="838" y="1378"/>
                  <a:pt x="839" y="1374"/>
                  <a:pt x="837" y="1372"/>
                </a:cubicBezTo>
                <a:cubicBezTo>
                  <a:pt x="836" y="1371"/>
                  <a:pt x="834" y="1368"/>
                  <a:pt x="835" y="1364"/>
                </a:cubicBezTo>
                <a:cubicBezTo>
                  <a:pt x="836" y="1361"/>
                  <a:pt x="841" y="1361"/>
                  <a:pt x="841" y="1361"/>
                </a:cubicBezTo>
                <a:cubicBezTo>
                  <a:pt x="841" y="1360"/>
                  <a:pt x="841" y="1360"/>
                  <a:pt x="841" y="1360"/>
                </a:cubicBezTo>
                <a:cubicBezTo>
                  <a:pt x="841" y="1360"/>
                  <a:pt x="837" y="1360"/>
                  <a:pt x="835" y="1359"/>
                </a:cubicBezTo>
                <a:cubicBezTo>
                  <a:pt x="834" y="1358"/>
                  <a:pt x="836" y="1356"/>
                  <a:pt x="837" y="1356"/>
                </a:cubicBezTo>
                <a:cubicBezTo>
                  <a:pt x="839" y="1355"/>
                  <a:pt x="842" y="1359"/>
                  <a:pt x="843" y="1359"/>
                </a:cubicBezTo>
                <a:cubicBezTo>
                  <a:pt x="845" y="1359"/>
                  <a:pt x="847" y="1358"/>
                  <a:pt x="847" y="1356"/>
                </a:cubicBezTo>
                <a:cubicBezTo>
                  <a:pt x="847" y="1354"/>
                  <a:pt x="844" y="1349"/>
                  <a:pt x="842" y="1350"/>
                </a:cubicBezTo>
                <a:cubicBezTo>
                  <a:pt x="839" y="1351"/>
                  <a:pt x="843" y="1353"/>
                  <a:pt x="841" y="1354"/>
                </a:cubicBezTo>
                <a:cubicBezTo>
                  <a:pt x="838" y="1356"/>
                  <a:pt x="835" y="1352"/>
                  <a:pt x="835" y="1352"/>
                </a:cubicBezTo>
                <a:cubicBezTo>
                  <a:pt x="835" y="1352"/>
                  <a:pt x="830" y="1352"/>
                  <a:pt x="830" y="1351"/>
                </a:cubicBezTo>
                <a:cubicBezTo>
                  <a:pt x="829" y="1350"/>
                  <a:pt x="830" y="1344"/>
                  <a:pt x="830" y="1343"/>
                </a:cubicBezTo>
                <a:cubicBezTo>
                  <a:pt x="830" y="1343"/>
                  <a:pt x="826" y="1339"/>
                  <a:pt x="827" y="1336"/>
                </a:cubicBezTo>
                <a:cubicBezTo>
                  <a:pt x="828" y="1333"/>
                  <a:pt x="831" y="1336"/>
                  <a:pt x="834" y="1337"/>
                </a:cubicBezTo>
                <a:cubicBezTo>
                  <a:pt x="837" y="1338"/>
                  <a:pt x="841" y="1341"/>
                  <a:pt x="843" y="1341"/>
                </a:cubicBezTo>
                <a:cubicBezTo>
                  <a:pt x="844" y="1341"/>
                  <a:pt x="851" y="1337"/>
                  <a:pt x="853" y="1336"/>
                </a:cubicBezTo>
                <a:cubicBezTo>
                  <a:pt x="855" y="1334"/>
                  <a:pt x="848" y="1331"/>
                  <a:pt x="848" y="1331"/>
                </a:cubicBezTo>
                <a:cubicBezTo>
                  <a:pt x="848" y="1327"/>
                  <a:pt x="848" y="1327"/>
                  <a:pt x="848" y="1327"/>
                </a:cubicBezTo>
                <a:cubicBezTo>
                  <a:pt x="848" y="1327"/>
                  <a:pt x="849" y="1324"/>
                  <a:pt x="850" y="1322"/>
                </a:cubicBezTo>
                <a:cubicBezTo>
                  <a:pt x="850" y="1319"/>
                  <a:pt x="846" y="1319"/>
                  <a:pt x="846" y="1319"/>
                </a:cubicBezTo>
                <a:cubicBezTo>
                  <a:pt x="845" y="1316"/>
                  <a:pt x="845" y="1316"/>
                  <a:pt x="845" y="1316"/>
                </a:cubicBezTo>
                <a:cubicBezTo>
                  <a:pt x="845" y="1316"/>
                  <a:pt x="844" y="1315"/>
                  <a:pt x="845" y="1313"/>
                </a:cubicBezTo>
                <a:cubicBezTo>
                  <a:pt x="846" y="1311"/>
                  <a:pt x="849" y="1319"/>
                  <a:pt x="849" y="1319"/>
                </a:cubicBezTo>
                <a:cubicBezTo>
                  <a:pt x="850" y="1318"/>
                  <a:pt x="850" y="1318"/>
                  <a:pt x="850" y="1318"/>
                </a:cubicBezTo>
                <a:cubicBezTo>
                  <a:pt x="849" y="1315"/>
                  <a:pt x="849" y="1315"/>
                  <a:pt x="849" y="1315"/>
                </a:cubicBezTo>
                <a:cubicBezTo>
                  <a:pt x="861" y="1317"/>
                  <a:pt x="861" y="1317"/>
                  <a:pt x="861" y="1317"/>
                </a:cubicBezTo>
                <a:cubicBezTo>
                  <a:pt x="861" y="1316"/>
                  <a:pt x="861" y="1316"/>
                  <a:pt x="861" y="1316"/>
                </a:cubicBezTo>
                <a:cubicBezTo>
                  <a:pt x="861" y="1316"/>
                  <a:pt x="864" y="1314"/>
                  <a:pt x="870" y="1313"/>
                </a:cubicBezTo>
                <a:cubicBezTo>
                  <a:pt x="876" y="1313"/>
                  <a:pt x="887" y="1307"/>
                  <a:pt x="887" y="1307"/>
                </a:cubicBezTo>
                <a:cubicBezTo>
                  <a:pt x="886" y="1302"/>
                  <a:pt x="886" y="1302"/>
                  <a:pt x="886" y="1302"/>
                </a:cubicBezTo>
                <a:cubicBezTo>
                  <a:pt x="889" y="1300"/>
                  <a:pt x="889" y="1300"/>
                  <a:pt x="889" y="1300"/>
                </a:cubicBezTo>
                <a:cubicBezTo>
                  <a:pt x="891" y="1293"/>
                  <a:pt x="891" y="1293"/>
                  <a:pt x="891" y="1293"/>
                </a:cubicBezTo>
                <a:cubicBezTo>
                  <a:pt x="889" y="1290"/>
                  <a:pt x="889" y="1290"/>
                  <a:pt x="889" y="1290"/>
                </a:cubicBezTo>
                <a:cubicBezTo>
                  <a:pt x="889" y="1286"/>
                  <a:pt x="889" y="1286"/>
                  <a:pt x="889" y="1286"/>
                </a:cubicBezTo>
                <a:cubicBezTo>
                  <a:pt x="889" y="1286"/>
                  <a:pt x="887" y="1284"/>
                  <a:pt x="885" y="1283"/>
                </a:cubicBezTo>
                <a:cubicBezTo>
                  <a:pt x="884" y="1283"/>
                  <a:pt x="882" y="1284"/>
                  <a:pt x="881" y="1283"/>
                </a:cubicBezTo>
                <a:cubicBezTo>
                  <a:pt x="879" y="1282"/>
                  <a:pt x="882" y="1281"/>
                  <a:pt x="883" y="1280"/>
                </a:cubicBezTo>
                <a:cubicBezTo>
                  <a:pt x="884" y="1278"/>
                  <a:pt x="883" y="1277"/>
                  <a:pt x="883" y="1275"/>
                </a:cubicBezTo>
                <a:cubicBezTo>
                  <a:pt x="883" y="1272"/>
                  <a:pt x="876" y="1271"/>
                  <a:pt x="871" y="1269"/>
                </a:cubicBezTo>
                <a:cubicBezTo>
                  <a:pt x="866" y="1266"/>
                  <a:pt x="866" y="1264"/>
                  <a:pt x="868" y="1261"/>
                </a:cubicBezTo>
                <a:cubicBezTo>
                  <a:pt x="868" y="1261"/>
                  <a:pt x="868" y="1261"/>
                  <a:pt x="869" y="1261"/>
                </a:cubicBezTo>
                <a:cubicBezTo>
                  <a:pt x="864" y="1256"/>
                  <a:pt x="864" y="1256"/>
                  <a:pt x="864" y="1256"/>
                </a:cubicBezTo>
                <a:cubicBezTo>
                  <a:pt x="869" y="1261"/>
                  <a:pt x="869" y="1261"/>
                  <a:pt x="869" y="1261"/>
                </a:cubicBezTo>
                <a:cubicBezTo>
                  <a:pt x="870" y="1260"/>
                  <a:pt x="873" y="1263"/>
                  <a:pt x="874" y="1265"/>
                </a:cubicBezTo>
                <a:cubicBezTo>
                  <a:pt x="874" y="1265"/>
                  <a:pt x="874" y="1265"/>
                  <a:pt x="874" y="1265"/>
                </a:cubicBezTo>
                <a:cubicBezTo>
                  <a:pt x="875" y="1265"/>
                  <a:pt x="875" y="1266"/>
                  <a:pt x="875" y="1266"/>
                </a:cubicBezTo>
                <a:cubicBezTo>
                  <a:pt x="881" y="1266"/>
                  <a:pt x="881" y="1266"/>
                  <a:pt x="881" y="1266"/>
                </a:cubicBezTo>
                <a:cubicBezTo>
                  <a:pt x="883" y="1268"/>
                  <a:pt x="883" y="1268"/>
                  <a:pt x="883" y="1268"/>
                </a:cubicBezTo>
                <a:cubicBezTo>
                  <a:pt x="883" y="1268"/>
                  <a:pt x="889" y="1268"/>
                  <a:pt x="895" y="1269"/>
                </a:cubicBezTo>
                <a:cubicBezTo>
                  <a:pt x="902" y="1270"/>
                  <a:pt x="906" y="1270"/>
                  <a:pt x="910" y="1267"/>
                </a:cubicBezTo>
                <a:cubicBezTo>
                  <a:pt x="913" y="1265"/>
                  <a:pt x="914" y="1258"/>
                  <a:pt x="914" y="1257"/>
                </a:cubicBezTo>
                <a:cubicBezTo>
                  <a:pt x="914" y="1256"/>
                  <a:pt x="914" y="1256"/>
                  <a:pt x="914" y="1256"/>
                </a:cubicBezTo>
                <a:cubicBezTo>
                  <a:pt x="914" y="1256"/>
                  <a:pt x="919" y="1251"/>
                  <a:pt x="920" y="1249"/>
                </a:cubicBezTo>
                <a:cubicBezTo>
                  <a:pt x="921" y="1247"/>
                  <a:pt x="920" y="1243"/>
                  <a:pt x="920" y="1243"/>
                </a:cubicBezTo>
                <a:cubicBezTo>
                  <a:pt x="922" y="1239"/>
                  <a:pt x="922" y="1239"/>
                  <a:pt x="922" y="1239"/>
                </a:cubicBezTo>
                <a:cubicBezTo>
                  <a:pt x="922" y="1239"/>
                  <a:pt x="920" y="1237"/>
                  <a:pt x="920" y="1235"/>
                </a:cubicBezTo>
                <a:cubicBezTo>
                  <a:pt x="920" y="1233"/>
                  <a:pt x="922" y="1233"/>
                  <a:pt x="922" y="1233"/>
                </a:cubicBezTo>
                <a:cubicBezTo>
                  <a:pt x="923" y="1230"/>
                  <a:pt x="923" y="1230"/>
                  <a:pt x="923" y="1230"/>
                </a:cubicBezTo>
                <a:cubicBezTo>
                  <a:pt x="923" y="1230"/>
                  <a:pt x="925" y="1229"/>
                  <a:pt x="926" y="1228"/>
                </a:cubicBezTo>
                <a:cubicBezTo>
                  <a:pt x="927" y="1228"/>
                  <a:pt x="927" y="1225"/>
                  <a:pt x="927" y="1223"/>
                </a:cubicBezTo>
                <a:cubicBezTo>
                  <a:pt x="927" y="1221"/>
                  <a:pt x="930" y="1218"/>
                  <a:pt x="932" y="1217"/>
                </a:cubicBezTo>
                <a:cubicBezTo>
                  <a:pt x="934" y="1217"/>
                  <a:pt x="934" y="1222"/>
                  <a:pt x="934" y="1222"/>
                </a:cubicBezTo>
                <a:cubicBezTo>
                  <a:pt x="934" y="1222"/>
                  <a:pt x="932" y="1224"/>
                  <a:pt x="932" y="1224"/>
                </a:cubicBezTo>
                <a:cubicBezTo>
                  <a:pt x="931" y="1225"/>
                  <a:pt x="931" y="1227"/>
                  <a:pt x="931" y="1227"/>
                </a:cubicBezTo>
                <a:cubicBezTo>
                  <a:pt x="930" y="1228"/>
                  <a:pt x="930" y="1228"/>
                  <a:pt x="930" y="1228"/>
                </a:cubicBezTo>
                <a:cubicBezTo>
                  <a:pt x="930" y="1230"/>
                  <a:pt x="930" y="1230"/>
                  <a:pt x="930" y="1230"/>
                </a:cubicBezTo>
                <a:cubicBezTo>
                  <a:pt x="926" y="1234"/>
                  <a:pt x="926" y="1234"/>
                  <a:pt x="926" y="1234"/>
                </a:cubicBezTo>
                <a:cubicBezTo>
                  <a:pt x="922" y="1237"/>
                  <a:pt x="922" y="1237"/>
                  <a:pt x="922" y="1237"/>
                </a:cubicBezTo>
                <a:cubicBezTo>
                  <a:pt x="922" y="1237"/>
                  <a:pt x="923" y="1238"/>
                  <a:pt x="925" y="1238"/>
                </a:cubicBezTo>
                <a:cubicBezTo>
                  <a:pt x="926" y="1237"/>
                  <a:pt x="926" y="1235"/>
                  <a:pt x="927" y="1234"/>
                </a:cubicBezTo>
                <a:cubicBezTo>
                  <a:pt x="928" y="1233"/>
                  <a:pt x="929" y="1234"/>
                  <a:pt x="930" y="1234"/>
                </a:cubicBezTo>
                <a:cubicBezTo>
                  <a:pt x="931" y="1232"/>
                  <a:pt x="935" y="1225"/>
                  <a:pt x="936" y="1220"/>
                </a:cubicBezTo>
                <a:cubicBezTo>
                  <a:pt x="937" y="1215"/>
                  <a:pt x="940" y="1210"/>
                  <a:pt x="940" y="1207"/>
                </a:cubicBezTo>
                <a:cubicBezTo>
                  <a:pt x="941" y="1204"/>
                  <a:pt x="947" y="1201"/>
                  <a:pt x="948" y="1200"/>
                </a:cubicBezTo>
                <a:cubicBezTo>
                  <a:pt x="948" y="1199"/>
                  <a:pt x="946" y="1197"/>
                  <a:pt x="946" y="1197"/>
                </a:cubicBezTo>
                <a:cubicBezTo>
                  <a:pt x="949" y="1195"/>
                  <a:pt x="949" y="1195"/>
                  <a:pt x="949" y="1195"/>
                </a:cubicBezTo>
                <a:cubicBezTo>
                  <a:pt x="948" y="1190"/>
                  <a:pt x="948" y="1190"/>
                  <a:pt x="948" y="1190"/>
                </a:cubicBezTo>
                <a:cubicBezTo>
                  <a:pt x="949" y="1187"/>
                  <a:pt x="949" y="1187"/>
                  <a:pt x="949" y="1187"/>
                </a:cubicBezTo>
                <a:cubicBezTo>
                  <a:pt x="947" y="1186"/>
                  <a:pt x="947" y="1186"/>
                  <a:pt x="947" y="1186"/>
                </a:cubicBezTo>
                <a:cubicBezTo>
                  <a:pt x="947" y="1186"/>
                  <a:pt x="949" y="1184"/>
                  <a:pt x="949" y="1182"/>
                </a:cubicBezTo>
                <a:cubicBezTo>
                  <a:pt x="949" y="1181"/>
                  <a:pt x="946" y="1179"/>
                  <a:pt x="946" y="1179"/>
                </a:cubicBezTo>
                <a:cubicBezTo>
                  <a:pt x="945" y="1175"/>
                  <a:pt x="945" y="1175"/>
                  <a:pt x="945" y="1175"/>
                </a:cubicBezTo>
                <a:cubicBezTo>
                  <a:pt x="943" y="1172"/>
                  <a:pt x="943" y="1172"/>
                  <a:pt x="943" y="1172"/>
                </a:cubicBezTo>
                <a:cubicBezTo>
                  <a:pt x="946" y="1173"/>
                  <a:pt x="946" y="1173"/>
                  <a:pt x="946" y="1173"/>
                </a:cubicBezTo>
                <a:cubicBezTo>
                  <a:pt x="946" y="1169"/>
                  <a:pt x="946" y="1169"/>
                  <a:pt x="946" y="1169"/>
                </a:cubicBezTo>
                <a:cubicBezTo>
                  <a:pt x="944" y="1168"/>
                  <a:pt x="944" y="1168"/>
                  <a:pt x="944" y="1168"/>
                </a:cubicBezTo>
                <a:cubicBezTo>
                  <a:pt x="944" y="1168"/>
                  <a:pt x="947" y="1167"/>
                  <a:pt x="947" y="1166"/>
                </a:cubicBezTo>
                <a:cubicBezTo>
                  <a:pt x="947" y="1165"/>
                  <a:pt x="943" y="1163"/>
                  <a:pt x="943" y="1163"/>
                </a:cubicBezTo>
                <a:cubicBezTo>
                  <a:pt x="947" y="1161"/>
                  <a:pt x="947" y="1161"/>
                  <a:pt x="947" y="1161"/>
                </a:cubicBezTo>
                <a:cubicBezTo>
                  <a:pt x="947" y="1161"/>
                  <a:pt x="949" y="1164"/>
                  <a:pt x="951" y="1164"/>
                </a:cubicBezTo>
                <a:cubicBezTo>
                  <a:pt x="952" y="1163"/>
                  <a:pt x="951" y="1161"/>
                  <a:pt x="951" y="1161"/>
                </a:cubicBezTo>
                <a:cubicBezTo>
                  <a:pt x="951" y="1161"/>
                  <a:pt x="951" y="1158"/>
                  <a:pt x="953" y="1156"/>
                </a:cubicBezTo>
                <a:cubicBezTo>
                  <a:pt x="954" y="1154"/>
                  <a:pt x="957" y="1155"/>
                  <a:pt x="958" y="1154"/>
                </a:cubicBezTo>
                <a:cubicBezTo>
                  <a:pt x="959" y="1153"/>
                  <a:pt x="959" y="1152"/>
                  <a:pt x="959" y="1150"/>
                </a:cubicBezTo>
                <a:cubicBezTo>
                  <a:pt x="960" y="1149"/>
                  <a:pt x="964" y="1148"/>
                  <a:pt x="964" y="1148"/>
                </a:cubicBezTo>
                <a:cubicBezTo>
                  <a:pt x="964" y="1147"/>
                  <a:pt x="964" y="1147"/>
                  <a:pt x="964" y="1147"/>
                </a:cubicBezTo>
                <a:cubicBezTo>
                  <a:pt x="964" y="1147"/>
                  <a:pt x="966" y="1147"/>
                  <a:pt x="967" y="1147"/>
                </a:cubicBezTo>
                <a:cubicBezTo>
                  <a:pt x="968" y="1147"/>
                  <a:pt x="967" y="1144"/>
                  <a:pt x="969" y="1144"/>
                </a:cubicBezTo>
                <a:cubicBezTo>
                  <a:pt x="970" y="1144"/>
                  <a:pt x="974" y="1144"/>
                  <a:pt x="974" y="1144"/>
                </a:cubicBezTo>
                <a:cubicBezTo>
                  <a:pt x="975" y="1147"/>
                  <a:pt x="975" y="1147"/>
                  <a:pt x="975" y="1147"/>
                </a:cubicBezTo>
                <a:cubicBezTo>
                  <a:pt x="977" y="1146"/>
                  <a:pt x="977" y="1146"/>
                  <a:pt x="977" y="1146"/>
                </a:cubicBezTo>
                <a:cubicBezTo>
                  <a:pt x="974" y="1143"/>
                  <a:pt x="974" y="1143"/>
                  <a:pt x="974" y="1143"/>
                </a:cubicBezTo>
                <a:cubicBezTo>
                  <a:pt x="974" y="1143"/>
                  <a:pt x="976" y="1142"/>
                  <a:pt x="977" y="1141"/>
                </a:cubicBezTo>
                <a:cubicBezTo>
                  <a:pt x="978" y="1140"/>
                  <a:pt x="982" y="1140"/>
                  <a:pt x="982" y="1140"/>
                </a:cubicBezTo>
                <a:cubicBezTo>
                  <a:pt x="980" y="1138"/>
                  <a:pt x="980" y="1138"/>
                  <a:pt x="980" y="1138"/>
                </a:cubicBezTo>
                <a:cubicBezTo>
                  <a:pt x="980" y="1138"/>
                  <a:pt x="983" y="1136"/>
                  <a:pt x="984" y="1136"/>
                </a:cubicBezTo>
                <a:cubicBezTo>
                  <a:pt x="985" y="1136"/>
                  <a:pt x="984" y="1139"/>
                  <a:pt x="985" y="1139"/>
                </a:cubicBezTo>
                <a:cubicBezTo>
                  <a:pt x="985" y="1139"/>
                  <a:pt x="986" y="1135"/>
                  <a:pt x="986" y="1135"/>
                </a:cubicBezTo>
                <a:cubicBezTo>
                  <a:pt x="992" y="1137"/>
                  <a:pt x="992" y="1137"/>
                  <a:pt x="992" y="1137"/>
                </a:cubicBezTo>
                <a:cubicBezTo>
                  <a:pt x="992" y="1137"/>
                  <a:pt x="993" y="1132"/>
                  <a:pt x="995" y="1132"/>
                </a:cubicBezTo>
                <a:cubicBezTo>
                  <a:pt x="997" y="1132"/>
                  <a:pt x="997" y="1137"/>
                  <a:pt x="997" y="1137"/>
                </a:cubicBezTo>
                <a:cubicBezTo>
                  <a:pt x="1006" y="1135"/>
                  <a:pt x="1006" y="1135"/>
                  <a:pt x="1006" y="1135"/>
                </a:cubicBezTo>
                <a:cubicBezTo>
                  <a:pt x="1007" y="1133"/>
                  <a:pt x="1007" y="1133"/>
                  <a:pt x="1007" y="1133"/>
                </a:cubicBezTo>
                <a:cubicBezTo>
                  <a:pt x="1006" y="1132"/>
                  <a:pt x="1006" y="1132"/>
                  <a:pt x="1006" y="1132"/>
                </a:cubicBezTo>
                <a:cubicBezTo>
                  <a:pt x="1006" y="1132"/>
                  <a:pt x="1007" y="1130"/>
                  <a:pt x="1008" y="1128"/>
                </a:cubicBezTo>
                <a:cubicBezTo>
                  <a:pt x="1010" y="1126"/>
                  <a:pt x="1016" y="1125"/>
                  <a:pt x="1016" y="1125"/>
                </a:cubicBezTo>
                <a:cubicBezTo>
                  <a:pt x="1016" y="1125"/>
                  <a:pt x="1015" y="1122"/>
                  <a:pt x="1015" y="1122"/>
                </a:cubicBezTo>
                <a:cubicBezTo>
                  <a:pt x="1015" y="1121"/>
                  <a:pt x="1016" y="1112"/>
                  <a:pt x="1016" y="1112"/>
                </a:cubicBezTo>
                <a:cubicBezTo>
                  <a:pt x="1019" y="1108"/>
                  <a:pt x="1019" y="1108"/>
                  <a:pt x="1019" y="1108"/>
                </a:cubicBezTo>
                <a:cubicBezTo>
                  <a:pt x="1019" y="1105"/>
                  <a:pt x="1019" y="1105"/>
                  <a:pt x="1019" y="1105"/>
                </a:cubicBezTo>
                <a:cubicBezTo>
                  <a:pt x="1022" y="1104"/>
                  <a:pt x="1022" y="1104"/>
                  <a:pt x="1022" y="1104"/>
                </a:cubicBezTo>
                <a:cubicBezTo>
                  <a:pt x="1022" y="1100"/>
                  <a:pt x="1022" y="1100"/>
                  <a:pt x="1022" y="1100"/>
                </a:cubicBezTo>
                <a:cubicBezTo>
                  <a:pt x="1022" y="1100"/>
                  <a:pt x="1024" y="1099"/>
                  <a:pt x="1025" y="1099"/>
                </a:cubicBezTo>
                <a:cubicBezTo>
                  <a:pt x="1026" y="1099"/>
                  <a:pt x="1026" y="1093"/>
                  <a:pt x="1026" y="1093"/>
                </a:cubicBezTo>
                <a:cubicBezTo>
                  <a:pt x="1026" y="1093"/>
                  <a:pt x="1024" y="1087"/>
                  <a:pt x="1024" y="1084"/>
                </a:cubicBezTo>
                <a:cubicBezTo>
                  <a:pt x="1023" y="1081"/>
                  <a:pt x="1027" y="1079"/>
                  <a:pt x="1029" y="1077"/>
                </a:cubicBezTo>
                <a:cubicBezTo>
                  <a:pt x="1030" y="1076"/>
                  <a:pt x="1028" y="1072"/>
                  <a:pt x="1028" y="1072"/>
                </a:cubicBezTo>
                <a:cubicBezTo>
                  <a:pt x="1029" y="1064"/>
                  <a:pt x="1029" y="1064"/>
                  <a:pt x="1029" y="1064"/>
                </a:cubicBezTo>
                <a:cubicBezTo>
                  <a:pt x="1029" y="1064"/>
                  <a:pt x="1031" y="1057"/>
                  <a:pt x="1030" y="1055"/>
                </a:cubicBezTo>
                <a:cubicBezTo>
                  <a:pt x="1030" y="1053"/>
                  <a:pt x="1028" y="1041"/>
                  <a:pt x="1028" y="1041"/>
                </a:cubicBezTo>
                <a:cubicBezTo>
                  <a:pt x="1029" y="1036"/>
                  <a:pt x="1029" y="1036"/>
                  <a:pt x="1029" y="1036"/>
                </a:cubicBezTo>
                <a:cubicBezTo>
                  <a:pt x="1029" y="1036"/>
                  <a:pt x="1027" y="1029"/>
                  <a:pt x="1027" y="1028"/>
                </a:cubicBezTo>
                <a:cubicBezTo>
                  <a:pt x="1028" y="1026"/>
                  <a:pt x="1030" y="1024"/>
                  <a:pt x="1030" y="1024"/>
                </a:cubicBezTo>
                <a:cubicBezTo>
                  <a:pt x="1029" y="1021"/>
                  <a:pt x="1029" y="1021"/>
                  <a:pt x="1029" y="1021"/>
                </a:cubicBezTo>
                <a:cubicBezTo>
                  <a:pt x="1029" y="1021"/>
                  <a:pt x="1030" y="1019"/>
                  <a:pt x="1031" y="1019"/>
                </a:cubicBezTo>
                <a:cubicBezTo>
                  <a:pt x="1032" y="1019"/>
                  <a:pt x="1034" y="1023"/>
                  <a:pt x="1034" y="1023"/>
                </a:cubicBezTo>
                <a:cubicBezTo>
                  <a:pt x="1034" y="1023"/>
                  <a:pt x="1038" y="1019"/>
                  <a:pt x="1040" y="1017"/>
                </a:cubicBezTo>
                <a:cubicBezTo>
                  <a:pt x="1041" y="1015"/>
                  <a:pt x="1042" y="1006"/>
                  <a:pt x="1042" y="1006"/>
                </a:cubicBezTo>
                <a:cubicBezTo>
                  <a:pt x="1042" y="1006"/>
                  <a:pt x="1044" y="1005"/>
                  <a:pt x="1045" y="1004"/>
                </a:cubicBezTo>
                <a:cubicBezTo>
                  <a:pt x="1046" y="1003"/>
                  <a:pt x="1047" y="998"/>
                  <a:pt x="1047" y="998"/>
                </a:cubicBezTo>
                <a:cubicBezTo>
                  <a:pt x="1047" y="998"/>
                  <a:pt x="1050" y="997"/>
                  <a:pt x="1051" y="997"/>
                </a:cubicBezTo>
                <a:cubicBezTo>
                  <a:pt x="1053" y="997"/>
                  <a:pt x="1053" y="992"/>
                  <a:pt x="1053" y="992"/>
                </a:cubicBezTo>
                <a:cubicBezTo>
                  <a:pt x="1053" y="992"/>
                  <a:pt x="1056" y="991"/>
                  <a:pt x="1058" y="988"/>
                </a:cubicBezTo>
                <a:cubicBezTo>
                  <a:pt x="1061" y="984"/>
                  <a:pt x="1064" y="974"/>
                  <a:pt x="1064" y="974"/>
                </a:cubicBezTo>
                <a:cubicBezTo>
                  <a:pt x="1064" y="974"/>
                  <a:pt x="1067" y="971"/>
                  <a:pt x="1067" y="970"/>
                </a:cubicBezTo>
                <a:cubicBezTo>
                  <a:pt x="1067" y="969"/>
                  <a:pt x="1066" y="965"/>
                  <a:pt x="1066" y="965"/>
                </a:cubicBezTo>
                <a:cubicBezTo>
                  <a:pt x="1066" y="965"/>
                  <a:pt x="1067" y="961"/>
                  <a:pt x="1067" y="957"/>
                </a:cubicBezTo>
                <a:close/>
                <a:moveTo>
                  <a:pt x="660" y="375"/>
                </a:moveTo>
                <a:cubicBezTo>
                  <a:pt x="657" y="375"/>
                  <a:pt x="661" y="371"/>
                  <a:pt x="659" y="371"/>
                </a:cubicBezTo>
                <a:cubicBezTo>
                  <a:pt x="658" y="370"/>
                  <a:pt x="656" y="373"/>
                  <a:pt x="656" y="373"/>
                </a:cubicBezTo>
                <a:cubicBezTo>
                  <a:pt x="655" y="373"/>
                  <a:pt x="655" y="373"/>
                  <a:pt x="655" y="373"/>
                </a:cubicBezTo>
                <a:cubicBezTo>
                  <a:pt x="654" y="375"/>
                  <a:pt x="654" y="375"/>
                  <a:pt x="654" y="375"/>
                </a:cubicBezTo>
                <a:cubicBezTo>
                  <a:pt x="652" y="375"/>
                  <a:pt x="652" y="375"/>
                  <a:pt x="652" y="375"/>
                </a:cubicBezTo>
                <a:cubicBezTo>
                  <a:pt x="652" y="375"/>
                  <a:pt x="652" y="377"/>
                  <a:pt x="651" y="378"/>
                </a:cubicBezTo>
                <a:cubicBezTo>
                  <a:pt x="650" y="380"/>
                  <a:pt x="648" y="380"/>
                  <a:pt x="647" y="382"/>
                </a:cubicBezTo>
                <a:cubicBezTo>
                  <a:pt x="646" y="383"/>
                  <a:pt x="648" y="384"/>
                  <a:pt x="648" y="384"/>
                </a:cubicBezTo>
                <a:cubicBezTo>
                  <a:pt x="648" y="384"/>
                  <a:pt x="647" y="384"/>
                  <a:pt x="644" y="387"/>
                </a:cubicBezTo>
                <a:cubicBezTo>
                  <a:pt x="641" y="390"/>
                  <a:pt x="645" y="390"/>
                  <a:pt x="645" y="392"/>
                </a:cubicBezTo>
                <a:cubicBezTo>
                  <a:pt x="645" y="393"/>
                  <a:pt x="644" y="394"/>
                  <a:pt x="644" y="394"/>
                </a:cubicBezTo>
                <a:cubicBezTo>
                  <a:pt x="644" y="394"/>
                  <a:pt x="645" y="395"/>
                  <a:pt x="640" y="401"/>
                </a:cubicBezTo>
                <a:cubicBezTo>
                  <a:pt x="636" y="408"/>
                  <a:pt x="626" y="410"/>
                  <a:pt x="626" y="410"/>
                </a:cubicBezTo>
                <a:cubicBezTo>
                  <a:pt x="627" y="406"/>
                  <a:pt x="627" y="406"/>
                  <a:pt x="627" y="406"/>
                </a:cubicBezTo>
                <a:cubicBezTo>
                  <a:pt x="627" y="406"/>
                  <a:pt x="626" y="404"/>
                  <a:pt x="626" y="404"/>
                </a:cubicBezTo>
                <a:cubicBezTo>
                  <a:pt x="625" y="403"/>
                  <a:pt x="629" y="398"/>
                  <a:pt x="629" y="397"/>
                </a:cubicBezTo>
                <a:cubicBezTo>
                  <a:pt x="630" y="396"/>
                  <a:pt x="628" y="395"/>
                  <a:pt x="629" y="393"/>
                </a:cubicBezTo>
                <a:cubicBezTo>
                  <a:pt x="629" y="390"/>
                  <a:pt x="634" y="386"/>
                  <a:pt x="634" y="386"/>
                </a:cubicBezTo>
                <a:cubicBezTo>
                  <a:pt x="634" y="384"/>
                  <a:pt x="634" y="384"/>
                  <a:pt x="634" y="384"/>
                </a:cubicBezTo>
                <a:cubicBezTo>
                  <a:pt x="634" y="384"/>
                  <a:pt x="638" y="381"/>
                  <a:pt x="639" y="380"/>
                </a:cubicBezTo>
                <a:cubicBezTo>
                  <a:pt x="639" y="379"/>
                  <a:pt x="646" y="372"/>
                  <a:pt x="646" y="372"/>
                </a:cubicBezTo>
                <a:cubicBezTo>
                  <a:pt x="642" y="374"/>
                  <a:pt x="642" y="374"/>
                  <a:pt x="642" y="374"/>
                </a:cubicBezTo>
                <a:cubicBezTo>
                  <a:pt x="642" y="374"/>
                  <a:pt x="637" y="378"/>
                  <a:pt x="636" y="377"/>
                </a:cubicBezTo>
                <a:cubicBezTo>
                  <a:pt x="635" y="375"/>
                  <a:pt x="644" y="370"/>
                  <a:pt x="645" y="369"/>
                </a:cubicBezTo>
                <a:cubicBezTo>
                  <a:pt x="646" y="367"/>
                  <a:pt x="651" y="363"/>
                  <a:pt x="651" y="363"/>
                </a:cubicBezTo>
                <a:cubicBezTo>
                  <a:pt x="653" y="364"/>
                  <a:pt x="653" y="364"/>
                  <a:pt x="653" y="364"/>
                </a:cubicBezTo>
                <a:cubicBezTo>
                  <a:pt x="655" y="363"/>
                  <a:pt x="655" y="363"/>
                  <a:pt x="655" y="363"/>
                </a:cubicBezTo>
                <a:cubicBezTo>
                  <a:pt x="655" y="363"/>
                  <a:pt x="654" y="365"/>
                  <a:pt x="656" y="364"/>
                </a:cubicBezTo>
                <a:cubicBezTo>
                  <a:pt x="658" y="364"/>
                  <a:pt x="657" y="361"/>
                  <a:pt x="657" y="361"/>
                </a:cubicBezTo>
                <a:cubicBezTo>
                  <a:pt x="660" y="362"/>
                  <a:pt x="660" y="362"/>
                  <a:pt x="660" y="362"/>
                </a:cubicBezTo>
                <a:cubicBezTo>
                  <a:pt x="660" y="362"/>
                  <a:pt x="665" y="360"/>
                  <a:pt x="667" y="361"/>
                </a:cubicBezTo>
                <a:cubicBezTo>
                  <a:pt x="669" y="361"/>
                  <a:pt x="670" y="364"/>
                  <a:pt x="670" y="364"/>
                </a:cubicBezTo>
                <a:cubicBezTo>
                  <a:pt x="667" y="365"/>
                  <a:pt x="667" y="365"/>
                  <a:pt x="667" y="365"/>
                </a:cubicBezTo>
                <a:cubicBezTo>
                  <a:pt x="667" y="369"/>
                  <a:pt x="667" y="369"/>
                  <a:pt x="667" y="369"/>
                </a:cubicBezTo>
                <a:cubicBezTo>
                  <a:pt x="667" y="369"/>
                  <a:pt x="665" y="368"/>
                  <a:pt x="663" y="368"/>
                </a:cubicBezTo>
                <a:cubicBezTo>
                  <a:pt x="662" y="368"/>
                  <a:pt x="662" y="372"/>
                  <a:pt x="662" y="372"/>
                </a:cubicBezTo>
                <a:cubicBezTo>
                  <a:pt x="662" y="372"/>
                  <a:pt x="663" y="375"/>
                  <a:pt x="660" y="375"/>
                </a:cubicBezTo>
                <a:close/>
                <a:moveTo>
                  <a:pt x="691" y="406"/>
                </a:moveTo>
                <a:cubicBezTo>
                  <a:pt x="689" y="407"/>
                  <a:pt x="688" y="407"/>
                  <a:pt x="684" y="408"/>
                </a:cubicBezTo>
                <a:cubicBezTo>
                  <a:pt x="679" y="409"/>
                  <a:pt x="678" y="411"/>
                  <a:pt x="676" y="411"/>
                </a:cubicBezTo>
                <a:cubicBezTo>
                  <a:pt x="675" y="412"/>
                  <a:pt x="672" y="411"/>
                  <a:pt x="672" y="411"/>
                </a:cubicBezTo>
                <a:cubicBezTo>
                  <a:pt x="672" y="411"/>
                  <a:pt x="672" y="413"/>
                  <a:pt x="670" y="413"/>
                </a:cubicBezTo>
                <a:cubicBezTo>
                  <a:pt x="667" y="413"/>
                  <a:pt x="667" y="411"/>
                  <a:pt x="667" y="411"/>
                </a:cubicBezTo>
                <a:cubicBezTo>
                  <a:pt x="667" y="411"/>
                  <a:pt x="662" y="410"/>
                  <a:pt x="662" y="409"/>
                </a:cubicBezTo>
                <a:cubicBezTo>
                  <a:pt x="662" y="409"/>
                  <a:pt x="665" y="407"/>
                  <a:pt x="667" y="406"/>
                </a:cubicBezTo>
                <a:cubicBezTo>
                  <a:pt x="669" y="405"/>
                  <a:pt x="671" y="405"/>
                  <a:pt x="671" y="405"/>
                </a:cubicBezTo>
                <a:cubicBezTo>
                  <a:pt x="671" y="405"/>
                  <a:pt x="672" y="406"/>
                  <a:pt x="672" y="406"/>
                </a:cubicBezTo>
                <a:cubicBezTo>
                  <a:pt x="672" y="406"/>
                  <a:pt x="675" y="403"/>
                  <a:pt x="677" y="402"/>
                </a:cubicBezTo>
                <a:cubicBezTo>
                  <a:pt x="679" y="402"/>
                  <a:pt x="680" y="403"/>
                  <a:pt x="680" y="403"/>
                </a:cubicBezTo>
                <a:cubicBezTo>
                  <a:pt x="680" y="403"/>
                  <a:pt x="681" y="398"/>
                  <a:pt x="687" y="398"/>
                </a:cubicBezTo>
                <a:cubicBezTo>
                  <a:pt x="692" y="398"/>
                  <a:pt x="695" y="399"/>
                  <a:pt x="695" y="399"/>
                </a:cubicBezTo>
                <a:cubicBezTo>
                  <a:pt x="699" y="396"/>
                  <a:pt x="699" y="396"/>
                  <a:pt x="699" y="396"/>
                </a:cubicBezTo>
                <a:cubicBezTo>
                  <a:pt x="708" y="397"/>
                  <a:pt x="708" y="397"/>
                  <a:pt x="708" y="397"/>
                </a:cubicBezTo>
                <a:cubicBezTo>
                  <a:pt x="709" y="397"/>
                  <a:pt x="709" y="397"/>
                  <a:pt x="709" y="397"/>
                </a:cubicBezTo>
                <a:cubicBezTo>
                  <a:pt x="709" y="397"/>
                  <a:pt x="693" y="405"/>
                  <a:pt x="691" y="406"/>
                </a:cubicBezTo>
                <a:close/>
                <a:moveTo>
                  <a:pt x="721" y="384"/>
                </a:moveTo>
                <a:cubicBezTo>
                  <a:pt x="722" y="384"/>
                  <a:pt x="725" y="383"/>
                  <a:pt x="725" y="383"/>
                </a:cubicBezTo>
                <a:cubicBezTo>
                  <a:pt x="725" y="383"/>
                  <a:pt x="731" y="385"/>
                  <a:pt x="732" y="385"/>
                </a:cubicBezTo>
                <a:cubicBezTo>
                  <a:pt x="733" y="385"/>
                  <a:pt x="733" y="381"/>
                  <a:pt x="733" y="381"/>
                </a:cubicBezTo>
                <a:cubicBezTo>
                  <a:pt x="733" y="381"/>
                  <a:pt x="734" y="379"/>
                  <a:pt x="736" y="380"/>
                </a:cubicBezTo>
                <a:cubicBezTo>
                  <a:pt x="737" y="380"/>
                  <a:pt x="737" y="380"/>
                  <a:pt x="737" y="381"/>
                </a:cubicBezTo>
                <a:cubicBezTo>
                  <a:pt x="739" y="382"/>
                  <a:pt x="739" y="383"/>
                  <a:pt x="739" y="383"/>
                </a:cubicBezTo>
                <a:cubicBezTo>
                  <a:pt x="739" y="383"/>
                  <a:pt x="739" y="385"/>
                  <a:pt x="737" y="386"/>
                </a:cubicBezTo>
                <a:cubicBezTo>
                  <a:pt x="736" y="387"/>
                  <a:pt x="736" y="389"/>
                  <a:pt x="736" y="389"/>
                </a:cubicBezTo>
                <a:cubicBezTo>
                  <a:pt x="733" y="389"/>
                  <a:pt x="733" y="389"/>
                  <a:pt x="733" y="389"/>
                </a:cubicBezTo>
                <a:cubicBezTo>
                  <a:pt x="733" y="389"/>
                  <a:pt x="733" y="390"/>
                  <a:pt x="731" y="391"/>
                </a:cubicBezTo>
                <a:cubicBezTo>
                  <a:pt x="728" y="392"/>
                  <a:pt x="727" y="390"/>
                  <a:pt x="727" y="390"/>
                </a:cubicBezTo>
                <a:cubicBezTo>
                  <a:pt x="727" y="390"/>
                  <a:pt x="726" y="392"/>
                  <a:pt x="723" y="392"/>
                </a:cubicBezTo>
                <a:cubicBezTo>
                  <a:pt x="720" y="392"/>
                  <a:pt x="719" y="390"/>
                  <a:pt x="718" y="390"/>
                </a:cubicBezTo>
                <a:cubicBezTo>
                  <a:pt x="716" y="389"/>
                  <a:pt x="714" y="391"/>
                  <a:pt x="710" y="392"/>
                </a:cubicBezTo>
                <a:cubicBezTo>
                  <a:pt x="710" y="392"/>
                  <a:pt x="709" y="392"/>
                  <a:pt x="709" y="392"/>
                </a:cubicBezTo>
                <a:cubicBezTo>
                  <a:pt x="705" y="393"/>
                  <a:pt x="704" y="393"/>
                  <a:pt x="704" y="392"/>
                </a:cubicBezTo>
                <a:cubicBezTo>
                  <a:pt x="704" y="389"/>
                  <a:pt x="711" y="385"/>
                  <a:pt x="713" y="385"/>
                </a:cubicBezTo>
                <a:cubicBezTo>
                  <a:pt x="716" y="385"/>
                  <a:pt x="720" y="384"/>
                  <a:pt x="721" y="384"/>
                </a:cubicBezTo>
                <a:close/>
                <a:moveTo>
                  <a:pt x="683" y="359"/>
                </a:moveTo>
                <a:cubicBezTo>
                  <a:pt x="684" y="359"/>
                  <a:pt x="685" y="359"/>
                  <a:pt x="688" y="359"/>
                </a:cubicBezTo>
                <a:cubicBezTo>
                  <a:pt x="690" y="360"/>
                  <a:pt x="692" y="359"/>
                  <a:pt x="692" y="359"/>
                </a:cubicBezTo>
                <a:cubicBezTo>
                  <a:pt x="694" y="359"/>
                  <a:pt x="698" y="362"/>
                  <a:pt x="700" y="362"/>
                </a:cubicBezTo>
                <a:cubicBezTo>
                  <a:pt x="702" y="362"/>
                  <a:pt x="704" y="362"/>
                  <a:pt x="704" y="362"/>
                </a:cubicBezTo>
                <a:cubicBezTo>
                  <a:pt x="709" y="362"/>
                  <a:pt x="708" y="365"/>
                  <a:pt x="708" y="366"/>
                </a:cubicBezTo>
                <a:cubicBezTo>
                  <a:pt x="708" y="368"/>
                  <a:pt x="710" y="366"/>
                  <a:pt x="710" y="368"/>
                </a:cubicBezTo>
                <a:cubicBezTo>
                  <a:pt x="710" y="370"/>
                  <a:pt x="710" y="371"/>
                  <a:pt x="709" y="372"/>
                </a:cubicBezTo>
                <a:cubicBezTo>
                  <a:pt x="708" y="373"/>
                  <a:pt x="711" y="375"/>
                  <a:pt x="711" y="375"/>
                </a:cubicBezTo>
                <a:cubicBezTo>
                  <a:pt x="708" y="374"/>
                  <a:pt x="708" y="374"/>
                  <a:pt x="708" y="374"/>
                </a:cubicBezTo>
                <a:cubicBezTo>
                  <a:pt x="708" y="374"/>
                  <a:pt x="708" y="376"/>
                  <a:pt x="707" y="378"/>
                </a:cubicBezTo>
                <a:cubicBezTo>
                  <a:pt x="705" y="379"/>
                  <a:pt x="705" y="378"/>
                  <a:pt x="701" y="376"/>
                </a:cubicBezTo>
                <a:cubicBezTo>
                  <a:pt x="697" y="374"/>
                  <a:pt x="698" y="370"/>
                  <a:pt x="698" y="370"/>
                </a:cubicBezTo>
                <a:cubicBezTo>
                  <a:pt x="696" y="369"/>
                  <a:pt x="696" y="369"/>
                  <a:pt x="696" y="369"/>
                </a:cubicBezTo>
                <a:cubicBezTo>
                  <a:pt x="696" y="371"/>
                  <a:pt x="696" y="371"/>
                  <a:pt x="696" y="371"/>
                </a:cubicBezTo>
                <a:cubicBezTo>
                  <a:pt x="696" y="371"/>
                  <a:pt x="698" y="374"/>
                  <a:pt x="696" y="377"/>
                </a:cubicBezTo>
                <a:cubicBezTo>
                  <a:pt x="695" y="380"/>
                  <a:pt x="691" y="381"/>
                  <a:pt x="689" y="383"/>
                </a:cubicBezTo>
                <a:cubicBezTo>
                  <a:pt x="687" y="386"/>
                  <a:pt x="687" y="389"/>
                  <a:pt x="685" y="391"/>
                </a:cubicBezTo>
                <a:cubicBezTo>
                  <a:pt x="684" y="392"/>
                  <a:pt x="680" y="394"/>
                  <a:pt x="679" y="393"/>
                </a:cubicBezTo>
                <a:cubicBezTo>
                  <a:pt x="679" y="393"/>
                  <a:pt x="678" y="393"/>
                  <a:pt x="678" y="393"/>
                </a:cubicBezTo>
                <a:cubicBezTo>
                  <a:pt x="677" y="391"/>
                  <a:pt x="680" y="385"/>
                  <a:pt x="680" y="384"/>
                </a:cubicBezTo>
                <a:cubicBezTo>
                  <a:pt x="679" y="382"/>
                  <a:pt x="676" y="383"/>
                  <a:pt x="675" y="384"/>
                </a:cubicBezTo>
                <a:cubicBezTo>
                  <a:pt x="674" y="386"/>
                  <a:pt x="668" y="389"/>
                  <a:pt x="667" y="387"/>
                </a:cubicBezTo>
                <a:cubicBezTo>
                  <a:pt x="667" y="385"/>
                  <a:pt x="672" y="382"/>
                  <a:pt x="673" y="381"/>
                </a:cubicBezTo>
                <a:cubicBezTo>
                  <a:pt x="673" y="380"/>
                  <a:pt x="676" y="380"/>
                  <a:pt x="678" y="378"/>
                </a:cubicBezTo>
                <a:cubicBezTo>
                  <a:pt x="680" y="377"/>
                  <a:pt x="678" y="372"/>
                  <a:pt x="678" y="372"/>
                </a:cubicBezTo>
                <a:cubicBezTo>
                  <a:pt x="678" y="372"/>
                  <a:pt x="678" y="373"/>
                  <a:pt x="680" y="370"/>
                </a:cubicBezTo>
                <a:cubicBezTo>
                  <a:pt x="682" y="366"/>
                  <a:pt x="678" y="368"/>
                  <a:pt x="676" y="366"/>
                </a:cubicBezTo>
                <a:cubicBezTo>
                  <a:pt x="674" y="365"/>
                  <a:pt x="674" y="364"/>
                  <a:pt x="674" y="364"/>
                </a:cubicBezTo>
                <a:cubicBezTo>
                  <a:pt x="674" y="364"/>
                  <a:pt x="673" y="365"/>
                  <a:pt x="672" y="364"/>
                </a:cubicBezTo>
                <a:cubicBezTo>
                  <a:pt x="671" y="363"/>
                  <a:pt x="672" y="361"/>
                  <a:pt x="672" y="361"/>
                </a:cubicBezTo>
                <a:cubicBezTo>
                  <a:pt x="677" y="362"/>
                  <a:pt x="677" y="362"/>
                  <a:pt x="677" y="362"/>
                </a:cubicBezTo>
                <a:cubicBezTo>
                  <a:pt x="677" y="362"/>
                  <a:pt x="678" y="361"/>
                  <a:pt x="678" y="359"/>
                </a:cubicBezTo>
                <a:cubicBezTo>
                  <a:pt x="677" y="359"/>
                  <a:pt x="678" y="359"/>
                  <a:pt x="679" y="359"/>
                </a:cubicBezTo>
                <a:cubicBezTo>
                  <a:pt x="681" y="359"/>
                  <a:pt x="682" y="359"/>
                  <a:pt x="683" y="359"/>
                </a:cubicBezTo>
                <a:close/>
                <a:moveTo>
                  <a:pt x="630" y="343"/>
                </a:moveTo>
                <a:cubicBezTo>
                  <a:pt x="632" y="342"/>
                  <a:pt x="635" y="341"/>
                  <a:pt x="639" y="340"/>
                </a:cubicBezTo>
                <a:cubicBezTo>
                  <a:pt x="640" y="340"/>
                  <a:pt x="641" y="339"/>
                  <a:pt x="642" y="339"/>
                </a:cubicBezTo>
                <a:cubicBezTo>
                  <a:pt x="644" y="337"/>
                  <a:pt x="646" y="334"/>
                  <a:pt x="646" y="334"/>
                </a:cubicBezTo>
                <a:cubicBezTo>
                  <a:pt x="646" y="333"/>
                  <a:pt x="650" y="335"/>
                  <a:pt x="650" y="335"/>
                </a:cubicBezTo>
                <a:cubicBezTo>
                  <a:pt x="652" y="333"/>
                  <a:pt x="652" y="333"/>
                  <a:pt x="652" y="333"/>
                </a:cubicBezTo>
                <a:cubicBezTo>
                  <a:pt x="652" y="333"/>
                  <a:pt x="653" y="331"/>
                  <a:pt x="654" y="330"/>
                </a:cubicBezTo>
                <a:cubicBezTo>
                  <a:pt x="654" y="330"/>
                  <a:pt x="655" y="332"/>
                  <a:pt x="655" y="332"/>
                </a:cubicBezTo>
                <a:cubicBezTo>
                  <a:pt x="659" y="332"/>
                  <a:pt x="659" y="332"/>
                  <a:pt x="659" y="332"/>
                </a:cubicBezTo>
                <a:cubicBezTo>
                  <a:pt x="659" y="332"/>
                  <a:pt x="657" y="330"/>
                  <a:pt x="659" y="328"/>
                </a:cubicBezTo>
                <a:cubicBezTo>
                  <a:pt x="661" y="327"/>
                  <a:pt x="663" y="330"/>
                  <a:pt x="663" y="330"/>
                </a:cubicBezTo>
                <a:cubicBezTo>
                  <a:pt x="667" y="330"/>
                  <a:pt x="667" y="330"/>
                  <a:pt x="667" y="330"/>
                </a:cubicBezTo>
                <a:cubicBezTo>
                  <a:pt x="667" y="331"/>
                  <a:pt x="667" y="331"/>
                  <a:pt x="667" y="331"/>
                </a:cubicBezTo>
                <a:cubicBezTo>
                  <a:pt x="667" y="331"/>
                  <a:pt x="672" y="331"/>
                  <a:pt x="673" y="332"/>
                </a:cubicBezTo>
                <a:cubicBezTo>
                  <a:pt x="674" y="333"/>
                  <a:pt x="671" y="338"/>
                  <a:pt x="671" y="338"/>
                </a:cubicBezTo>
                <a:cubicBezTo>
                  <a:pt x="673" y="340"/>
                  <a:pt x="673" y="340"/>
                  <a:pt x="673" y="340"/>
                </a:cubicBezTo>
                <a:cubicBezTo>
                  <a:pt x="671" y="343"/>
                  <a:pt x="671" y="343"/>
                  <a:pt x="671" y="343"/>
                </a:cubicBezTo>
                <a:cubicBezTo>
                  <a:pt x="671" y="343"/>
                  <a:pt x="680" y="338"/>
                  <a:pt x="682" y="340"/>
                </a:cubicBezTo>
                <a:cubicBezTo>
                  <a:pt x="684" y="341"/>
                  <a:pt x="678" y="343"/>
                  <a:pt x="678" y="344"/>
                </a:cubicBezTo>
                <a:cubicBezTo>
                  <a:pt x="678" y="345"/>
                  <a:pt x="681" y="346"/>
                  <a:pt x="681" y="347"/>
                </a:cubicBezTo>
                <a:cubicBezTo>
                  <a:pt x="681" y="348"/>
                  <a:pt x="678" y="349"/>
                  <a:pt x="678" y="350"/>
                </a:cubicBezTo>
                <a:cubicBezTo>
                  <a:pt x="678" y="351"/>
                  <a:pt x="680" y="351"/>
                  <a:pt x="680" y="352"/>
                </a:cubicBezTo>
                <a:cubicBezTo>
                  <a:pt x="679" y="354"/>
                  <a:pt x="678" y="354"/>
                  <a:pt x="678" y="354"/>
                </a:cubicBezTo>
                <a:cubicBezTo>
                  <a:pt x="677" y="355"/>
                  <a:pt x="677" y="355"/>
                  <a:pt x="677" y="355"/>
                </a:cubicBezTo>
                <a:cubicBezTo>
                  <a:pt x="677" y="357"/>
                  <a:pt x="677" y="357"/>
                  <a:pt x="677" y="357"/>
                </a:cubicBezTo>
                <a:cubicBezTo>
                  <a:pt x="674" y="356"/>
                  <a:pt x="674" y="356"/>
                  <a:pt x="674" y="356"/>
                </a:cubicBezTo>
                <a:cubicBezTo>
                  <a:pt x="673" y="353"/>
                  <a:pt x="673" y="353"/>
                  <a:pt x="673" y="353"/>
                </a:cubicBezTo>
                <a:cubicBezTo>
                  <a:pt x="672" y="353"/>
                  <a:pt x="672" y="353"/>
                  <a:pt x="672" y="353"/>
                </a:cubicBezTo>
                <a:cubicBezTo>
                  <a:pt x="669" y="354"/>
                  <a:pt x="669" y="354"/>
                  <a:pt x="669" y="354"/>
                </a:cubicBezTo>
                <a:cubicBezTo>
                  <a:pt x="662" y="354"/>
                  <a:pt x="662" y="354"/>
                  <a:pt x="662" y="354"/>
                </a:cubicBezTo>
                <a:cubicBezTo>
                  <a:pt x="662" y="354"/>
                  <a:pt x="659" y="356"/>
                  <a:pt x="655" y="356"/>
                </a:cubicBezTo>
                <a:cubicBezTo>
                  <a:pt x="650" y="355"/>
                  <a:pt x="651" y="352"/>
                  <a:pt x="650" y="351"/>
                </a:cubicBezTo>
                <a:cubicBezTo>
                  <a:pt x="650" y="350"/>
                  <a:pt x="645" y="352"/>
                  <a:pt x="645" y="351"/>
                </a:cubicBezTo>
                <a:cubicBezTo>
                  <a:pt x="653" y="346"/>
                  <a:pt x="653" y="346"/>
                  <a:pt x="653" y="346"/>
                </a:cubicBezTo>
                <a:cubicBezTo>
                  <a:pt x="653" y="346"/>
                  <a:pt x="651" y="345"/>
                  <a:pt x="650" y="345"/>
                </a:cubicBezTo>
                <a:cubicBezTo>
                  <a:pt x="649" y="345"/>
                  <a:pt x="646" y="348"/>
                  <a:pt x="645" y="348"/>
                </a:cubicBezTo>
                <a:cubicBezTo>
                  <a:pt x="644" y="348"/>
                  <a:pt x="639" y="351"/>
                  <a:pt x="636" y="352"/>
                </a:cubicBezTo>
                <a:cubicBezTo>
                  <a:pt x="634" y="353"/>
                  <a:pt x="630" y="352"/>
                  <a:pt x="630" y="352"/>
                </a:cubicBezTo>
                <a:cubicBezTo>
                  <a:pt x="629" y="354"/>
                  <a:pt x="629" y="354"/>
                  <a:pt x="629" y="354"/>
                </a:cubicBezTo>
                <a:cubicBezTo>
                  <a:pt x="629" y="354"/>
                  <a:pt x="624" y="355"/>
                  <a:pt x="622" y="354"/>
                </a:cubicBezTo>
                <a:cubicBezTo>
                  <a:pt x="620" y="354"/>
                  <a:pt x="625" y="351"/>
                  <a:pt x="625" y="351"/>
                </a:cubicBezTo>
                <a:cubicBezTo>
                  <a:pt x="625" y="351"/>
                  <a:pt x="623" y="351"/>
                  <a:pt x="619" y="352"/>
                </a:cubicBezTo>
                <a:cubicBezTo>
                  <a:pt x="615" y="352"/>
                  <a:pt x="615" y="354"/>
                  <a:pt x="611" y="353"/>
                </a:cubicBezTo>
                <a:cubicBezTo>
                  <a:pt x="608" y="352"/>
                  <a:pt x="627" y="345"/>
                  <a:pt x="630" y="343"/>
                </a:cubicBezTo>
                <a:close/>
                <a:moveTo>
                  <a:pt x="599" y="275"/>
                </a:moveTo>
                <a:cubicBezTo>
                  <a:pt x="601" y="275"/>
                  <a:pt x="601" y="276"/>
                  <a:pt x="602" y="276"/>
                </a:cubicBezTo>
                <a:cubicBezTo>
                  <a:pt x="603" y="276"/>
                  <a:pt x="605" y="276"/>
                  <a:pt x="607" y="279"/>
                </a:cubicBezTo>
                <a:cubicBezTo>
                  <a:pt x="608" y="283"/>
                  <a:pt x="604" y="286"/>
                  <a:pt x="604" y="286"/>
                </a:cubicBezTo>
                <a:cubicBezTo>
                  <a:pt x="604" y="286"/>
                  <a:pt x="603" y="292"/>
                  <a:pt x="604" y="294"/>
                </a:cubicBezTo>
                <a:cubicBezTo>
                  <a:pt x="604" y="296"/>
                  <a:pt x="603" y="298"/>
                  <a:pt x="602" y="299"/>
                </a:cubicBezTo>
                <a:cubicBezTo>
                  <a:pt x="601" y="300"/>
                  <a:pt x="603" y="300"/>
                  <a:pt x="604" y="303"/>
                </a:cubicBezTo>
                <a:cubicBezTo>
                  <a:pt x="604" y="305"/>
                  <a:pt x="599" y="311"/>
                  <a:pt x="599" y="311"/>
                </a:cubicBezTo>
                <a:cubicBezTo>
                  <a:pt x="596" y="310"/>
                  <a:pt x="596" y="310"/>
                  <a:pt x="596" y="310"/>
                </a:cubicBezTo>
                <a:cubicBezTo>
                  <a:pt x="596" y="310"/>
                  <a:pt x="596" y="314"/>
                  <a:pt x="592" y="313"/>
                </a:cubicBezTo>
                <a:cubicBezTo>
                  <a:pt x="589" y="312"/>
                  <a:pt x="600" y="302"/>
                  <a:pt x="600" y="300"/>
                </a:cubicBezTo>
                <a:cubicBezTo>
                  <a:pt x="600" y="297"/>
                  <a:pt x="596" y="301"/>
                  <a:pt x="596" y="301"/>
                </a:cubicBezTo>
                <a:cubicBezTo>
                  <a:pt x="599" y="297"/>
                  <a:pt x="599" y="297"/>
                  <a:pt x="599" y="297"/>
                </a:cubicBezTo>
                <a:cubicBezTo>
                  <a:pt x="599" y="297"/>
                  <a:pt x="599" y="294"/>
                  <a:pt x="597" y="294"/>
                </a:cubicBezTo>
                <a:cubicBezTo>
                  <a:pt x="595" y="293"/>
                  <a:pt x="596" y="297"/>
                  <a:pt x="593" y="297"/>
                </a:cubicBezTo>
                <a:cubicBezTo>
                  <a:pt x="591" y="297"/>
                  <a:pt x="593" y="291"/>
                  <a:pt x="593" y="291"/>
                </a:cubicBezTo>
                <a:cubicBezTo>
                  <a:pt x="593" y="291"/>
                  <a:pt x="591" y="289"/>
                  <a:pt x="591" y="288"/>
                </a:cubicBezTo>
                <a:cubicBezTo>
                  <a:pt x="591" y="286"/>
                  <a:pt x="596" y="286"/>
                  <a:pt x="596" y="284"/>
                </a:cubicBezTo>
                <a:cubicBezTo>
                  <a:pt x="596" y="283"/>
                  <a:pt x="592" y="285"/>
                  <a:pt x="591" y="283"/>
                </a:cubicBezTo>
                <a:cubicBezTo>
                  <a:pt x="591" y="283"/>
                  <a:pt x="597" y="276"/>
                  <a:pt x="599" y="275"/>
                </a:cubicBezTo>
                <a:close/>
                <a:moveTo>
                  <a:pt x="581" y="181"/>
                </a:moveTo>
                <a:cubicBezTo>
                  <a:pt x="585" y="181"/>
                  <a:pt x="593" y="182"/>
                  <a:pt x="592" y="183"/>
                </a:cubicBezTo>
                <a:cubicBezTo>
                  <a:pt x="591" y="184"/>
                  <a:pt x="587" y="186"/>
                  <a:pt x="587" y="185"/>
                </a:cubicBezTo>
                <a:cubicBezTo>
                  <a:pt x="587" y="185"/>
                  <a:pt x="585" y="182"/>
                  <a:pt x="584" y="183"/>
                </a:cubicBezTo>
                <a:cubicBezTo>
                  <a:pt x="583" y="185"/>
                  <a:pt x="583" y="186"/>
                  <a:pt x="583" y="186"/>
                </a:cubicBezTo>
                <a:cubicBezTo>
                  <a:pt x="583" y="186"/>
                  <a:pt x="580" y="184"/>
                  <a:pt x="579" y="185"/>
                </a:cubicBezTo>
                <a:cubicBezTo>
                  <a:pt x="578" y="185"/>
                  <a:pt x="578" y="187"/>
                  <a:pt x="578" y="187"/>
                </a:cubicBezTo>
                <a:cubicBezTo>
                  <a:pt x="575" y="187"/>
                  <a:pt x="575" y="187"/>
                  <a:pt x="575" y="187"/>
                </a:cubicBezTo>
                <a:cubicBezTo>
                  <a:pt x="575" y="187"/>
                  <a:pt x="572" y="186"/>
                  <a:pt x="569" y="188"/>
                </a:cubicBezTo>
                <a:cubicBezTo>
                  <a:pt x="566" y="190"/>
                  <a:pt x="560" y="194"/>
                  <a:pt x="557" y="195"/>
                </a:cubicBezTo>
                <a:cubicBezTo>
                  <a:pt x="554" y="196"/>
                  <a:pt x="550" y="197"/>
                  <a:pt x="550" y="197"/>
                </a:cubicBezTo>
                <a:cubicBezTo>
                  <a:pt x="550" y="197"/>
                  <a:pt x="544" y="195"/>
                  <a:pt x="542" y="197"/>
                </a:cubicBezTo>
                <a:cubicBezTo>
                  <a:pt x="540" y="199"/>
                  <a:pt x="539" y="201"/>
                  <a:pt x="539" y="201"/>
                </a:cubicBezTo>
                <a:cubicBezTo>
                  <a:pt x="533" y="201"/>
                  <a:pt x="533" y="201"/>
                  <a:pt x="533" y="201"/>
                </a:cubicBezTo>
                <a:cubicBezTo>
                  <a:pt x="532" y="202"/>
                  <a:pt x="532" y="202"/>
                  <a:pt x="532" y="202"/>
                </a:cubicBezTo>
                <a:cubicBezTo>
                  <a:pt x="532" y="202"/>
                  <a:pt x="529" y="202"/>
                  <a:pt x="527" y="202"/>
                </a:cubicBezTo>
                <a:cubicBezTo>
                  <a:pt x="526" y="202"/>
                  <a:pt x="522" y="203"/>
                  <a:pt x="520" y="203"/>
                </a:cubicBezTo>
                <a:cubicBezTo>
                  <a:pt x="519" y="203"/>
                  <a:pt x="517" y="201"/>
                  <a:pt x="516" y="201"/>
                </a:cubicBezTo>
                <a:cubicBezTo>
                  <a:pt x="515" y="201"/>
                  <a:pt x="512" y="201"/>
                  <a:pt x="512" y="200"/>
                </a:cubicBezTo>
                <a:cubicBezTo>
                  <a:pt x="512" y="199"/>
                  <a:pt x="516" y="199"/>
                  <a:pt x="516" y="199"/>
                </a:cubicBezTo>
                <a:cubicBezTo>
                  <a:pt x="516" y="199"/>
                  <a:pt x="518" y="197"/>
                  <a:pt x="519" y="197"/>
                </a:cubicBezTo>
                <a:cubicBezTo>
                  <a:pt x="519" y="197"/>
                  <a:pt x="521" y="199"/>
                  <a:pt x="523" y="199"/>
                </a:cubicBezTo>
                <a:cubicBezTo>
                  <a:pt x="525" y="199"/>
                  <a:pt x="525" y="197"/>
                  <a:pt x="525" y="197"/>
                </a:cubicBezTo>
                <a:cubicBezTo>
                  <a:pt x="527" y="197"/>
                  <a:pt x="527" y="197"/>
                  <a:pt x="527" y="197"/>
                </a:cubicBezTo>
                <a:cubicBezTo>
                  <a:pt x="527" y="197"/>
                  <a:pt x="530" y="193"/>
                  <a:pt x="532" y="193"/>
                </a:cubicBezTo>
                <a:cubicBezTo>
                  <a:pt x="534" y="193"/>
                  <a:pt x="534" y="195"/>
                  <a:pt x="538" y="193"/>
                </a:cubicBezTo>
                <a:cubicBezTo>
                  <a:pt x="542" y="192"/>
                  <a:pt x="539" y="187"/>
                  <a:pt x="539" y="187"/>
                </a:cubicBezTo>
                <a:cubicBezTo>
                  <a:pt x="539" y="187"/>
                  <a:pt x="534" y="184"/>
                  <a:pt x="537" y="183"/>
                </a:cubicBezTo>
                <a:cubicBezTo>
                  <a:pt x="538" y="183"/>
                  <a:pt x="540" y="185"/>
                  <a:pt x="540" y="185"/>
                </a:cubicBezTo>
                <a:cubicBezTo>
                  <a:pt x="542" y="185"/>
                  <a:pt x="542" y="185"/>
                  <a:pt x="542" y="185"/>
                </a:cubicBezTo>
                <a:cubicBezTo>
                  <a:pt x="544" y="187"/>
                  <a:pt x="544" y="187"/>
                  <a:pt x="544" y="187"/>
                </a:cubicBezTo>
                <a:cubicBezTo>
                  <a:pt x="544" y="187"/>
                  <a:pt x="547" y="187"/>
                  <a:pt x="548" y="188"/>
                </a:cubicBezTo>
                <a:cubicBezTo>
                  <a:pt x="549" y="188"/>
                  <a:pt x="546" y="192"/>
                  <a:pt x="551" y="191"/>
                </a:cubicBezTo>
                <a:cubicBezTo>
                  <a:pt x="556" y="191"/>
                  <a:pt x="556" y="190"/>
                  <a:pt x="556" y="190"/>
                </a:cubicBezTo>
                <a:cubicBezTo>
                  <a:pt x="558" y="190"/>
                  <a:pt x="558" y="190"/>
                  <a:pt x="558" y="190"/>
                </a:cubicBezTo>
                <a:cubicBezTo>
                  <a:pt x="558" y="190"/>
                  <a:pt x="567" y="187"/>
                  <a:pt x="570" y="185"/>
                </a:cubicBezTo>
                <a:cubicBezTo>
                  <a:pt x="573" y="183"/>
                  <a:pt x="577" y="182"/>
                  <a:pt x="581" y="181"/>
                </a:cubicBezTo>
                <a:close/>
                <a:moveTo>
                  <a:pt x="511" y="147"/>
                </a:moveTo>
                <a:cubicBezTo>
                  <a:pt x="513" y="146"/>
                  <a:pt x="515" y="147"/>
                  <a:pt x="518" y="147"/>
                </a:cubicBezTo>
                <a:cubicBezTo>
                  <a:pt x="520" y="147"/>
                  <a:pt x="519" y="145"/>
                  <a:pt x="519" y="145"/>
                </a:cubicBezTo>
                <a:cubicBezTo>
                  <a:pt x="534" y="144"/>
                  <a:pt x="534" y="144"/>
                  <a:pt x="534" y="144"/>
                </a:cubicBezTo>
                <a:cubicBezTo>
                  <a:pt x="534" y="144"/>
                  <a:pt x="541" y="142"/>
                  <a:pt x="544" y="142"/>
                </a:cubicBezTo>
                <a:cubicBezTo>
                  <a:pt x="547" y="141"/>
                  <a:pt x="549" y="143"/>
                  <a:pt x="549" y="143"/>
                </a:cubicBezTo>
                <a:cubicBezTo>
                  <a:pt x="549" y="143"/>
                  <a:pt x="549" y="142"/>
                  <a:pt x="551" y="141"/>
                </a:cubicBezTo>
                <a:cubicBezTo>
                  <a:pt x="552" y="140"/>
                  <a:pt x="557" y="142"/>
                  <a:pt x="557" y="142"/>
                </a:cubicBezTo>
                <a:cubicBezTo>
                  <a:pt x="557" y="142"/>
                  <a:pt x="552" y="144"/>
                  <a:pt x="550" y="144"/>
                </a:cubicBezTo>
                <a:cubicBezTo>
                  <a:pt x="549" y="145"/>
                  <a:pt x="542" y="146"/>
                  <a:pt x="542" y="146"/>
                </a:cubicBezTo>
                <a:cubicBezTo>
                  <a:pt x="541" y="147"/>
                  <a:pt x="541" y="147"/>
                  <a:pt x="541" y="147"/>
                </a:cubicBezTo>
                <a:cubicBezTo>
                  <a:pt x="545" y="147"/>
                  <a:pt x="545" y="147"/>
                  <a:pt x="545" y="147"/>
                </a:cubicBezTo>
                <a:cubicBezTo>
                  <a:pt x="545" y="147"/>
                  <a:pt x="547" y="148"/>
                  <a:pt x="548" y="148"/>
                </a:cubicBezTo>
                <a:cubicBezTo>
                  <a:pt x="549" y="148"/>
                  <a:pt x="554" y="147"/>
                  <a:pt x="557" y="147"/>
                </a:cubicBezTo>
                <a:cubicBezTo>
                  <a:pt x="560" y="147"/>
                  <a:pt x="556" y="145"/>
                  <a:pt x="556" y="145"/>
                </a:cubicBezTo>
                <a:cubicBezTo>
                  <a:pt x="564" y="145"/>
                  <a:pt x="564" y="145"/>
                  <a:pt x="564" y="145"/>
                </a:cubicBezTo>
                <a:cubicBezTo>
                  <a:pt x="564" y="145"/>
                  <a:pt x="563" y="148"/>
                  <a:pt x="559" y="149"/>
                </a:cubicBezTo>
                <a:cubicBezTo>
                  <a:pt x="555" y="150"/>
                  <a:pt x="552" y="152"/>
                  <a:pt x="552" y="152"/>
                </a:cubicBezTo>
                <a:cubicBezTo>
                  <a:pt x="552" y="152"/>
                  <a:pt x="552" y="154"/>
                  <a:pt x="550" y="154"/>
                </a:cubicBezTo>
                <a:cubicBezTo>
                  <a:pt x="549" y="155"/>
                  <a:pt x="544" y="153"/>
                  <a:pt x="544" y="153"/>
                </a:cubicBezTo>
                <a:cubicBezTo>
                  <a:pt x="543" y="154"/>
                  <a:pt x="543" y="154"/>
                  <a:pt x="543" y="154"/>
                </a:cubicBezTo>
                <a:cubicBezTo>
                  <a:pt x="541" y="152"/>
                  <a:pt x="541" y="152"/>
                  <a:pt x="541" y="152"/>
                </a:cubicBezTo>
                <a:cubicBezTo>
                  <a:pt x="539" y="154"/>
                  <a:pt x="539" y="154"/>
                  <a:pt x="539" y="154"/>
                </a:cubicBezTo>
                <a:cubicBezTo>
                  <a:pt x="539" y="154"/>
                  <a:pt x="537" y="153"/>
                  <a:pt x="536" y="154"/>
                </a:cubicBezTo>
                <a:cubicBezTo>
                  <a:pt x="535" y="156"/>
                  <a:pt x="537" y="157"/>
                  <a:pt x="537" y="157"/>
                </a:cubicBezTo>
                <a:cubicBezTo>
                  <a:pt x="533" y="158"/>
                  <a:pt x="533" y="158"/>
                  <a:pt x="533" y="158"/>
                </a:cubicBezTo>
                <a:cubicBezTo>
                  <a:pt x="533" y="158"/>
                  <a:pt x="530" y="160"/>
                  <a:pt x="529" y="160"/>
                </a:cubicBezTo>
                <a:cubicBezTo>
                  <a:pt x="528" y="160"/>
                  <a:pt x="519" y="163"/>
                  <a:pt x="517" y="162"/>
                </a:cubicBezTo>
                <a:cubicBezTo>
                  <a:pt x="515" y="161"/>
                  <a:pt x="523" y="160"/>
                  <a:pt x="526" y="159"/>
                </a:cubicBezTo>
                <a:cubicBezTo>
                  <a:pt x="529" y="158"/>
                  <a:pt x="534" y="155"/>
                  <a:pt x="531" y="154"/>
                </a:cubicBezTo>
                <a:cubicBezTo>
                  <a:pt x="528" y="154"/>
                  <a:pt x="518" y="160"/>
                  <a:pt x="515" y="160"/>
                </a:cubicBezTo>
                <a:cubicBezTo>
                  <a:pt x="512" y="161"/>
                  <a:pt x="507" y="160"/>
                  <a:pt x="505" y="159"/>
                </a:cubicBezTo>
                <a:cubicBezTo>
                  <a:pt x="503" y="158"/>
                  <a:pt x="511" y="158"/>
                  <a:pt x="513" y="157"/>
                </a:cubicBezTo>
                <a:cubicBezTo>
                  <a:pt x="514" y="156"/>
                  <a:pt x="520" y="153"/>
                  <a:pt x="520" y="153"/>
                </a:cubicBezTo>
                <a:cubicBezTo>
                  <a:pt x="520" y="153"/>
                  <a:pt x="519" y="152"/>
                  <a:pt x="520" y="151"/>
                </a:cubicBezTo>
                <a:cubicBezTo>
                  <a:pt x="522" y="151"/>
                  <a:pt x="525" y="152"/>
                  <a:pt x="530" y="151"/>
                </a:cubicBezTo>
                <a:cubicBezTo>
                  <a:pt x="535" y="150"/>
                  <a:pt x="530" y="147"/>
                  <a:pt x="526" y="147"/>
                </a:cubicBezTo>
                <a:cubicBezTo>
                  <a:pt x="522" y="147"/>
                  <a:pt x="521" y="149"/>
                  <a:pt x="519" y="150"/>
                </a:cubicBezTo>
                <a:cubicBezTo>
                  <a:pt x="517" y="151"/>
                  <a:pt x="517" y="149"/>
                  <a:pt x="517" y="149"/>
                </a:cubicBezTo>
                <a:cubicBezTo>
                  <a:pt x="514" y="150"/>
                  <a:pt x="514" y="150"/>
                  <a:pt x="514" y="150"/>
                </a:cubicBezTo>
                <a:cubicBezTo>
                  <a:pt x="510" y="149"/>
                  <a:pt x="510" y="149"/>
                  <a:pt x="510" y="149"/>
                </a:cubicBezTo>
                <a:cubicBezTo>
                  <a:pt x="510" y="149"/>
                  <a:pt x="505" y="151"/>
                  <a:pt x="503" y="151"/>
                </a:cubicBezTo>
                <a:cubicBezTo>
                  <a:pt x="501" y="150"/>
                  <a:pt x="509" y="148"/>
                  <a:pt x="511" y="147"/>
                </a:cubicBezTo>
                <a:close/>
                <a:moveTo>
                  <a:pt x="573" y="754"/>
                </a:moveTo>
                <a:cubicBezTo>
                  <a:pt x="573" y="754"/>
                  <a:pt x="569" y="752"/>
                  <a:pt x="568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2"/>
                  <a:pt x="567" y="752"/>
                  <a:pt x="567" y="752"/>
                </a:cubicBezTo>
                <a:cubicBezTo>
                  <a:pt x="567" y="751"/>
                  <a:pt x="564" y="750"/>
                  <a:pt x="565" y="749"/>
                </a:cubicBezTo>
                <a:cubicBezTo>
                  <a:pt x="566" y="749"/>
                  <a:pt x="569" y="750"/>
                  <a:pt x="568" y="748"/>
                </a:cubicBezTo>
                <a:cubicBezTo>
                  <a:pt x="567" y="747"/>
                  <a:pt x="567" y="747"/>
                  <a:pt x="567" y="747"/>
                </a:cubicBezTo>
                <a:cubicBezTo>
                  <a:pt x="567" y="747"/>
                  <a:pt x="564" y="748"/>
                  <a:pt x="564" y="747"/>
                </a:cubicBezTo>
                <a:cubicBezTo>
                  <a:pt x="564" y="747"/>
                  <a:pt x="563" y="741"/>
                  <a:pt x="564" y="741"/>
                </a:cubicBezTo>
                <a:cubicBezTo>
                  <a:pt x="566" y="742"/>
                  <a:pt x="573" y="747"/>
                  <a:pt x="574" y="749"/>
                </a:cubicBezTo>
                <a:cubicBezTo>
                  <a:pt x="574" y="750"/>
                  <a:pt x="575" y="752"/>
                  <a:pt x="575" y="753"/>
                </a:cubicBezTo>
                <a:cubicBezTo>
                  <a:pt x="575" y="753"/>
                  <a:pt x="575" y="753"/>
                  <a:pt x="575" y="753"/>
                </a:cubicBezTo>
                <a:cubicBezTo>
                  <a:pt x="573" y="753"/>
                  <a:pt x="573" y="754"/>
                  <a:pt x="573" y="754"/>
                </a:cubicBezTo>
                <a:close/>
                <a:moveTo>
                  <a:pt x="737" y="1064"/>
                </a:moveTo>
                <a:cubicBezTo>
                  <a:pt x="736" y="1063"/>
                  <a:pt x="736" y="1063"/>
                  <a:pt x="736" y="1063"/>
                </a:cubicBezTo>
                <a:cubicBezTo>
                  <a:pt x="734" y="1061"/>
                  <a:pt x="734" y="1061"/>
                  <a:pt x="734" y="1061"/>
                </a:cubicBezTo>
                <a:cubicBezTo>
                  <a:pt x="734" y="1061"/>
                  <a:pt x="732" y="1060"/>
                  <a:pt x="730" y="1059"/>
                </a:cubicBezTo>
                <a:cubicBezTo>
                  <a:pt x="729" y="1058"/>
                  <a:pt x="728" y="1056"/>
                  <a:pt x="728" y="1056"/>
                </a:cubicBezTo>
                <a:cubicBezTo>
                  <a:pt x="728" y="1056"/>
                  <a:pt x="725" y="1057"/>
                  <a:pt x="724" y="1056"/>
                </a:cubicBezTo>
                <a:cubicBezTo>
                  <a:pt x="725" y="1053"/>
                  <a:pt x="725" y="1053"/>
                  <a:pt x="725" y="1053"/>
                </a:cubicBezTo>
                <a:cubicBezTo>
                  <a:pt x="725" y="1053"/>
                  <a:pt x="725" y="1049"/>
                  <a:pt x="726" y="1049"/>
                </a:cubicBezTo>
                <a:cubicBezTo>
                  <a:pt x="726" y="1048"/>
                  <a:pt x="729" y="1051"/>
                  <a:pt x="731" y="1052"/>
                </a:cubicBezTo>
                <a:cubicBezTo>
                  <a:pt x="732" y="1053"/>
                  <a:pt x="733" y="1054"/>
                  <a:pt x="733" y="1054"/>
                </a:cubicBezTo>
                <a:cubicBezTo>
                  <a:pt x="736" y="1057"/>
                  <a:pt x="736" y="1057"/>
                  <a:pt x="736" y="1057"/>
                </a:cubicBezTo>
                <a:cubicBezTo>
                  <a:pt x="736" y="1059"/>
                  <a:pt x="736" y="1059"/>
                  <a:pt x="736" y="1059"/>
                </a:cubicBezTo>
                <a:cubicBezTo>
                  <a:pt x="739" y="1061"/>
                  <a:pt x="739" y="1061"/>
                  <a:pt x="739" y="1061"/>
                </a:cubicBezTo>
                <a:cubicBezTo>
                  <a:pt x="737" y="1064"/>
                  <a:pt x="737" y="1064"/>
                  <a:pt x="737" y="1064"/>
                </a:cubicBezTo>
                <a:cubicBezTo>
                  <a:pt x="737" y="1064"/>
                  <a:pt x="737" y="1064"/>
                  <a:pt x="737" y="1064"/>
                </a:cubicBezTo>
                <a:close/>
                <a:moveTo>
                  <a:pt x="718" y="743"/>
                </a:moveTo>
                <a:cubicBezTo>
                  <a:pt x="718" y="744"/>
                  <a:pt x="719" y="747"/>
                  <a:pt x="719" y="747"/>
                </a:cubicBezTo>
                <a:cubicBezTo>
                  <a:pt x="723" y="747"/>
                  <a:pt x="723" y="747"/>
                  <a:pt x="723" y="747"/>
                </a:cubicBezTo>
                <a:cubicBezTo>
                  <a:pt x="723" y="747"/>
                  <a:pt x="724" y="741"/>
                  <a:pt x="722" y="740"/>
                </a:cubicBezTo>
                <a:cubicBezTo>
                  <a:pt x="719" y="740"/>
                  <a:pt x="718" y="741"/>
                  <a:pt x="718" y="743"/>
                </a:cubicBezTo>
                <a:close/>
                <a:moveTo>
                  <a:pt x="614" y="912"/>
                </a:moveTo>
                <a:cubicBezTo>
                  <a:pt x="617" y="911"/>
                  <a:pt x="618" y="907"/>
                  <a:pt x="616" y="907"/>
                </a:cubicBezTo>
                <a:cubicBezTo>
                  <a:pt x="614" y="908"/>
                  <a:pt x="613" y="912"/>
                  <a:pt x="614" y="912"/>
                </a:cubicBezTo>
                <a:close/>
                <a:moveTo>
                  <a:pt x="757" y="1376"/>
                </a:moveTo>
                <a:cubicBezTo>
                  <a:pt x="754" y="1376"/>
                  <a:pt x="754" y="1376"/>
                  <a:pt x="754" y="1376"/>
                </a:cubicBezTo>
                <a:cubicBezTo>
                  <a:pt x="755" y="1379"/>
                  <a:pt x="755" y="1379"/>
                  <a:pt x="755" y="1379"/>
                </a:cubicBezTo>
                <a:cubicBezTo>
                  <a:pt x="757" y="1376"/>
                  <a:pt x="757" y="1376"/>
                  <a:pt x="757" y="1376"/>
                </a:cubicBezTo>
                <a:cubicBezTo>
                  <a:pt x="757" y="1376"/>
                  <a:pt x="757" y="1376"/>
                  <a:pt x="757" y="1376"/>
                </a:cubicBezTo>
                <a:close/>
                <a:moveTo>
                  <a:pt x="759" y="1370"/>
                </a:moveTo>
                <a:cubicBezTo>
                  <a:pt x="756" y="1372"/>
                  <a:pt x="757" y="1374"/>
                  <a:pt x="759" y="1374"/>
                </a:cubicBezTo>
                <a:cubicBezTo>
                  <a:pt x="762" y="1373"/>
                  <a:pt x="762" y="1368"/>
                  <a:pt x="759" y="1370"/>
                </a:cubicBezTo>
                <a:close/>
                <a:moveTo>
                  <a:pt x="801" y="1470"/>
                </a:moveTo>
                <a:cubicBezTo>
                  <a:pt x="796" y="1467"/>
                  <a:pt x="796" y="1467"/>
                  <a:pt x="796" y="1467"/>
                </a:cubicBezTo>
                <a:cubicBezTo>
                  <a:pt x="800" y="1471"/>
                  <a:pt x="800" y="1471"/>
                  <a:pt x="800" y="1471"/>
                </a:cubicBezTo>
                <a:cubicBezTo>
                  <a:pt x="806" y="1472"/>
                  <a:pt x="806" y="1472"/>
                  <a:pt x="806" y="1472"/>
                </a:cubicBezTo>
                <a:cubicBezTo>
                  <a:pt x="808" y="1473"/>
                  <a:pt x="808" y="1473"/>
                  <a:pt x="808" y="1473"/>
                </a:cubicBezTo>
                <a:cubicBezTo>
                  <a:pt x="806" y="1470"/>
                  <a:pt x="806" y="1470"/>
                  <a:pt x="806" y="1470"/>
                </a:cubicBezTo>
                <a:cubicBezTo>
                  <a:pt x="801" y="1470"/>
                  <a:pt x="801" y="1470"/>
                  <a:pt x="801" y="1470"/>
                </a:cubicBezTo>
                <a:cubicBezTo>
                  <a:pt x="801" y="1470"/>
                  <a:pt x="801" y="1470"/>
                  <a:pt x="801" y="1470"/>
                </a:cubicBezTo>
                <a:close/>
                <a:moveTo>
                  <a:pt x="763" y="1385"/>
                </a:moveTo>
                <a:cubicBezTo>
                  <a:pt x="763" y="1388"/>
                  <a:pt x="763" y="1388"/>
                  <a:pt x="763" y="1388"/>
                </a:cubicBezTo>
                <a:cubicBezTo>
                  <a:pt x="767" y="1390"/>
                  <a:pt x="767" y="1390"/>
                  <a:pt x="767" y="1390"/>
                </a:cubicBezTo>
                <a:cubicBezTo>
                  <a:pt x="767" y="1387"/>
                  <a:pt x="767" y="1387"/>
                  <a:pt x="767" y="1387"/>
                </a:cubicBezTo>
                <a:cubicBezTo>
                  <a:pt x="765" y="1383"/>
                  <a:pt x="765" y="1383"/>
                  <a:pt x="765" y="1383"/>
                </a:cubicBezTo>
                <a:cubicBezTo>
                  <a:pt x="760" y="1383"/>
                  <a:pt x="760" y="1383"/>
                  <a:pt x="760" y="1383"/>
                </a:cubicBezTo>
                <a:cubicBezTo>
                  <a:pt x="763" y="1385"/>
                  <a:pt x="763" y="1385"/>
                  <a:pt x="763" y="1385"/>
                </a:cubicBezTo>
                <a:cubicBezTo>
                  <a:pt x="763" y="1385"/>
                  <a:pt x="763" y="1385"/>
                  <a:pt x="763" y="1385"/>
                </a:cubicBezTo>
                <a:close/>
                <a:moveTo>
                  <a:pt x="758" y="1379"/>
                </a:moveTo>
                <a:cubicBezTo>
                  <a:pt x="759" y="1381"/>
                  <a:pt x="759" y="1381"/>
                  <a:pt x="759" y="1381"/>
                </a:cubicBezTo>
                <a:cubicBezTo>
                  <a:pt x="763" y="1381"/>
                  <a:pt x="763" y="1381"/>
                  <a:pt x="763" y="1381"/>
                </a:cubicBezTo>
                <a:cubicBezTo>
                  <a:pt x="765" y="1378"/>
                  <a:pt x="765" y="1378"/>
                  <a:pt x="765" y="1378"/>
                </a:cubicBezTo>
                <a:cubicBezTo>
                  <a:pt x="761" y="1379"/>
                  <a:pt x="761" y="1379"/>
                  <a:pt x="761" y="1379"/>
                </a:cubicBezTo>
                <a:cubicBezTo>
                  <a:pt x="758" y="1379"/>
                  <a:pt x="758" y="1379"/>
                  <a:pt x="758" y="1379"/>
                </a:cubicBezTo>
                <a:cubicBezTo>
                  <a:pt x="758" y="1379"/>
                  <a:pt x="758" y="1379"/>
                  <a:pt x="758" y="1379"/>
                </a:cubicBezTo>
                <a:close/>
                <a:moveTo>
                  <a:pt x="776" y="1436"/>
                </a:moveTo>
                <a:cubicBezTo>
                  <a:pt x="777" y="1436"/>
                  <a:pt x="777" y="1434"/>
                  <a:pt x="777" y="1434"/>
                </a:cubicBezTo>
                <a:cubicBezTo>
                  <a:pt x="782" y="1438"/>
                  <a:pt x="782" y="1438"/>
                  <a:pt x="782" y="1438"/>
                </a:cubicBezTo>
                <a:cubicBezTo>
                  <a:pt x="782" y="1435"/>
                  <a:pt x="782" y="1435"/>
                  <a:pt x="782" y="1435"/>
                </a:cubicBezTo>
                <a:cubicBezTo>
                  <a:pt x="778" y="1430"/>
                  <a:pt x="778" y="1430"/>
                  <a:pt x="778" y="1430"/>
                </a:cubicBezTo>
                <a:cubicBezTo>
                  <a:pt x="778" y="1430"/>
                  <a:pt x="774" y="1425"/>
                  <a:pt x="774" y="1423"/>
                </a:cubicBezTo>
                <a:cubicBezTo>
                  <a:pt x="774" y="1420"/>
                  <a:pt x="772" y="1418"/>
                  <a:pt x="770" y="1417"/>
                </a:cubicBezTo>
                <a:cubicBezTo>
                  <a:pt x="768" y="1416"/>
                  <a:pt x="768" y="1418"/>
                  <a:pt x="768" y="1418"/>
                </a:cubicBezTo>
                <a:cubicBezTo>
                  <a:pt x="765" y="1417"/>
                  <a:pt x="765" y="1417"/>
                  <a:pt x="765" y="1417"/>
                </a:cubicBezTo>
                <a:cubicBezTo>
                  <a:pt x="765" y="1417"/>
                  <a:pt x="762" y="1423"/>
                  <a:pt x="764" y="1423"/>
                </a:cubicBezTo>
                <a:cubicBezTo>
                  <a:pt x="766" y="1423"/>
                  <a:pt x="770" y="1423"/>
                  <a:pt x="770" y="1423"/>
                </a:cubicBezTo>
                <a:cubicBezTo>
                  <a:pt x="767" y="1428"/>
                  <a:pt x="767" y="1428"/>
                  <a:pt x="767" y="1428"/>
                </a:cubicBezTo>
                <a:cubicBezTo>
                  <a:pt x="769" y="1428"/>
                  <a:pt x="769" y="1428"/>
                  <a:pt x="769" y="1428"/>
                </a:cubicBezTo>
                <a:cubicBezTo>
                  <a:pt x="772" y="1426"/>
                  <a:pt x="772" y="1426"/>
                  <a:pt x="772" y="1426"/>
                </a:cubicBezTo>
                <a:cubicBezTo>
                  <a:pt x="772" y="1429"/>
                  <a:pt x="772" y="1429"/>
                  <a:pt x="772" y="1429"/>
                </a:cubicBezTo>
                <a:cubicBezTo>
                  <a:pt x="772" y="1429"/>
                  <a:pt x="775" y="1437"/>
                  <a:pt x="776" y="1436"/>
                </a:cubicBezTo>
                <a:close/>
                <a:moveTo>
                  <a:pt x="775" y="1442"/>
                </a:moveTo>
                <a:cubicBezTo>
                  <a:pt x="777" y="1442"/>
                  <a:pt x="777" y="1442"/>
                  <a:pt x="777" y="1442"/>
                </a:cubicBezTo>
                <a:cubicBezTo>
                  <a:pt x="778" y="1446"/>
                  <a:pt x="778" y="1446"/>
                  <a:pt x="778" y="1446"/>
                </a:cubicBezTo>
                <a:cubicBezTo>
                  <a:pt x="780" y="1442"/>
                  <a:pt x="780" y="1442"/>
                  <a:pt x="780" y="1442"/>
                </a:cubicBezTo>
                <a:cubicBezTo>
                  <a:pt x="780" y="1439"/>
                  <a:pt x="780" y="1439"/>
                  <a:pt x="780" y="1439"/>
                </a:cubicBezTo>
                <a:cubicBezTo>
                  <a:pt x="776" y="1438"/>
                  <a:pt x="776" y="1438"/>
                  <a:pt x="776" y="1438"/>
                </a:cubicBezTo>
                <a:cubicBezTo>
                  <a:pt x="775" y="1442"/>
                  <a:pt x="775" y="1442"/>
                  <a:pt x="775" y="1442"/>
                </a:cubicBezTo>
                <a:cubicBezTo>
                  <a:pt x="775" y="1442"/>
                  <a:pt x="775" y="1442"/>
                  <a:pt x="775" y="1442"/>
                </a:cubicBezTo>
                <a:close/>
                <a:moveTo>
                  <a:pt x="786" y="1457"/>
                </a:moveTo>
                <a:cubicBezTo>
                  <a:pt x="791" y="1462"/>
                  <a:pt x="791" y="1462"/>
                  <a:pt x="791" y="1462"/>
                </a:cubicBezTo>
                <a:cubicBezTo>
                  <a:pt x="792" y="1460"/>
                  <a:pt x="792" y="1460"/>
                  <a:pt x="792" y="1460"/>
                </a:cubicBezTo>
                <a:cubicBezTo>
                  <a:pt x="788" y="1455"/>
                  <a:pt x="788" y="1455"/>
                  <a:pt x="788" y="1455"/>
                </a:cubicBezTo>
                <a:cubicBezTo>
                  <a:pt x="786" y="1457"/>
                  <a:pt x="786" y="1457"/>
                  <a:pt x="786" y="1457"/>
                </a:cubicBezTo>
                <a:cubicBezTo>
                  <a:pt x="786" y="1457"/>
                  <a:pt x="786" y="1457"/>
                  <a:pt x="786" y="1457"/>
                </a:cubicBezTo>
                <a:close/>
                <a:moveTo>
                  <a:pt x="801" y="1459"/>
                </a:moveTo>
                <a:cubicBezTo>
                  <a:pt x="798" y="1456"/>
                  <a:pt x="798" y="1456"/>
                  <a:pt x="798" y="1456"/>
                </a:cubicBezTo>
                <a:cubicBezTo>
                  <a:pt x="797" y="1461"/>
                  <a:pt x="797" y="1461"/>
                  <a:pt x="797" y="1461"/>
                </a:cubicBezTo>
                <a:cubicBezTo>
                  <a:pt x="794" y="1462"/>
                  <a:pt x="794" y="1462"/>
                  <a:pt x="794" y="1462"/>
                </a:cubicBezTo>
                <a:cubicBezTo>
                  <a:pt x="800" y="1464"/>
                  <a:pt x="800" y="1464"/>
                  <a:pt x="800" y="1464"/>
                </a:cubicBezTo>
                <a:cubicBezTo>
                  <a:pt x="801" y="1459"/>
                  <a:pt x="801" y="1459"/>
                  <a:pt x="801" y="1459"/>
                </a:cubicBezTo>
                <a:cubicBezTo>
                  <a:pt x="801" y="1459"/>
                  <a:pt x="801" y="1459"/>
                  <a:pt x="801" y="1459"/>
                </a:cubicBezTo>
                <a:close/>
                <a:moveTo>
                  <a:pt x="795" y="1456"/>
                </a:moveTo>
                <a:cubicBezTo>
                  <a:pt x="794" y="1455"/>
                  <a:pt x="794" y="1455"/>
                  <a:pt x="794" y="1455"/>
                </a:cubicBezTo>
                <a:cubicBezTo>
                  <a:pt x="793" y="1457"/>
                  <a:pt x="793" y="1457"/>
                  <a:pt x="793" y="1457"/>
                </a:cubicBezTo>
                <a:cubicBezTo>
                  <a:pt x="794" y="1459"/>
                  <a:pt x="794" y="1459"/>
                  <a:pt x="794" y="1459"/>
                </a:cubicBezTo>
                <a:cubicBezTo>
                  <a:pt x="795" y="1456"/>
                  <a:pt x="795" y="1456"/>
                  <a:pt x="795" y="1456"/>
                </a:cubicBezTo>
                <a:cubicBezTo>
                  <a:pt x="795" y="1456"/>
                  <a:pt x="795" y="1456"/>
                  <a:pt x="795" y="1456"/>
                </a:cubicBezTo>
                <a:close/>
                <a:moveTo>
                  <a:pt x="2034" y="29"/>
                </a:moveTo>
                <a:cubicBezTo>
                  <a:pt x="2034" y="31"/>
                  <a:pt x="2047" y="32"/>
                  <a:pt x="2047" y="32"/>
                </a:cubicBezTo>
                <a:cubicBezTo>
                  <a:pt x="2054" y="31"/>
                  <a:pt x="2054" y="31"/>
                  <a:pt x="2054" y="31"/>
                </a:cubicBezTo>
                <a:cubicBezTo>
                  <a:pt x="2062" y="34"/>
                  <a:pt x="2062" y="34"/>
                  <a:pt x="2062" y="34"/>
                </a:cubicBezTo>
                <a:cubicBezTo>
                  <a:pt x="2071" y="34"/>
                  <a:pt x="2071" y="34"/>
                  <a:pt x="2071" y="34"/>
                </a:cubicBezTo>
                <a:cubicBezTo>
                  <a:pt x="2070" y="30"/>
                  <a:pt x="2066" y="25"/>
                  <a:pt x="2062" y="25"/>
                </a:cubicBezTo>
                <a:cubicBezTo>
                  <a:pt x="2059" y="26"/>
                  <a:pt x="2055" y="28"/>
                  <a:pt x="2055" y="28"/>
                </a:cubicBezTo>
                <a:cubicBezTo>
                  <a:pt x="2052" y="25"/>
                  <a:pt x="2052" y="25"/>
                  <a:pt x="2052" y="25"/>
                </a:cubicBezTo>
                <a:cubicBezTo>
                  <a:pt x="2052" y="25"/>
                  <a:pt x="2034" y="28"/>
                  <a:pt x="2034" y="29"/>
                </a:cubicBezTo>
                <a:close/>
                <a:moveTo>
                  <a:pt x="2026" y="30"/>
                </a:moveTo>
                <a:cubicBezTo>
                  <a:pt x="2028" y="28"/>
                  <a:pt x="2028" y="28"/>
                  <a:pt x="2028" y="28"/>
                </a:cubicBezTo>
                <a:cubicBezTo>
                  <a:pt x="2015" y="28"/>
                  <a:pt x="2015" y="28"/>
                  <a:pt x="2015" y="28"/>
                </a:cubicBezTo>
                <a:cubicBezTo>
                  <a:pt x="2026" y="30"/>
                  <a:pt x="2026" y="30"/>
                  <a:pt x="2026" y="30"/>
                </a:cubicBezTo>
                <a:cubicBezTo>
                  <a:pt x="2026" y="30"/>
                  <a:pt x="2026" y="30"/>
                  <a:pt x="2026" y="30"/>
                </a:cubicBezTo>
                <a:close/>
                <a:moveTo>
                  <a:pt x="2021" y="26"/>
                </a:moveTo>
                <a:cubicBezTo>
                  <a:pt x="2021" y="26"/>
                  <a:pt x="2032" y="27"/>
                  <a:pt x="2035" y="26"/>
                </a:cubicBezTo>
                <a:cubicBezTo>
                  <a:pt x="2037" y="25"/>
                  <a:pt x="2046" y="26"/>
                  <a:pt x="2044" y="23"/>
                </a:cubicBezTo>
                <a:cubicBezTo>
                  <a:pt x="2043" y="19"/>
                  <a:pt x="2027" y="15"/>
                  <a:pt x="2027" y="15"/>
                </a:cubicBezTo>
                <a:cubicBezTo>
                  <a:pt x="2027" y="15"/>
                  <a:pt x="2016" y="13"/>
                  <a:pt x="2015" y="17"/>
                </a:cubicBezTo>
                <a:cubicBezTo>
                  <a:pt x="2015" y="21"/>
                  <a:pt x="2021" y="26"/>
                  <a:pt x="2021" y="26"/>
                </a:cubicBezTo>
                <a:close/>
                <a:moveTo>
                  <a:pt x="2092" y="40"/>
                </a:moveTo>
                <a:cubicBezTo>
                  <a:pt x="2114" y="39"/>
                  <a:pt x="2114" y="39"/>
                  <a:pt x="2114" y="39"/>
                </a:cubicBezTo>
                <a:cubicBezTo>
                  <a:pt x="2108" y="36"/>
                  <a:pt x="2108" y="36"/>
                  <a:pt x="2108" y="36"/>
                </a:cubicBezTo>
                <a:cubicBezTo>
                  <a:pt x="2108" y="36"/>
                  <a:pt x="2101" y="31"/>
                  <a:pt x="2098" y="31"/>
                </a:cubicBezTo>
                <a:cubicBezTo>
                  <a:pt x="2096" y="31"/>
                  <a:pt x="2093" y="34"/>
                  <a:pt x="2093" y="34"/>
                </a:cubicBezTo>
                <a:cubicBezTo>
                  <a:pt x="2093" y="34"/>
                  <a:pt x="2091" y="28"/>
                  <a:pt x="2087" y="28"/>
                </a:cubicBezTo>
                <a:cubicBezTo>
                  <a:pt x="2082" y="28"/>
                  <a:pt x="2080" y="42"/>
                  <a:pt x="2080" y="42"/>
                </a:cubicBezTo>
                <a:cubicBezTo>
                  <a:pt x="2083" y="44"/>
                  <a:pt x="2083" y="44"/>
                  <a:pt x="2083" y="44"/>
                </a:cubicBezTo>
                <a:cubicBezTo>
                  <a:pt x="2087" y="43"/>
                  <a:pt x="2092" y="40"/>
                  <a:pt x="2092" y="40"/>
                </a:cubicBezTo>
                <a:close/>
                <a:moveTo>
                  <a:pt x="2377" y="71"/>
                </a:moveTo>
                <a:cubicBezTo>
                  <a:pt x="2379" y="67"/>
                  <a:pt x="2379" y="67"/>
                  <a:pt x="2379" y="67"/>
                </a:cubicBezTo>
                <a:cubicBezTo>
                  <a:pt x="2379" y="67"/>
                  <a:pt x="2384" y="67"/>
                  <a:pt x="2386" y="67"/>
                </a:cubicBezTo>
                <a:cubicBezTo>
                  <a:pt x="2388" y="67"/>
                  <a:pt x="2395" y="67"/>
                  <a:pt x="2395" y="67"/>
                </a:cubicBezTo>
                <a:cubicBezTo>
                  <a:pt x="2386" y="62"/>
                  <a:pt x="2386" y="62"/>
                  <a:pt x="2386" y="62"/>
                </a:cubicBezTo>
                <a:cubicBezTo>
                  <a:pt x="2388" y="59"/>
                  <a:pt x="2388" y="59"/>
                  <a:pt x="2388" y="59"/>
                </a:cubicBezTo>
                <a:cubicBezTo>
                  <a:pt x="2375" y="57"/>
                  <a:pt x="2375" y="57"/>
                  <a:pt x="2375" y="57"/>
                </a:cubicBezTo>
                <a:cubicBezTo>
                  <a:pt x="2377" y="61"/>
                  <a:pt x="2377" y="61"/>
                  <a:pt x="2377" y="61"/>
                </a:cubicBezTo>
                <a:cubicBezTo>
                  <a:pt x="2377" y="61"/>
                  <a:pt x="2352" y="52"/>
                  <a:pt x="2352" y="59"/>
                </a:cubicBezTo>
                <a:cubicBezTo>
                  <a:pt x="2352" y="65"/>
                  <a:pt x="2377" y="71"/>
                  <a:pt x="2377" y="71"/>
                </a:cubicBezTo>
                <a:close/>
                <a:moveTo>
                  <a:pt x="2349" y="62"/>
                </a:moveTo>
                <a:cubicBezTo>
                  <a:pt x="2341" y="59"/>
                  <a:pt x="2341" y="59"/>
                  <a:pt x="2341" y="59"/>
                </a:cubicBezTo>
                <a:cubicBezTo>
                  <a:pt x="2344" y="64"/>
                  <a:pt x="2344" y="64"/>
                  <a:pt x="2344" y="64"/>
                </a:cubicBezTo>
                <a:cubicBezTo>
                  <a:pt x="2349" y="62"/>
                  <a:pt x="2349" y="62"/>
                  <a:pt x="2349" y="62"/>
                </a:cubicBezTo>
                <a:cubicBezTo>
                  <a:pt x="2349" y="62"/>
                  <a:pt x="2349" y="62"/>
                  <a:pt x="2349" y="62"/>
                </a:cubicBezTo>
                <a:close/>
                <a:moveTo>
                  <a:pt x="2195" y="73"/>
                </a:moveTo>
                <a:cubicBezTo>
                  <a:pt x="2201" y="74"/>
                  <a:pt x="2201" y="74"/>
                  <a:pt x="2201" y="74"/>
                </a:cubicBezTo>
                <a:cubicBezTo>
                  <a:pt x="2206" y="75"/>
                  <a:pt x="2210" y="72"/>
                  <a:pt x="2203" y="71"/>
                </a:cubicBezTo>
                <a:cubicBezTo>
                  <a:pt x="2197" y="70"/>
                  <a:pt x="2195" y="73"/>
                  <a:pt x="2195" y="73"/>
                </a:cubicBezTo>
                <a:close/>
                <a:moveTo>
                  <a:pt x="1988" y="85"/>
                </a:moveTo>
                <a:cubicBezTo>
                  <a:pt x="1983" y="81"/>
                  <a:pt x="1984" y="86"/>
                  <a:pt x="1984" y="86"/>
                </a:cubicBezTo>
                <a:cubicBezTo>
                  <a:pt x="1989" y="88"/>
                  <a:pt x="1993" y="88"/>
                  <a:pt x="1988" y="85"/>
                </a:cubicBezTo>
                <a:close/>
                <a:moveTo>
                  <a:pt x="1718" y="483"/>
                </a:moveTo>
                <a:cubicBezTo>
                  <a:pt x="1719" y="486"/>
                  <a:pt x="1724" y="489"/>
                  <a:pt x="1726" y="489"/>
                </a:cubicBezTo>
                <a:cubicBezTo>
                  <a:pt x="1727" y="488"/>
                  <a:pt x="1731" y="485"/>
                  <a:pt x="1731" y="485"/>
                </a:cubicBezTo>
                <a:cubicBezTo>
                  <a:pt x="1731" y="485"/>
                  <a:pt x="1734" y="486"/>
                  <a:pt x="1735" y="485"/>
                </a:cubicBezTo>
                <a:cubicBezTo>
                  <a:pt x="1736" y="484"/>
                  <a:pt x="1734" y="482"/>
                  <a:pt x="1734" y="482"/>
                </a:cubicBezTo>
                <a:cubicBezTo>
                  <a:pt x="1739" y="477"/>
                  <a:pt x="1739" y="477"/>
                  <a:pt x="1739" y="477"/>
                </a:cubicBezTo>
                <a:cubicBezTo>
                  <a:pt x="1733" y="480"/>
                  <a:pt x="1733" y="480"/>
                  <a:pt x="1733" y="480"/>
                </a:cubicBezTo>
                <a:cubicBezTo>
                  <a:pt x="1733" y="480"/>
                  <a:pt x="1728" y="479"/>
                  <a:pt x="1726" y="480"/>
                </a:cubicBezTo>
                <a:cubicBezTo>
                  <a:pt x="1724" y="480"/>
                  <a:pt x="1725" y="482"/>
                  <a:pt x="1725" y="482"/>
                </a:cubicBezTo>
                <a:cubicBezTo>
                  <a:pt x="1725" y="482"/>
                  <a:pt x="1718" y="481"/>
                  <a:pt x="1718" y="483"/>
                </a:cubicBezTo>
                <a:close/>
                <a:moveTo>
                  <a:pt x="1649" y="430"/>
                </a:moveTo>
                <a:cubicBezTo>
                  <a:pt x="1652" y="430"/>
                  <a:pt x="1652" y="430"/>
                  <a:pt x="1652" y="430"/>
                </a:cubicBezTo>
                <a:cubicBezTo>
                  <a:pt x="1653" y="428"/>
                  <a:pt x="1653" y="428"/>
                  <a:pt x="1653" y="428"/>
                </a:cubicBezTo>
                <a:cubicBezTo>
                  <a:pt x="1648" y="428"/>
                  <a:pt x="1648" y="428"/>
                  <a:pt x="1648" y="428"/>
                </a:cubicBezTo>
                <a:cubicBezTo>
                  <a:pt x="1649" y="430"/>
                  <a:pt x="1649" y="430"/>
                  <a:pt x="1649" y="430"/>
                </a:cubicBezTo>
                <a:cubicBezTo>
                  <a:pt x="1649" y="430"/>
                  <a:pt x="1649" y="430"/>
                  <a:pt x="1649" y="430"/>
                </a:cubicBezTo>
                <a:close/>
                <a:moveTo>
                  <a:pt x="1654" y="426"/>
                </a:moveTo>
                <a:cubicBezTo>
                  <a:pt x="1655" y="428"/>
                  <a:pt x="1657" y="429"/>
                  <a:pt x="1657" y="426"/>
                </a:cubicBezTo>
                <a:cubicBezTo>
                  <a:pt x="1656" y="422"/>
                  <a:pt x="1654" y="426"/>
                  <a:pt x="1654" y="426"/>
                </a:cubicBezTo>
                <a:close/>
                <a:moveTo>
                  <a:pt x="1924" y="84"/>
                </a:moveTo>
                <a:cubicBezTo>
                  <a:pt x="1931" y="82"/>
                  <a:pt x="1929" y="80"/>
                  <a:pt x="1927" y="79"/>
                </a:cubicBezTo>
                <a:cubicBezTo>
                  <a:pt x="1926" y="78"/>
                  <a:pt x="1919" y="79"/>
                  <a:pt x="1919" y="79"/>
                </a:cubicBezTo>
                <a:cubicBezTo>
                  <a:pt x="1919" y="79"/>
                  <a:pt x="1921" y="85"/>
                  <a:pt x="1924" y="84"/>
                </a:cubicBezTo>
                <a:close/>
                <a:moveTo>
                  <a:pt x="1982" y="89"/>
                </a:moveTo>
                <a:cubicBezTo>
                  <a:pt x="1978" y="88"/>
                  <a:pt x="1978" y="88"/>
                  <a:pt x="1978" y="88"/>
                </a:cubicBezTo>
                <a:cubicBezTo>
                  <a:pt x="1974" y="90"/>
                  <a:pt x="1974" y="90"/>
                  <a:pt x="1974" y="90"/>
                </a:cubicBezTo>
                <a:cubicBezTo>
                  <a:pt x="1980" y="92"/>
                  <a:pt x="1980" y="92"/>
                  <a:pt x="1980" y="92"/>
                </a:cubicBezTo>
                <a:cubicBezTo>
                  <a:pt x="1982" y="89"/>
                  <a:pt x="1982" y="89"/>
                  <a:pt x="1982" y="89"/>
                </a:cubicBezTo>
                <a:cubicBezTo>
                  <a:pt x="1982" y="89"/>
                  <a:pt x="1982" y="89"/>
                  <a:pt x="1982" y="89"/>
                </a:cubicBezTo>
                <a:close/>
                <a:moveTo>
                  <a:pt x="1662" y="423"/>
                </a:moveTo>
                <a:cubicBezTo>
                  <a:pt x="1658" y="423"/>
                  <a:pt x="1658" y="423"/>
                  <a:pt x="1658" y="423"/>
                </a:cubicBezTo>
                <a:cubicBezTo>
                  <a:pt x="1658" y="427"/>
                  <a:pt x="1658" y="427"/>
                  <a:pt x="1658" y="427"/>
                </a:cubicBezTo>
                <a:cubicBezTo>
                  <a:pt x="1659" y="425"/>
                  <a:pt x="1659" y="425"/>
                  <a:pt x="1659" y="425"/>
                </a:cubicBezTo>
                <a:cubicBezTo>
                  <a:pt x="1662" y="423"/>
                  <a:pt x="1662" y="423"/>
                  <a:pt x="1662" y="423"/>
                </a:cubicBezTo>
                <a:cubicBezTo>
                  <a:pt x="1662" y="423"/>
                  <a:pt x="1662" y="423"/>
                  <a:pt x="1662" y="423"/>
                </a:cubicBezTo>
                <a:close/>
                <a:moveTo>
                  <a:pt x="2399" y="65"/>
                </a:moveTo>
                <a:cubicBezTo>
                  <a:pt x="2407" y="66"/>
                  <a:pt x="2407" y="66"/>
                  <a:pt x="2407" y="66"/>
                </a:cubicBezTo>
                <a:cubicBezTo>
                  <a:pt x="2409" y="64"/>
                  <a:pt x="2408" y="62"/>
                  <a:pt x="2405" y="62"/>
                </a:cubicBezTo>
                <a:cubicBezTo>
                  <a:pt x="2401" y="62"/>
                  <a:pt x="2388" y="59"/>
                  <a:pt x="2390" y="61"/>
                </a:cubicBezTo>
                <a:cubicBezTo>
                  <a:pt x="2392" y="64"/>
                  <a:pt x="2399" y="65"/>
                  <a:pt x="2399" y="65"/>
                </a:cubicBezTo>
                <a:close/>
                <a:moveTo>
                  <a:pt x="2652" y="116"/>
                </a:moveTo>
                <a:cubicBezTo>
                  <a:pt x="2654" y="114"/>
                  <a:pt x="2639" y="112"/>
                  <a:pt x="2639" y="112"/>
                </a:cubicBezTo>
                <a:cubicBezTo>
                  <a:pt x="2639" y="113"/>
                  <a:pt x="2651" y="118"/>
                  <a:pt x="2652" y="116"/>
                </a:cubicBezTo>
                <a:close/>
                <a:moveTo>
                  <a:pt x="2390" y="73"/>
                </a:moveTo>
                <a:cubicBezTo>
                  <a:pt x="2385" y="78"/>
                  <a:pt x="2397" y="78"/>
                  <a:pt x="2398" y="76"/>
                </a:cubicBezTo>
                <a:cubicBezTo>
                  <a:pt x="2400" y="74"/>
                  <a:pt x="2392" y="71"/>
                  <a:pt x="2390" y="73"/>
                </a:cubicBezTo>
                <a:close/>
                <a:moveTo>
                  <a:pt x="2760" y="352"/>
                </a:moveTo>
                <a:cubicBezTo>
                  <a:pt x="2761" y="348"/>
                  <a:pt x="2761" y="348"/>
                  <a:pt x="2761" y="348"/>
                </a:cubicBezTo>
                <a:cubicBezTo>
                  <a:pt x="2759" y="352"/>
                  <a:pt x="2759" y="352"/>
                  <a:pt x="2759" y="352"/>
                </a:cubicBezTo>
                <a:cubicBezTo>
                  <a:pt x="2760" y="352"/>
                  <a:pt x="2760" y="352"/>
                  <a:pt x="2760" y="352"/>
                </a:cubicBezTo>
                <a:cubicBezTo>
                  <a:pt x="2760" y="352"/>
                  <a:pt x="2760" y="352"/>
                  <a:pt x="2760" y="352"/>
                </a:cubicBezTo>
                <a:close/>
                <a:moveTo>
                  <a:pt x="2760" y="339"/>
                </a:moveTo>
                <a:cubicBezTo>
                  <a:pt x="2763" y="339"/>
                  <a:pt x="2763" y="339"/>
                  <a:pt x="2763" y="339"/>
                </a:cubicBezTo>
                <a:cubicBezTo>
                  <a:pt x="2760" y="336"/>
                  <a:pt x="2760" y="336"/>
                  <a:pt x="2760" y="336"/>
                </a:cubicBezTo>
                <a:cubicBezTo>
                  <a:pt x="2760" y="339"/>
                  <a:pt x="2760" y="339"/>
                  <a:pt x="2760" y="339"/>
                </a:cubicBezTo>
                <a:cubicBezTo>
                  <a:pt x="2760" y="339"/>
                  <a:pt x="2760" y="339"/>
                  <a:pt x="2760" y="339"/>
                </a:cubicBezTo>
                <a:close/>
                <a:moveTo>
                  <a:pt x="2495" y="653"/>
                </a:moveTo>
                <a:cubicBezTo>
                  <a:pt x="2492" y="651"/>
                  <a:pt x="2482" y="652"/>
                  <a:pt x="2482" y="652"/>
                </a:cubicBezTo>
                <a:cubicBezTo>
                  <a:pt x="2481" y="655"/>
                  <a:pt x="2481" y="655"/>
                  <a:pt x="2481" y="655"/>
                </a:cubicBezTo>
                <a:cubicBezTo>
                  <a:pt x="2479" y="653"/>
                  <a:pt x="2479" y="653"/>
                  <a:pt x="2479" y="653"/>
                </a:cubicBezTo>
                <a:cubicBezTo>
                  <a:pt x="2478" y="657"/>
                  <a:pt x="2478" y="657"/>
                  <a:pt x="2478" y="657"/>
                </a:cubicBezTo>
                <a:cubicBezTo>
                  <a:pt x="2478" y="657"/>
                  <a:pt x="2471" y="662"/>
                  <a:pt x="2475" y="667"/>
                </a:cubicBezTo>
                <a:cubicBezTo>
                  <a:pt x="2479" y="672"/>
                  <a:pt x="2482" y="672"/>
                  <a:pt x="2482" y="672"/>
                </a:cubicBezTo>
                <a:cubicBezTo>
                  <a:pt x="2494" y="671"/>
                  <a:pt x="2493" y="668"/>
                  <a:pt x="2493" y="666"/>
                </a:cubicBezTo>
                <a:cubicBezTo>
                  <a:pt x="2494" y="665"/>
                  <a:pt x="2493" y="662"/>
                  <a:pt x="2493" y="662"/>
                </a:cubicBezTo>
                <a:cubicBezTo>
                  <a:pt x="2493" y="662"/>
                  <a:pt x="2498" y="655"/>
                  <a:pt x="2495" y="653"/>
                </a:cubicBezTo>
                <a:close/>
                <a:moveTo>
                  <a:pt x="2505" y="689"/>
                </a:moveTo>
                <a:cubicBezTo>
                  <a:pt x="2502" y="689"/>
                  <a:pt x="2504" y="692"/>
                  <a:pt x="2504" y="692"/>
                </a:cubicBezTo>
                <a:cubicBezTo>
                  <a:pt x="2507" y="692"/>
                  <a:pt x="2509" y="689"/>
                  <a:pt x="2505" y="689"/>
                </a:cubicBezTo>
                <a:close/>
                <a:moveTo>
                  <a:pt x="2726" y="469"/>
                </a:moveTo>
                <a:cubicBezTo>
                  <a:pt x="2726" y="466"/>
                  <a:pt x="2726" y="460"/>
                  <a:pt x="2725" y="458"/>
                </a:cubicBezTo>
                <a:cubicBezTo>
                  <a:pt x="2724" y="455"/>
                  <a:pt x="2719" y="452"/>
                  <a:pt x="2719" y="448"/>
                </a:cubicBezTo>
                <a:cubicBezTo>
                  <a:pt x="2720" y="445"/>
                  <a:pt x="2723" y="446"/>
                  <a:pt x="2723" y="446"/>
                </a:cubicBezTo>
                <a:cubicBezTo>
                  <a:pt x="2723" y="440"/>
                  <a:pt x="2723" y="440"/>
                  <a:pt x="2723" y="440"/>
                </a:cubicBezTo>
                <a:cubicBezTo>
                  <a:pt x="2721" y="439"/>
                  <a:pt x="2721" y="439"/>
                  <a:pt x="2721" y="439"/>
                </a:cubicBezTo>
                <a:cubicBezTo>
                  <a:pt x="2723" y="437"/>
                  <a:pt x="2723" y="437"/>
                  <a:pt x="2723" y="437"/>
                </a:cubicBezTo>
                <a:cubicBezTo>
                  <a:pt x="2723" y="437"/>
                  <a:pt x="2722" y="434"/>
                  <a:pt x="2721" y="432"/>
                </a:cubicBezTo>
                <a:cubicBezTo>
                  <a:pt x="2720" y="429"/>
                  <a:pt x="2717" y="428"/>
                  <a:pt x="2717" y="428"/>
                </a:cubicBezTo>
                <a:cubicBezTo>
                  <a:pt x="2717" y="425"/>
                  <a:pt x="2717" y="425"/>
                  <a:pt x="2717" y="425"/>
                </a:cubicBezTo>
                <a:cubicBezTo>
                  <a:pt x="2717" y="425"/>
                  <a:pt x="2714" y="424"/>
                  <a:pt x="2712" y="422"/>
                </a:cubicBezTo>
                <a:cubicBezTo>
                  <a:pt x="2710" y="421"/>
                  <a:pt x="2707" y="417"/>
                  <a:pt x="2707" y="415"/>
                </a:cubicBezTo>
                <a:cubicBezTo>
                  <a:pt x="2707" y="414"/>
                  <a:pt x="2706" y="413"/>
                  <a:pt x="2706" y="413"/>
                </a:cubicBezTo>
                <a:cubicBezTo>
                  <a:pt x="2706" y="413"/>
                  <a:pt x="2701" y="409"/>
                  <a:pt x="2701" y="412"/>
                </a:cubicBezTo>
                <a:cubicBezTo>
                  <a:pt x="2700" y="414"/>
                  <a:pt x="2702" y="415"/>
                  <a:pt x="2702" y="415"/>
                </a:cubicBezTo>
                <a:cubicBezTo>
                  <a:pt x="2704" y="414"/>
                  <a:pt x="2704" y="414"/>
                  <a:pt x="2704" y="414"/>
                </a:cubicBezTo>
                <a:cubicBezTo>
                  <a:pt x="2704" y="414"/>
                  <a:pt x="2706" y="418"/>
                  <a:pt x="2705" y="418"/>
                </a:cubicBezTo>
                <a:cubicBezTo>
                  <a:pt x="2704" y="418"/>
                  <a:pt x="2703" y="416"/>
                  <a:pt x="2703" y="416"/>
                </a:cubicBezTo>
                <a:cubicBezTo>
                  <a:pt x="2701" y="418"/>
                  <a:pt x="2701" y="418"/>
                  <a:pt x="2701" y="418"/>
                </a:cubicBezTo>
                <a:cubicBezTo>
                  <a:pt x="2698" y="414"/>
                  <a:pt x="2698" y="414"/>
                  <a:pt x="2698" y="414"/>
                </a:cubicBezTo>
                <a:cubicBezTo>
                  <a:pt x="2696" y="414"/>
                  <a:pt x="2696" y="414"/>
                  <a:pt x="2696" y="414"/>
                </a:cubicBezTo>
                <a:cubicBezTo>
                  <a:pt x="2699" y="419"/>
                  <a:pt x="2699" y="419"/>
                  <a:pt x="2699" y="419"/>
                </a:cubicBezTo>
                <a:cubicBezTo>
                  <a:pt x="2696" y="420"/>
                  <a:pt x="2696" y="420"/>
                  <a:pt x="2696" y="420"/>
                </a:cubicBezTo>
                <a:cubicBezTo>
                  <a:pt x="2700" y="426"/>
                  <a:pt x="2700" y="426"/>
                  <a:pt x="2700" y="426"/>
                </a:cubicBezTo>
                <a:cubicBezTo>
                  <a:pt x="2699" y="428"/>
                  <a:pt x="2699" y="428"/>
                  <a:pt x="2699" y="428"/>
                </a:cubicBezTo>
                <a:cubicBezTo>
                  <a:pt x="2699" y="428"/>
                  <a:pt x="2706" y="432"/>
                  <a:pt x="2706" y="435"/>
                </a:cubicBezTo>
                <a:cubicBezTo>
                  <a:pt x="2705" y="438"/>
                  <a:pt x="2704" y="442"/>
                  <a:pt x="2704" y="442"/>
                </a:cubicBezTo>
                <a:cubicBezTo>
                  <a:pt x="2704" y="446"/>
                  <a:pt x="2704" y="446"/>
                  <a:pt x="2704" y="446"/>
                </a:cubicBezTo>
                <a:cubicBezTo>
                  <a:pt x="2704" y="446"/>
                  <a:pt x="2708" y="449"/>
                  <a:pt x="2706" y="450"/>
                </a:cubicBezTo>
                <a:cubicBezTo>
                  <a:pt x="2704" y="452"/>
                  <a:pt x="2702" y="451"/>
                  <a:pt x="2702" y="451"/>
                </a:cubicBezTo>
                <a:cubicBezTo>
                  <a:pt x="2702" y="451"/>
                  <a:pt x="2704" y="457"/>
                  <a:pt x="2701" y="459"/>
                </a:cubicBezTo>
                <a:cubicBezTo>
                  <a:pt x="2699" y="460"/>
                  <a:pt x="2694" y="461"/>
                  <a:pt x="2694" y="461"/>
                </a:cubicBezTo>
                <a:cubicBezTo>
                  <a:pt x="2694" y="463"/>
                  <a:pt x="2694" y="463"/>
                  <a:pt x="2694" y="463"/>
                </a:cubicBezTo>
                <a:cubicBezTo>
                  <a:pt x="2694" y="463"/>
                  <a:pt x="2692" y="464"/>
                  <a:pt x="2690" y="462"/>
                </a:cubicBezTo>
                <a:cubicBezTo>
                  <a:pt x="2688" y="460"/>
                  <a:pt x="2689" y="458"/>
                  <a:pt x="2689" y="458"/>
                </a:cubicBezTo>
                <a:cubicBezTo>
                  <a:pt x="2689" y="455"/>
                  <a:pt x="2689" y="455"/>
                  <a:pt x="2689" y="455"/>
                </a:cubicBezTo>
                <a:cubicBezTo>
                  <a:pt x="2689" y="455"/>
                  <a:pt x="2684" y="456"/>
                  <a:pt x="2685" y="459"/>
                </a:cubicBezTo>
                <a:cubicBezTo>
                  <a:pt x="2686" y="461"/>
                  <a:pt x="2688" y="464"/>
                  <a:pt x="2688" y="465"/>
                </a:cubicBezTo>
                <a:cubicBezTo>
                  <a:pt x="2688" y="466"/>
                  <a:pt x="2685" y="470"/>
                  <a:pt x="2685" y="472"/>
                </a:cubicBezTo>
                <a:cubicBezTo>
                  <a:pt x="2686" y="474"/>
                  <a:pt x="2689" y="477"/>
                  <a:pt x="2687" y="477"/>
                </a:cubicBezTo>
                <a:cubicBezTo>
                  <a:pt x="2685" y="478"/>
                  <a:pt x="2679" y="475"/>
                  <a:pt x="2678" y="475"/>
                </a:cubicBezTo>
                <a:cubicBezTo>
                  <a:pt x="2676" y="475"/>
                  <a:pt x="2667" y="479"/>
                  <a:pt x="2667" y="479"/>
                </a:cubicBezTo>
                <a:cubicBezTo>
                  <a:pt x="2666" y="479"/>
                  <a:pt x="2663" y="479"/>
                  <a:pt x="2663" y="479"/>
                </a:cubicBezTo>
                <a:cubicBezTo>
                  <a:pt x="2661" y="477"/>
                  <a:pt x="2661" y="477"/>
                  <a:pt x="2661" y="477"/>
                </a:cubicBezTo>
                <a:cubicBezTo>
                  <a:pt x="2657" y="481"/>
                  <a:pt x="2657" y="481"/>
                  <a:pt x="2657" y="481"/>
                </a:cubicBezTo>
                <a:cubicBezTo>
                  <a:pt x="2657" y="481"/>
                  <a:pt x="2651" y="490"/>
                  <a:pt x="2650" y="490"/>
                </a:cubicBezTo>
                <a:cubicBezTo>
                  <a:pt x="2649" y="490"/>
                  <a:pt x="2646" y="490"/>
                  <a:pt x="2646" y="490"/>
                </a:cubicBezTo>
                <a:cubicBezTo>
                  <a:pt x="2646" y="490"/>
                  <a:pt x="2647" y="495"/>
                  <a:pt x="2649" y="495"/>
                </a:cubicBezTo>
                <a:cubicBezTo>
                  <a:pt x="2650" y="495"/>
                  <a:pt x="2653" y="494"/>
                  <a:pt x="2653" y="494"/>
                </a:cubicBezTo>
                <a:cubicBezTo>
                  <a:pt x="2653" y="494"/>
                  <a:pt x="2657" y="497"/>
                  <a:pt x="2658" y="496"/>
                </a:cubicBezTo>
                <a:cubicBezTo>
                  <a:pt x="2659" y="496"/>
                  <a:pt x="2659" y="491"/>
                  <a:pt x="2659" y="491"/>
                </a:cubicBezTo>
                <a:cubicBezTo>
                  <a:pt x="2662" y="493"/>
                  <a:pt x="2662" y="493"/>
                  <a:pt x="2662" y="493"/>
                </a:cubicBezTo>
                <a:cubicBezTo>
                  <a:pt x="2662" y="493"/>
                  <a:pt x="2669" y="490"/>
                  <a:pt x="2670" y="489"/>
                </a:cubicBezTo>
                <a:cubicBezTo>
                  <a:pt x="2671" y="488"/>
                  <a:pt x="2674" y="490"/>
                  <a:pt x="2676" y="490"/>
                </a:cubicBezTo>
                <a:cubicBezTo>
                  <a:pt x="2678" y="490"/>
                  <a:pt x="2674" y="487"/>
                  <a:pt x="2678" y="487"/>
                </a:cubicBezTo>
                <a:cubicBezTo>
                  <a:pt x="2681" y="487"/>
                  <a:pt x="2682" y="488"/>
                  <a:pt x="2682" y="488"/>
                </a:cubicBezTo>
                <a:cubicBezTo>
                  <a:pt x="2682" y="488"/>
                  <a:pt x="2687" y="486"/>
                  <a:pt x="2687" y="487"/>
                </a:cubicBezTo>
                <a:cubicBezTo>
                  <a:pt x="2688" y="489"/>
                  <a:pt x="2685" y="493"/>
                  <a:pt x="2685" y="493"/>
                </a:cubicBezTo>
                <a:cubicBezTo>
                  <a:pt x="2685" y="493"/>
                  <a:pt x="2690" y="501"/>
                  <a:pt x="2694" y="501"/>
                </a:cubicBezTo>
                <a:cubicBezTo>
                  <a:pt x="2698" y="501"/>
                  <a:pt x="2698" y="493"/>
                  <a:pt x="2698" y="493"/>
                </a:cubicBezTo>
                <a:cubicBezTo>
                  <a:pt x="2702" y="492"/>
                  <a:pt x="2702" y="492"/>
                  <a:pt x="2702" y="492"/>
                </a:cubicBezTo>
                <a:cubicBezTo>
                  <a:pt x="2702" y="492"/>
                  <a:pt x="2699" y="488"/>
                  <a:pt x="2698" y="488"/>
                </a:cubicBezTo>
                <a:cubicBezTo>
                  <a:pt x="2697" y="488"/>
                  <a:pt x="2696" y="486"/>
                  <a:pt x="2696" y="486"/>
                </a:cubicBezTo>
                <a:cubicBezTo>
                  <a:pt x="2698" y="483"/>
                  <a:pt x="2698" y="483"/>
                  <a:pt x="2698" y="483"/>
                </a:cubicBezTo>
                <a:cubicBezTo>
                  <a:pt x="2700" y="483"/>
                  <a:pt x="2698" y="486"/>
                  <a:pt x="2701" y="486"/>
                </a:cubicBezTo>
                <a:cubicBezTo>
                  <a:pt x="2703" y="486"/>
                  <a:pt x="2703" y="489"/>
                  <a:pt x="2703" y="489"/>
                </a:cubicBezTo>
                <a:cubicBezTo>
                  <a:pt x="2706" y="487"/>
                  <a:pt x="2706" y="487"/>
                  <a:pt x="2706" y="487"/>
                </a:cubicBezTo>
                <a:cubicBezTo>
                  <a:pt x="2706" y="487"/>
                  <a:pt x="2709" y="488"/>
                  <a:pt x="2712" y="488"/>
                </a:cubicBezTo>
                <a:cubicBezTo>
                  <a:pt x="2715" y="487"/>
                  <a:pt x="2711" y="482"/>
                  <a:pt x="2715" y="483"/>
                </a:cubicBezTo>
                <a:cubicBezTo>
                  <a:pt x="2719" y="483"/>
                  <a:pt x="2717" y="489"/>
                  <a:pt x="2719" y="488"/>
                </a:cubicBezTo>
                <a:cubicBezTo>
                  <a:pt x="2721" y="487"/>
                  <a:pt x="2717" y="482"/>
                  <a:pt x="2719" y="481"/>
                </a:cubicBezTo>
                <a:cubicBezTo>
                  <a:pt x="2721" y="480"/>
                  <a:pt x="2722" y="480"/>
                  <a:pt x="2722" y="480"/>
                </a:cubicBezTo>
                <a:cubicBezTo>
                  <a:pt x="2722" y="480"/>
                  <a:pt x="2722" y="474"/>
                  <a:pt x="2725" y="476"/>
                </a:cubicBezTo>
                <a:cubicBezTo>
                  <a:pt x="2727" y="479"/>
                  <a:pt x="2723" y="484"/>
                  <a:pt x="2728" y="484"/>
                </a:cubicBezTo>
                <a:cubicBezTo>
                  <a:pt x="2732" y="483"/>
                  <a:pt x="2730" y="477"/>
                  <a:pt x="2730" y="477"/>
                </a:cubicBezTo>
                <a:cubicBezTo>
                  <a:pt x="2732" y="475"/>
                  <a:pt x="2732" y="475"/>
                  <a:pt x="2732" y="475"/>
                </a:cubicBezTo>
                <a:cubicBezTo>
                  <a:pt x="2732" y="475"/>
                  <a:pt x="2726" y="472"/>
                  <a:pt x="2726" y="469"/>
                </a:cubicBezTo>
                <a:close/>
                <a:moveTo>
                  <a:pt x="2763" y="327"/>
                </a:moveTo>
                <a:cubicBezTo>
                  <a:pt x="2766" y="324"/>
                  <a:pt x="2766" y="324"/>
                  <a:pt x="2766" y="324"/>
                </a:cubicBezTo>
                <a:cubicBezTo>
                  <a:pt x="2762" y="321"/>
                  <a:pt x="2762" y="321"/>
                  <a:pt x="2762" y="321"/>
                </a:cubicBezTo>
                <a:cubicBezTo>
                  <a:pt x="2763" y="327"/>
                  <a:pt x="2763" y="327"/>
                  <a:pt x="2763" y="327"/>
                </a:cubicBezTo>
                <a:cubicBezTo>
                  <a:pt x="2763" y="327"/>
                  <a:pt x="2763" y="327"/>
                  <a:pt x="2763" y="327"/>
                </a:cubicBezTo>
                <a:close/>
                <a:moveTo>
                  <a:pt x="2749" y="365"/>
                </a:moveTo>
                <a:cubicBezTo>
                  <a:pt x="2752" y="366"/>
                  <a:pt x="2754" y="361"/>
                  <a:pt x="2752" y="360"/>
                </a:cubicBezTo>
                <a:cubicBezTo>
                  <a:pt x="2750" y="360"/>
                  <a:pt x="2748" y="365"/>
                  <a:pt x="2749" y="365"/>
                </a:cubicBezTo>
                <a:close/>
                <a:moveTo>
                  <a:pt x="2448" y="70"/>
                </a:moveTo>
                <a:cubicBezTo>
                  <a:pt x="2454" y="67"/>
                  <a:pt x="2434" y="67"/>
                  <a:pt x="2434" y="67"/>
                </a:cubicBezTo>
                <a:cubicBezTo>
                  <a:pt x="2434" y="67"/>
                  <a:pt x="2430" y="63"/>
                  <a:pt x="2428" y="63"/>
                </a:cubicBezTo>
                <a:cubicBezTo>
                  <a:pt x="2426" y="63"/>
                  <a:pt x="2421" y="64"/>
                  <a:pt x="2421" y="64"/>
                </a:cubicBezTo>
                <a:cubicBezTo>
                  <a:pt x="2416" y="63"/>
                  <a:pt x="2416" y="63"/>
                  <a:pt x="2416" y="63"/>
                </a:cubicBezTo>
                <a:cubicBezTo>
                  <a:pt x="2421" y="67"/>
                  <a:pt x="2421" y="67"/>
                  <a:pt x="2421" y="67"/>
                </a:cubicBezTo>
                <a:cubicBezTo>
                  <a:pt x="2421" y="67"/>
                  <a:pt x="2442" y="72"/>
                  <a:pt x="2448" y="70"/>
                </a:cubicBezTo>
                <a:close/>
                <a:moveTo>
                  <a:pt x="1662" y="443"/>
                </a:moveTo>
                <a:cubicBezTo>
                  <a:pt x="1662" y="442"/>
                  <a:pt x="1661" y="447"/>
                  <a:pt x="1662" y="449"/>
                </a:cubicBezTo>
                <a:cubicBezTo>
                  <a:pt x="1663" y="451"/>
                  <a:pt x="1665" y="447"/>
                  <a:pt x="1665" y="446"/>
                </a:cubicBezTo>
                <a:cubicBezTo>
                  <a:pt x="1666" y="445"/>
                  <a:pt x="1663" y="444"/>
                  <a:pt x="1662" y="443"/>
                </a:cubicBezTo>
                <a:close/>
                <a:moveTo>
                  <a:pt x="2509" y="683"/>
                </a:moveTo>
                <a:cubicBezTo>
                  <a:pt x="2508" y="685"/>
                  <a:pt x="2512" y="687"/>
                  <a:pt x="2512" y="687"/>
                </a:cubicBezTo>
                <a:cubicBezTo>
                  <a:pt x="2514" y="686"/>
                  <a:pt x="2514" y="686"/>
                  <a:pt x="2514" y="686"/>
                </a:cubicBezTo>
                <a:cubicBezTo>
                  <a:pt x="2514" y="686"/>
                  <a:pt x="2511" y="682"/>
                  <a:pt x="2509" y="683"/>
                </a:cubicBezTo>
                <a:close/>
                <a:moveTo>
                  <a:pt x="2398" y="82"/>
                </a:moveTo>
                <a:cubicBezTo>
                  <a:pt x="2408" y="80"/>
                  <a:pt x="2408" y="80"/>
                  <a:pt x="2408" y="80"/>
                </a:cubicBezTo>
                <a:cubicBezTo>
                  <a:pt x="2424" y="83"/>
                  <a:pt x="2424" y="83"/>
                  <a:pt x="2424" y="83"/>
                </a:cubicBezTo>
                <a:cubicBezTo>
                  <a:pt x="2424" y="83"/>
                  <a:pt x="2419" y="77"/>
                  <a:pt x="2416" y="77"/>
                </a:cubicBezTo>
                <a:cubicBezTo>
                  <a:pt x="2412" y="76"/>
                  <a:pt x="2401" y="77"/>
                  <a:pt x="2401" y="77"/>
                </a:cubicBezTo>
                <a:cubicBezTo>
                  <a:pt x="2398" y="82"/>
                  <a:pt x="2398" y="82"/>
                  <a:pt x="2398" y="82"/>
                </a:cubicBezTo>
                <a:cubicBezTo>
                  <a:pt x="2398" y="82"/>
                  <a:pt x="2398" y="82"/>
                  <a:pt x="2398" y="82"/>
                </a:cubicBezTo>
                <a:close/>
                <a:moveTo>
                  <a:pt x="2744" y="227"/>
                </a:moveTo>
                <a:cubicBezTo>
                  <a:pt x="2749" y="222"/>
                  <a:pt x="2749" y="222"/>
                  <a:pt x="2749" y="222"/>
                </a:cubicBezTo>
                <a:cubicBezTo>
                  <a:pt x="2747" y="219"/>
                  <a:pt x="2747" y="219"/>
                  <a:pt x="2747" y="219"/>
                </a:cubicBezTo>
                <a:cubicBezTo>
                  <a:pt x="2742" y="222"/>
                  <a:pt x="2742" y="222"/>
                  <a:pt x="2742" y="222"/>
                </a:cubicBezTo>
                <a:cubicBezTo>
                  <a:pt x="2744" y="227"/>
                  <a:pt x="2744" y="227"/>
                  <a:pt x="2744" y="227"/>
                </a:cubicBezTo>
                <a:cubicBezTo>
                  <a:pt x="2744" y="227"/>
                  <a:pt x="2744" y="227"/>
                  <a:pt x="2744" y="227"/>
                </a:cubicBezTo>
                <a:close/>
                <a:moveTo>
                  <a:pt x="2706" y="105"/>
                </a:moveTo>
                <a:cubicBezTo>
                  <a:pt x="2709" y="104"/>
                  <a:pt x="2713" y="104"/>
                  <a:pt x="2718" y="104"/>
                </a:cubicBezTo>
                <a:cubicBezTo>
                  <a:pt x="2724" y="104"/>
                  <a:pt x="2724" y="101"/>
                  <a:pt x="2721" y="100"/>
                </a:cubicBezTo>
                <a:cubicBezTo>
                  <a:pt x="2717" y="100"/>
                  <a:pt x="2710" y="97"/>
                  <a:pt x="2708" y="97"/>
                </a:cubicBezTo>
                <a:cubicBezTo>
                  <a:pt x="2705" y="97"/>
                  <a:pt x="2699" y="97"/>
                  <a:pt x="2699" y="102"/>
                </a:cubicBezTo>
                <a:cubicBezTo>
                  <a:pt x="2699" y="107"/>
                  <a:pt x="2704" y="106"/>
                  <a:pt x="2706" y="105"/>
                </a:cubicBezTo>
                <a:close/>
                <a:moveTo>
                  <a:pt x="2761" y="318"/>
                </a:moveTo>
                <a:cubicBezTo>
                  <a:pt x="2764" y="317"/>
                  <a:pt x="2764" y="317"/>
                  <a:pt x="2764" y="317"/>
                </a:cubicBezTo>
                <a:cubicBezTo>
                  <a:pt x="2766" y="315"/>
                  <a:pt x="2766" y="315"/>
                  <a:pt x="2766" y="315"/>
                </a:cubicBezTo>
                <a:cubicBezTo>
                  <a:pt x="2764" y="311"/>
                  <a:pt x="2764" y="311"/>
                  <a:pt x="2764" y="311"/>
                </a:cubicBezTo>
                <a:cubicBezTo>
                  <a:pt x="2766" y="310"/>
                  <a:pt x="2766" y="310"/>
                  <a:pt x="2766" y="310"/>
                </a:cubicBezTo>
                <a:cubicBezTo>
                  <a:pt x="2764" y="308"/>
                  <a:pt x="2764" y="308"/>
                  <a:pt x="2764" y="308"/>
                </a:cubicBezTo>
                <a:cubicBezTo>
                  <a:pt x="2762" y="310"/>
                  <a:pt x="2762" y="310"/>
                  <a:pt x="2762" y="310"/>
                </a:cubicBezTo>
                <a:cubicBezTo>
                  <a:pt x="2764" y="313"/>
                  <a:pt x="2764" y="313"/>
                  <a:pt x="2764" y="313"/>
                </a:cubicBezTo>
                <a:cubicBezTo>
                  <a:pt x="2761" y="313"/>
                  <a:pt x="2761" y="313"/>
                  <a:pt x="2761" y="313"/>
                </a:cubicBezTo>
                <a:cubicBezTo>
                  <a:pt x="2761" y="318"/>
                  <a:pt x="2761" y="318"/>
                  <a:pt x="2761" y="318"/>
                </a:cubicBezTo>
                <a:cubicBezTo>
                  <a:pt x="2761" y="318"/>
                  <a:pt x="2761" y="318"/>
                  <a:pt x="2761" y="318"/>
                </a:cubicBezTo>
                <a:close/>
                <a:moveTo>
                  <a:pt x="2587" y="592"/>
                </a:moveTo>
                <a:cubicBezTo>
                  <a:pt x="2583" y="597"/>
                  <a:pt x="2583" y="597"/>
                  <a:pt x="2583" y="597"/>
                </a:cubicBezTo>
                <a:cubicBezTo>
                  <a:pt x="2583" y="597"/>
                  <a:pt x="2575" y="614"/>
                  <a:pt x="2577" y="616"/>
                </a:cubicBezTo>
                <a:cubicBezTo>
                  <a:pt x="2579" y="619"/>
                  <a:pt x="2582" y="623"/>
                  <a:pt x="2582" y="623"/>
                </a:cubicBezTo>
                <a:cubicBezTo>
                  <a:pt x="2582" y="623"/>
                  <a:pt x="2585" y="630"/>
                  <a:pt x="2588" y="630"/>
                </a:cubicBezTo>
                <a:cubicBezTo>
                  <a:pt x="2588" y="623"/>
                  <a:pt x="2588" y="623"/>
                  <a:pt x="2588" y="623"/>
                </a:cubicBezTo>
                <a:cubicBezTo>
                  <a:pt x="2588" y="623"/>
                  <a:pt x="2591" y="622"/>
                  <a:pt x="2591" y="617"/>
                </a:cubicBezTo>
                <a:cubicBezTo>
                  <a:pt x="2591" y="613"/>
                  <a:pt x="2591" y="607"/>
                  <a:pt x="2591" y="607"/>
                </a:cubicBezTo>
                <a:cubicBezTo>
                  <a:pt x="2591" y="607"/>
                  <a:pt x="2593" y="604"/>
                  <a:pt x="2593" y="601"/>
                </a:cubicBezTo>
                <a:cubicBezTo>
                  <a:pt x="2593" y="599"/>
                  <a:pt x="2593" y="596"/>
                  <a:pt x="2593" y="596"/>
                </a:cubicBezTo>
                <a:cubicBezTo>
                  <a:pt x="2587" y="592"/>
                  <a:pt x="2587" y="592"/>
                  <a:pt x="2587" y="592"/>
                </a:cubicBezTo>
                <a:cubicBezTo>
                  <a:pt x="2587" y="592"/>
                  <a:pt x="2587" y="592"/>
                  <a:pt x="2587" y="592"/>
                </a:cubicBezTo>
                <a:close/>
                <a:moveTo>
                  <a:pt x="2647" y="509"/>
                </a:moveTo>
                <a:cubicBezTo>
                  <a:pt x="2645" y="515"/>
                  <a:pt x="2645" y="515"/>
                  <a:pt x="2645" y="515"/>
                </a:cubicBezTo>
                <a:cubicBezTo>
                  <a:pt x="2647" y="514"/>
                  <a:pt x="2647" y="514"/>
                  <a:pt x="2647" y="514"/>
                </a:cubicBezTo>
                <a:cubicBezTo>
                  <a:pt x="2647" y="509"/>
                  <a:pt x="2647" y="509"/>
                  <a:pt x="2647" y="509"/>
                </a:cubicBezTo>
                <a:cubicBezTo>
                  <a:pt x="2647" y="509"/>
                  <a:pt x="2647" y="509"/>
                  <a:pt x="2647" y="509"/>
                </a:cubicBezTo>
                <a:close/>
                <a:moveTo>
                  <a:pt x="2674" y="501"/>
                </a:moveTo>
                <a:cubicBezTo>
                  <a:pt x="2678" y="499"/>
                  <a:pt x="2682" y="505"/>
                  <a:pt x="2682" y="505"/>
                </a:cubicBezTo>
                <a:cubicBezTo>
                  <a:pt x="2682" y="505"/>
                  <a:pt x="2683" y="500"/>
                  <a:pt x="2684" y="498"/>
                </a:cubicBezTo>
                <a:cubicBezTo>
                  <a:pt x="2684" y="495"/>
                  <a:pt x="2682" y="493"/>
                  <a:pt x="2682" y="493"/>
                </a:cubicBezTo>
                <a:cubicBezTo>
                  <a:pt x="2679" y="494"/>
                  <a:pt x="2679" y="494"/>
                  <a:pt x="2679" y="494"/>
                </a:cubicBezTo>
                <a:cubicBezTo>
                  <a:pt x="2679" y="494"/>
                  <a:pt x="2676" y="491"/>
                  <a:pt x="2674" y="491"/>
                </a:cubicBezTo>
                <a:cubicBezTo>
                  <a:pt x="2670" y="492"/>
                  <a:pt x="2671" y="496"/>
                  <a:pt x="2671" y="496"/>
                </a:cubicBezTo>
                <a:cubicBezTo>
                  <a:pt x="2671" y="496"/>
                  <a:pt x="2668" y="495"/>
                  <a:pt x="2666" y="495"/>
                </a:cubicBezTo>
                <a:cubicBezTo>
                  <a:pt x="2663" y="495"/>
                  <a:pt x="2665" y="500"/>
                  <a:pt x="2665" y="500"/>
                </a:cubicBezTo>
                <a:cubicBezTo>
                  <a:pt x="2662" y="502"/>
                  <a:pt x="2662" y="502"/>
                  <a:pt x="2662" y="502"/>
                </a:cubicBezTo>
                <a:cubicBezTo>
                  <a:pt x="2662" y="502"/>
                  <a:pt x="2665" y="504"/>
                  <a:pt x="2666" y="505"/>
                </a:cubicBezTo>
                <a:cubicBezTo>
                  <a:pt x="2668" y="507"/>
                  <a:pt x="2672" y="510"/>
                  <a:pt x="2672" y="510"/>
                </a:cubicBezTo>
                <a:cubicBezTo>
                  <a:pt x="2672" y="510"/>
                  <a:pt x="2671" y="503"/>
                  <a:pt x="2674" y="501"/>
                </a:cubicBezTo>
                <a:close/>
                <a:moveTo>
                  <a:pt x="2653" y="564"/>
                </a:moveTo>
                <a:cubicBezTo>
                  <a:pt x="2651" y="564"/>
                  <a:pt x="2652" y="565"/>
                  <a:pt x="2652" y="565"/>
                </a:cubicBezTo>
                <a:cubicBezTo>
                  <a:pt x="2655" y="567"/>
                  <a:pt x="2656" y="565"/>
                  <a:pt x="2653" y="564"/>
                </a:cubicBezTo>
                <a:close/>
                <a:moveTo>
                  <a:pt x="2656" y="560"/>
                </a:moveTo>
                <a:cubicBezTo>
                  <a:pt x="2656" y="560"/>
                  <a:pt x="2659" y="560"/>
                  <a:pt x="2657" y="557"/>
                </a:cubicBezTo>
                <a:cubicBezTo>
                  <a:pt x="2656" y="555"/>
                  <a:pt x="2652" y="558"/>
                  <a:pt x="2652" y="560"/>
                </a:cubicBezTo>
                <a:cubicBezTo>
                  <a:pt x="2653" y="561"/>
                  <a:pt x="2653" y="561"/>
                  <a:pt x="2653" y="561"/>
                </a:cubicBezTo>
                <a:cubicBezTo>
                  <a:pt x="2656" y="562"/>
                  <a:pt x="2656" y="560"/>
                  <a:pt x="2656" y="560"/>
                </a:cubicBezTo>
                <a:close/>
                <a:moveTo>
                  <a:pt x="1844" y="312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1"/>
                  <a:pt x="1844" y="311"/>
                  <a:pt x="1844" y="311"/>
                </a:cubicBezTo>
                <a:cubicBezTo>
                  <a:pt x="1844" y="312"/>
                  <a:pt x="1844" y="312"/>
                  <a:pt x="1844" y="312"/>
                </a:cubicBezTo>
                <a:close/>
                <a:moveTo>
                  <a:pt x="2657" y="534"/>
                </a:moveTo>
                <a:cubicBezTo>
                  <a:pt x="2657" y="535"/>
                  <a:pt x="2654" y="536"/>
                  <a:pt x="2654" y="536"/>
                </a:cubicBezTo>
                <a:cubicBezTo>
                  <a:pt x="2658" y="538"/>
                  <a:pt x="2658" y="538"/>
                  <a:pt x="2658" y="538"/>
                </a:cubicBezTo>
                <a:cubicBezTo>
                  <a:pt x="2658" y="538"/>
                  <a:pt x="2657" y="533"/>
                  <a:pt x="2657" y="534"/>
                </a:cubicBezTo>
                <a:close/>
                <a:moveTo>
                  <a:pt x="2661" y="530"/>
                </a:moveTo>
                <a:cubicBezTo>
                  <a:pt x="2661" y="531"/>
                  <a:pt x="2661" y="533"/>
                  <a:pt x="2661" y="533"/>
                </a:cubicBezTo>
                <a:cubicBezTo>
                  <a:pt x="2662" y="537"/>
                  <a:pt x="2662" y="537"/>
                  <a:pt x="2662" y="537"/>
                </a:cubicBezTo>
                <a:cubicBezTo>
                  <a:pt x="2663" y="535"/>
                  <a:pt x="2663" y="535"/>
                  <a:pt x="2663" y="535"/>
                </a:cubicBezTo>
                <a:cubicBezTo>
                  <a:pt x="2663" y="535"/>
                  <a:pt x="2661" y="529"/>
                  <a:pt x="2661" y="530"/>
                </a:cubicBezTo>
                <a:close/>
                <a:moveTo>
                  <a:pt x="2221" y="785"/>
                </a:moveTo>
                <a:cubicBezTo>
                  <a:pt x="2218" y="786"/>
                  <a:pt x="2218" y="786"/>
                  <a:pt x="2218" y="786"/>
                </a:cubicBezTo>
                <a:cubicBezTo>
                  <a:pt x="2219" y="781"/>
                  <a:pt x="2219" y="781"/>
                  <a:pt x="2219" y="781"/>
                </a:cubicBezTo>
                <a:cubicBezTo>
                  <a:pt x="2219" y="781"/>
                  <a:pt x="2216" y="778"/>
                  <a:pt x="2212" y="774"/>
                </a:cubicBezTo>
                <a:cubicBezTo>
                  <a:pt x="2209" y="769"/>
                  <a:pt x="2207" y="768"/>
                  <a:pt x="2203" y="770"/>
                </a:cubicBezTo>
                <a:cubicBezTo>
                  <a:pt x="2203" y="774"/>
                  <a:pt x="2203" y="774"/>
                  <a:pt x="2203" y="774"/>
                </a:cubicBezTo>
                <a:cubicBezTo>
                  <a:pt x="2201" y="774"/>
                  <a:pt x="2201" y="774"/>
                  <a:pt x="2201" y="774"/>
                </a:cubicBezTo>
                <a:cubicBezTo>
                  <a:pt x="2205" y="780"/>
                  <a:pt x="2205" y="780"/>
                  <a:pt x="2205" y="780"/>
                </a:cubicBezTo>
                <a:cubicBezTo>
                  <a:pt x="2205" y="780"/>
                  <a:pt x="2204" y="787"/>
                  <a:pt x="2202" y="788"/>
                </a:cubicBezTo>
                <a:cubicBezTo>
                  <a:pt x="2199" y="790"/>
                  <a:pt x="2200" y="801"/>
                  <a:pt x="2203" y="808"/>
                </a:cubicBezTo>
                <a:cubicBezTo>
                  <a:pt x="2207" y="815"/>
                  <a:pt x="2215" y="810"/>
                  <a:pt x="2221" y="807"/>
                </a:cubicBezTo>
                <a:cubicBezTo>
                  <a:pt x="2228" y="804"/>
                  <a:pt x="2221" y="793"/>
                  <a:pt x="2221" y="793"/>
                </a:cubicBezTo>
                <a:cubicBezTo>
                  <a:pt x="2221" y="785"/>
                  <a:pt x="2221" y="785"/>
                  <a:pt x="2221" y="785"/>
                </a:cubicBezTo>
                <a:cubicBezTo>
                  <a:pt x="2221" y="785"/>
                  <a:pt x="2221" y="785"/>
                  <a:pt x="2221" y="785"/>
                </a:cubicBezTo>
                <a:close/>
                <a:moveTo>
                  <a:pt x="2326" y="756"/>
                </a:moveTo>
                <a:cubicBezTo>
                  <a:pt x="2323" y="756"/>
                  <a:pt x="2326" y="763"/>
                  <a:pt x="2326" y="763"/>
                </a:cubicBezTo>
                <a:cubicBezTo>
                  <a:pt x="2326" y="763"/>
                  <a:pt x="2329" y="756"/>
                  <a:pt x="2326" y="756"/>
                </a:cubicBezTo>
                <a:close/>
                <a:moveTo>
                  <a:pt x="2514" y="690"/>
                </a:moveTo>
                <a:cubicBezTo>
                  <a:pt x="2516" y="692"/>
                  <a:pt x="2518" y="689"/>
                  <a:pt x="2517" y="688"/>
                </a:cubicBezTo>
                <a:cubicBezTo>
                  <a:pt x="2516" y="687"/>
                  <a:pt x="2513" y="690"/>
                  <a:pt x="2514" y="690"/>
                </a:cubicBezTo>
                <a:close/>
                <a:moveTo>
                  <a:pt x="2340" y="795"/>
                </a:moveTo>
                <a:cubicBezTo>
                  <a:pt x="2338" y="795"/>
                  <a:pt x="2339" y="802"/>
                  <a:pt x="2342" y="802"/>
                </a:cubicBezTo>
                <a:cubicBezTo>
                  <a:pt x="2342" y="802"/>
                  <a:pt x="2341" y="795"/>
                  <a:pt x="2340" y="795"/>
                </a:cubicBezTo>
                <a:close/>
                <a:moveTo>
                  <a:pt x="2566" y="260"/>
                </a:moveTo>
                <a:cubicBezTo>
                  <a:pt x="2565" y="262"/>
                  <a:pt x="2567" y="268"/>
                  <a:pt x="2572" y="268"/>
                </a:cubicBezTo>
                <a:cubicBezTo>
                  <a:pt x="2575" y="269"/>
                  <a:pt x="2567" y="259"/>
                  <a:pt x="2566" y="260"/>
                </a:cubicBezTo>
                <a:close/>
                <a:moveTo>
                  <a:pt x="2328" y="722"/>
                </a:moveTo>
                <a:cubicBezTo>
                  <a:pt x="2324" y="723"/>
                  <a:pt x="2325" y="735"/>
                  <a:pt x="2325" y="735"/>
                </a:cubicBezTo>
                <a:cubicBezTo>
                  <a:pt x="2325" y="749"/>
                  <a:pt x="2325" y="749"/>
                  <a:pt x="2325" y="749"/>
                </a:cubicBezTo>
                <a:cubicBezTo>
                  <a:pt x="2328" y="745"/>
                  <a:pt x="2328" y="745"/>
                  <a:pt x="2328" y="745"/>
                </a:cubicBezTo>
                <a:cubicBezTo>
                  <a:pt x="2328" y="731"/>
                  <a:pt x="2328" y="731"/>
                  <a:pt x="2328" y="731"/>
                </a:cubicBezTo>
                <a:cubicBezTo>
                  <a:pt x="2328" y="731"/>
                  <a:pt x="2331" y="722"/>
                  <a:pt x="2328" y="722"/>
                </a:cubicBezTo>
                <a:close/>
                <a:moveTo>
                  <a:pt x="2736" y="373"/>
                </a:moveTo>
                <a:cubicBezTo>
                  <a:pt x="2743" y="369"/>
                  <a:pt x="2743" y="369"/>
                  <a:pt x="2743" y="369"/>
                </a:cubicBezTo>
                <a:cubicBezTo>
                  <a:pt x="2741" y="366"/>
                  <a:pt x="2741" y="366"/>
                  <a:pt x="2741" y="366"/>
                </a:cubicBezTo>
                <a:cubicBezTo>
                  <a:pt x="2741" y="368"/>
                  <a:pt x="2741" y="368"/>
                  <a:pt x="2741" y="368"/>
                </a:cubicBezTo>
                <a:cubicBezTo>
                  <a:pt x="2735" y="368"/>
                  <a:pt x="2735" y="368"/>
                  <a:pt x="2735" y="368"/>
                </a:cubicBezTo>
                <a:cubicBezTo>
                  <a:pt x="2732" y="377"/>
                  <a:pt x="2732" y="377"/>
                  <a:pt x="2732" y="377"/>
                </a:cubicBezTo>
                <a:cubicBezTo>
                  <a:pt x="2734" y="378"/>
                  <a:pt x="2734" y="378"/>
                  <a:pt x="2734" y="378"/>
                </a:cubicBezTo>
                <a:cubicBezTo>
                  <a:pt x="2736" y="373"/>
                  <a:pt x="2736" y="373"/>
                  <a:pt x="2736" y="373"/>
                </a:cubicBezTo>
                <a:cubicBezTo>
                  <a:pt x="2736" y="373"/>
                  <a:pt x="2736" y="373"/>
                  <a:pt x="2736" y="373"/>
                </a:cubicBezTo>
                <a:close/>
                <a:moveTo>
                  <a:pt x="2624" y="279"/>
                </a:moveTo>
                <a:cubicBezTo>
                  <a:pt x="2623" y="280"/>
                  <a:pt x="2620" y="276"/>
                  <a:pt x="2620" y="280"/>
                </a:cubicBezTo>
                <a:cubicBezTo>
                  <a:pt x="2619" y="283"/>
                  <a:pt x="2625" y="289"/>
                  <a:pt x="2625" y="289"/>
                </a:cubicBezTo>
                <a:cubicBezTo>
                  <a:pt x="2625" y="289"/>
                  <a:pt x="2626" y="293"/>
                  <a:pt x="2628" y="294"/>
                </a:cubicBezTo>
                <a:cubicBezTo>
                  <a:pt x="2629" y="296"/>
                  <a:pt x="2639" y="302"/>
                  <a:pt x="2642" y="305"/>
                </a:cubicBezTo>
                <a:cubicBezTo>
                  <a:pt x="2644" y="308"/>
                  <a:pt x="2644" y="312"/>
                  <a:pt x="2646" y="315"/>
                </a:cubicBezTo>
                <a:cubicBezTo>
                  <a:pt x="2649" y="317"/>
                  <a:pt x="2656" y="329"/>
                  <a:pt x="2656" y="329"/>
                </a:cubicBezTo>
                <a:cubicBezTo>
                  <a:pt x="2656" y="329"/>
                  <a:pt x="2657" y="334"/>
                  <a:pt x="2659" y="334"/>
                </a:cubicBezTo>
                <a:cubicBezTo>
                  <a:pt x="2660" y="334"/>
                  <a:pt x="2663" y="336"/>
                  <a:pt x="2664" y="338"/>
                </a:cubicBezTo>
                <a:cubicBezTo>
                  <a:pt x="2666" y="340"/>
                  <a:pt x="2666" y="344"/>
                  <a:pt x="2666" y="344"/>
                </a:cubicBezTo>
                <a:cubicBezTo>
                  <a:pt x="2672" y="349"/>
                  <a:pt x="2672" y="349"/>
                  <a:pt x="2672" y="349"/>
                </a:cubicBezTo>
                <a:cubicBezTo>
                  <a:pt x="2674" y="356"/>
                  <a:pt x="2674" y="356"/>
                  <a:pt x="2674" y="356"/>
                </a:cubicBezTo>
                <a:cubicBezTo>
                  <a:pt x="2679" y="362"/>
                  <a:pt x="2679" y="362"/>
                  <a:pt x="2679" y="362"/>
                </a:cubicBezTo>
                <a:cubicBezTo>
                  <a:pt x="2679" y="362"/>
                  <a:pt x="2676" y="354"/>
                  <a:pt x="2678" y="353"/>
                </a:cubicBezTo>
                <a:cubicBezTo>
                  <a:pt x="2680" y="353"/>
                  <a:pt x="2681" y="355"/>
                  <a:pt x="2681" y="355"/>
                </a:cubicBezTo>
                <a:cubicBezTo>
                  <a:pt x="2685" y="355"/>
                  <a:pt x="2685" y="355"/>
                  <a:pt x="2685" y="355"/>
                </a:cubicBezTo>
                <a:cubicBezTo>
                  <a:pt x="2690" y="360"/>
                  <a:pt x="2690" y="360"/>
                  <a:pt x="2690" y="360"/>
                </a:cubicBezTo>
                <a:cubicBezTo>
                  <a:pt x="2690" y="357"/>
                  <a:pt x="2690" y="357"/>
                  <a:pt x="2690" y="357"/>
                </a:cubicBezTo>
                <a:cubicBezTo>
                  <a:pt x="2686" y="352"/>
                  <a:pt x="2686" y="352"/>
                  <a:pt x="2686" y="352"/>
                </a:cubicBezTo>
                <a:cubicBezTo>
                  <a:pt x="2682" y="352"/>
                  <a:pt x="2682" y="352"/>
                  <a:pt x="2682" y="352"/>
                </a:cubicBezTo>
                <a:cubicBezTo>
                  <a:pt x="2678" y="347"/>
                  <a:pt x="2678" y="347"/>
                  <a:pt x="2678" y="347"/>
                </a:cubicBezTo>
                <a:cubicBezTo>
                  <a:pt x="2678" y="347"/>
                  <a:pt x="2673" y="346"/>
                  <a:pt x="2670" y="342"/>
                </a:cubicBezTo>
                <a:cubicBezTo>
                  <a:pt x="2668" y="338"/>
                  <a:pt x="2666" y="330"/>
                  <a:pt x="2666" y="330"/>
                </a:cubicBezTo>
                <a:cubicBezTo>
                  <a:pt x="2666" y="330"/>
                  <a:pt x="2661" y="327"/>
                  <a:pt x="2664" y="325"/>
                </a:cubicBezTo>
                <a:cubicBezTo>
                  <a:pt x="2666" y="324"/>
                  <a:pt x="2682" y="332"/>
                  <a:pt x="2682" y="332"/>
                </a:cubicBezTo>
                <a:cubicBezTo>
                  <a:pt x="2672" y="324"/>
                  <a:pt x="2672" y="324"/>
                  <a:pt x="2672" y="324"/>
                </a:cubicBezTo>
                <a:cubicBezTo>
                  <a:pt x="2672" y="324"/>
                  <a:pt x="2668" y="318"/>
                  <a:pt x="2666" y="316"/>
                </a:cubicBezTo>
                <a:cubicBezTo>
                  <a:pt x="2664" y="315"/>
                  <a:pt x="2661" y="313"/>
                  <a:pt x="2661" y="313"/>
                </a:cubicBezTo>
                <a:cubicBezTo>
                  <a:pt x="2650" y="301"/>
                  <a:pt x="2650" y="301"/>
                  <a:pt x="2650" y="301"/>
                </a:cubicBezTo>
                <a:cubicBezTo>
                  <a:pt x="2646" y="301"/>
                  <a:pt x="2646" y="301"/>
                  <a:pt x="2646" y="301"/>
                </a:cubicBezTo>
                <a:cubicBezTo>
                  <a:pt x="2645" y="297"/>
                  <a:pt x="2645" y="297"/>
                  <a:pt x="2645" y="297"/>
                </a:cubicBezTo>
                <a:cubicBezTo>
                  <a:pt x="2645" y="297"/>
                  <a:pt x="2643" y="298"/>
                  <a:pt x="2640" y="295"/>
                </a:cubicBezTo>
                <a:cubicBezTo>
                  <a:pt x="2638" y="292"/>
                  <a:pt x="2638" y="289"/>
                  <a:pt x="2638" y="289"/>
                </a:cubicBezTo>
                <a:cubicBezTo>
                  <a:pt x="2634" y="284"/>
                  <a:pt x="2634" y="284"/>
                  <a:pt x="2634" y="284"/>
                </a:cubicBezTo>
                <a:cubicBezTo>
                  <a:pt x="2631" y="284"/>
                  <a:pt x="2631" y="284"/>
                  <a:pt x="2631" y="284"/>
                </a:cubicBezTo>
                <a:cubicBezTo>
                  <a:pt x="2629" y="280"/>
                  <a:pt x="2629" y="280"/>
                  <a:pt x="2629" y="280"/>
                </a:cubicBezTo>
                <a:cubicBezTo>
                  <a:pt x="2624" y="276"/>
                  <a:pt x="2624" y="276"/>
                  <a:pt x="2624" y="276"/>
                </a:cubicBezTo>
                <a:cubicBezTo>
                  <a:pt x="2622" y="273"/>
                  <a:pt x="2622" y="273"/>
                  <a:pt x="2622" y="273"/>
                </a:cubicBezTo>
                <a:cubicBezTo>
                  <a:pt x="2622" y="273"/>
                  <a:pt x="2618" y="270"/>
                  <a:pt x="2617" y="271"/>
                </a:cubicBezTo>
                <a:cubicBezTo>
                  <a:pt x="2615" y="272"/>
                  <a:pt x="2625" y="279"/>
                  <a:pt x="2624" y="279"/>
                </a:cubicBezTo>
                <a:close/>
                <a:moveTo>
                  <a:pt x="2611" y="605"/>
                </a:moveTo>
                <a:cubicBezTo>
                  <a:pt x="2613" y="606"/>
                  <a:pt x="2615" y="602"/>
                  <a:pt x="2612" y="602"/>
                </a:cubicBezTo>
                <a:cubicBezTo>
                  <a:pt x="2609" y="601"/>
                  <a:pt x="2611" y="605"/>
                  <a:pt x="2611" y="605"/>
                </a:cubicBezTo>
                <a:close/>
                <a:moveTo>
                  <a:pt x="2633" y="581"/>
                </a:moveTo>
                <a:cubicBezTo>
                  <a:pt x="2633" y="582"/>
                  <a:pt x="2636" y="582"/>
                  <a:pt x="2636" y="582"/>
                </a:cubicBezTo>
                <a:cubicBezTo>
                  <a:pt x="2637" y="580"/>
                  <a:pt x="2633" y="579"/>
                  <a:pt x="2633" y="581"/>
                </a:cubicBezTo>
                <a:close/>
                <a:moveTo>
                  <a:pt x="2628" y="600"/>
                </a:moveTo>
                <a:cubicBezTo>
                  <a:pt x="2629" y="598"/>
                  <a:pt x="2626" y="598"/>
                  <a:pt x="2626" y="598"/>
                </a:cubicBezTo>
                <a:cubicBezTo>
                  <a:pt x="2624" y="595"/>
                  <a:pt x="2624" y="595"/>
                  <a:pt x="2624" y="595"/>
                </a:cubicBezTo>
                <a:cubicBezTo>
                  <a:pt x="2624" y="597"/>
                  <a:pt x="2624" y="597"/>
                  <a:pt x="2624" y="597"/>
                </a:cubicBezTo>
                <a:cubicBezTo>
                  <a:pt x="2623" y="600"/>
                  <a:pt x="2626" y="601"/>
                  <a:pt x="2628" y="600"/>
                </a:cubicBezTo>
                <a:close/>
                <a:moveTo>
                  <a:pt x="2620" y="603"/>
                </a:moveTo>
                <a:cubicBezTo>
                  <a:pt x="2616" y="601"/>
                  <a:pt x="2616" y="601"/>
                  <a:pt x="2616" y="601"/>
                </a:cubicBezTo>
                <a:cubicBezTo>
                  <a:pt x="2616" y="601"/>
                  <a:pt x="2615" y="604"/>
                  <a:pt x="2615" y="604"/>
                </a:cubicBezTo>
                <a:cubicBezTo>
                  <a:pt x="2616" y="604"/>
                  <a:pt x="2620" y="603"/>
                  <a:pt x="2620" y="603"/>
                </a:cubicBezTo>
                <a:close/>
                <a:moveTo>
                  <a:pt x="2609" y="500"/>
                </a:moveTo>
                <a:cubicBezTo>
                  <a:pt x="2604" y="502"/>
                  <a:pt x="2606" y="504"/>
                  <a:pt x="2609" y="504"/>
                </a:cubicBezTo>
                <a:cubicBezTo>
                  <a:pt x="2613" y="504"/>
                  <a:pt x="2614" y="499"/>
                  <a:pt x="2609" y="500"/>
                </a:cubicBezTo>
                <a:close/>
                <a:moveTo>
                  <a:pt x="2361" y="681"/>
                </a:moveTo>
                <a:cubicBezTo>
                  <a:pt x="2363" y="680"/>
                  <a:pt x="2366" y="686"/>
                  <a:pt x="2366" y="686"/>
                </a:cubicBezTo>
                <a:cubicBezTo>
                  <a:pt x="2366" y="690"/>
                  <a:pt x="2366" y="690"/>
                  <a:pt x="2366" y="690"/>
                </a:cubicBezTo>
                <a:cubicBezTo>
                  <a:pt x="2366" y="690"/>
                  <a:pt x="2370" y="690"/>
                  <a:pt x="2370" y="694"/>
                </a:cubicBezTo>
                <a:cubicBezTo>
                  <a:pt x="2370" y="697"/>
                  <a:pt x="2372" y="700"/>
                  <a:pt x="2372" y="703"/>
                </a:cubicBezTo>
                <a:cubicBezTo>
                  <a:pt x="2373" y="705"/>
                  <a:pt x="2373" y="712"/>
                  <a:pt x="2373" y="712"/>
                </a:cubicBezTo>
                <a:cubicBezTo>
                  <a:pt x="2373" y="712"/>
                  <a:pt x="2374" y="715"/>
                  <a:pt x="2375" y="717"/>
                </a:cubicBezTo>
                <a:cubicBezTo>
                  <a:pt x="2377" y="719"/>
                  <a:pt x="2377" y="721"/>
                  <a:pt x="2377" y="721"/>
                </a:cubicBezTo>
                <a:cubicBezTo>
                  <a:pt x="2383" y="734"/>
                  <a:pt x="2383" y="734"/>
                  <a:pt x="2383" y="734"/>
                </a:cubicBezTo>
                <a:cubicBezTo>
                  <a:pt x="2385" y="740"/>
                  <a:pt x="2385" y="740"/>
                  <a:pt x="2385" y="740"/>
                </a:cubicBezTo>
                <a:cubicBezTo>
                  <a:pt x="2385" y="740"/>
                  <a:pt x="2382" y="740"/>
                  <a:pt x="2382" y="741"/>
                </a:cubicBezTo>
                <a:cubicBezTo>
                  <a:pt x="2382" y="743"/>
                  <a:pt x="2380" y="749"/>
                  <a:pt x="2380" y="749"/>
                </a:cubicBezTo>
                <a:cubicBezTo>
                  <a:pt x="2387" y="746"/>
                  <a:pt x="2387" y="746"/>
                  <a:pt x="2387" y="746"/>
                </a:cubicBezTo>
                <a:cubicBezTo>
                  <a:pt x="2385" y="754"/>
                  <a:pt x="2385" y="754"/>
                  <a:pt x="2385" y="754"/>
                </a:cubicBezTo>
                <a:cubicBezTo>
                  <a:pt x="2385" y="754"/>
                  <a:pt x="2384" y="757"/>
                  <a:pt x="2384" y="759"/>
                </a:cubicBezTo>
                <a:cubicBezTo>
                  <a:pt x="2384" y="762"/>
                  <a:pt x="2386" y="766"/>
                  <a:pt x="2386" y="766"/>
                </a:cubicBezTo>
                <a:cubicBezTo>
                  <a:pt x="2386" y="766"/>
                  <a:pt x="2383" y="773"/>
                  <a:pt x="2383" y="776"/>
                </a:cubicBezTo>
                <a:cubicBezTo>
                  <a:pt x="2383" y="779"/>
                  <a:pt x="2383" y="789"/>
                  <a:pt x="2383" y="789"/>
                </a:cubicBezTo>
                <a:cubicBezTo>
                  <a:pt x="2383" y="789"/>
                  <a:pt x="2385" y="791"/>
                  <a:pt x="2385" y="789"/>
                </a:cubicBezTo>
                <a:cubicBezTo>
                  <a:pt x="2386" y="787"/>
                  <a:pt x="2386" y="782"/>
                  <a:pt x="2387" y="784"/>
                </a:cubicBezTo>
                <a:cubicBezTo>
                  <a:pt x="2387" y="786"/>
                  <a:pt x="2385" y="786"/>
                  <a:pt x="2388" y="787"/>
                </a:cubicBezTo>
                <a:cubicBezTo>
                  <a:pt x="2391" y="787"/>
                  <a:pt x="2393" y="793"/>
                  <a:pt x="2393" y="793"/>
                </a:cubicBezTo>
                <a:cubicBezTo>
                  <a:pt x="2398" y="798"/>
                  <a:pt x="2398" y="798"/>
                  <a:pt x="2398" y="798"/>
                </a:cubicBezTo>
                <a:cubicBezTo>
                  <a:pt x="2398" y="798"/>
                  <a:pt x="2397" y="800"/>
                  <a:pt x="2399" y="803"/>
                </a:cubicBezTo>
                <a:cubicBezTo>
                  <a:pt x="2400" y="805"/>
                  <a:pt x="2402" y="807"/>
                  <a:pt x="2402" y="808"/>
                </a:cubicBezTo>
                <a:cubicBezTo>
                  <a:pt x="2403" y="808"/>
                  <a:pt x="2403" y="808"/>
                  <a:pt x="2403" y="808"/>
                </a:cubicBezTo>
                <a:cubicBezTo>
                  <a:pt x="2404" y="821"/>
                  <a:pt x="2404" y="821"/>
                  <a:pt x="2404" y="821"/>
                </a:cubicBezTo>
                <a:cubicBezTo>
                  <a:pt x="2404" y="821"/>
                  <a:pt x="2410" y="818"/>
                  <a:pt x="2410" y="822"/>
                </a:cubicBezTo>
                <a:cubicBezTo>
                  <a:pt x="2410" y="826"/>
                  <a:pt x="2408" y="831"/>
                  <a:pt x="2411" y="834"/>
                </a:cubicBezTo>
                <a:cubicBezTo>
                  <a:pt x="2413" y="836"/>
                  <a:pt x="2415" y="834"/>
                  <a:pt x="2415" y="834"/>
                </a:cubicBezTo>
                <a:cubicBezTo>
                  <a:pt x="2415" y="834"/>
                  <a:pt x="2414" y="842"/>
                  <a:pt x="2416" y="844"/>
                </a:cubicBezTo>
                <a:cubicBezTo>
                  <a:pt x="2418" y="846"/>
                  <a:pt x="2426" y="851"/>
                  <a:pt x="2426" y="851"/>
                </a:cubicBezTo>
                <a:cubicBezTo>
                  <a:pt x="2426" y="851"/>
                  <a:pt x="2427" y="855"/>
                  <a:pt x="2428" y="856"/>
                </a:cubicBezTo>
                <a:cubicBezTo>
                  <a:pt x="2429" y="856"/>
                  <a:pt x="2434" y="858"/>
                  <a:pt x="2434" y="858"/>
                </a:cubicBezTo>
                <a:cubicBezTo>
                  <a:pt x="2438" y="863"/>
                  <a:pt x="2438" y="863"/>
                  <a:pt x="2438" y="863"/>
                </a:cubicBezTo>
                <a:cubicBezTo>
                  <a:pt x="2445" y="862"/>
                  <a:pt x="2445" y="862"/>
                  <a:pt x="2445" y="862"/>
                </a:cubicBezTo>
                <a:cubicBezTo>
                  <a:pt x="2445" y="862"/>
                  <a:pt x="2446" y="858"/>
                  <a:pt x="2445" y="854"/>
                </a:cubicBezTo>
                <a:cubicBezTo>
                  <a:pt x="2445" y="851"/>
                  <a:pt x="2439" y="847"/>
                  <a:pt x="2438" y="845"/>
                </a:cubicBezTo>
                <a:cubicBezTo>
                  <a:pt x="2438" y="844"/>
                  <a:pt x="2439" y="842"/>
                  <a:pt x="2438" y="840"/>
                </a:cubicBezTo>
                <a:cubicBezTo>
                  <a:pt x="2436" y="838"/>
                  <a:pt x="2438" y="838"/>
                  <a:pt x="2438" y="835"/>
                </a:cubicBezTo>
                <a:cubicBezTo>
                  <a:pt x="2438" y="832"/>
                  <a:pt x="2438" y="824"/>
                  <a:pt x="2437" y="820"/>
                </a:cubicBezTo>
                <a:cubicBezTo>
                  <a:pt x="2437" y="815"/>
                  <a:pt x="2428" y="812"/>
                  <a:pt x="2426" y="810"/>
                </a:cubicBezTo>
                <a:cubicBezTo>
                  <a:pt x="2426" y="809"/>
                  <a:pt x="2425" y="809"/>
                  <a:pt x="2424" y="808"/>
                </a:cubicBezTo>
                <a:cubicBezTo>
                  <a:pt x="2424" y="808"/>
                  <a:pt x="2424" y="808"/>
                  <a:pt x="2424" y="808"/>
                </a:cubicBezTo>
                <a:cubicBezTo>
                  <a:pt x="2422" y="807"/>
                  <a:pt x="2420" y="805"/>
                  <a:pt x="2420" y="805"/>
                </a:cubicBezTo>
                <a:cubicBezTo>
                  <a:pt x="2420" y="805"/>
                  <a:pt x="2419" y="800"/>
                  <a:pt x="2418" y="798"/>
                </a:cubicBezTo>
                <a:cubicBezTo>
                  <a:pt x="2418" y="796"/>
                  <a:pt x="2412" y="800"/>
                  <a:pt x="2410" y="799"/>
                </a:cubicBezTo>
                <a:cubicBezTo>
                  <a:pt x="2409" y="799"/>
                  <a:pt x="2407" y="791"/>
                  <a:pt x="2406" y="791"/>
                </a:cubicBezTo>
                <a:cubicBezTo>
                  <a:pt x="2405" y="792"/>
                  <a:pt x="2406" y="795"/>
                  <a:pt x="2405" y="795"/>
                </a:cubicBezTo>
                <a:cubicBezTo>
                  <a:pt x="2404" y="795"/>
                  <a:pt x="2401" y="790"/>
                  <a:pt x="2402" y="789"/>
                </a:cubicBezTo>
                <a:cubicBezTo>
                  <a:pt x="2404" y="787"/>
                  <a:pt x="2403" y="790"/>
                  <a:pt x="2405" y="789"/>
                </a:cubicBezTo>
                <a:cubicBezTo>
                  <a:pt x="2407" y="789"/>
                  <a:pt x="2403" y="782"/>
                  <a:pt x="2403" y="781"/>
                </a:cubicBezTo>
                <a:cubicBezTo>
                  <a:pt x="2402" y="780"/>
                  <a:pt x="2400" y="780"/>
                  <a:pt x="2400" y="780"/>
                </a:cubicBezTo>
                <a:cubicBezTo>
                  <a:pt x="2400" y="772"/>
                  <a:pt x="2400" y="772"/>
                  <a:pt x="2400" y="772"/>
                </a:cubicBezTo>
                <a:cubicBezTo>
                  <a:pt x="2393" y="775"/>
                  <a:pt x="2393" y="775"/>
                  <a:pt x="2393" y="775"/>
                </a:cubicBezTo>
                <a:cubicBezTo>
                  <a:pt x="2393" y="775"/>
                  <a:pt x="2392" y="762"/>
                  <a:pt x="2392" y="761"/>
                </a:cubicBezTo>
                <a:cubicBezTo>
                  <a:pt x="2392" y="759"/>
                  <a:pt x="2390" y="757"/>
                  <a:pt x="2390" y="757"/>
                </a:cubicBezTo>
                <a:cubicBezTo>
                  <a:pt x="2390" y="757"/>
                  <a:pt x="2394" y="755"/>
                  <a:pt x="2394" y="752"/>
                </a:cubicBezTo>
                <a:cubicBezTo>
                  <a:pt x="2394" y="748"/>
                  <a:pt x="2394" y="743"/>
                  <a:pt x="2394" y="743"/>
                </a:cubicBezTo>
                <a:cubicBezTo>
                  <a:pt x="2394" y="743"/>
                  <a:pt x="2397" y="741"/>
                  <a:pt x="2397" y="736"/>
                </a:cubicBezTo>
                <a:cubicBezTo>
                  <a:pt x="2398" y="731"/>
                  <a:pt x="2396" y="730"/>
                  <a:pt x="2396" y="730"/>
                </a:cubicBezTo>
                <a:cubicBezTo>
                  <a:pt x="2397" y="726"/>
                  <a:pt x="2397" y="726"/>
                  <a:pt x="2397" y="726"/>
                </a:cubicBezTo>
                <a:cubicBezTo>
                  <a:pt x="2398" y="726"/>
                  <a:pt x="2398" y="726"/>
                  <a:pt x="2398" y="726"/>
                </a:cubicBezTo>
                <a:cubicBezTo>
                  <a:pt x="2398" y="726"/>
                  <a:pt x="2399" y="724"/>
                  <a:pt x="2401" y="724"/>
                </a:cubicBezTo>
                <a:cubicBezTo>
                  <a:pt x="2403" y="724"/>
                  <a:pt x="2407" y="727"/>
                  <a:pt x="2407" y="727"/>
                </a:cubicBezTo>
                <a:cubicBezTo>
                  <a:pt x="2406" y="728"/>
                  <a:pt x="2406" y="728"/>
                  <a:pt x="2406" y="728"/>
                </a:cubicBezTo>
                <a:cubicBezTo>
                  <a:pt x="2406" y="728"/>
                  <a:pt x="2405" y="735"/>
                  <a:pt x="2407" y="735"/>
                </a:cubicBezTo>
                <a:cubicBezTo>
                  <a:pt x="2410" y="735"/>
                  <a:pt x="2417" y="732"/>
                  <a:pt x="2417" y="732"/>
                </a:cubicBezTo>
                <a:cubicBezTo>
                  <a:pt x="2421" y="743"/>
                  <a:pt x="2421" y="743"/>
                  <a:pt x="2421" y="743"/>
                </a:cubicBezTo>
                <a:cubicBezTo>
                  <a:pt x="2421" y="743"/>
                  <a:pt x="2422" y="740"/>
                  <a:pt x="2425" y="741"/>
                </a:cubicBezTo>
                <a:cubicBezTo>
                  <a:pt x="2425" y="742"/>
                  <a:pt x="2426" y="742"/>
                  <a:pt x="2427" y="743"/>
                </a:cubicBezTo>
                <a:cubicBezTo>
                  <a:pt x="2430" y="746"/>
                  <a:pt x="2427" y="749"/>
                  <a:pt x="2427" y="749"/>
                </a:cubicBezTo>
                <a:cubicBezTo>
                  <a:pt x="2427" y="749"/>
                  <a:pt x="2429" y="753"/>
                  <a:pt x="2431" y="754"/>
                </a:cubicBezTo>
                <a:cubicBezTo>
                  <a:pt x="2433" y="754"/>
                  <a:pt x="2434" y="751"/>
                  <a:pt x="2434" y="751"/>
                </a:cubicBezTo>
                <a:cubicBezTo>
                  <a:pt x="2434" y="751"/>
                  <a:pt x="2433" y="756"/>
                  <a:pt x="2435" y="756"/>
                </a:cubicBezTo>
                <a:cubicBezTo>
                  <a:pt x="2438" y="757"/>
                  <a:pt x="2440" y="755"/>
                  <a:pt x="2440" y="757"/>
                </a:cubicBezTo>
                <a:cubicBezTo>
                  <a:pt x="2440" y="758"/>
                  <a:pt x="2441" y="759"/>
                  <a:pt x="2442" y="760"/>
                </a:cubicBezTo>
                <a:cubicBezTo>
                  <a:pt x="2444" y="761"/>
                  <a:pt x="2444" y="761"/>
                  <a:pt x="2444" y="761"/>
                </a:cubicBezTo>
                <a:cubicBezTo>
                  <a:pt x="2444" y="761"/>
                  <a:pt x="2444" y="761"/>
                  <a:pt x="2444" y="762"/>
                </a:cubicBezTo>
                <a:cubicBezTo>
                  <a:pt x="2446" y="763"/>
                  <a:pt x="2451" y="766"/>
                  <a:pt x="2451" y="766"/>
                </a:cubicBezTo>
                <a:cubicBezTo>
                  <a:pt x="2448" y="768"/>
                  <a:pt x="2448" y="768"/>
                  <a:pt x="2448" y="768"/>
                </a:cubicBezTo>
                <a:cubicBezTo>
                  <a:pt x="2448" y="768"/>
                  <a:pt x="2451" y="776"/>
                  <a:pt x="2449" y="777"/>
                </a:cubicBezTo>
                <a:cubicBezTo>
                  <a:pt x="2448" y="777"/>
                  <a:pt x="2448" y="779"/>
                  <a:pt x="2447" y="780"/>
                </a:cubicBezTo>
                <a:cubicBezTo>
                  <a:pt x="2448" y="780"/>
                  <a:pt x="2448" y="780"/>
                  <a:pt x="2448" y="780"/>
                </a:cubicBezTo>
                <a:cubicBezTo>
                  <a:pt x="2449" y="781"/>
                  <a:pt x="2452" y="781"/>
                  <a:pt x="2454" y="778"/>
                </a:cubicBezTo>
                <a:cubicBezTo>
                  <a:pt x="2457" y="776"/>
                  <a:pt x="2460" y="775"/>
                  <a:pt x="2460" y="775"/>
                </a:cubicBezTo>
                <a:cubicBezTo>
                  <a:pt x="2460" y="772"/>
                  <a:pt x="2460" y="772"/>
                  <a:pt x="2460" y="772"/>
                </a:cubicBezTo>
                <a:cubicBezTo>
                  <a:pt x="2460" y="769"/>
                  <a:pt x="2460" y="769"/>
                  <a:pt x="2460" y="769"/>
                </a:cubicBezTo>
                <a:cubicBezTo>
                  <a:pt x="2460" y="769"/>
                  <a:pt x="2465" y="771"/>
                  <a:pt x="2466" y="768"/>
                </a:cubicBezTo>
                <a:cubicBezTo>
                  <a:pt x="2467" y="766"/>
                  <a:pt x="2463" y="763"/>
                  <a:pt x="2464" y="763"/>
                </a:cubicBezTo>
                <a:cubicBezTo>
                  <a:pt x="2465" y="762"/>
                  <a:pt x="2470" y="760"/>
                  <a:pt x="2470" y="760"/>
                </a:cubicBezTo>
                <a:cubicBezTo>
                  <a:pt x="2470" y="760"/>
                  <a:pt x="2472" y="762"/>
                  <a:pt x="2477" y="759"/>
                </a:cubicBezTo>
                <a:cubicBezTo>
                  <a:pt x="2481" y="757"/>
                  <a:pt x="2488" y="752"/>
                  <a:pt x="2489" y="748"/>
                </a:cubicBezTo>
                <a:cubicBezTo>
                  <a:pt x="2489" y="745"/>
                  <a:pt x="2492" y="735"/>
                  <a:pt x="2492" y="733"/>
                </a:cubicBezTo>
                <a:cubicBezTo>
                  <a:pt x="2491" y="731"/>
                  <a:pt x="2487" y="727"/>
                  <a:pt x="2487" y="727"/>
                </a:cubicBezTo>
                <a:cubicBezTo>
                  <a:pt x="2489" y="727"/>
                  <a:pt x="2489" y="727"/>
                  <a:pt x="2489" y="727"/>
                </a:cubicBezTo>
                <a:cubicBezTo>
                  <a:pt x="2489" y="727"/>
                  <a:pt x="2489" y="719"/>
                  <a:pt x="2488" y="716"/>
                </a:cubicBezTo>
                <a:cubicBezTo>
                  <a:pt x="2487" y="713"/>
                  <a:pt x="2484" y="708"/>
                  <a:pt x="2484" y="708"/>
                </a:cubicBezTo>
                <a:cubicBezTo>
                  <a:pt x="2484" y="708"/>
                  <a:pt x="2486" y="705"/>
                  <a:pt x="2483" y="702"/>
                </a:cubicBezTo>
                <a:cubicBezTo>
                  <a:pt x="2479" y="699"/>
                  <a:pt x="2470" y="690"/>
                  <a:pt x="2467" y="689"/>
                </a:cubicBezTo>
                <a:cubicBezTo>
                  <a:pt x="2464" y="687"/>
                  <a:pt x="2461" y="686"/>
                  <a:pt x="2460" y="684"/>
                </a:cubicBezTo>
                <a:cubicBezTo>
                  <a:pt x="2460" y="683"/>
                  <a:pt x="2461" y="681"/>
                  <a:pt x="2460" y="679"/>
                </a:cubicBezTo>
                <a:cubicBezTo>
                  <a:pt x="2459" y="677"/>
                  <a:pt x="2449" y="669"/>
                  <a:pt x="2447" y="664"/>
                </a:cubicBezTo>
                <a:cubicBezTo>
                  <a:pt x="2446" y="659"/>
                  <a:pt x="2445" y="653"/>
                  <a:pt x="2446" y="652"/>
                </a:cubicBezTo>
                <a:cubicBezTo>
                  <a:pt x="2448" y="651"/>
                  <a:pt x="2448" y="648"/>
                  <a:pt x="2448" y="648"/>
                </a:cubicBezTo>
                <a:cubicBezTo>
                  <a:pt x="2448" y="648"/>
                  <a:pt x="2452" y="645"/>
                  <a:pt x="2453" y="645"/>
                </a:cubicBezTo>
                <a:cubicBezTo>
                  <a:pt x="2454" y="644"/>
                  <a:pt x="2455" y="642"/>
                  <a:pt x="2455" y="642"/>
                </a:cubicBezTo>
                <a:cubicBezTo>
                  <a:pt x="2455" y="642"/>
                  <a:pt x="2459" y="642"/>
                  <a:pt x="2460" y="641"/>
                </a:cubicBezTo>
                <a:cubicBezTo>
                  <a:pt x="2461" y="640"/>
                  <a:pt x="2461" y="636"/>
                  <a:pt x="2461" y="636"/>
                </a:cubicBezTo>
                <a:cubicBezTo>
                  <a:pt x="2462" y="635"/>
                  <a:pt x="2462" y="635"/>
                  <a:pt x="2462" y="635"/>
                </a:cubicBezTo>
                <a:cubicBezTo>
                  <a:pt x="2469" y="631"/>
                  <a:pt x="2469" y="631"/>
                  <a:pt x="2469" y="631"/>
                </a:cubicBezTo>
                <a:cubicBezTo>
                  <a:pt x="2471" y="632"/>
                  <a:pt x="2471" y="632"/>
                  <a:pt x="2471" y="632"/>
                </a:cubicBezTo>
                <a:cubicBezTo>
                  <a:pt x="2471" y="632"/>
                  <a:pt x="2480" y="632"/>
                  <a:pt x="2482" y="635"/>
                </a:cubicBezTo>
                <a:cubicBezTo>
                  <a:pt x="2483" y="637"/>
                  <a:pt x="2480" y="642"/>
                  <a:pt x="2481" y="644"/>
                </a:cubicBezTo>
                <a:cubicBezTo>
                  <a:pt x="2483" y="646"/>
                  <a:pt x="2487" y="649"/>
                  <a:pt x="2487" y="649"/>
                </a:cubicBezTo>
                <a:cubicBezTo>
                  <a:pt x="2490" y="649"/>
                  <a:pt x="2490" y="649"/>
                  <a:pt x="2490" y="649"/>
                </a:cubicBezTo>
                <a:cubicBezTo>
                  <a:pt x="2490" y="646"/>
                  <a:pt x="2490" y="646"/>
                  <a:pt x="2490" y="646"/>
                </a:cubicBezTo>
                <a:cubicBezTo>
                  <a:pt x="2490" y="646"/>
                  <a:pt x="2488" y="640"/>
                  <a:pt x="2491" y="636"/>
                </a:cubicBezTo>
                <a:cubicBezTo>
                  <a:pt x="2493" y="633"/>
                  <a:pt x="2499" y="633"/>
                  <a:pt x="2502" y="633"/>
                </a:cubicBezTo>
                <a:cubicBezTo>
                  <a:pt x="2504" y="632"/>
                  <a:pt x="2513" y="630"/>
                  <a:pt x="2513" y="628"/>
                </a:cubicBezTo>
                <a:cubicBezTo>
                  <a:pt x="2514" y="626"/>
                  <a:pt x="2514" y="620"/>
                  <a:pt x="2516" y="619"/>
                </a:cubicBezTo>
                <a:cubicBezTo>
                  <a:pt x="2517" y="619"/>
                  <a:pt x="2519" y="626"/>
                  <a:pt x="2521" y="625"/>
                </a:cubicBezTo>
                <a:cubicBezTo>
                  <a:pt x="2523" y="624"/>
                  <a:pt x="2527" y="618"/>
                  <a:pt x="2527" y="618"/>
                </a:cubicBezTo>
                <a:cubicBezTo>
                  <a:pt x="2529" y="620"/>
                  <a:pt x="2529" y="620"/>
                  <a:pt x="2529" y="620"/>
                </a:cubicBezTo>
                <a:cubicBezTo>
                  <a:pt x="2534" y="619"/>
                  <a:pt x="2534" y="619"/>
                  <a:pt x="2534" y="619"/>
                </a:cubicBezTo>
                <a:cubicBezTo>
                  <a:pt x="2534" y="619"/>
                  <a:pt x="2539" y="620"/>
                  <a:pt x="2542" y="619"/>
                </a:cubicBezTo>
                <a:cubicBezTo>
                  <a:pt x="2544" y="617"/>
                  <a:pt x="2546" y="617"/>
                  <a:pt x="2547" y="615"/>
                </a:cubicBezTo>
                <a:cubicBezTo>
                  <a:pt x="2548" y="614"/>
                  <a:pt x="2554" y="609"/>
                  <a:pt x="2555" y="607"/>
                </a:cubicBezTo>
                <a:cubicBezTo>
                  <a:pt x="2556" y="605"/>
                  <a:pt x="2553" y="601"/>
                  <a:pt x="2553" y="601"/>
                </a:cubicBezTo>
                <a:cubicBezTo>
                  <a:pt x="2556" y="601"/>
                  <a:pt x="2556" y="601"/>
                  <a:pt x="2556" y="601"/>
                </a:cubicBezTo>
                <a:cubicBezTo>
                  <a:pt x="2557" y="597"/>
                  <a:pt x="2557" y="597"/>
                  <a:pt x="2557" y="597"/>
                </a:cubicBezTo>
                <a:cubicBezTo>
                  <a:pt x="2561" y="597"/>
                  <a:pt x="2561" y="597"/>
                  <a:pt x="2561" y="597"/>
                </a:cubicBezTo>
                <a:cubicBezTo>
                  <a:pt x="2562" y="592"/>
                  <a:pt x="2562" y="592"/>
                  <a:pt x="2562" y="592"/>
                </a:cubicBezTo>
                <a:cubicBezTo>
                  <a:pt x="2564" y="592"/>
                  <a:pt x="2564" y="592"/>
                  <a:pt x="2564" y="592"/>
                </a:cubicBezTo>
                <a:cubicBezTo>
                  <a:pt x="2565" y="586"/>
                  <a:pt x="2565" y="586"/>
                  <a:pt x="2565" y="586"/>
                </a:cubicBezTo>
                <a:cubicBezTo>
                  <a:pt x="2565" y="586"/>
                  <a:pt x="2567" y="587"/>
                  <a:pt x="2567" y="582"/>
                </a:cubicBezTo>
                <a:cubicBezTo>
                  <a:pt x="2567" y="578"/>
                  <a:pt x="2565" y="578"/>
                  <a:pt x="2566" y="577"/>
                </a:cubicBezTo>
                <a:cubicBezTo>
                  <a:pt x="2567" y="575"/>
                  <a:pt x="2571" y="576"/>
                  <a:pt x="2571" y="572"/>
                </a:cubicBezTo>
                <a:cubicBezTo>
                  <a:pt x="2571" y="568"/>
                  <a:pt x="2568" y="568"/>
                  <a:pt x="2569" y="567"/>
                </a:cubicBezTo>
                <a:cubicBezTo>
                  <a:pt x="2569" y="565"/>
                  <a:pt x="2571" y="564"/>
                  <a:pt x="2571" y="564"/>
                </a:cubicBezTo>
                <a:cubicBezTo>
                  <a:pt x="2571" y="559"/>
                  <a:pt x="2571" y="559"/>
                  <a:pt x="2571" y="559"/>
                </a:cubicBezTo>
                <a:cubicBezTo>
                  <a:pt x="2571" y="559"/>
                  <a:pt x="2577" y="557"/>
                  <a:pt x="2578" y="554"/>
                </a:cubicBezTo>
                <a:cubicBezTo>
                  <a:pt x="2580" y="551"/>
                  <a:pt x="2576" y="550"/>
                  <a:pt x="2576" y="550"/>
                </a:cubicBezTo>
                <a:cubicBezTo>
                  <a:pt x="2576" y="550"/>
                  <a:pt x="2583" y="549"/>
                  <a:pt x="2583" y="547"/>
                </a:cubicBezTo>
                <a:cubicBezTo>
                  <a:pt x="2583" y="546"/>
                  <a:pt x="2579" y="545"/>
                  <a:pt x="2579" y="545"/>
                </a:cubicBezTo>
                <a:cubicBezTo>
                  <a:pt x="2579" y="545"/>
                  <a:pt x="2587" y="537"/>
                  <a:pt x="2583" y="535"/>
                </a:cubicBezTo>
                <a:cubicBezTo>
                  <a:pt x="2580" y="533"/>
                  <a:pt x="2563" y="538"/>
                  <a:pt x="2563" y="538"/>
                </a:cubicBezTo>
                <a:cubicBezTo>
                  <a:pt x="2561" y="536"/>
                  <a:pt x="2561" y="536"/>
                  <a:pt x="2561" y="536"/>
                </a:cubicBezTo>
                <a:cubicBezTo>
                  <a:pt x="2566" y="536"/>
                  <a:pt x="2566" y="536"/>
                  <a:pt x="2566" y="536"/>
                </a:cubicBezTo>
                <a:cubicBezTo>
                  <a:pt x="2566" y="536"/>
                  <a:pt x="2566" y="532"/>
                  <a:pt x="2568" y="532"/>
                </a:cubicBezTo>
                <a:cubicBezTo>
                  <a:pt x="2570" y="531"/>
                  <a:pt x="2574" y="530"/>
                  <a:pt x="2574" y="530"/>
                </a:cubicBezTo>
                <a:cubicBezTo>
                  <a:pt x="2574" y="530"/>
                  <a:pt x="2572" y="525"/>
                  <a:pt x="2571" y="525"/>
                </a:cubicBezTo>
                <a:cubicBezTo>
                  <a:pt x="2570" y="525"/>
                  <a:pt x="2565" y="524"/>
                  <a:pt x="2565" y="524"/>
                </a:cubicBezTo>
                <a:cubicBezTo>
                  <a:pt x="2563" y="521"/>
                  <a:pt x="2563" y="521"/>
                  <a:pt x="2563" y="521"/>
                </a:cubicBezTo>
                <a:cubicBezTo>
                  <a:pt x="2562" y="522"/>
                  <a:pt x="2562" y="522"/>
                  <a:pt x="2562" y="522"/>
                </a:cubicBezTo>
                <a:cubicBezTo>
                  <a:pt x="2562" y="522"/>
                  <a:pt x="2560" y="519"/>
                  <a:pt x="2558" y="519"/>
                </a:cubicBezTo>
                <a:cubicBezTo>
                  <a:pt x="2557" y="519"/>
                  <a:pt x="2553" y="520"/>
                  <a:pt x="2553" y="520"/>
                </a:cubicBezTo>
                <a:cubicBezTo>
                  <a:pt x="2548" y="513"/>
                  <a:pt x="2548" y="513"/>
                  <a:pt x="2548" y="513"/>
                </a:cubicBezTo>
                <a:cubicBezTo>
                  <a:pt x="2548" y="513"/>
                  <a:pt x="2553" y="518"/>
                  <a:pt x="2554" y="517"/>
                </a:cubicBezTo>
                <a:cubicBezTo>
                  <a:pt x="2555" y="517"/>
                  <a:pt x="2557" y="516"/>
                  <a:pt x="2557" y="516"/>
                </a:cubicBezTo>
                <a:cubicBezTo>
                  <a:pt x="2561" y="517"/>
                  <a:pt x="2561" y="517"/>
                  <a:pt x="2561" y="517"/>
                </a:cubicBezTo>
                <a:cubicBezTo>
                  <a:pt x="2563" y="519"/>
                  <a:pt x="2563" y="519"/>
                  <a:pt x="2563" y="519"/>
                </a:cubicBezTo>
                <a:cubicBezTo>
                  <a:pt x="2565" y="519"/>
                  <a:pt x="2565" y="519"/>
                  <a:pt x="2565" y="519"/>
                </a:cubicBezTo>
                <a:cubicBezTo>
                  <a:pt x="2571" y="521"/>
                  <a:pt x="2571" y="521"/>
                  <a:pt x="2571" y="521"/>
                </a:cubicBezTo>
                <a:cubicBezTo>
                  <a:pt x="2568" y="517"/>
                  <a:pt x="2568" y="517"/>
                  <a:pt x="2568" y="517"/>
                </a:cubicBezTo>
                <a:cubicBezTo>
                  <a:pt x="2566" y="517"/>
                  <a:pt x="2566" y="517"/>
                  <a:pt x="2566" y="517"/>
                </a:cubicBezTo>
                <a:cubicBezTo>
                  <a:pt x="2566" y="517"/>
                  <a:pt x="2566" y="512"/>
                  <a:pt x="2564" y="512"/>
                </a:cubicBezTo>
                <a:cubicBezTo>
                  <a:pt x="2562" y="512"/>
                  <a:pt x="2560" y="511"/>
                  <a:pt x="2559" y="510"/>
                </a:cubicBezTo>
                <a:cubicBezTo>
                  <a:pt x="2558" y="509"/>
                  <a:pt x="2557" y="505"/>
                  <a:pt x="2557" y="505"/>
                </a:cubicBezTo>
                <a:cubicBezTo>
                  <a:pt x="2546" y="492"/>
                  <a:pt x="2546" y="492"/>
                  <a:pt x="2546" y="492"/>
                </a:cubicBezTo>
                <a:cubicBezTo>
                  <a:pt x="2542" y="490"/>
                  <a:pt x="2542" y="490"/>
                  <a:pt x="2542" y="490"/>
                </a:cubicBezTo>
                <a:cubicBezTo>
                  <a:pt x="2537" y="487"/>
                  <a:pt x="2537" y="487"/>
                  <a:pt x="2537" y="487"/>
                </a:cubicBezTo>
                <a:cubicBezTo>
                  <a:pt x="2534" y="487"/>
                  <a:pt x="2534" y="487"/>
                  <a:pt x="2534" y="487"/>
                </a:cubicBezTo>
                <a:cubicBezTo>
                  <a:pt x="2534" y="487"/>
                  <a:pt x="2531" y="482"/>
                  <a:pt x="2532" y="481"/>
                </a:cubicBezTo>
                <a:cubicBezTo>
                  <a:pt x="2533" y="480"/>
                  <a:pt x="2537" y="478"/>
                  <a:pt x="2537" y="476"/>
                </a:cubicBezTo>
                <a:cubicBezTo>
                  <a:pt x="2537" y="474"/>
                  <a:pt x="2536" y="470"/>
                  <a:pt x="2536" y="470"/>
                </a:cubicBezTo>
                <a:cubicBezTo>
                  <a:pt x="2536" y="470"/>
                  <a:pt x="2539" y="474"/>
                  <a:pt x="2541" y="472"/>
                </a:cubicBezTo>
                <a:cubicBezTo>
                  <a:pt x="2543" y="471"/>
                  <a:pt x="2541" y="465"/>
                  <a:pt x="2541" y="465"/>
                </a:cubicBezTo>
                <a:cubicBezTo>
                  <a:pt x="2544" y="466"/>
                  <a:pt x="2544" y="466"/>
                  <a:pt x="2544" y="466"/>
                </a:cubicBezTo>
                <a:cubicBezTo>
                  <a:pt x="2549" y="462"/>
                  <a:pt x="2549" y="462"/>
                  <a:pt x="2549" y="462"/>
                </a:cubicBezTo>
                <a:cubicBezTo>
                  <a:pt x="2549" y="462"/>
                  <a:pt x="2553" y="463"/>
                  <a:pt x="2554" y="463"/>
                </a:cubicBezTo>
                <a:cubicBezTo>
                  <a:pt x="2555" y="463"/>
                  <a:pt x="2553" y="460"/>
                  <a:pt x="2553" y="460"/>
                </a:cubicBezTo>
                <a:cubicBezTo>
                  <a:pt x="2554" y="456"/>
                  <a:pt x="2554" y="456"/>
                  <a:pt x="2554" y="456"/>
                </a:cubicBezTo>
                <a:cubicBezTo>
                  <a:pt x="2550" y="456"/>
                  <a:pt x="2550" y="456"/>
                  <a:pt x="2550" y="456"/>
                </a:cubicBezTo>
                <a:cubicBezTo>
                  <a:pt x="2548" y="455"/>
                  <a:pt x="2548" y="455"/>
                  <a:pt x="2548" y="455"/>
                </a:cubicBezTo>
                <a:cubicBezTo>
                  <a:pt x="2547" y="456"/>
                  <a:pt x="2547" y="456"/>
                  <a:pt x="2547" y="456"/>
                </a:cubicBezTo>
                <a:cubicBezTo>
                  <a:pt x="2543" y="456"/>
                  <a:pt x="2543" y="456"/>
                  <a:pt x="2543" y="456"/>
                </a:cubicBezTo>
                <a:cubicBezTo>
                  <a:pt x="2543" y="456"/>
                  <a:pt x="2539" y="452"/>
                  <a:pt x="2537" y="452"/>
                </a:cubicBezTo>
                <a:cubicBezTo>
                  <a:pt x="2534" y="452"/>
                  <a:pt x="2530" y="457"/>
                  <a:pt x="2530" y="458"/>
                </a:cubicBezTo>
                <a:cubicBezTo>
                  <a:pt x="2530" y="459"/>
                  <a:pt x="2529" y="461"/>
                  <a:pt x="2527" y="460"/>
                </a:cubicBezTo>
                <a:cubicBezTo>
                  <a:pt x="2525" y="460"/>
                  <a:pt x="2520" y="459"/>
                  <a:pt x="2520" y="456"/>
                </a:cubicBezTo>
                <a:cubicBezTo>
                  <a:pt x="2519" y="453"/>
                  <a:pt x="2517" y="449"/>
                  <a:pt x="2516" y="449"/>
                </a:cubicBezTo>
                <a:cubicBezTo>
                  <a:pt x="2515" y="448"/>
                  <a:pt x="2514" y="449"/>
                  <a:pt x="2514" y="449"/>
                </a:cubicBezTo>
                <a:cubicBezTo>
                  <a:pt x="2514" y="451"/>
                  <a:pt x="2514" y="451"/>
                  <a:pt x="2514" y="451"/>
                </a:cubicBezTo>
                <a:cubicBezTo>
                  <a:pt x="2512" y="449"/>
                  <a:pt x="2512" y="449"/>
                  <a:pt x="2512" y="449"/>
                </a:cubicBezTo>
                <a:cubicBezTo>
                  <a:pt x="2512" y="449"/>
                  <a:pt x="2507" y="449"/>
                  <a:pt x="2505" y="447"/>
                </a:cubicBezTo>
                <a:cubicBezTo>
                  <a:pt x="2503" y="445"/>
                  <a:pt x="2501" y="441"/>
                  <a:pt x="2501" y="440"/>
                </a:cubicBezTo>
                <a:cubicBezTo>
                  <a:pt x="2502" y="439"/>
                  <a:pt x="2502" y="437"/>
                  <a:pt x="2502" y="437"/>
                </a:cubicBezTo>
                <a:cubicBezTo>
                  <a:pt x="2504" y="437"/>
                  <a:pt x="2504" y="437"/>
                  <a:pt x="2504" y="437"/>
                </a:cubicBezTo>
                <a:cubicBezTo>
                  <a:pt x="2504" y="437"/>
                  <a:pt x="2505" y="438"/>
                  <a:pt x="2506" y="438"/>
                </a:cubicBezTo>
                <a:cubicBezTo>
                  <a:pt x="2507" y="438"/>
                  <a:pt x="2508" y="436"/>
                  <a:pt x="2508" y="436"/>
                </a:cubicBezTo>
                <a:cubicBezTo>
                  <a:pt x="2508" y="436"/>
                  <a:pt x="2511" y="438"/>
                  <a:pt x="2513" y="436"/>
                </a:cubicBezTo>
                <a:cubicBezTo>
                  <a:pt x="2515" y="435"/>
                  <a:pt x="2513" y="433"/>
                  <a:pt x="2513" y="433"/>
                </a:cubicBezTo>
                <a:cubicBezTo>
                  <a:pt x="2513" y="433"/>
                  <a:pt x="2513" y="428"/>
                  <a:pt x="2514" y="427"/>
                </a:cubicBezTo>
                <a:cubicBezTo>
                  <a:pt x="2515" y="426"/>
                  <a:pt x="2519" y="428"/>
                  <a:pt x="2520" y="426"/>
                </a:cubicBezTo>
                <a:cubicBezTo>
                  <a:pt x="2521" y="423"/>
                  <a:pt x="2521" y="421"/>
                  <a:pt x="2521" y="421"/>
                </a:cubicBezTo>
                <a:cubicBezTo>
                  <a:pt x="2524" y="419"/>
                  <a:pt x="2524" y="419"/>
                  <a:pt x="2524" y="419"/>
                </a:cubicBezTo>
                <a:cubicBezTo>
                  <a:pt x="2522" y="418"/>
                  <a:pt x="2522" y="418"/>
                  <a:pt x="2522" y="418"/>
                </a:cubicBezTo>
                <a:cubicBezTo>
                  <a:pt x="2528" y="419"/>
                  <a:pt x="2528" y="419"/>
                  <a:pt x="2528" y="419"/>
                </a:cubicBezTo>
                <a:cubicBezTo>
                  <a:pt x="2530" y="417"/>
                  <a:pt x="2530" y="417"/>
                  <a:pt x="2530" y="417"/>
                </a:cubicBezTo>
                <a:cubicBezTo>
                  <a:pt x="2530" y="417"/>
                  <a:pt x="2536" y="422"/>
                  <a:pt x="2536" y="425"/>
                </a:cubicBezTo>
                <a:cubicBezTo>
                  <a:pt x="2535" y="428"/>
                  <a:pt x="2532" y="428"/>
                  <a:pt x="2531" y="430"/>
                </a:cubicBezTo>
                <a:cubicBezTo>
                  <a:pt x="2531" y="432"/>
                  <a:pt x="2532" y="435"/>
                  <a:pt x="2534" y="435"/>
                </a:cubicBezTo>
                <a:cubicBezTo>
                  <a:pt x="2535" y="435"/>
                  <a:pt x="2537" y="434"/>
                  <a:pt x="2537" y="434"/>
                </a:cubicBezTo>
                <a:cubicBezTo>
                  <a:pt x="2536" y="438"/>
                  <a:pt x="2536" y="438"/>
                  <a:pt x="2536" y="438"/>
                </a:cubicBezTo>
                <a:cubicBezTo>
                  <a:pt x="2536" y="438"/>
                  <a:pt x="2532" y="442"/>
                  <a:pt x="2534" y="442"/>
                </a:cubicBezTo>
                <a:cubicBezTo>
                  <a:pt x="2536" y="443"/>
                  <a:pt x="2539" y="440"/>
                  <a:pt x="2539" y="440"/>
                </a:cubicBezTo>
                <a:cubicBezTo>
                  <a:pt x="2539" y="440"/>
                  <a:pt x="2540" y="440"/>
                  <a:pt x="2541" y="439"/>
                </a:cubicBezTo>
                <a:cubicBezTo>
                  <a:pt x="2542" y="438"/>
                  <a:pt x="2542" y="435"/>
                  <a:pt x="2542" y="435"/>
                </a:cubicBezTo>
                <a:cubicBezTo>
                  <a:pt x="2542" y="435"/>
                  <a:pt x="2550" y="430"/>
                  <a:pt x="2551" y="430"/>
                </a:cubicBezTo>
                <a:cubicBezTo>
                  <a:pt x="2552" y="429"/>
                  <a:pt x="2556" y="429"/>
                  <a:pt x="2556" y="429"/>
                </a:cubicBezTo>
                <a:cubicBezTo>
                  <a:pt x="2558" y="427"/>
                  <a:pt x="2558" y="427"/>
                  <a:pt x="2558" y="427"/>
                </a:cubicBezTo>
                <a:cubicBezTo>
                  <a:pt x="2559" y="430"/>
                  <a:pt x="2559" y="430"/>
                  <a:pt x="2559" y="430"/>
                </a:cubicBezTo>
                <a:cubicBezTo>
                  <a:pt x="2562" y="433"/>
                  <a:pt x="2562" y="433"/>
                  <a:pt x="2562" y="433"/>
                </a:cubicBezTo>
                <a:cubicBezTo>
                  <a:pt x="2563" y="430"/>
                  <a:pt x="2563" y="430"/>
                  <a:pt x="2563" y="430"/>
                </a:cubicBezTo>
                <a:cubicBezTo>
                  <a:pt x="2563" y="430"/>
                  <a:pt x="2565" y="433"/>
                  <a:pt x="2566" y="433"/>
                </a:cubicBezTo>
                <a:cubicBezTo>
                  <a:pt x="2567" y="433"/>
                  <a:pt x="2569" y="432"/>
                  <a:pt x="2570" y="433"/>
                </a:cubicBezTo>
                <a:cubicBezTo>
                  <a:pt x="2570" y="434"/>
                  <a:pt x="2570" y="442"/>
                  <a:pt x="2570" y="442"/>
                </a:cubicBezTo>
                <a:cubicBezTo>
                  <a:pt x="2576" y="442"/>
                  <a:pt x="2576" y="442"/>
                  <a:pt x="2576" y="442"/>
                </a:cubicBezTo>
                <a:cubicBezTo>
                  <a:pt x="2576" y="444"/>
                  <a:pt x="2576" y="444"/>
                  <a:pt x="2576" y="444"/>
                </a:cubicBezTo>
                <a:cubicBezTo>
                  <a:pt x="2576" y="444"/>
                  <a:pt x="2571" y="441"/>
                  <a:pt x="2571" y="444"/>
                </a:cubicBezTo>
                <a:cubicBezTo>
                  <a:pt x="2570" y="447"/>
                  <a:pt x="2573" y="450"/>
                  <a:pt x="2573" y="450"/>
                </a:cubicBezTo>
                <a:cubicBezTo>
                  <a:pt x="2574" y="452"/>
                  <a:pt x="2574" y="452"/>
                  <a:pt x="2574" y="452"/>
                </a:cubicBezTo>
                <a:cubicBezTo>
                  <a:pt x="2578" y="451"/>
                  <a:pt x="2578" y="451"/>
                  <a:pt x="2578" y="451"/>
                </a:cubicBezTo>
                <a:cubicBezTo>
                  <a:pt x="2578" y="451"/>
                  <a:pt x="2583" y="454"/>
                  <a:pt x="2584" y="453"/>
                </a:cubicBezTo>
                <a:cubicBezTo>
                  <a:pt x="2586" y="453"/>
                  <a:pt x="2588" y="452"/>
                  <a:pt x="2588" y="452"/>
                </a:cubicBezTo>
                <a:cubicBezTo>
                  <a:pt x="2588" y="452"/>
                  <a:pt x="2588" y="455"/>
                  <a:pt x="2590" y="456"/>
                </a:cubicBezTo>
                <a:cubicBezTo>
                  <a:pt x="2591" y="457"/>
                  <a:pt x="2594" y="458"/>
                  <a:pt x="2594" y="458"/>
                </a:cubicBezTo>
                <a:cubicBezTo>
                  <a:pt x="2597" y="463"/>
                  <a:pt x="2597" y="463"/>
                  <a:pt x="2597" y="463"/>
                </a:cubicBezTo>
                <a:cubicBezTo>
                  <a:pt x="2597" y="463"/>
                  <a:pt x="2590" y="460"/>
                  <a:pt x="2589" y="461"/>
                </a:cubicBezTo>
                <a:cubicBezTo>
                  <a:pt x="2589" y="463"/>
                  <a:pt x="2594" y="466"/>
                  <a:pt x="2594" y="466"/>
                </a:cubicBezTo>
                <a:cubicBezTo>
                  <a:pt x="2596" y="472"/>
                  <a:pt x="2596" y="472"/>
                  <a:pt x="2596" y="472"/>
                </a:cubicBezTo>
                <a:cubicBezTo>
                  <a:pt x="2601" y="472"/>
                  <a:pt x="2601" y="472"/>
                  <a:pt x="2601" y="472"/>
                </a:cubicBezTo>
                <a:cubicBezTo>
                  <a:pt x="2601" y="476"/>
                  <a:pt x="2601" y="476"/>
                  <a:pt x="2601" y="476"/>
                </a:cubicBezTo>
                <a:cubicBezTo>
                  <a:pt x="2601" y="476"/>
                  <a:pt x="2598" y="478"/>
                  <a:pt x="2599" y="482"/>
                </a:cubicBezTo>
                <a:cubicBezTo>
                  <a:pt x="2601" y="486"/>
                  <a:pt x="2604" y="486"/>
                  <a:pt x="2604" y="486"/>
                </a:cubicBezTo>
                <a:cubicBezTo>
                  <a:pt x="2604" y="486"/>
                  <a:pt x="2601" y="491"/>
                  <a:pt x="2605" y="491"/>
                </a:cubicBezTo>
                <a:cubicBezTo>
                  <a:pt x="2609" y="490"/>
                  <a:pt x="2609" y="487"/>
                  <a:pt x="2609" y="487"/>
                </a:cubicBezTo>
                <a:cubicBezTo>
                  <a:pt x="2616" y="484"/>
                  <a:pt x="2616" y="484"/>
                  <a:pt x="2616" y="484"/>
                </a:cubicBezTo>
                <a:cubicBezTo>
                  <a:pt x="2620" y="485"/>
                  <a:pt x="2620" y="485"/>
                  <a:pt x="2620" y="485"/>
                </a:cubicBezTo>
                <a:cubicBezTo>
                  <a:pt x="2621" y="482"/>
                  <a:pt x="2621" y="482"/>
                  <a:pt x="2621" y="482"/>
                </a:cubicBezTo>
                <a:cubicBezTo>
                  <a:pt x="2621" y="482"/>
                  <a:pt x="2628" y="483"/>
                  <a:pt x="2627" y="479"/>
                </a:cubicBezTo>
                <a:cubicBezTo>
                  <a:pt x="2626" y="475"/>
                  <a:pt x="2623" y="472"/>
                  <a:pt x="2623" y="472"/>
                </a:cubicBezTo>
                <a:cubicBezTo>
                  <a:pt x="2623" y="472"/>
                  <a:pt x="2624" y="468"/>
                  <a:pt x="2622" y="465"/>
                </a:cubicBezTo>
                <a:cubicBezTo>
                  <a:pt x="2620" y="463"/>
                  <a:pt x="2611" y="455"/>
                  <a:pt x="2611" y="455"/>
                </a:cubicBezTo>
                <a:cubicBezTo>
                  <a:pt x="2609" y="454"/>
                  <a:pt x="2609" y="454"/>
                  <a:pt x="2609" y="454"/>
                </a:cubicBezTo>
                <a:cubicBezTo>
                  <a:pt x="2609" y="454"/>
                  <a:pt x="2608" y="451"/>
                  <a:pt x="2605" y="449"/>
                </a:cubicBezTo>
                <a:cubicBezTo>
                  <a:pt x="2604" y="447"/>
                  <a:pt x="2603" y="446"/>
                  <a:pt x="2602" y="444"/>
                </a:cubicBezTo>
                <a:cubicBezTo>
                  <a:pt x="2601" y="443"/>
                  <a:pt x="2600" y="442"/>
                  <a:pt x="2600" y="442"/>
                </a:cubicBezTo>
                <a:cubicBezTo>
                  <a:pt x="2593" y="438"/>
                  <a:pt x="2593" y="438"/>
                  <a:pt x="2593" y="438"/>
                </a:cubicBezTo>
                <a:cubicBezTo>
                  <a:pt x="2593" y="438"/>
                  <a:pt x="2589" y="440"/>
                  <a:pt x="2590" y="437"/>
                </a:cubicBezTo>
                <a:cubicBezTo>
                  <a:pt x="2592" y="434"/>
                  <a:pt x="2592" y="434"/>
                  <a:pt x="2592" y="434"/>
                </a:cubicBezTo>
                <a:cubicBezTo>
                  <a:pt x="2592" y="434"/>
                  <a:pt x="2586" y="432"/>
                  <a:pt x="2588" y="430"/>
                </a:cubicBezTo>
                <a:cubicBezTo>
                  <a:pt x="2590" y="428"/>
                  <a:pt x="2595" y="428"/>
                  <a:pt x="2596" y="425"/>
                </a:cubicBezTo>
                <a:cubicBezTo>
                  <a:pt x="2597" y="423"/>
                  <a:pt x="2598" y="419"/>
                  <a:pt x="2598" y="419"/>
                </a:cubicBezTo>
                <a:cubicBezTo>
                  <a:pt x="2601" y="418"/>
                  <a:pt x="2601" y="418"/>
                  <a:pt x="2601" y="418"/>
                </a:cubicBezTo>
                <a:cubicBezTo>
                  <a:pt x="2600" y="413"/>
                  <a:pt x="2600" y="413"/>
                  <a:pt x="2600" y="413"/>
                </a:cubicBezTo>
                <a:cubicBezTo>
                  <a:pt x="2600" y="413"/>
                  <a:pt x="2597" y="411"/>
                  <a:pt x="2597" y="407"/>
                </a:cubicBezTo>
                <a:cubicBezTo>
                  <a:pt x="2597" y="404"/>
                  <a:pt x="2602" y="403"/>
                  <a:pt x="2602" y="403"/>
                </a:cubicBezTo>
                <a:cubicBezTo>
                  <a:pt x="2600" y="400"/>
                  <a:pt x="2600" y="400"/>
                  <a:pt x="2600" y="400"/>
                </a:cubicBezTo>
                <a:cubicBezTo>
                  <a:pt x="2605" y="400"/>
                  <a:pt x="2605" y="400"/>
                  <a:pt x="2605" y="400"/>
                </a:cubicBezTo>
                <a:cubicBezTo>
                  <a:pt x="2605" y="400"/>
                  <a:pt x="2604" y="391"/>
                  <a:pt x="2606" y="391"/>
                </a:cubicBezTo>
                <a:cubicBezTo>
                  <a:pt x="2608" y="390"/>
                  <a:pt x="2609" y="392"/>
                  <a:pt x="2609" y="392"/>
                </a:cubicBezTo>
                <a:cubicBezTo>
                  <a:pt x="2611" y="391"/>
                  <a:pt x="2611" y="391"/>
                  <a:pt x="2611" y="391"/>
                </a:cubicBezTo>
                <a:cubicBezTo>
                  <a:pt x="2611" y="391"/>
                  <a:pt x="2614" y="397"/>
                  <a:pt x="2616" y="397"/>
                </a:cubicBezTo>
                <a:cubicBezTo>
                  <a:pt x="2618" y="397"/>
                  <a:pt x="2622" y="395"/>
                  <a:pt x="2622" y="395"/>
                </a:cubicBezTo>
                <a:cubicBezTo>
                  <a:pt x="2622" y="398"/>
                  <a:pt x="2622" y="398"/>
                  <a:pt x="2622" y="398"/>
                </a:cubicBezTo>
                <a:cubicBezTo>
                  <a:pt x="2622" y="398"/>
                  <a:pt x="2633" y="394"/>
                  <a:pt x="2634" y="389"/>
                </a:cubicBezTo>
                <a:cubicBezTo>
                  <a:pt x="2634" y="385"/>
                  <a:pt x="2635" y="379"/>
                  <a:pt x="2635" y="379"/>
                </a:cubicBezTo>
                <a:cubicBezTo>
                  <a:pt x="2638" y="378"/>
                  <a:pt x="2638" y="378"/>
                  <a:pt x="2638" y="378"/>
                </a:cubicBezTo>
                <a:cubicBezTo>
                  <a:pt x="2638" y="378"/>
                  <a:pt x="2637" y="369"/>
                  <a:pt x="2639" y="368"/>
                </a:cubicBezTo>
                <a:cubicBezTo>
                  <a:pt x="2641" y="366"/>
                  <a:pt x="2641" y="361"/>
                  <a:pt x="2642" y="358"/>
                </a:cubicBezTo>
                <a:cubicBezTo>
                  <a:pt x="2642" y="354"/>
                  <a:pt x="2640" y="349"/>
                  <a:pt x="2640" y="349"/>
                </a:cubicBezTo>
                <a:cubicBezTo>
                  <a:pt x="2640" y="349"/>
                  <a:pt x="2643" y="344"/>
                  <a:pt x="2643" y="343"/>
                </a:cubicBezTo>
                <a:cubicBezTo>
                  <a:pt x="2643" y="342"/>
                  <a:pt x="2641" y="340"/>
                  <a:pt x="2641" y="340"/>
                </a:cubicBezTo>
                <a:cubicBezTo>
                  <a:pt x="2641" y="340"/>
                  <a:pt x="2645" y="335"/>
                  <a:pt x="2644" y="333"/>
                </a:cubicBezTo>
                <a:cubicBezTo>
                  <a:pt x="2643" y="331"/>
                  <a:pt x="2640" y="325"/>
                  <a:pt x="2640" y="325"/>
                </a:cubicBezTo>
                <a:cubicBezTo>
                  <a:pt x="2640" y="325"/>
                  <a:pt x="2639" y="320"/>
                  <a:pt x="2637" y="319"/>
                </a:cubicBezTo>
                <a:cubicBezTo>
                  <a:pt x="2636" y="318"/>
                  <a:pt x="2635" y="318"/>
                  <a:pt x="2635" y="318"/>
                </a:cubicBezTo>
                <a:cubicBezTo>
                  <a:pt x="2636" y="316"/>
                  <a:pt x="2636" y="316"/>
                  <a:pt x="2636" y="316"/>
                </a:cubicBezTo>
                <a:cubicBezTo>
                  <a:pt x="2636" y="316"/>
                  <a:pt x="2632" y="314"/>
                  <a:pt x="2630" y="311"/>
                </a:cubicBezTo>
                <a:cubicBezTo>
                  <a:pt x="2629" y="308"/>
                  <a:pt x="2629" y="306"/>
                  <a:pt x="2629" y="306"/>
                </a:cubicBezTo>
                <a:cubicBezTo>
                  <a:pt x="2627" y="304"/>
                  <a:pt x="2627" y="304"/>
                  <a:pt x="2627" y="304"/>
                </a:cubicBezTo>
                <a:cubicBezTo>
                  <a:pt x="2627" y="304"/>
                  <a:pt x="2628" y="298"/>
                  <a:pt x="2627" y="296"/>
                </a:cubicBezTo>
                <a:cubicBezTo>
                  <a:pt x="2625" y="294"/>
                  <a:pt x="2624" y="293"/>
                  <a:pt x="2624" y="293"/>
                </a:cubicBezTo>
                <a:cubicBezTo>
                  <a:pt x="2622" y="292"/>
                  <a:pt x="2622" y="292"/>
                  <a:pt x="2622" y="292"/>
                </a:cubicBezTo>
                <a:cubicBezTo>
                  <a:pt x="2622" y="292"/>
                  <a:pt x="2621" y="289"/>
                  <a:pt x="2620" y="288"/>
                </a:cubicBezTo>
                <a:cubicBezTo>
                  <a:pt x="2618" y="287"/>
                  <a:pt x="2615" y="285"/>
                  <a:pt x="2615" y="285"/>
                </a:cubicBezTo>
                <a:cubicBezTo>
                  <a:pt x="2612" y="284"/>
                  <a:pt x="2612" y="284"/>
                  <a:pt x="2612" y="284"/>
                </a:cubicBezTo>
                <a:cubicBezTo>
                  <a:pt x="2611" y="283"/>
                  <a:pt x="2611" y="283"/>
                  <a:pt x="2611" y="283"/>
                </a:cubicBezTo>
                <a:cubicBezTo>
                  <a:pt x="2611" y="283"/>
                  <a:pt x="2617" y="285"/>
                  <a:pt x="2617" y="284"/>
                </a:cubicBezTo>
                <a:cubicBezTo>
                  <a:pt x="2618" y="283"/>
                  <a:pt x="2614" y="282"/>
                  <a:pt x="2614" y="282"/>
                </a:cubicBezTo>
                <a:cubicBezTo>
                  <a:pt x="2602" y="276"/>
                  <a:pt x="2602" y="276"/>
                  <a:pt x="2602" y="276"/>
                </a:cubicBezTo>
                <a:cubicBezTo>
                  <a:pt x="2602" y="276"/>
                  <a:pt x="2596" y="273"/>
                  <a:pt x="2595" y="271"/>
                </a:cubicBezTo>
                <a:cubicBezTo>
                  <a:pt x="2593" y="270"/>
                  <a:pt x="2590" y="273"/>
                  <a:pt x="2590" y="273"/>
                </a:cubicBezTo>
                <a:cubicBezTo>
                  <a:pt x="2585" y="271"/>
                  <a:pt x="2585" y="271"/>
                  <a:pt x="2585" y="271"/>
                </a:cubicBezTo>
                <a:cubicBezTo>
                  <a:pt x="2590" y="277"/>
                  <a:pt x="2590" y="277"/>
                  <a:pt x="2590" y="277"/>
                </a:cubicBezTo>
                <a:cubicBezTo>
                  <a:pt x="2589" y="280"/>
                  <a:pt x="2589" y="280"/>
                  <a:pt x="2589" y="280"/>
                </a:cubicBezTo>
                <a:cubicBezTo>
                  <a:pt x="2587" y="280"/>
                  <a:pt x="2587" y="280"/>
                  <a:pt x="2587" y="280"/>
                </a:cubicBezTo>
                <a:cubicBezTo>
                  <a:pt x="2587" y="276"/>
                  <a:pt x="2587" y="276"/>
                  <a:pt x="2587" y="276"/>
                </a:cubicBezTo>
                <a:cubicBezTo>
                  <a:pt x="2585" y="274"/>
                  <a:pt x="2585" y="274"/>
                  <a:pt x="2585" y="274"/>
                </a:cubicBezTo>
                <a:cubicBezTo>
                  <a:pt x="2585" y="278"/>
                  <a:pt x="2585" y="278"/>
                  <a:pt x="2585" y="278"/>
                </a:cubicBezTo>
                <a:cubicBezTo>
                  <a:pt x="2579" y="279"/>
                  <a:pt x="2579" y="279"/>
                  <a:pt x="2579" y="279"/>
                </a:cubicBezTo>
                <a:cubicBezTo>
                  <a:pt x="2579" y="279"/>
                  <a:pt x="2580" y="277"/>
                  <a:pt x="2579" y="275"/>
                </a:cubicBezTo>
                <a:cubicBezTo>
                  <a:pt x="2578" y="274"/>
                  <a:pt x="2575" y="275"/>
                  <a:pt x="2575" y="275"/>
                </a:cubicBezTo>
                <a:cubicBezTo>
                  <a:pt x="2574" y="276"/>
                  <a:pt x="2574" y="276"/>
                  <a:pt x="2574" y="276"/>
                </a:cubicBezTo>
                <a:cubicBezTo>
                  <a:pt x="2571" y="276"/>
                  <a:pt x="2571" y="276"/>
                  <a:pt x="2571" y="276"/>
                </a:cubicBezTo>
                <a:cubicBezTo>
                  <a:pt x="2569" y="271"/>
                  <a:pt x="2569" y="271"/>
                  <a:pt x="2569" y="271"/>
                </a:cubicBezTo>
                <a:cubicBezTo>
                  <a:pt x="2568" y="271"/>
                  <a:pt x="2568" y="271"/>
                  <a:pt x="2568" y="271"/>
                </a:cubicBezTo>
                <a:cubicBezTo>
                  <a:pt x="2567" y="268"/>
                  <a:pt x="2567" y="268"/>
                  <a:pt x="2567" y="268"/>
                </a:cubicBezTo>
                <a:cubicBezTo>
                  <a:pt x="2557" y="269"/>
                  <a:pt x="2557" y="269"/>
                  <a:pt x="2557" y="269"/>
                </a:cubicBezTo>
                <a:cubicBezTo>
                  <a:pt x="2555" y="267"/>
                  <a:pt x="2555" y="267"/>
                  <a:pt x="2555" y="267"/>
                </a:cubicBezTo>
                <a:cubicBezTo>
                  <a:pt x="2555" y="267"/>
                  <a:pt x="2550" y="268"/>
                  <a:pt x="2550" y="265"/>
                </a:cubicBezTo>
                <a:cubicBezTo>
                  <a:pt x="2550" y="261"/>
                  <a:pt x="2554" y="261"/>
                  <a:pt x="2554" y="261"/>
                </a:cubicBezTo>
                <a:cubicBezTo>
                  <a:pt x="2554" y="257"/>
                  <a:pt x="2554" y="257"/>
                  <a:pt x="2554" y="257"/>
                </a:cubicBezTo>
                <a:cubicBezTo>
                  <a:pt x="2554" y="257"/>
                  <a:pt x="2558" y="257"/>
                  <a:pt x="2559" y="255"/>
                </a:cubicBezTo>
                <a:cubicBezTo>
                  <a:pt x="2559" y="252"/>
                  <a:pt x="2561" y="249"/>
                  <a:pt x="2561" y="249"/>
                </a:cubicBezTo>
                <a:cubicBezTo>
                  <a:pt x="2559" y="247"/>
                  <a:pt x="2559" y="247"/>
                  <a:pt x="2559" y="247"/>
                </a:cubicBezTo>
                <a:cubicBezTo>
                  <a:pt x="2560" y="245"/>
                  <a:pt x="2560" y="245"/>
                  <a:pt x="2560" y="245"/>
                </a:cubicBezTo>
                <a:cubicBezTo>
                  <a:pt x="2559" y="243"/>
                  <a:pt x="2559" y="243"/>
                  <a:pt x="2559" y="243"/>
                </a:cubicBezTo>
                <a:cubicBezTo>
                  <a:pt x="2562" y="240"/>
                  <a:pt x="2562" y="240"/>
                  <a:pt x="2562" y="240"/>
                </a:cubicBezTo>
                <a:cubicBezTo>
                  <a:pt x="2565" y="240"/>
                  <a:pt x="2565" y="240"/>
                  <a:pt x="2565" y="240"/>
                </a:cubicBezTo>
                <a:cubicBezTo>
                  <a:pt x="2563" y="235"/>
                  <a:pt x="2563" y="235"/>
                  <a:pt x="2563" y="235"/>
                </a:cubicBezTo>
                <a:cubicBezTo>
                  <a:pt x="2567" y="234"/>
                  <a:pt x="2567" y="234"/>
                  <a:pt x="2567" y="234"/>
                </a:cubicBezTo>
                <a:cubicBezTo>
                  <a:pt x="2563" y="229"/>
                  <a:pt x="2563" y="229"/>
                  <a:pt x="2563" y="229"/>
                </a:cubicBezTo>
                <a:cubicBezTo>
                  <a:pt x="2567" y="227"/>
                  <a:pt x="2567" y="227"/>
                  <a:pt x="2567" y="227"/>
                </a:cubicBezTo>
                <a:cubicBezTo>
                  <a:pt x="2567" y="227"/>
                  <a:pt x="2566" y="221"/>
                  <a:pt x="2569" y="219"/>
                </a:cubicBezTo>
                <a:cubicBezTo>
                  <a:pt x="2573" y="217"/>
                  <a:pt x="2574" y="217"/>
                  <a:pt x="2574" y="217"/>
                </a:cubicBezTo>
                <a:cubicBezTo>
                  <a:pt x="2574" y="217"/>
                  <a:pt x="2579" y="217"/>
                  <a:pt x="2582" y="217"/>
                </a:cubicBezTo>
                <a:cubicBezTo>
                  <a:pt x="2584" y="217"/>
                  <a:pt x="2595" y="218"/>
                  <a:pt x="2595" y="218"/>
                </a:cubicBezTo>
                <a:cubicBezTo>
                  <a:pt x="2597" y="220"/>
                  <a:pt x="2597" y="220"/>
                  <a:pt x="2597" y="220"/>
                </a:cubicBezTo>
                <a:cubicBezTo>
                  <a:pt x="2600" y="219"/>
                  <a:pt x="2600" y="219"/>
                  <a:pt x="2600" y="219"/>
                </a:cubicBezTo>
                <a:cubicBezTo>
                  <a:pt x="2599" y="217"/>
                  <a:pt x="2599" y="217"/>
                  <a:pt x="2599" y="217"/>
                </a:cubicBezTo>
                <a:cubicBezTo>
                  <a:pt x="2610" y="219"/>
                  <a:pt x="2610" y="219"/>
                  <a:pt x="2610" y="219"/>
                </a:cubicBezTo>
                <a:cubicBezTo>
                  <a:pt x="2614" y="217"/>
                  <a:pt x="2614" y="217"/>
                  <a:pt x="2614" y="217"/>
                </a:cubicBezTo>
                <a:cubicBezTo>
                  <a:pt x="2618" y="220"/>
                  <a:pt x="2618" y="220"/>
                  <a:pt x="2618" y="220"/>
                </a:cubicBezTo>
                <a:cubicBezTo>
                  <a:pt x="2619" y="215"/>
                  <a:pt x="2619" y="215"/>
                  <a:pt x="2619" y="215"/>
                </a:cubicBezTo>
                <a:cubicBezTo>
                  <a:pt x="2619" y="215"/>
                  <a:pt x="2624" y="215"/>
                  <a:pt x="2627" y="215"/>
                </a:cubicBezTo>
                <a:cubicBezTo>
                  <a:pt x="2630" y="215"/>
                  <a:pt x="2631" y="218"/>
                  <a:pt x="2633" y="217"/>
                </a:cubicBezTo>
                <a:cubicBezTo>
                  <a:pt x="2634" y="217"/>
                  <a:pt x="2638" y="215"/>
                  <a:pt x="2638" y="215"/>
                </a:cubicBezTo>
                <a:cubicBezTo>
                  <a:pt x="2641" y="218"/>
                  <a:pt x="2641" y="218"/>
                  <a:pt x="2641" y="218"/>
                </a:cubicBezTo>
                <a:cubicBezTo>
                  <a:pt x="2647" y="219"/>
                  <a:pt x="2647" y="219"/>
                  <a:pt x="2647" y="219"/>
                </a:cubicBezTo>
                <a:cubicBezTo>
                  <a:pt x="2639" y="220"/>
                  <a:pt x="2639" y="220"/>
                  <a:pt x="2639" y="220"/>
                </a:cubicBezTo>
                <a:cubicBezTo>
                  <a:pt x="2639" y="220"/>
                  <a:pt x="2642" y="225"/>
                  <a:pt x="2644" y="224"/>
                </a:cubicBezTo>
                <a:cubicBezTo>
                  <a:pt x="2646" y="223"/>
                  <a:pt x="2651" y="221"/>
                  <a:pt x="2651" y="221"/>
                </a:cubicBezTo>
                <a:cubicBezTo>
                  <a:pt x="2654" y="223"/>
                  <a:pt x="2654" y="223"/>
                  <a:pt x="2654" y="223"/>
                </a:cubicBezTo>
                <a:cubicBezTo>
                  <a:pt x="2657" y="220"/>
                  <a:pt x="2657" y="220"/>
                  <a:pt x="2657" y="220"/>
                </a:cubicBezTo>
                <a:cubicBezTo>
                  <a:pt x="2657" y="220"/>
                  <a:pt x="2663" y="222"/>
                  <a:pt x="2665" y="221"/>
                </a:cubicBezTo>
                <a:cubicBezTo>
                  <a:pt x="2666" y="220"/>
                  <a:pt x="2665" y="219"/>
                  <a:pt x="2665" y="219"/>
                </a:cubicBezTo>
                <a:cubicBezTo>
                  <a:pt x="2670" y="219"/>
                  <a:pt x="2670" y="219"/>
                  <a:pt x="2670" y="219"/>
                </a:cubicBezTo>
                <a:cubicBezTo>
                  <a:pt x="2663" y="215"/>
                  <a:pt x="2663" y="215"/>
                  <a:pt x="2663" y="215"/>
                </a:cubicBezTo>
                <a:cubicBezTo>
                  <a:pt x="2660" y="217"/>
                  <a:pt x="2660" y="217"/>
                  <a:pt x="2660" y="217"/>
                </a:cubicBezTo>
                <a:cubicBezTo>
                  <a:pt x="2658" y="214"/>
                  <a:pt x="2658" y="214"/>
                  <a:pt x="2658" y="214"/>
                </a:cubicBezTo>
                <a:cubicBezTo>
                  <a:pt x="2658" y="214"/>
                  <a:pt x="2655" y="210"/>
                  <a:pt x="2656" y="208"/>
                </a:cubicBezTo>
                <a:cubicBezTo>
                  <a:pt x="2656" y="207"/>
                  <a:pt x="2660" y="205"/>
                  <a:pt x="2660" y="205"/>
                </a:cubicBezTo>
                <a:cubicBezTo>
                  <a:pt x="2659" y="200"/>
                  <a:pt x="2659" y="200"/>
                  <a:pt x="2659" y="200"/>
                </a:cubicBezTo>
                <a:cubicBezTo>
                  <a:pt x="2661" y="199"/>
                  <a:pt x="2661" y="199"/>
                  <a:pt x="2661" y="199"/>
                </a:cubicBezTo>
                <a:cubicBezTo>
                  <a:pt x="2661" y="199"/>
                  <a:pt x="2655" y="196"/>
                  <a:pt x="2659" y="194"/>
                </a:cubicBezTo>
                <a:cubicBezTo>
                  <a:pt x="2662" y="191"/>
                  <a:pt x="2670" y="194"/>
                  <a:pt x="2670" y="194"/>
                </a:cubicBezTo>
                <a:cubicBezTo>
                  <a:pt x="2673" y="191"/>
                  <a:pt x="2673" y="191"/>
                  <a:pt x="2673" y="191"/>
                </a:cubicBezTo>
                <a:cubicBezTo>
                  <a:pt x="2678" y="195"/>
                  <a:pt x="2678" y="195"/>
                  <a:pt x="2678" y="195"/>
                </a:cubicBezTo>
                <a:cubicBezTo>
                  <a:pt x="2681" y="192"/>
                  <a:pt x="2681" y="192"/>
                  <a:pt x="2681" y="192"/>
                </a:cubicBezTo>
                <a:cubicBezTo>
                  <a:pt x="2681" y="192"/>
                  <a:pt x="2684" y="199"/>
                  <a:pt x="2686" y="200"/>
                </a:cubicBezTo>
                <a:cubicBezTo>
                  <a:pt x="2687" y="201"/>
                  <a:pt x="2692" y="200"/>
                  <a:pt x="2692" y="200"/>
                </a:cubicBezTo>
                <a:cubicBezTo>
                  <a:pt x="2692" y="200"/>
                  <a:pt x="2692" y="206"/>
                  <a:pt x="2694" y="205"/>
                </a:cubicBezTo>
                <a:cubicBezTo>
                  <a:pt x="2696" y="205"/>
                  <a:pt x="2699" y="196"/>
                  <a:pt x="2699" y="196"/>
                </a:cubicBezTo>
                <a:cubicBezTo>
                  <a:pt x="2703" y="194"/>
                  <a:pt x="2703" y="194"/>
                  <a:pt x="2703" y="194"/>
                </a:cubicBezTo>
                <a:cubicBezTo>
                  <a:pt x="2707" y="196"/>
                  <a:pt x="2707" y="196"/>
                  <a:pt x="2707" y="196"/>
                </a:cubicBezTo>
                <a:cubicBezTo>
                  <a:pt x="2707" y="194"/>
                  <a:pt x="2707" y="194"/>
                  <a:pt x="2707" y="194"/>
                </a:cubicBezTo>
                <a:cubicBezTo>
                  <a:pt x="2703" y="192"/>
                  <a:pt x="2703" y="192"/>
                  <a:pt x="2703" y="192"/>
                </a:cubicBezTo>
                <a:cubicBezTo>
                  <a:pt x="2703" y="192"/>
                  <a:pt x="2693" y="185"/>
                  <a:pt x="2695" y="184"/>
                </a:cubicBezTo>
                <a:cubicBezTo>
                  <a:pt x="2697" y="184"/>
                  <a:pt x="2709" y="185"/>
                  <a:pt x="2709" y="185"/>
                </a:cubicBezTo>
                <a:cubicBezTo>
                  <a:pt x="2716" y="185"/>
                  <a:pt x="2716" y="185"/>
                  <a:pt x="2716" y="185"/>
                </a:cubicBezTo>
                <a:cubicBezTo>
                  <a:pt x="2716" y="185"/>
                  <a:pt x="2716" y="188"/>
                  <a:pt x="2716" y="187"/>
                </a:cubicBezTo>
                <a:cubicBezTo>
                  <a:pt x="2715" y="187"/>
                  <a:pt x="2707" y="185"/>
                  <a:pt x="2707" y="188"/>
                </a:cubicBezTo>
                <a:cubicBezTo>
                  <a:pt x="2707" y="190"/>
                  <a:pt x="2712" y="193"/>
                  <a:pt x="2712" y="193"/>
                </a:cubicBezTo>
                <a:cubicBezTo>
                  <a:pt x="2713" y="197"/>
                  <a:pt x="2713" y="197"/>
                  <a:pt x="2713" y="197"/>
                </a:cubicBezTo>
                <a:cubicBezTo>
                  <a:pt x="2717" y="197"/>
                  <a:pt x="2717" y="197"/>
                  <a:pt x="2717" y="197"/>
                </a:cubicBezTo>
                <a:cubicBezTo>
                  <a:pt x="2716" y="200"/>
                  <a:pt x="2716" y="200"/>
                  <a:pt x="2716" y="200"/>
                </a:cubicBezTo>
                <a:cubicBezTo>
                  <a:pt x="2719" y="202"/>
                  <a:pt x="2719" y="202"/>
                  <a:pt x="2719" y="202"/>
                </a:cubicBezTo>
                <a:cubicBezTo>
                  <a:pt x="2715" y="203"/>
                  <a:pt x="2715" y="203"/>
                  <a:pt x="2715" y="203"/>
                </a:cubicBezTo>
                <a:cubicBezTo>
                  <a:pt x="2714" y="205"/>
                  <a:pt x="2714" y="205"/>
                  <a:pt x="2714" y="205"/>
                </a:cubicBezTo>
                <a:cubicBezTo>
                  <a:pt x="2711" y="206"/>
                  <a:pt x="2711" y="206"/>
                  <a:pt x="2711" y="206"/>
                </a:cubicBezTo>
                <a:cubicBezTo>
                  <a:pt x="2711" y="206"/>
                  <a:pt x="2714" y="211"/>
                  <a:pt x="2713" y="213"/>
                </a:cubicBezTo>
                <a:cubicBezTo>
                  <a:pt x="2711" y="216"/>
                  <a:pt x="2709" y="220"/>
                  <a:pt x="2709" y="221"/>
                </a:cubicBezTo>
                <a:cubicBezTo>
                  <a:pt x="2709" y="223"/>
                  <a:pt x="2713" y="224"/>
                  <a:pt x="2710" y="228"/>
                </a:cubicBezTo>
                <a:cubicBezTo>
                  <a:pt x="2707" y="231"/>
                  <a:pt x="2703" y="232"/>
                  <a:pt x="2703" y="232"/>
                </a:cubicBezTo>
                <a:cubicBezTo>
                  <a:pt x="2703" y="235"/>
                  <a:pt x="2703" y="235"/>
                  <a:pt x="2703" y="235"/>
                </a:cubicBezTo>
                <a:cubicBezTo>
                  <a:pt x="2701" y="235"/>
                  <a:pt x="2701" y="235"/>
                  <a:pt x="2701" y="235"/>
                </a:cubicBezTo>
                <a:cubicBezTo>
                  <a:pt x="2701" y="235"/>
                  <a:pt x="2706" y="237"/>
                  <a:pt x="2705" y="240"/>
                </a:cubicBezTo>
                <a:cubicBezTo>
                  <a:pt x="2705" y="244"/>
                  <a:pt x="2703" y="246"/>
                  <a:pt x="2705" y="250"/>
                </a:cubicBezTo>
                <a:cubicBezTo>
                  <a:pt x="2706" y="253"/>
                  <a:pt x="2720" y="265"/>
                  <a:pt x="2720" y="265"/>
                </a:cubicBezTo>
                <a:cubicBezTo>
                  <a:pt x="2728" y="273"/>
                  <a:pt x="2728" y="273"/>
                  <a:pt x="2728" y="273"/>
                </a:cubicBezTo>
                <a:cubicBezTo>
                  <a:pt x="2730" y="273"/>
                  <a:pt x="2730" y="273"/>
                  <a:pt x="2730" y="273"/>
                </a:cubicBezTo>
                <a:cubicBezTo>
                  <a:pt x="2741" y="286"/>
                  <a:pt x="2741" y="286"/>
                  <a:pt x="2741" y="286"/>
                </a:cubicBezTo>
                <a:cubicBezTo>
                  <a:pt x="2748" y="288"/>
                  <a:pt x="2748" y="288"/>
                  <a:pt x="2748" y="288"/>
                </a:cubicBezTo>
                <a:cubicBezTo>
                  <a:pt x="2752" y="292"/>
                  <a:pt x="2752" y="292"/>
                  <a:pt x="2752" y="292"/>
                </a:cubicBezTo>
                <a:cubicBezTo>
                  <a:pt x="2752" y="292"/>
                  <a:pt x="2760" y="302"/>
                  <a:pt x="2761" y="303"/>
                </a:cubicBezTo>
                <a:cubicBezTo>
                  <a:pt x="2763" y="304"/>
                  <a:pt x="2765" y="304"/>
                  <a:pt x="2765" y="304"/>
                </a:cubicBezTo>
                <a:cubicBezTo>
                  <a:pt x="2765" y="304"/>
                  <a:pt x="2764" y="308"/>
                  <a:pt x="2767" y="306"/>
                </a:cubicBezTo>
                <a:cubicBezTo>
                  <a:pt x="2770" y="305"/>
                  <a:pt x="2770" y="302"/>
                  <a:pt x="2770" y="302"/>
                </a:cubicBezTo>
                <a:cubicBezTo>
                  <a:pt x="2768" y="301"/>
                  <a:pt x="2768" y="301"/>
                  <a:pt x="2768" y="301"/>
                </a:cubicBezTo>
                <a:cubicBezTo>
                  <a:pt x="2768" y="301"/>
                  <a:pt x="2771" y="297"/>
                  <a:pt x="2771" y="295"/>
                </a:cubicBezTo>
                <a:cubicBezTo>
                  <a:pt x="2770" y="293"/>
                  <a:pt x="2764" y="289"/>
                  <a:pt x="2765" y="287"/>
                </a:cubicBezTo>
                <a:cubicBezTo>
                  <a:pt x="2766" y="284"/>
                  <a:pt x="2768" y="282"/>
                  <a:pt x="2769" y="282"/>
                </a:cubicBezTo>
                <a:cubicBezTo>
                  <a:pt x="2770" y="282"/>
                  <a:pt x="2774" y="283"/>
                  <a:pt x="2774" y="283"/>
                </a:cubicBezTo>
                <a:cubicBezTo>
                  <a:pt x="2774" y="283"/>
                  <a:pt x="2769" y="278"/>
                  <a:pt x="2768" y="277"/>
                </a:cubicBezTo>
                <a:cubicBezTo>
                  <a:pt x="2767" y="276"/>
                  <a:pt x="2764" y="275"/>
                  <a:pt x="2764" y="272"/>
                </a:cubicBezTo>
                <a:cubicBezTo>
                  <a:pt x="2765" y="269"/>
                  <a:pt x="2769" y="268"/>
                  <a:pt x="2769" y="268"/>
                </a:cubicBezTo>
                <a:cubicBezTo>
                  <a:pt x="2769" y="268"/>
                  <a:pt x="2775" y="270"/>
                  <a:pt x="2774" y="267"/>
                </a:cubicBezTo>
                <a:cubicBezTo>
                  <a:pt x="2774" y="264"/>
                  <a:pt x="2771" y="263"/>
                  <a:pt x="2768" y="261"/>
                </a:cubicBezTo>
                <a:cubicBezTo>
                  <a:pt x="2764" y="260"/>
                  <a:pt x="2761" y="256"/>
                  <a:pt x="2761" y="253"/>
                </a:cubicBezTo>
                <a:cubicBezTo>
                  <a:pt x="2761" y="251"/>
                  <a:pt x="2760" y="249"/>
                  <a:pt x="2760" y="249"/>
                </a:cubicBezTo>
                <a:cubicBezTo>
                  <a:pt x="2761" y="248"/>
                  <a:pt x="2761" y="248"/>
                  <a:pt x="2761" y="248"/>
                </a:cubicBezTo>
                <a:cubicBezTo>
                  <a:pt x="2761" y="248"/>
                  <a:pt x="2767" y="253"/>
                  <a:pt x="2768" y="252"/>
                </a:cubicBezTo>
                <a:cubicBezTo>
                  <a:pt x="2769" y="251"/>
                  <a:pt x="2764" y="246"/>
                  <a:pt x="2764" y="246"/>
                </a:cubicBezTo>
                <a:cubicBezTo>
                  <a:pt x="2759" y="245"/>
                  <a:pt x="2759" y="245"/>
                  <a:pt x="2759" y="245"/>
                </a:cubicBezTo>
                <a:cubicBezTo>
                  <a:pt x="2752" y="239"/>
                  <a:pt x="2752" y="239"/>
                  <a:pt x="2752" y="239"/>
                </a:cubicBezTo>
                <a:cubicBezTo>
                  <a:pt x="2752" y="239"/>
                  <a:pt x="2753" y="235"/>
                  <a:pt x="2750" y="233"/>
                </a:cubicBezTo>
                <a:cubicBezTo>
                  <a:pt x="2747" y="232"/>
                  <a:pt x="2744" y="232"/>
                  <a:pt x="2744" y="232"/>
                </a:cubicBezTo>
                <a:cubicBezTo>
                  <a:pt x="2744" y="234"/>
                  <a:pt x="2744" y="234"/>
                  <a:pt x="2744" y="234"/>
                </a:cubicBezTo>
                <a:cubicBezTo>
                  <a:pt x="2744" y="234"/>
                  <a:pt x="2735" y="232"/>
                  <a:pt x="2735" y="229"/>
                </a:cubicBezTo>
                <a:cubicBezTo>
                  <a:pt x="2735" y="225"/>
                  <a:pt x="2736" y="223"/>
                  <a:pt x="2735" y="220"/>
                </a:cubicBezTo>
                <a:cubicBezTo>
                  <a:pt x="2733" y="217"/>
                  <a:pt x="2730" y="215"/>
                  <a:pt x="2730" y="215"/>
                </a:cubicBezTo>
                <a:cubicBezTo>
                  <a:pt x="2730" y="215"/>
                  <a:pt x="2730" y="212"/>
                  <a:pt x="2731" y="211"/>
                </a:cubicBezTo>
                <a:cubicBezTo>
                  <a:pt x="2732" y="211"/>
                  <a:pt x="2734" y="212"/>
                  <a:pt x="2734" y="212"/>
                </a:cubicBezTo>
                <a:cubicBezTo>
                  <a:pt x="2735" y="210"/>
                  <a:pt x="2735" y="210"/>
                  <a:pt x="2735" y="210"/>
                </a:cubicBezTo>
                <a:cubicBezTo>
                  <a:pt x="2741" y="214"/>
                  <a:pt x="2741" y="214"/>
                  <a:pt x="2741" y="214"/>
                </a:cubicBezTo>
                <a:cubicBezTo>
                  <a:pt x="2742" y="213"/>
                  <a:pt x="2742" y="213"/>
                  <a:pt x="2742" y="213"/>
                </a:cubicBezTo>
                <a:cubicBezTo>
                  <a:pt x="2740" y="211"/>
                  <a:pt x="2740" y="211"/>
                  <a:pt x="2740" y="211"/>
                </a:cubicBezTo>
                <a:cubicBezTo>
                  <a:pt x="2740" y="211"/>
                  <a:pt x="2741" y="205"/>
                  <a:pt x="2744" y="206"/>
                </a:cubicBezTo>
                <a:cubicBezTo>
                  <a:pt x="2746" y="207"/>
                  <a:pt x="2752" y="214"/>
                  <a:pt x="2752" y="214"/>
                </a:cubicBezTo>
                <a:cubicBezTo>
                  <a:pt x="2753" y="207"/>
                  <a:pt x="2753" y="207"/>
                  <a:pt x="2753" y="207"/>
                </a:cubicBezTo>
                <a:cubicBezTo>
                  <a:pt x="2753" y="207"/>
                  <a:pt x="2765" y="206"/>
                  <a:pt x="2767" y="206"/>
                </a:cubicBezTo>
                <a:cubicBezTo>
                  <a:pt x="2769" y="206"/>
                  <a:pt x="2776" y="210"/>
                  <a:pt x="2776" y="210"/>
                </a:cubicBezTo>
                <a:cubicBezTo>
                  <a:pt x="2782" y="212"/>
                  <a:pt x="2782" y="212"/>
                  <a:pt x="2782" y="212"/>
                </a:cubicBezTo>
                <a:cubicBezTo>
                  <a:pt x="2778" y="204"/>
                  <a:pt x="2778" y="204"/>
                  <a:pt x="2778" y="204"/>
                </a:cubicBezTo>
                <a:cubicBezTo>
                  <a:pt x="2778" y="204"/>
                  <a:pt x="2785" y="204"/>
                  <a:pt x="2785" y="202"/>
                </a:cubicBezTo>
                <a:cubicBezTo>
                  <a:pt x="2786" y="199"/>
                  <a:pt x="2784" y="196"/>
                  <a:pt x="2784" y="196"/>
                </a:cubicBezTo>
                <a:cubicBezTo>
                  <a:pt x="2786" y="196"/>
                  <a:pt x="2786" y="196"/>
                  <a:pt x="2786" y="196"/>
                </a:cubicBezTo>
                <a:cubicBezTo>
                  <a:pt x="2787" y="193"/>
                  <a:pt x="2787" y="193"/>
                  <a:pt x="2787" y="193"/>
                </a:cubicBezTo>
                <a:cubicBezTo>
                  <a:pt x="2787" y="193"/>
                  <a:pt x="2795" y="194"/>
                  <a:pt x="2796" y="191"/>
                </a:cubicBezTo>
                <a:cubicBezTo>
                  <a:pt x="2798" y="188"/>
                  <a:pt x="2802" y="186"/>
                  <a:pt x="2802" y="186"/>
                </a:cubicBezTo>
                <a:cubicBezTo>
                  <a:pt x="2799" y="182"/>
                  <a:pt x="2799" y="182"/>
                  <a:pt x="2799" y="182"/>
                </a:cubicBezTo>
                <a:cubicBezTo>
                  <a:pt x="2803" y="183"/>
                  <a:pt x="2803" y="183"/>
                  <a:pt x="2803" y="183"/>
                </a:cubicBezTo>
                <a:cubicBezTo>
                  <a:pt x="2804" y="185"/>
                  <a:pt x="2804" y="185"/>
                  <a:pt x="2804" y="185"/>
                </a:cubicBezTo>
                <a:cubicBezTo>
                  <a:pt x="2812" y="186"/>
                  <a:pt x="2812" y="186"/>
                  <a:pt x="2812" y="186"/>
                </a:cubicBezTo>
                <a:cubicBezTo>
                  <a:pt x="2812" y="186"/>
                  <a:pt x="2821" y="188"/>
                  <a:pt x="2821" y="187"/>
                </a:cubicBezTo>
                <a:cubicBezTo>
                  <a:pt x="2821" y="185"/>
                  <a:pt x="2820" y="183"/>
                  <a:pt x="2820" y="183"/>
                </a:cubicBezTo>
                <a:cubicBezTo>
                  <a:pt x="2815" y="182"/>
                  <a:pt x="2815" y="182"/>
                  <a:pt x="2815" y="182"/>
                </a:cubicBezTo>
                <a:cubicBezTo>
                  <a:pt x="2814" y="179"/>
                  <a:pt x="2814" y="179"/>
                  <a:pt x="2814" y="179"/>
                </a:cubicBezTo>
                <a:cubicBezTo>
                  <a:pt x="2814" y="179"/>
                  <a:pt x="2807" y="176"/>
                  <a:pt x="2804" y="176"/>
                </a:cubicBezTo>
                <a:cubicBezTo>
                  <a:pt x="2802" y="175"/>
                  <a:pt x="2800" y="176"/>
                  <a:pt x="2800" y="176"/>
                </a:cubicBezTo>
                <a:cubicBezTo>
                  <a:pt x="2801" y="174"/>
                  <a:pt x="2801" y="174"/>
                  <a:pt x="2801" y="174"/>
                </a:cubicBezTo>
                <a:cubicBezTo>
                  <a:pt x="2790" y="166"/>
                  <a:pt x="2790" y="166"/>
                  <a:pt x="2790" y="166"/>
                </a:cubicBezTo>
                <a:cubicBezTo>
                  <a:pt x="2788" y="169"/>
                  <a:pt x="2788" y="169"/>
                  <a:pt x="2788" y="169"/>
                </a:cubicBezTo>
                <a:cubicBezTo>
                  <a:pt x="2788" y="169"/>
                  <a:pt x="2784" y="168"/>
                  <a:pt x="2782" y="167"/>
                </a:cubicBezTo>
                <a:cubicBezTo>
                  <a:pt x="2781" y="166"/>
                  <a:pt x="2778" y="165"/>
                  <a:pt x="2778" y="165"/>
                </a:cubicBezTo>
                <a:cubicBezTo>
                  <a:pt x="2774" y="166"/>
                  <a:pt x="2774" y="166"/>
                  <a:pt x="2774" y="166"/>
                </a:cubicBezTo>
                <a:cubicBezTo>
                  <a:pt x="2770" y="165"/>
                  <a:pt x="2770" y="165"/>
                  <a:pt x="2770" y="165"/>
                </a:cubicBezTo>
                <a:cubicBezTo>
                  <a:pt x="2770" y="165"/>
                  <a:pt x="2763" y="161"/>
                  <a:pt x="2766" y="161"/>
                </a:cubicBezTo>
                <a:cubicBezTo>
                  <a:pt x="2768" y="160"/>
                  <a:pt x="2771" y="162"/>
                  <a:pt x="2772" y="162"/>
                </a:cubicBezTo>
                <a:cubicBezTo>
                  <a:pt x="2774" y="162"/>
                  <a:pt x="2784" y="164"/>
                  <a:pt x="2784" y="164"/>
                </a:cubicBezTo>
                <a:cubicBezTo>
                  <a:pt x="2784" y="164"/>
                  <a:pt x="2794" y="161"/>
                  <a:pt x="2794" y="159"/>
                </a:cubicBezTo>
                <a:cubicBezTo>
                  <a:pt x="2794" y="158"/>
                  <a:pt x="2788" y="154"/>
                  <a:pt x="2788" y="154"/>
                </a:cubicBezTo>
                <a:cubicBezTo>
                  <a:pt x="2787" y="154"/>
                  <a:pt x="2777" y="150"/>
                  <a:pt x="2780" y="148"/>
                </a:cubicBezTo>
                <a:cubicBezTo>
                  <a:pt x="2783" y="146"/>
                  <a:pt x="2788" y="151"/>
                  <a:pt x="2788" y="151"/>
                </a:cubicBezTo>
                <a:cubicBezTo>
                  <a:pt x="2788" y="151"/>
                  <a:pt x="2798" y="157"/>
                  <a:pt x="2801" y="156"/>
                </a:cubicBezTo>
                <a:cubicBezTo>
                  <a:pt x="2804" y="156"/>
                  <a:pt x="2805" y="153"/>
                  <a:pt x="2813" y="156"/>
                </a:cubicBezTo>
                <a:cubicBezTo>
                  <a:pt x="2821" y="158"/>
                  <a:pt x="2828" y="161"/>
                  <a:pt x="2831" y="162"/>
                </a:cubicBezTo>
                <a:cubicBezTo>
                  <a:pt x="2833" y="162"/>
                  <a:pt x="2842" y="165"/>
                  <a:pt x="2842" y="165"/>
                </a:cubicBezTo>
                <a:cubicBezTo>
                  <a:pt x="2842" y="165"/>
                  <a:pt x="2854" y="172"/>
                  <a:pt x="2853" y="168"/>
                </a:cubicBezTo>
                <a:cubicBezTo>
                  <a:pt x="2853" y="164"/>
                  <a:pt x="2848" y="162"/>
                  <a:pt x="2848" y="162"/>
                </a:cubicBezTo>
                <a:cubicBezTo>
                  <a:pt x="2851" y="160"/>
                  <a:pt x="2851" y="160"/>
                  <a:pt x="2851" y="160"/>
                </a:cubicBezTo>
                <a:cubicBezTo>
                  <a:pt x="2845" y="157"/>
                  <a:pt x="2845" y="157"/>
                  <a:pt x="2845" y="157"/>
                </a:cubicBezTo>
                <a:cubicBezTo>
                  <a:pt x="2846" y="157"/>
                  <a:pt x="2846" y="157"/>
                  <a:pt x="2846" y="157"/>
                </a:cubicBezTo>
                <a:cubicBezTo>
                  <a:pt x="2839" y="153"/>
                  <a:pt x="2839" y="153"/>
                  <a:pt x="2839" y="153"/>
                </a:cubicBezTo>
                <a:cubicBezTo>
                  <a:pt x="2847" y="154"/>
                  <a:pt x="2847" y="154"/>
                  <a:pt x="2847" y="154"/>
                </a:cubicBezTo>
                <a:cubicBezTo>
                  <a:pt x="2846" y="152"/>
                  <a:pt x="2846" y="152"/>
                  <a:pt x="2846" y="152"/>
                </a:cubicBezTo>
                <a:cubicBezTo>
                  <a:pt x="2846" y="152"/>
                  <a:pt x="2856" y="154"/>
                  <a:pt x="2854" y="151"/>
                </a:cubicBezTo>
                <a:cubicBezTo>
                  <a:pt x="2852" y="148"/>
                  <a:pt x="2846" y="147"/>
                  <a:pt x="2846" y="147"/>
                </a:cubicBezTo>
                <a:cubicBezTo>
                  <a:pt x="2839" y="144"/>
                  <a:pt x="2839" y="144"/>
                  <a:pt x="2839" y="144"/>
                </a:cubicBezTo>
                <a:cubicBezTo>
                  <a:pt x="2833" y="145"/>
                  <a:pt x="2833" y="145"/>
                  <a:pt x="2833" y="145"/>
                </a:cubicBezTo>
                <a:cubicBezTo>
                  <a:pt x="2829" y="142"/>
                  <a:pt x="2829" y="142"/>
                  <a:pt x="2829" y="142"/>
                </a:cubicBezTo>
                <a:cubicBezTo>
                  <a:pt x="2816" y="141"/>
                  <a:pt x="2816" y="141"/>
                  <a:pt x="2816" y="141"/>
                </a:cubicBezTo>
                <a:cubicBezTo>
                  <a:pt x="2811" y="139"/>
                  <a:pt x="2811" y="139"/>
                  <a:pt x="2811" y="139"/>
                </a:cubicBezTo>
                <a:cubicBezTo>
                  <a:pt x="2806" y="139"/>
                  <a:pt x="2806" y="139"/>
                  <a:pt x="2806" y="139"/>
                </a:cubicBezTo>
                <a:cubicBezTo>
                  <a:pt x="2813" y="144"/>
                  <a:pt x="2813" y="144"/>
                  <a:pt x="2813" y="144"/>
                </a:cubicBezTo>
                <a:cubicBezTo>
                  <a:pt x="2821" y="148"/>
                  <a:pt x="2821" y="148"/>
                  <a:pt x="2821" y="148"/>
                </a:cubicBezTo>
                <a:cubicBezTo>
                  <a:pt x="2821" y="148"/>
                  <a:pt x="2812" y="149"/>
                  <a:pt x="2810" y="147"/>
                </a:cubicBezTo>
                <a:cubicBezTo>
                  <a:pt x="2807" y="145"/>
                  <a:pt x="2807" y="140"/>
                  <a:pt x="2796" y="136"/>
                </a:cubicBezTo>
                <a:cubicBezTo>
                  <a:pt x="2785" y="133"/>
                  <a:pt x="2781" y="131"/>
                  <a:pt x="2770" y="129"/>
                </a:cubicBezTo>
                <a:cubicBezTo>
                  <a:pt x="2759" y="127"/>
                  <a:pt x="2735" y="122"/>
                  <a:pt x="2724" y="119"/>
                </a:cubicBezTo>
                <a:cubicBezTo>
                  <a:pt x="2713" y="116"/>
                  <a:pt x="2700" y="115"/>
                  <a:pt x="2700" y="115"/>
                </a:cubicBezTo>
                <a:cubicBezTo>
                  <a:pt x="2674" y="115"/>
                  <a:pt x="2674" y="115"/>
                  <a:pt x="2674" y="115"/>
                </a:cubicBezTo>
                <a:cubicBezTo>
                  <a:pt x="2672" y="112"/>
                  <a:pt x="2672" y="112"/>
                  <a:pt x="2672" y="112"/>
                </a:cubicBezTo>
                <a:cubicBezTo>
                  <a:pt x="2666" y="113"/>
                  <a:pt x="2666" y="113"/>
                  <a:pt x="2666" y="113"/>
                </a:cubicBezTo>
                <a:cubicBezTo>
                  <a:pt x="2664" y="111"/>
                  <a:pt x="2664" y="111"/>
                  <a:pt x="2664" y="111"/>
                </a:cubicBezTo>
                <a:cubicBezTo>
                  <a:pt x="2656" y="111"/>
                  <a:pt x="2656" y="111"/>
                  <a:pt x="2656" y="111"/>
                </a:cubicBezTo>
                <a:cubicBezTo>
                  <a:pt x="2660" y="113"/>
                  <a:pt x="2660" y="113"/>
                  <a:pt x="2660" y="113"/>
                </a:cubicBezTo>
                <a:cubicBezTo>
                  <a:pt x="2659" y="116"/>
                  <a:pt x="2659" y="116"/>
                  <a:pt x="2659" y="116"/>
                </a:cubicBezTo>
                <a:cubicBezTo>
                  <a:pt x="2659" y="116"/>
                  <a:pt x="2679" y="121"/>
                  <a:pt x="2673" y="124"/>
                </a:cubicBezTo>
                <a:cubicBezTo>
                  <a:pt x="2667" y="127"/>
                  <a:pt x="2663" y="123"/>
                  <a:pt x="2663" y="123"/>
                </a:cubicBezTo>
                <a:cubicBezTo>
                  <a:pt x="2660" y="120"/>
                  <a:pt x="2660" y="120"/>
                  <a:pt x="2660" y="120"/>
                </a:cubicBezTo>
                <a:cubicBezTo>
                  <a:pt x="2651" y="120"/>
                  <a:pt x="2651" y="120"/>
                  <a:pt x="2651" y="120"/>
                </a:cubicBezTo>
                <a:cubicBezTo>
                  <a:pt x="2643" y="115"/>
                  <a:pt x="2643" y="115"/>
                  <a:pt x="2643" y="115"/>
                </a:cubicBezTo>
                <a:cubicBezTo>
                  <a:pt x="2643" y="115"/>
                  <a:pt x="2639" y="116"/>
                  <a:pt x="2638" y="117"/>
                </a:cubicBezTo>
                <a:cubicBezTo>
                  <a:pt x="2637" y="117"/>
                  <a:pt x="2631" y="117"/>
                  <a:pt x="2631" y="117"/>
                </a:cubicBezTo>
                <a:cubicBezTo>
                  <a:pt x="2630" y="116"/>
                  <a:pt x="2630" y="116"/>
                  <a:pt x="2630" y="116"/>
                </a:cubicBezTo>
                <a:cubicBezTo>
                  <a:pt x="2617" y="116"/>
                  <a:pt x="2617" y="116"/>
                  <a:pt x="2617" y="116"/>
                </a:cubicBezTo>
                <a:cubicBezTo>
                  <a:pt x="2613" y="114"/>
                  <a:pt x="2613" y="114"/>
                  <a:pt x="2613" y="114"/>
                </a:cubicBezTo>
                <a:cubicBezTo>
                  <a:pt x="2612" y="115"/>
                  <a:pt x="2612" y="115"/>
                  <a:pt x="2612" y="115"/>
                </a:cubicBezTo>
                <a:cubicBezTo>
                  <a:pt x="2612" y="115"/>
                  <a:pt x="2596" y="113"/>
                  <a:pt x="2597" y="116"/>
                </a:cubicBezTo>
                <a:cubicBezTo>
                  <a:pt x="2598" y="118"/>
                  <a:pt x="2604" y="123"/>
                  <a:pt x="2604" y="123"/>
                </a:cubicBezTo>
                <a:cubicBezTo>
                  <a:pt x="2604" y="123"/>
                  <a:pt x="2597" y="118"/>
                  <a:pt x="2596" y="117"/>
                </a:cubicBezTo>
                <a:cubicBezTo>
                  <a:pt x="2595" y="116"/>
                  <a:pt x="2581" y="115"/>
                  <a:pt x="2581" y="115"/>
                </a:cubicBezTo>
                <a:cubicBezTo>
                  <a:pt x="2581" y="115"/>
                  <a:pt x="2579" y="111"/>
                  <a:pt x="2574" y="108"/>
                </a:cubicBezTo>
                <a:cubicBezTo>
                  <a:pt x="2568" y="105"/>
                  <a:pt x="2560" y="104"/>
                  <a:pt x="2557" y="104"/>
                </a:cubicBezTo>
                <a:cubicBezTo>
                  <a:pt x="2553" y="104"/>
                  <a:pt x="2546" y="103"/>
                  <a:pt x="2546" y="103"/>
                </a:cubicBezTo>
                <a:cubicBezTo>
                  <a:pt x="2539" y="101"/>
                  <a:pt x="2539" y="101"/>
                  <a:pt x="2539" y="101"/>
                </a:cubicBezTo>
                <a:cubicBezTo>
                  <a:pt x="2537" y="102"/>
                  <a:pt x="2537" y="102"/>
                  <a:pt x="2537" y="102"/>
                </a:cubicBezTo>
                <a:cubicBezTo>
                  <a:pt x="2529" y="102"/>
                  <a:pt x="2529" y="102"/>
                  <a:pt x="2529" y="102"/>
                </a:cubicBezTo>
                <a:cubicBezTo>
                  <a:pt x="2529" y="102"/>
                  <a:pt x="2528" y="106"/>
                  <a:pt x="2523" y="105"/>
                </a:cubicBezTo>
                <a:cubicBezTo>
                  <a:pt x="2518" y="105"/>
                  <a:pt x="2512" y="104"/>
                  <a:pt x="2512" y="104"/>
                </a:cubicBezTo>
                <a:cubicBezTo>
                  <a:pt x="2512" y="104"/>
                  <a:pt x="2506" y="100"/>
                  <a:pt x="2502" y="100"/>
                </a:cubicBezTo>
                <a:cubicBezTo>
                  <a:pt x="2499" y="100"/>
                  <a:pt x="2497" y="100"/>
                  <a:pt x="2497" y="100"/>
                </a:cubicBezTo>
                <a:cubicBezTo>
                  <a:pt x="2496" y="98"/>
                  <a:pt x="2496" y="98"/>
                  <a:pt x="2496" y="98"/>
                </a:cubicBezTo>
                <a:cubicBezTo>
                  <a:pt x="2490" y="98"/>
                  <a:pt x="2490" y="98"/>
                  <a:pt x="2490" y="98"/>
                </a:cubicBezTo>
                <a:cubicBezTo>
                  <a:pt x="2481" y="97"/>
                  <a:pt x="2481" y="97"/>
                  <a:pt x="2481" y="97"/>
                </a:cubicBezTo>
                <a:cubicBezTo>
                  <a:pt x="2487" y="95"/>
                  <a:pt x="2487" y="95"/>
                  <a:pt x="2487" y="95"/>
                </a:cubicBezTo>
                <a:cubicBezTo>
                  <a:pt x="2481" y="92"/>
                  <a:pt x="2481" y="92"/>
                  <a:pt x="2481" y="92"/>
                </a:cubicBezTo>
                <a:cubicBezTo>
                  <a:pt x="2481" y="92"/>
                  <a:pt x="2462" y="90"/>
                  <a:pt x="2461" y="91"/>
                </a:cubicBezTo>
                <a:cubicBezTo>
                  <a:pt x="2460" y="92"/>
                  <a:pt x="2463" y="96"/>
                  <a:pt x="2460" y="96"/>
                </a:cubicBezTo>
                <a:cubicBezTo>
                  <a:pt x="2457" y="97"/>
                  <a:pt x="2452" y="96"/>
                  <a:pt x="2452" y="96"/>
                </a:cubicBezTo>
                <a:cubicBezTo>
                  <a:pt x="2455" y="94"/>
                  <a:pt x="2455" y="94"/>
                  <a:pt x="2455" y="94"/>
                </a:cubicBezTo>
                <a:cubicBezTo>
                  <a:pt x="2453" y="92"/>
                  <a:pt x="2453" y="92"/>
                  <a:pt x="2453" y="92"/>
                </a:cubicBezTo>
                <a:cubicBezTo>
                  <a:pt x="2453" y="92"/>
                  <a:pt x="2452" y="92"/>
                  <a:pt x="2449" y="92"/>
                </a:cubicBezTo>
                <a:cubicBezTo>
                  <a:pt x="2446" y="93"/>
                  <a:pt x="2443" y="92"/>
                  <a:pt x="2443" y="92"/>
                </a:cubicBezTo>
                <a:cubicBezTo>
                  <a:pt x="2445" y="91"/>
                  <a:pt x="2445" y="91"/>
                  <a:pt x="2445" y="91"/>
                </a:cubicBezTo>
                <a:cubicBezTo>
                  <a:pt x="2451" y="90"/>
                  <a:pt x="2451" y="90"/>
                  <a:pt x="2451" y="90"/>
                </a:cubicBezTo>
                <a:cubicBezTo>
                  <a:pt x="2459" y="95"/>
                  <a:pt x="2459" y="95"/>
                  <a:pt x="2459" y="95"/>
                </a:cubicBezTo>
                <a:cubicBezTo>
                  <a:pt x="2460" y="91"/>
                  <a:pt x="2460" y="91"/>
                  <a:pt x="2460" y="91"/>
                </a:cubicBezTo>
                <a:cubicBezTo>
                  <a:pt x="2452" y="88"/>
                  <a:pt x="2452" y="88"/>
                  <a:pt x="2452" y="88"/>
                </a:cubicBezTo>
                <a:cubicBezTo>
                  <a:pt x="2436" y="89"/>
                  <a:pt x="2436" y="89"/>
                  <a:pt x="2436" y="89"/>
                </a:cubicBezTo>
                <a:cubicBezTo>
                  <a:pt x="2436" y="87"/>
                  <a:pt x="2436" y="87"/>
                  <a:pt x="2436" y="87"/>
                </a:cubicBezTo>
                <a:cubicBezTo>
                  <a:pt x="2419" y="88"/>
                  <a:pt x="2419" y="88"/>
                  <a:pt x="2419" y="88"/>
                </a:cubicBezTo>
                <a:cubicBezTo>
                  <a:pt x="2413" y="85"/>
                  <a:pt x="2413" y="85"/>
                  <a:pt x="2413" y="85"/>
                </a:cubicBezTo>
                <a:cubicBezTo>
                  <a:pt x="2410" y="85"/>
                  <a:pt x="2410" y="85"/>
                  <a:pt x="2410" y="85"/>
                </a:cubicBezTo>
                <a:cubicBezTo>
                  <a:pt x="2415" y="89"/>
                  <a:pt x="2415" y="89"/>
                  <a:pt x="2415" y="89"/>
                </a:cubicBezTo>
                <a:cubicBezTo>
                  <a:pt x="2415" y="89"/>
                  <a:pt x="2404" y="89"/>
                  <a:pt x="2406" y="90"/>
                </a:cubicBezTo>
                <a:cubicBezTo>
                  <a:pt x="2408" y="92"/>
                  <a:pt x="2410" y="93"/>
                  <a:pt x="2410" y="93"/>
                </a:cubicBezTo>
                <a:cubicBezTo>
                  <a:pt x="2414" y="93"/>
                  <a:pt x="2414" y="93"/>
                  <a:pt x="2414" y="93"/>
                </a:cubicBezTo>
                <a:cubicBezTo>
                  <a:pt x="2414" y="94"/>
                  <a:pt x="2414" y="94"/>
                  <a:pt x="2414" y="94"/>
                </a:cubicBezTo>
                <a:cubicBezTo>
                  <a:pt x="2422" y="99"/>
                  <a:pt x="2422" y="99"/>
                  <a:pt x="2422" y="99"/>
                </a:cubicBezTo>
                <a:cubicBezTo>
                  <a:pt x="2422" y="99"/>
                  <a:pt x="2421" y="99"/>
                  <a:pt x="2418" y="99"/>
                </a:cubicBezTo>
                <a:cubicBezTo>
                  <a:pt x="2415" y="99"/>
                  <a:pt x="2411" y="96"/>
                  <a:pt x="2410" y="97"/>
                </a:cubicBezTo>
                <a:cubicBezTo>
                  <a:pt x="2408" y="98"/>
                  <a:pt x="2408" y="98"/>
                  <a:pt x="2408" y="98"/>
                </a:cubicBezTo>
                <a:cubicBezTo>
                  <a:pt x="2411" y="101"/>
                  <a:pt x="2411" y="101"/>
                  <a:pt x="2411" y="101"/>
                </a:cubicBezTo>
                <a:cubicBezTo>
                  <a:pt x="2404" y="100"/>
                  <a:pt x="2404" y="100"/>
                  <a:pt x="2404" y="100"/>
                </a:cubicBezTo>
                <a:cubicBezTo>
                  <a:pt x="2404" y="100"/>
                  <a:pt x="2393" y="97"/>
                  <a:pt x="2392" y="97"/>
                </a:cubicBezTo>
                <a:cubicBezTo>
                  <a:pt x="2390" y="97"/>
                  <a:pt x="2384" y="100"/>
                  <a:pt x="2384" y="100"/>
                </a:cubicBezTo>
                <a:cubicBezTo>
                  <a:pt x="2375" y="99"/>
                  <a:pt x="2375" y="99"/>
                  <a:pt x="2375" y="99"/>
                </a:cubicBezTo>
                <a:cubicBezTo>
                  <a:pt x="2375" y="99"/>
                  <a:pt x="2367" y="95"/>
                  <a:pt x="2366" y="94"/>
                </a:cubicBezTo>
                <a:cubicBezTo>
                  <a:pt x="2366" y="94"/>
                  <a:pt x="2364" y="96"/>
                  <a:pt x="2365" y="97"/>
                </a:cubicBezTo>
                <a:cubicBezTo>
                  <a:pt x="2365" y="99"/>
                  <a:pt x="2371" y="105"/>
                  <a:pt x="2368" y="105"/>
                </a:cubicBezTo>
                <a:cubicBezTo>
                  <a:pt x="2364" y="105"/>
                  <a:pt x="2348" y="99"/>
                  <a:pt x="2347" y="99"/>
                </a:cubicBezTo>
                <a:cubicBezTo>
                  <a:pt x="2347" y="98"/>
                  <a:pt x="2343" y="95"/>
                  <a:pt x="2343" y="95"/>
                </a:cubicBezTo>
                <a:cubicBezTo>
                  <a:pt x="2342" y="97"/>
                  <a:pt x="2342" y="97"/>
                  <a:pt x="2342" y="97"/>
                </a:cubicBezTo>
                <a:cubicBezTo>
                  <a:pt x="2334" y="95"/>
                  <a:pt x="2334" y="95"/>
                  <a:pt x="2334" y="95"/>
                </a:cubicBezTo>
                <a:cubicBezTo>
                  <a:pt x="2331" y="92"/>
                  <a:pt x="2331" y="92"/>
                  <a:pt x="2331" y="92"/>
                </a:cubicBezTo>
                <a:cubicBezTo>
                  <a:pt x="2331" y="92"/>
                  <a:pt x="2339" y="94"/>
                  <a:pt x="2340" y="93"/>
                </a:cubicBezTo>
                <a:cubicBezTo>
                  <a:pt x="2341" y="92"/>
                  <a:pt x="2335" y="89"/>
                  <a:pt x="2335" y="89"/>
                </a:cubicBezTo>
                <a:cubicBezTo>
                  <a:pt x="2330" y="89"/>
                  <a:pt x="2330" y="89"/>
                  <a:pt x="2330" y="89"/>
                </a:cubicBezTo>
                <a:cubicBezTo>
                  <a:pt x="2330" y="89"/>
                  <a:pt x="2333" y="88"/>
                  <a:pt x="2331" y="87"/>
                </a:cubicBezTo>
                <a:cubicBezTo>
                  <a:pt x="2330" y="86"/>
                  <a:pt x="2326" y="86"/>
                  <a:pt x="2326" y="86"/>
                </a:cubicBezTo>
                <a:cubicBezTo>
                  <a:pt x="2327" y="84"/>
                  <a:pt x="2327" y="84"/>
                  <a:pt x="2327" y="84"/>
                </a:cubicBezTo>
                <a:cubicBezTo>
                  <a:pt x="2327" y="84"/>
                  <a:pt x="2321" y="82"/>
                  <a:pt x="2320" y="82"/>
                </a:cubicBezTo>
                <a:cubicBezTo>
                  <a:pt x="2319" y="82"/>
                  <a:pt x="2316" y="80"/>
                  <a:pt x="2316" y="80"/>
                </a:cubicBezTo>
                <a:cubicBezTo>
                  <a:pt x="2309" y="80"/>
                  <a:pt x="2309" y="80"/>
                  <a:pt x="2309" y="80"/>
                </a:cubicBezTo>
                <a:cubicBezTo>
                  <a:pt x="2309" y="80"/>
                  <a:pt x="2311" y="81"/>
                  <a:pt x="2306" y="81"/>
                </a:cubicBezTo>
                <a:cubicBezTo>
                  <a:pt x="2302" y="81"/>
                  <a:pt x="2298" y="79"/>
                  <a:pt x="2298" y="79"/>
                </a:cubicBezTo>
                <a:cubicBezTo>
                  <a:pt x="2295" y="81"/>
                  <a:pt x="2295" y="81"/>
                  <a:pt x="2295" y="81"/>
                </a:cubicBezTo>
                <a:cubicBezTo>
                  <a:pt x="2295" y="79"/>
                  <a:pt x="2295" y="79"/>
                  <a:pt x="2295" y="79"/>
                </a:cubicBezTo>
                <a:cubicBezTo>
                  <a:pt x="2288" y="77"/>
                  <a:pt x="2288" y="77"/>
                  <a:pt x="2288" y="77"/>
                </a:cubicBezTo>
                <a:cubicBezTo>
                  <a:pt x="2287" y="76"/>
                  <a:pt x="2287" y="76"/>
                  <a:pt x="2287" y="76"/>
                </a:cubicBezTo>
                <a:cubicBezTo>
                  <a:pt x="2286" y="79"/>
                  <a:pt x="2286" y="79"/>
                  <a:pt x="2286" y="79"/>
                </a:cubicBezTo>
                <a:cubicBezTo>
                  <a:pt x="2284" y="79"/>
                  <a:pt x="2284" y="79"/>
                  <a:pt x="2284" y="79"/>
                </a:cubicBezTo>
                <a:cubicBezTo>
                  <a:pt x="2288" y="82"/>
                  <a:pt x="2288" y="82"/>
                  <a:pt x="2288" y="82"/>
                </a:cubicBezTo>
                <a:cubicBezTo>
                  <a:pt x="2291" y="86"/>
                  <a:pt x="2291" y="86"/>
                  <a:pt x="2291" y="86"/>
                </a:cubicBezTo>
                <a:cubicBezTo>
                  <a:pt x="2284" y="86"/>
                  <a:pt x="2284" y="86"/>
                  <a:pt x="2284" y="86"/>
                </a:cubicBezTo>
                <a:cubicBezTo>
                  <a:pt x="2283" y="84"/>
                  <a:pt x="2283" y="84"/>
                  <a:pt x="2283" y="84"/>
                </a:cubicBezTo>
                <a:cubicBezTo>
                  <a:pt x="2274" y="85"/>
                  <a:pt x="2274" y="85"/>
                  <a:pt x="2274" y="85"/>
                </a:cubicBezTo>
                <a:cubicBezTo>
                  <a:pt x="2272" y="86"/>
                  <a:pt x="2272" y="86"/>
                  <a:pt x="2272" y="86"/>
                </a:cubicBezTo>
                <a:cubicBezTo>
                  <a:pt x="2272" y="84"/>
                  <a:pt x="2272" y="84"/>
                  <a:pt x="2272" y="84"/>
                </a:cubicBezTo>
                <a:cubicBezTo>
                  <a:pt x="2266" y="85"/>
                  <a:pt x="2266" y="85"/>
                  <a:pt x="2266" y="85"/>
                </a:cubicBezTo>
                <a:cubicBezTo>
                  <a:pt x="2265" y="84"/>
                  <a:pt x="2265" y="84"/>
                  <a:pt x="2265" y="84"/>
                </a:cubicBezTo>
                <a:cubicBezTo>
                  <a:pt x="2257" y="84"/>
                  <a:pt x="2257" y="84"/>
                  <a:pt x="2257" y="84"/>
                </a:cubicBezTo>
                <a:cubicBezTo>
                  <a:pt x="2252" y="83"/>
                  <a:pt x="2252" y="83"/>
                  <a:pt x="2252" y="83"/>
                </a:cubicBezTo>
                <a:cubicBezTo>
                  <a:pt x="2254" y="80"/>
                  <a:pt x="2254" y="80"/>
                  <a:pt x="2254" y="80"/>
                </a:cubicBezTo>
                <a:cubicBezTo>
                  <a:pt x="2236" y="79"/>
                  <a:pt x="2236" y="79"/>
                  <a:pt x="2236" y="79"/>
                </a:cubicBezTo>
                <a:cubicBezTo>
                  <a:pt x="2235" y="78"/>
                  <a:pt x="2235" y="78"/>
                  <a:pt x="2235" y="78"/>
                </a:cubicBezTo>
                <a:cubicBezTo>
                  <a:pt x="2234" y="79"/>
                  <a:pt x="2234" y="79"/>
                  <a:pt x="2234" y="79"/>
                </a:cubicBezTo>
                <a:cubicBezTo>
                  <a:pt x="2233" y="78"/>
                  <a:pt x="2233" y="78"/>
                  <a:pt x="2233" y="78"/>
                </a:cubicBezTo>
                <a:cubicBezTo>
                  <a:pt x="2226" y="78"/>
                  <a:pt x="2226" y="78"/>
                  <a:pt x="2226" y="78"/>
                </a:cubicBezTo>
                <a:cubicBezTo>
                  <a:pt x="2226" y="80"/>
                  <a:pt x="2226" y="80"/>
                  <a:pt x="2226" y="80"/>
                </a:cubicBezTo>
                <a:cubicBezTo>
                  <a:pt x="2219" y="79"/>
                  <a:pt x="2219" y="79"/>
                  <a:pt x="2219" y="79"/>
                </a:cubicBezTo>
                <a:cubicBezTo>
                  <a:pt x="2217" y="80"/>
                  <a:pt x="2217" y="80"/>
                  <a:pt x="2217" y="80"/>
                </a:cubicBezTo>
                <a:cubicBezTo>
                  <a:pt x="2221" y="82"/>
                  <a:pt x="2221" y="82"/>
                  <a:pt x="2221" y="82"/>
                </a:cubicBezTo>
                <a:cubicBezTo>
                  <a:pt x="2215" y="81"/>
                  <a:pt x="2215" y="81"/>
                  <a:pt x="2215" y="81"/>
                </a:cubicBezTo>
                <a:cubicBezTo>
                  <a:pt x="2215" y="79"/>
                  <a:pt x="2215" y="79"/>
                  <a:pt x="2215" y="79"/>
                </a:cubicBezTo>
                <a:cubicBezTo>
                  <a:pt x="2211" y="76"/>
                  <a:pt x="2211" y="76"/>
                  <a:pt x="2211" y="76"/>
                </a:cubicBezTo>
                <a:cubicBezTo>
                  <a:pt x="2208" y="76"/>
                  <a:pt x="2208" y="76"/>
                  <a:pt x="2208" y="76"/>
                </a:cubicBezTo>
                <a:cubicBezTo>
                  <a:pt x="2210" y="79"/>
                  <a:pt x="2210" y="79"/>
                  <a:pt x="2210" y="79"/>
                </a:cubicBezTo>
                <a:cubicBezTo>
                  <a:pt x="2202" y="79"/>
                  <a:pt x="2202" y="79"/>
                  <a:pt x="2202" y="79"/>
                </a:cubicBezTo>
                <a:cubicBezTo>
                  <a:pt x="2202" y="78"/>
                  <a:pt x="2202" y="78"/>
                  <a:pt x="2202" y="78"/>
                </a:cubicBezTo>
                <a:cubicBezTo>
                  <a:pt x="2200" y="78"/>
                  <a:pt x="2200" y="78"/>
                  <a:pt x="2200" y="78"/>
                </a:cubicBezTo>
                <a:cubicBezTo>
                  <a:pt x="2199" y="76"/>
                  <a:pt x="2199" y="76"/>
                  <a:pt x="2199" y="76"/>
                </a:cubicBezTo>
                <a:cubicBezTo>
                  <a:pt x="2197" y="76"/>
                  <a:pt x="2197" y="76"/>
                  <a:pt x="2197" y="76"/>
                </a:cubicBezTo>
                <a:cubicBezTo>
                  <a:pt x="2195" y="76"/>
                  <a:pt x="2195" y="76"/>
                  <a:pt x="2195" y="76"/>
                </a:cubicBezTo>
                <a:cubicBezTo>
                  <a:pt x="2191" y="75"/>
                  <a:pt x="2191" y="75"/>
                  <a:pt x="2191" y="75"/>
                </a:cubicBezTo>
                <a:cubicBezTo>
                  <a:pt x="2187" y="78"/>
                  <a:pt x="2187" y="78"/>
                  <a:pt x="2187" y="78"/>
                </a:cubicBezTo>
                <a:cubicBezTo>
                  <a:pt x="2195" y="79"/>
                  <a:pt x="2195" y="79"/>
                  <a:pt x="2195" y="79"/>
                </a:cubicBezTo>
                <a:cubicBezTo>
                  <a:pt x="2196" y="79"/>
                  <a:pt x="2196" y="79"/>
                  <a:pt x="2196" y="79"/>
                </a:cubicBezTo>
                <a:cubicBezTo>
                  <a:pt x="2196" y="79"/>
                  <a:pt x="2194" y="81"/>
                  <a:pt x="2192" y="81"/>
                </a:cubicBezTo>
                <a:cubicBezTo>
                  <a:pt x="2191" y="81"/>
                  <a:pt x="2190" y="81"/>
                  <a:pt x="2188" y="81"/>
                </a:cubicBezTo>
                <a:cubicBezTo>
                  <a:pt x="2187" y="82"/>
                  <a:pt x="2187" y="83"/>
                  <a:pt x="2186" y="83"/>
                </a:cubicBezTo>
                <a:cubicBezTo>
                  <a:pt x="2185" y="83"/>
                  <a:pt x="2175" y="83"/>
                  <a:pt x="2175" y="83"/>
                </a:cubicBezTo>
                <a:cubicBezTo>
                  <a:pt x="2171" y="84"/>
                  <a:pt x="2171" y="84"/>
                  <a:pt x="2171" y="84"/>
                </a:cubicBezTo>
                <a:cubicBezTo>
                  <a:pt x="2169" y="87"/>
                  <a:pt x="2169" y="87"/>
                  <a:pt x="2169" y="87"/>
                </a:cubicBezTo>
                <a:cubicBezTo>
                  <a:pt x="2165" y="86"/>
                  <a:pt x="2165" y="86"/>
                  <a:pt x="2165" y="86"/>
                </a:cubicBezTo>
                <a:cubicBezTo>
                  <a:pt x="2165" y="86"/>
                  <a:pt x="2166" y="83"/>
                  <a:pt x="2168" y="82"/>
                </a:cubicBezTo>
                <a:cubicBezTo>
                  <a:pt x="2169" y="81"/>
                  <a:pt x="2172" y="81"/>
                  <a:pt x="2172" y="81"/>
                </a:cubicBezTo>
                <a:cubicBezTo>
                  <a:pt x="2173" y="79"/>
                  <a:pt x="2173" y="79"/>
                  <a:pt x="2173" y="79"/>
                </a:cubicBezTo>
                <a:cubicBezTo>
                  <a:pt x="2179" y="79"/>
                  <a:pt x="2179" y="79"/>
                  <a:pt x="2179" y="79"/>
                </a:cubicBezTo>
                <a:cubicBezTo>
                  <a:pt x="2185" y="74"/>
                  <a:pt x="2185" y="74"/>
                  <a:pt x="2185" y="74"/>
                </a:cubicBezTo>
                <a:cubicBezTo>
                  <a:pt x="2185" y="74"/>
                  <a:pt x="2185" y="71"/>
                  <a:pt x="2187" y="70"/>
                </a:cubicBezTo>
                <a:cubicBezTo>
                  <a:pt x="2190" y="69"/>
                  <a:pt x="2200" y="69"/>
                  <a:pt x="2200" y="66"/>
                </a:cubicBezTo>
                <a:cubicBezTo>
                  <a:pt x="2199" y="62"/>
                  <a:pt x="2196" y="61"/>
                  <a:pt x="2196" y="61"/>
                </a:cubicBezTo>
                <a:cubicBezTo>
                  <a:pt x="2190" y="61"/>
                  <a:pt x="2190" y="61"/>
                  <a:pt x="2190" y="61"/>
                </a:cubicBezTo>
                <a:cubicBezTo>
                  <a:pt x="2195" y="59"/>
                  <a:pt x="2195" y="59"/>
                  <a:pt x="2195" y="59"/>
                </a:cubicBezTo>
                <a:cubicBezTo>
                  <a:pt x="2195" y="59"/>
                  <a:pt x="2191" y="56"/>
                  <a:pt x="2190" y="56"/>
                </a:cubicBezTo>
                <a:cubicBezTo>
                  <a:pt x="2189" y="57"/>
                  <a:pt x="2185" y="57"/>
                  <a:pt x="2185" y="57"/>
                </a:cubicBezTo>
                <a:cubicBezTo>
                  <a:pt x="2185" y="57"/>
                  <a:pt x="2184" y="53"/>
                  <a:pt x="2181" y="53"/>
                </a:cubicBezTo>
                <a:cubicBezTo>
                  <a:pt x="2179" y="53"/>
                  <a:pt x="2176" y="54"/>
                  <a:pt x="2176" y="54"/>
                </a:cubicBezTo>
                <a:cubicBezTo>
                  <a:pt x="2168" y="53"/>
                  <a:pt x="2168" y="53"/>
                  <a:pt x="2168" y="53"/>
                </a:cubicBezTo>
                <a:cubicBezTo>
                  <a:pt x="2149" y="52"/>
                  <a:pt x="2149" y="52"/>
                  <a:pt x="2149" y="52"/>
                </a:cubicBezTo>
                <a:cubicBezTo>
                  <a:pt x="2149" y="54"/>
                  <a:pt x="2149" y="54"/>
                  <a:pt x="2149" y="54"/>
                </a:cubicBezTo>
                <a:cubicBezTo>
                  <a:pt x="2140" y="54"/>
                  <a:pt x="2140" y="54"/>
                  <a:pt x="2140" y="54"/>
                </a:cubicBezTo>
                <a:cubicBezTo>
                  <a:pt x="2140" y="54"/>
                  <a:pt x="2144" y="51"/>
                  <a:pt x="2141" y="50"/>
                </a:cubicBezTo>
                <a:cubicBezTo>
                  <a:pt x="2139" y="49"/>
                  <a:pt x="2128" y="50"/>
                  <a:pt x="2128" y="50"/>
                </a:cubicBezTo>
                <a:cubicBezTo>
                  <a:pt x="2120" y="49"/>
                  <a:pt x="2120" y="49"/>
                  <a:pt x="2120" y="49"/>
                </a:cubicBezTo>
                <a:cubicBezTo>
                  <a:pt x="2120" y="49"/>
                  <a:pt x="2129" y="49"/>
                  <a:pt x="2128" y="47"/>
                </a:cubicBezTo>
                <a:cubicBezTo>
                  <a:pt x="2127" y="45"/>
                  <a:pt x="2117" y="45"/>
                  <a:pt x="2117" y="45"/>
                </a:cubicBezTo>
                <a:cubicBezTo>
                  <a:pt x="2111" y="44"/>
                  <a:pt x="2111" y="44"/>
                  <a:pt x="2111" y="44"/>
                </a:cubicBezTo>
                <a:cubicBezTo>
                  <a:pt x="2111" y="46"/>
                  <a:pt x="2111" y="46"/>
                  <a:pt x="2111" y="46"/>
                </a:cubicBezTo>
                <a:cubicBezTo>
                  <a:pt x="2111" y="46"/>
                  <a:pt x="2100" y="46"/>
                  <a:pt x="2101" y="49"/>
                </a:cubicBezTo>
                <a:cubicBezTo>
                  <a:pt x="2102" y="52"/>
                  <a:pt x="2112" y="55"/>
                  <a:pt x="2112" y="55"/>
                </a:cubicBezTo>
                <a:cubicBezTo>
                  <a:pt x="2092" y="53"/>
                  <a:pt x="2092" y="53"/>
                  <a:pt x="2092" y="53"/>
                </a:cubicBezTo>
                <a:cubicBezTo>
                  <a:pt x="2099" y="56"/>
                  <a:pt x="2099" y="56"/>
                  <a:pt x="2099" y="56"/>
                </a:cubicBezTo>
                <a:cubicBezTo>
                  <a:pt x="2091" y="57"/>
                  <a:pt x="2091" y="57"/>
                  <a:pt x="2091" y="57"/>
                </a:cubicBezTo>
                <a:cubicBezTo>
                  <a:pt x="2091" y="57"/>
                  <a:pt x="2079" y="61"/>
                  <a:pt x="2077" y="60"/>
                </a:cubicBezTo>
                <a:cubicBezTo>
                  <a:pt x="2075" y="59"/>
                  <a:pt x="2078" y="56"/>
                  <a:pt x="2078" y="56"/>
                </a:cubicBezTo>
                <a:cubicBezTo>
                  <a:pt x="2078" y="56"/>
                  <a:pt x="2068" y="56"/>
                  <a:pt x="2066" y="57"/>
                </a:cubicBezTo>
                <a:cubicBezTo>
                  <a:pt x="2065" y="57"/>
                  <a:pt x="2062" y="59"/>
                  <a:pt x="2062" y="59"/>
                </a:cubicBezTo>
                <a:cubicBezTo>
                  <a:pt x="2062" y="59"/>
                  <a:pt x="2048" y="61"/>
                  <a:pt x="2045" y="61"/>
                </a:cubicBezTo>
                <a:cubicBezTo>
                  <a:pt x="2042" y="62"/>
                  <a:pt x="2035" y="63"/>
                  <a:pt x="2035" y="63"/>
                </a:cubicBezTo>
                <a:cubicBezTo>
                  <a:pt x="2029" y="68"/>
                  <a:pt x="2029" y="68"/>
                  <a:pt x="2029" y="68"/>
                </a:cubicBezTo>
                <a:cubicBezTo>
                  <a:pt x="2029" y="68"/>
                  <a:pt x="2022" y="68"/>
                  <a:pt x="2025" y="71"/>
                </a:cubicBezTo>
                <a:cubicBezTo>
                  <a:pt x="2028" y="74"/>
                  <a:pt x="2034" y="76"/>
                  <a:pt x="2034" y="76"/>
                </a:cubicBezTo>
                <a:cubicBezTo>
                  <a:pt x="2027" y="77"/>
                  <a:pt x="2027" y="77"/>
                  <a:pt x="2027" y="77"/>
                </a:cubicBezTo>
                <a:cubicBezTo>
                  <a:pt x="2024" y="79"/>
                  <a:pt x="2024" y="79"/>
                  <a:pt x="2024" y="79"/>
                </a:cubicBezTo>
                <a:cubicBezTo>
                  <a:pt x="2010" y="78"/>
                  <a:pt x="2010" y="78"/>
                  <a:pt x="2010" y="78"/>
                </a:cubicBezTo>
                <a:cubicBezTo>
                  <a:pt x="2009" y="79"/>
                  <a:pt x="2009" y="79"/>
                  <a:pt x="2009" y="79"/>
                </a:cubicBezTo>
                <a:cubicBezTo>
                  <a:pt x="2004" y="77"/>
                  <a:pt x="2004" y="77"/>
                  <a:pt x="2004" y="77"/>
                </a:cubicBezTo>
                <a:cubicBezTo>
                  <a:pt x="2002" y="79"/>
                  <a:pt x="2002" y="79"/>
                  <a:pt x="2002" y="79"/>
                </a:cubicBezTo>
                <a:cubicBezTo>
                  <a:pt x="2002" y="79"/>
                  <a:pt x="1994" y="78"/>
                  <a:pt x="1993" y="80"/>
                </a:cubicBezTo>
                <a:cubicBezTo>
                  <a:pt x="1993" y="81"/>
                  <a:pt x="1993" y="85"/>
                  <a:pt x="1995" y="85"/>
                </a:cubicBezTo>
                <a:cubicBezTo>
                  <a:pt x="1998" y="85"/>
                  <a:pt x="1999" y="89"/>
                  <a:pt x="1999" y="89"/>
                </a:cubicBezTo>
                <a:cubicBezTo>
                  <a:pt x="1999" y="89"/>
                  <a:pt x="2006" y="91"/>
                  <a:pt x="2008" y="91"/>
                </a:cubicBezTo>
                <a:cubicBezTo>
                  <a:pt x="2010" y="91"/>
                  <a:pt x="2014" y="92"/>
                  <a:pt x="2016" y="93"/>
                </a:cubicBezTo>
                <a:cubicBezTo>
                  <a:pt x="2017" y="93"/>
                  <a:pt x="2020" y="97"/>
                  <a:pt x="2018" y="97"/>
                </a:cubicBezTo>
                <a:cubicBezTo>
                  <a:pt x="2016" y="97"/>
                  <a:pt x="2011" y="97"/>
                  <a:pt x="2011" y="97"/>
                </a:cubicBezTo>
                <a:cubicBezTo>
                  <a:pt x="2011" y="97"/>
                  <a:pt x="2001" y="93"/>
                  <a:pt x="1998" y="92"/>
                </a:cubicBezTo>
                <a:cubicBezTo>
                  <a:pt x="1994" y="91"/>
                  <a:pt x="1989" y="90"/>
                  <a:pt x="1988" y="90"/>
                </a:cubicBezTo>
                <a:cubicBezTo>
                  <a:pt x="1986" y="90"/>
                  <a:pt x="1982" y="90"/>
                  <a:pt x="1982" y="92"/>
                </a:cubicBezTo>
                <a:cubicBezTo>
                  <a:pt x="1983" y="93"/>
                  <a:pt x="1988" y="95"/>
                  <a:pt x="1984" y="96"/>
                </a:cubicBezTo>
                <a:cubicBezTo>
                  <a:pt x="1981" y="96"/>
                  <a:pt x="1980" y="93"/>
                  <a:pt x="1977" y="93"/>
                </a:cubicBezTo>
                <a:cubicBezTo>
                  <a:pt x="1975" y="93"/>
                  <a:pt x="1972" y="91"/>
                  <a:pt x="1972" y="94"/>
                </a:cubicBezTo>
                <a:cubicBezTo>
                  <a:pt x="1972" y="97"/>
                  <a:pt x="1975" y="99"/>
                  <a:pt x="1978" y="99"/>
                </a:cubicBezTo>
                <a:cubicBezTo>
                  <a:pt x="1981" y="99"/>
                  <a:pt x="1986" y="101"/>
                  <a:pt x="1988" y="101"/>
                </a:cubicBezTo>
                <a:cubicBezTo>
                  <a:pt x="1990" y="101"/>
                  <a:pt x="1994" y="104"/>
                  <a:pt x="1994" y="104"/>
                </a:cubicBezTo>
                <a:cubicBezTo>
                  <a:pt x="1989" y="104"/>
                  <a:pt x="1989" y="104"/>
                  <a:pt x="1989" y="104"/>
                </a:cubicBezTo>
                <a:cubicBezTo>
                  <a:pt x="1989" y="104"/>
                  <a:pt x="1988" y="102"/>
                  <a:pt x="1985" y="102"/>
                </a:cubicBezTo>
                <a:cubicBezTo>
                  <a:pt x="1982" y="102"/>
                  <a:pt x="1973" y="101"/>
                  <a:pt x="1973" y="101"/>
                </a:cubicBezTo>
                <a:cubicBezTo>
                  <a:pt x="1972" y="100"/>
                  <a:pt x="1972" y="100"/>
                  <a:pt x="1972" y="100"/>
                </a:cubicBezTo>
                <a:cubicBezTo>
                  <a:pt x="1969" y="100"/>
                  <a:pt x="1969" y="100"/>
                  <a:pt x="1969" y="100"/>
                </a:cubicBezTo>
                <a:cubicBezTo>
                  <a:pt x="1968" y="97"/>
                  <a:pt x="1968" y="97"/>
                  <a:pt x="1968" y="97"/>
                </a:cubicBezTo>
                <a:cubicBezTo>
                  <a:pt x="1964" y="95"/>
                  <a:pt x="1964" y="95"/>
                  <a:pt x="1964" y="95"/>
                </a:cubicBezTo>
                <a:cubicBezTo>
                  <a:pt x="1964" y="95"/>
                  <a:pt x="1969" y="93"/>
                  <a:pt x="1967" y="91"/>
                </a:cubicBezTo>
                <a:cubicBezTo>
                  <a:pt x="1965" y="89"/>
                  <a:pt x="1962" y="86"/>
                  <a:pt x="1962" y="86"/>
                </a:cubicBezTo>
                <a:cubicBezTo>
                  <a:pt x="1957" y="86"/>
                  <a:pt x="1957" y="86"/>
                  <a:pt x="1957" y="86"/>
                </a:cubicBezTo>
                <a:cubicBezTo>
                  <a:pt x="1957" y="86"/>
                  <a:pt x="1964" y="90"/>
                  <a:pt x="1962" y="92"/>
                </a:cubicBezTo>
                <a:cubicBezTo>
                  <a:pt x="1960" y="93"/>
                  <a:pt x="1956" y="94"/>
                  <a:pt x="1956" y="94"/>
                </a:cubicBezTo>
                <a:cubicBezTo>
                  <a:pt x="1953" y="99"/>
                  <a:pt x="1953" y="99"/>
                  <a:pt x="1953" y="99"/>
                </a:cubicBezTo>
                <a:cubicBezTo>
                  <a:pt x="1963" y="105"/>
                  <a:pt x="1963" y="105"/>
                  <a:pt x="1963" y="105"/>
                </a:cubicBezTo>
                <a:cubicBezTo>
                  <a:pt x="1963" y="105"/>
                  <a:pt x="1966" y="104"/>
                  <a:pt x="1966" y="105"/>
                </a:cubicBezTo>
                <a:cubicBezTo>
                  <a:pt x="1966" y="106"/>
                  <a:pt x="1965" y="113"/>
                  <a:pt x="1965" y="113"/>
                </a:cubicBezTo>
                <a:cubicBezTo>
                  <a:pt x="1966" y="115"/>
                  <a:pt x="1966" y="115"/>
                  <a:pt x="1966" y="115"/>
                </a:cubicBezTo>
                <a:cubicBezTo>
                  <a:pt x="1971" y="116"/>
                  <a:pt x="1971" y="116"/>
                  <a:pt x="1971" y="116"/>
                </a:cubicBezTo>
                <a:cubicBezTo>
                  <a:pt x="1971" y="120"/>
                  <a:pt x="1971" y="120"/>
                  <a:pt x="1971" y="120"/>
                </a:cubicBezTo>
                <a:cubicBezTo>
                  <a:pt x="1979" y="122"/>
                  <a:pt x="1979" y="122"/>
                  <a:pt x="1979" y="122"/>
                </a:cubicBezTo>
                <a:cubicBezTo>
                  <a:pt x="1979" y="122"/>
                  <a:pt x="1985" y="119"/>
                  <a:pt x="1988" y="119"/>
                </a:cubicBezTo>
                <a:cubicBezTo>
                  <a:pt x="1991" y="120"/>
                  <a:pt x="1995" y="122"/>
                  <a:pt x="1995" y="122"/>
                </a:cubicBezTo>
                <a:cubicBezTo>
                  <a:pt x="1995" y="122"/>
                  <a:pt x="2001" y="123"/>
                  <a:pt x="2004" y="125"/>
                </a:cubicBezTo>
                <a:cubicBezTo>
                  <a:pt x="2007" y="127"/>
                  <a:pt x="2007" y="129"/>
                  <a:pt x="2007" y="129"/>
                </a:cubicBezTo>
                <a:cubicBezTo>
                  <a:pt x="2007" y="129"/>
                  <a:pt x="2000" y="130"/>
                  <a:pt x="2003" y="131"/>
                </a:cubicBezTo>
                <a:cubicBezTo>
                  <a:pt x="2006" y="133"/>
                  <a:pt x="2009" y="135"/>
                  <a:pt x="2009" y="135"/>
                </a:cubicBezTo>
                <a:cubicBezTo>
                  <a:pt x="2015" y="134"/>
                  <a:pt x="2015" y="134"/>
                  <a:pt x="2015" y="134"/>
                </a:cubicBezTo>
                <a:cubicBezTo>
                  <a:pt x="2015" y="134"/>
                  <a:pt x="2011" y="136"/>
                  <a:pt x="2008" y="136"/>
                </a:cubicBezTo>
                <a:cubicBezTo>
                  <a:pt x="2006" y="136"/>
                  <a:pt x="2002" y="134"/>
                  <a:pt x="2002" y="134"/>
                </a:cubicBezTo>
                <a:cubicBezTo>
                  <a:pt x="2002" y="134"/>
                  <a:pt x="2003" y="129"/>
                  <a:pt x="1999" y="128"/>
                </a:cubicBezTo>
                <a:cubicBezTo>
                  <a:pt x="1996" y="126"/>
                  <a:pt x="1994" y="125"/>
                  <a:pt x="1994" y="125"/>
                </a:cubicBezTo>
                <a:cubicBezTo>
                  <a:pt x="1994" y="125"/>
                  <a:pt x="1993" y="121"/>
                  <a:pt x="1990" y="122"/>
                </a:cubicBezTo>
                <a:cubicBezTo>
                  <a:pt x="1988" y="122"/>
                  <a:pt x="1981" y="123"/>
                  <a:pt x="1981" y="123"/>
                </a:cubicBezTo>
                <a:cubicBezTo>
                  <a:pt x="1981" y="123"/>
                  <a:pt x="1977" y="124"/>
                  <a:pt x="1978" y="126"/>
                </a:cubicBezTo>
                <a:cubicBezTo>
                  <a:pt x="1978" y="128"/>
                  <a:pt x="1985" y="132"/>
                  <a:pt x="1985" y="133"/>
                </a:cubicBezTo>
                <a:cubicBezTo>
                  <a:pt x="1985" y="134"/>
                  <a:pt x="1981" y="136"/>
                  <a:pt x="1981" y="136"/>
                </a:cubicBezTo>
                <a:cubicBezTo>
                  <a:pt x="1980" y="142"/>
                  <a:pt x="1980" y="142"/>
                  <a:pt x="1980" y="142"/>
                </a:cubicBezTo>
                <a:cubicBezTo>
                  <a:pt x="1974" y="145"/>
                  <a:pt x="1974" y="145"/>
                  <a:pt x="1974" y="145"/>
                </a:cubicBezTo>
                <a:cubicBezTo>
                  <a:pt x="1974" y="145"/>
                  <a:pt x="1973" y="149"/>
                  <a:pt x="1970" y="148"/>
                </a:cubicBezTo>
                <a:cubicBezTo>
                  <a:pt x="1968" y="147"/>
                  <a:pt x="1962" y="147"/>
                  <a:pt x="1962" y="147"/>
                </a:cubicBezTo>
                <a:cubicBezTo>
                  <a:pt x="1954" y="147"/>
                  <a:pt x="1954" y="147"/>
                  <a:pt x="1954" y="147"/>
                </a:cubicBezTo>
                <a:cubicBezTo>
                  <a:pt x="1954" y="147"/>
                  <a:pt x="1945" y="143"/>
                  <a:pt x="1948" y="143"/>
                </a:cubicBezTo>
                <a:cubicBezTo>
                  <a:pt x="1950" y="143"/>
                  <a:pt x="1955" y="143"/>
                  <a:pt x="1955" y="143"/>
                </a:cubicBezTo>
                <a:cubicBezTo>
                  <a:pt x="1957" y="144"/>
                  <a:pt x="1957" y="144"/>
                  <a:pt x="1957" y="144"/>
                </a:cubicBezTo>
                <a:cubicBezTo>
                  <a:pt x="1961" y="141"/>
                  <a:pt x="1961" y="141"/>
                  <a:pt x="1961" y="141"/>
                </a:cubicBezTo>
                <a:cubicBezTo>
                  <a:pt x="1961" y="141"/>
                  <a:pt x="1968" y="143"/>
                  <a:pt x="1968" y="141"/>
                </a:cubicBezTo>
                <a:cubicBezTo>
                  <a:pt x="1968" y="139"/>
                  <a:pt x="1969" y="135"/>
                  <a:pt x="1969" y="135"/>
                </a:cubicBezTo>
                <a:cubicBezTo>
                  <a:pt x="1972" y="134"/>
                  <a:pt x="1972" y="134"/>
                  <a:pt x="1972" y="134"/>
                </a:cubicBezTo>
                <a:cubicBezTo>
                  <a:pt x="1973" y="131"/>
                  <a:pt x="1973" y="131"/>
                  <a:pt x="1973" y="131"/>
                </a:cubicBezTo>
                <a:cubicBezTo>
                  <a:pt x="1970" y="131"/>
                  <a:pt x="1970" y="131"/>
                  <a:pt x="1970" y="131"/>
                </a:cubicBezTo>
                <a:cubicBezTo>
                  <a:pt x="1970" y="131"/>
                  <a:pt x="1974" y="127"/>
                  <a:pt x="1972" y="126"/>
                </a:cubicBezTo>
                <a:cubicBezTo>
                  <a:pt x="1970" y="125"/>
                  <a:pt x="1961" y="126"/>
                  <a:pt x="1960" y="122"/>
                </a:cubicBezTo>
                <a:cubicBezTo>
                  <a:pt x="1960" y="119"/>
                  <a:pt x="1960" y="115"/>
                  <a:pt x="1958" y="114"/>
                </a:cubicBezTo>
                <a:cubicBezTo>
                  <a:pt x="1956" y="113"/>
                  <a:pt x="1954" y="110"/>
                  <a:pt x="1954" y="110"/>
                </a:cubicBezTo>
                <a:cubicBezTo>
                  <a:pt x="1953" y="104"/>
                  <a:pt x="1953" y="104"/>
                  <a:pt x="1953" y="104"/>
                </a:cubicBezTo>
                <a:cubicBezTo>
                  <a:pt x="1944" y="100"/>
                  <a:pt x="1944" y="100"/>
                  <a:pt x="1944" y="100"/>
                </a:cubicBezTo>
                <a:cubicBezTo>
                  <a:pt x="1944" y="100"/>
                  <a:pt x="1950" y="95"/>
                  <a:pt x="1947" y="91"/>
                </a:cubicBezTo>
                <a:cubicBezTo>
                  <a:pt x="1944" y="87"/>
                  <a:pt x="1937" y="87"/>
                  <a:pt x="1937" y="87"/>
                </a:cubicBezTo>
                <a:cubicBezTo>
                  <a:pt x="1918" y="85"/>
                  <a:pt x="1918" y="85"/>
                  <a:pt x="1918" y="85"/>
                </a:cubicBezTo>
                <a:cubicBezTo>
                  <a:pt x="1917" y="89"/>
                  <a:pt x="1917" y="89"/>
                  <a:pt x="1917" y="89"/>
                </a:cubicBezTo>
                <a:cubicBezTo>
                  <a:pt x="1919" y="92"/>
                  <a:pt x="1919" y="92"/>
                  <a:pt x="1919" y="92"/>
                </a:cubicBezTo>
                <a:cubicBezTo>
                  <a:pt x="1918" y="97"/>
                  <a:pt x="1918" y="97"/>
                  <a:pt x="1918" y="97"/>
                </a:cubicBezTo>
                <a:cubicBezTo>
                  <a:pt x="1910" y="100"/>
                  <a:pt x="1910" y="100"/>
                  <a:pt x="1910" y="100"/>
                </a:cubicBezTo>
                <a:cubicBezTo>
                  <a:pt x="1909" y="104"/>
                  <a:pt x="1909" y="104"/>
                  <a:pt x="1909" y="104"/>
                </a:cubicBezTo>
                <a:cubicBezTo>
                  <a:pt x="1913" y="104"/>
                  <a:pt x="1913" y="104"/>
                  <a:pt x="1913" y="104"/>
                </a:cubicBezTo>
                <a:cubicBezTo>
                  <a:pt x="1918" y="112"/>
                  <a:pt x="1918" y="112"/>
                  <a:pt x="1918" y="112"/>
                </a:cubicBezTo>
                <a:cubicBezTo>
                  <a:pt x="1916" y="114"/>
                  <a:pt x="1916" y="114"/>
                  <a:pt x="1916" y="114"/>
                </a:cubicBezTo>
                <a:cubicBezTo>
                  <a:pt x="1920" y="117"/>
                  <a:pt x="1920" y="117"/>
                  <a:pt x="1920" y="117"/>
                </a:cubicBezTo>
                <a:cubicBezTo>
                  <a:pt x="1925" y="116"/>
                  <a:pt x="1925" y="116"/>
                  <a:pt x="1925" y="116"/>
                </a:cubicBezTo>
                <a:cubicBezTo>
                  <a:pt x="1925" y="116"/>
                  <a:pt x="1929" y="120"/>
                  <a:pt x="1932" y="121"/>
                </a:cubicBezTo>
                <a:cubicBezTo>
                  <a:pt x="1934" y="122"/>
                  <a:pt x="1937" y="122"/>
                  <a:pt x="1937" y="122"/>
                </a:cubicBezTo>
                <a:cubicBezTo>
                  <a:pt x="1936" y="129"/>
                  <a:pt x="1936" y="129"/>
                  <a:pt x="1936" y="129"/>
                </a:cubicBezTo>
                <a:cubicBezTo>
                  <a:pt x="1934" y="126"/>
                  <a:pt x="1934" y="126"/>
                  <a:pt x="1934" y="126"/>
                </a:cubicBezTo>
                <a:cubicBezTo>
                  <a:pt x="1932" y="128"/>
                  <a:pt x="1932" y="128"/>
                  <a:pt x="1932" y="128"/>
                </a:cubicBezTo>
                <a:cubicBezTo>
                  <a:pt x="1932" y="128"/>
                  <a:pt x="1928" y="126"/>
                  <a:pt x="1924" y="124"/>
                </a:cubicBezTo>
                <a:cubicBezTo>
                  <a:pt x="1922" y="123"/>
                  <a:pt x="1919" y="122"/>
                  <a:pt x="1917" y="121"/>
                </a:cubicBezTo>
                <a:cubicBezTo>
                  <a:pt x="1914" y="121"/>
                  <a:pt x="1909" y="121"/>
                  <a:pt x="1909" y="121"/>
                </a:cubicBezTo>
                <a:cubicBezTo>
                  <a:pt x="1907" y="119"/>
                  <a:pt x="1907" y="119"/>
                  <a:pt x="1907" y="119"/>
                </a:cubicBezTo>
                <a:cubicBezTo>
                  <a:pt x="1905" y="122"/>
                  <a:pt x="1905" y="122"/>
                  <a:pt x="1905" y="122"/>
                </a:cubicBezTo>
                <a:cubicBezTo>
                  <a:pt x="1902" y="118"/>
                  <a:pt x="1902" y="118"/>
                  <a:pt x="1902" y="118"/>
                </a:cubicBezTo>
                <a:cubicBezTo>
                  <a:pt x="1902" y="118"/>
                  <a:pt x="1893" y="115"/>
                  <a:pt x="1892" y="115"/>
                </a:cubicBezTo>
                <a:cubicBezTo>
                  <a:pt x="1890" y="115"/>
                  <a:pt x="1886" y="115"/>
                  <a:pt x="1886" y="115"/>
                </a:cubicBezTo>
                <a:cubicBezTo>
                  <a:pt x="1886" y="115"/>
                  <a:pt x="1876" y="114"/>
                  <a:pt x="1875" y="115"/>
                </a:cubicBezTo>
                <a:cubicBezTo>
                  <a:pt x="1874" y="115"/>
                  <a:pt x="1872" y="115"/>
                  <a:pt x="1872" y="117"/>
                </a:cubicBezTo>
                <a:cubicBezTo>
                  <a:pt x="1872" y="119"/>
                  <a:pt x="1877" y="121"/>
                  <a:pt x="1877" y="121"/>
                </a:cubicBezTo>
                <a:cubicBezTo>
                  <a:pt x="1875" y="126"/>
                  <a:pt x="1875" y="126"/>
                  <a:pt x="1875" y="126"/>
                </a:cubicBezTo>
                <a:cubicBezTo>
                  <a:pt x="1873" y="124"/>
                  <a:pt x="1873" y="124"/>
                  <a:pt x="1873" y="124"/>
                </a:cubicBezTo>
                <a:cubicBezTo>
                  <a:pt x="1873" y="128"/>
                  <a:pt x="1873" y="128"/>
                  <a:pt x="1873" y="128"/>
                </a:cubicBezTo>
                <a:cubicBezTo>
                  <a:pt x="1873" y="128"/>
                  <a:pt x="1868" y="128"/>
                  <a:pt x="1868" y="126"/>
                </a:cubicBezTo>
                <a:cubicBezTo>
                  <a:pt x="1868" y="125"/>
                  <a:pt x="1869" y="121"/>
                  <a:pt x="1866" y="121"/>
                </a:cubicBezTo>
                <a:cubicBezTo>
                  <a:pt x="1863" y="121"/>
                  <a:pt x="1856" y="126"/>
                  <a:pt x="1854" y="127"/>
                </a:cubicBezTo>
                <a:cubicBezTo>
                  <a:pt x="1853" y="127"/>
                  <a:pt x="1851" y="124"/>
                  <a:pt x="1847" y="125"/>
                </a:cubicBezTo>
                <a:cubicBezTo>
                  <a:pt x="1842" y="125"/>
                  <a:pt x="1837" y="128"/>
                  <a:pt x="1837" y="129"/>
                </a:cubicBezTo>
                <a:cubicBezTo>
                  <a:pt x="1836" y="131"/>
                  <a:pt x="1827" y="130"/>
                  <a:pt x="1827" y="130"/>
                </a:cubicBezTo>
                <a:cubicBezTo>
                  <a:pt x="1828" y="126"/>
                  <a:pt x="1828" y="126"/>
                  <a:pt x="1828" y="126"/>
                </a:cubicBezTo>
                <a:cubicBezTo>
                  <a:pt x="1828" y="121"/>
                  <a:pt x="1828" y="121"/>
                  <a:pt x="1828" y="121"/>
                </a:cubicBezTo>
                <a:cubicBezTo>
                  <a:pt x="1828" y="121"/>
                  <a:pt x="1819" y="123"/>
                  <a:pt x="1819" y="125"/>
                </a:cubicBezTo>
                <a:cubicBezTo>
                  <a:pt x="1819" y="127"/>
                  <a:pt x="1820" y="128"/>
                  <a:pt x="1820" y="128"/>
                </a:cubicBezTo>
                <a:cubicBezTo>
                  <a:pt x="1816" y="129"/>
                  <a:pt x="1816" y="129"/>
                  <a:pt x="1816" y="129"/>
                </a:cubicBezTo>
                <a:cubicBezTo>
                  <a:pt x="1816" y="125"/>
                  <a:pt x="1816" y="125"/>
                  <a:pt x="1816" y="125"/>
                </a:cubicBezTo>
                <a:cubicBezTo>
                  <a:pt x="1813" y="126"/>
                  <a:pt x="1813" y="126"/>
                  <a:pt x="1813" y="126"/>
                </a:cubicBezTo>
                <a:cubicBezTo>
                  <a:pt x="1806" y="127"/>
                  <a:pt x="1806" y="127"/>
                  <a:pt x="1806" y="127"/>
                </a:cubicBezTo>
                <a:cubicBezTo>
                  <a:pt x="1800" y="131"/>
                  <a:pt x="1800" y="131"/>
                  <a:pt x="1800" y="131"/>
                </a:cubicBezTo>
                <a:cubicBezTo>
                  <a:pt x="1793" y="132"/>
                  <a:pt x="1793" y="132"/>
                  <a:pt x="1793" y="132"/>
                </a:cubicBezTo>
                <a:cubicBezTo>
                  <a:pt x="1795" y="135"/>
                  <a:pt x="1795" y="135"/>
                  <a:pt x="1795" y="135"/>
                </a:cubicBezTo>
                <a:cubicBezTo>
                  <a:pt x="1795" y="135"/>
                  <a:pt x="1789" y="133"/>
                  <a:pt x="1789" y="136"/>
                </a:cubicBezTo>
                <a:cubicBezTo>
                  <a:pt x="1788" y="138"/>
                  <a:pt x="1789" y="141"/>
                  <a:pt x="1789" y="141"/>
                </a:cubicBezTo>
                <a:cubicBezTo>
                  <a:pt x="1778" y="142"/>
                  <a:pt x="1778" y="142"/>
                  <a:pt x="1778" y="142"/>
                </a:cubicBezTo>
                <a:cubicBezTo>
                  <a:pt x="1778" y="142"/>
                  <a:pt x="1775" y="140"/>
                  <a:pt x="1774" y="140"/>
                </a:cubicBezTo>
                <a:cubicBezTo>
                  <a:pt x="1773" y="140"/>
                  <a:pt x="1768" y="141"/>
                  <a:pt x="1768" y="138"/>
                </a:cubicBezTo>
                <a:cubicBezTo>
                  <a:pt x="1768" y="135"/>
                  <a:pt x="1768" y="131"/>
                  <a:pt x="1772" y="133"/>
                </a:cubicBezTo>
                <a:cubicBezTo>
                  <a:pt x="1775" y="134"/>
                  <a:pt x="1780" y="133"/>
                  <a:pt x="1780" y="133"/>
                </a:cubicBezTo>
                <a:cubicBezTo>
                  <a:pt x="1780" y="133"/>
                  <a:pt x="1772" y="126"/>
                  <a:pt x="1770" y="126"/>
                </a:cubicBezTo>
                <a:cubicBezTo>
                  <a:pt x="1769" y="125"/>
                  <a:pt x="1753" y="125"/>
                  <a:pt x="1753" y="125"/>
                </a:cubicBezTo>
                <a:cubicBezTo>
                  <a:pt x="1755" y="127"/>
                  <a:pt x="1755" y="127"/>
                  <a:pt x="1755" y="127"/>
                </a:cubicBezTo>
                <a:cubicBezTo>
                  <a:pt x="1755" y="127"/>
                  <a:pt x="1761" y="126"/>
                  <a:pt x="1760" y="130"/>
                </a:cubicBezTo>
                <a:cubicBezTo>
                  <a:pt x="1759" y="134"/>
                  <a:pt x="1757" y="140"/>
                  <a:pt x="1758" y="140"/>
                </a:cubicBezTo>
                <a:cubicBezTo>
                  <a:pt x="1760" y="140"/>
                  <a:pt x="1765" y="142"/>
                  <a:pt x="1765" y="142"/>
                </a:cubicBezTo>
                <a:cubicBezTo>
                  <a:pt x="1765" y="147"/>
                  <a:pt x="1765" y="147"/>
                  <a:pt x="1765" y="147"/>
                </a:cubicBezTo>
                <a:cubicBezTo>
                  <a:pt x="1766" y="151"/>
                  <a:pt x="1766" y="151"/>
                  <a:pt x="1766" y="151"/>
                </a:cubicBezTo>
                <a:cubicBezTo>
                  <a:pt x="1762" y="148"/>
                  <a:pt x="1762" y="148"/>
                  <a:pt x="1762" y="148"/>
                </a:cubicBezTo>
                <a:cubicBezTo>
                  <a:pt x="1759" y="152"/>
                  <a:pt x="1759" y="152"/>
                  <a:pt x="1759" y="152"/>
                </a:cubicBezTo>
                <a:cubicBezTo>
                  <a:pt x="1758" y="147"/>
                  <a:pt x="1758" y="147"/>
                  <a:pt x="1758" y="147"/>
                </a:cubicBezTo>
                <a:cubicBezTo>
                  <a:pt x="1748" y="145"/>
                  <a:pt x="1748" y="145"/>
                  <a:pt x="1748" y="145"/>
                </a:cubicBezTo>
                <a:cubicBezTo>
                  <a:pt x="1744" y="150"/>
                  <a:pt x="1744" y="150"/>
                  <a:pt x="1744" y="150"/>
                </a:cubicBezTo>
                <a:cubicBezTo>
                  <a:pt x="1740" y="150"/>
                  <a:pt x="1740" y="150"/>
                  <a:pt x="1740" y="150"/>
                </a:cubicBezTo>
                <a:cubicBezTo>
                  <a:pt x="1740" y="150"/>
                  <a:pt x="1739" y="152"/>
                  <a:pt x="1737" y="153"/>
                </a:cubicBezTo>
                <a:cubicBezTo>
                  <a:pt x="1735" y="154"/>
                  <a:pt x="1731" y="155"/>
                  <a:pt x="1733" y="156"/>
                </a:cubicBezTo>
                <a:cubicBezTo>
                  <a:pt x="1734" y="158"/>
                  <a:pt x="1741" y="163"/>
                  <a:pt x="1741" y="163"/>
                </a:cubicBezTo>
                <a:cubicBezTo>
                  <a:pt x="1743" y="166"/>
                  <a:pt x="1743" y="166"/>
                  <a:pt x="1743" y="166"/>
                </a:cubicBezTo>
                <a:cubicBezTo>
                  <a:pt x="1739" y="164"/>
                  <a:pt x="1739" y="164"/>
                  <a:pt x="1739" y="164"/>
                </a:cubicBezTo>
                <a:cubicBezTo>
                  <a:pt x="1739" y="164"/>
                  <a:pt x="1735" y="166"/>
                  <a:pt x="1733" y="165"/>
                </a:cubicBezTo>
                <a:cubicBezTo>
                  <a:pt x="1730" y="164"/>
                  <a:pt x="1721" y="162"/>
                  <a:pt x="1721" y="162"/>
                </a:cubicBezTo>
                <a:cubicBezTo>
                  <a:pt x="1721" y="162"/>
                  <a:pt x="1720" y="157"/>
                  <a:pt x="1717" y="159"/>
                </a:cubicBezTo>
                <a:cubicBezTo>
                  <a:pt x="1713" y="160"/>
                  <a:pt x="1712" y="161"/>
                  <a:pt x="1712" y="161"/>
                </a:cubicBezTo>
                <a:cubicBezTo>
                  <a:pt x="1709" y="161"/>
                  <a:pt x="1709" y="161"/>
                  <a:pt x="1709" y="161"/>
                </a:cubicBezTo>
                <a:cubicBezTo>
                  <a:pt x="1716" y="167"/>
                  <a:pt x="1716" y="167"/>
                  <a:pt x="1716" y="167"/>
                </a:cubicBezTo>
                <a:cubicBezTo>
                  <a:pt x="1716" y="167"/>
                  <a:pt x="1724" y="167"/>
                  <a:pt x="1724" y="169"/>
                </a:cubicBezTo>
                <a:cubicBezTo>
                  <a:pt x="1724" y="170"/>
                  <a:pt x="1720" y="172"/>
                  <a:pt x="1720" y="172"/>
                </a:cubicBezTo>
                <a:cubicBezTo>
                  <a:pt x="1711" y="170"/>
                  <a:pt x="1711" y="170"/>
                  <a:pt x="1711" y="170"/>
                </a:cubicBezTo>
                <a:cubicBezTo>
                  <a:pt x="1711" y="170"/>
                  <a:pt x="1708" y="167"/>
                  <a:pt x="1706" y="167"/>
                </a:cubicBezTo>
                <a:cubicBezTo>
                  <a:pt x="1704" y="167"/>
                  <a:pt x="1699" y="169"/>
                  <a:pt x="1698" y="166"/>
                </a:cubicBezTo>
                <a:cubicBezTo>
                  <a:pt x="1698" y="163"/>
                  <a:pt x="1698" y="160"/>
                  <a:pt x="1698" y="160"/>
                </a:cubicBezTo>
                <a:cubicBezTo>
                  <a:pt x="1695" y="158"/>
                  <a:pt x="1695" y="158"/>
                  <a:pt x="1695" y="158"/>
                </a:cubicBezTo>
                <a:cubicBezTo>
                  <a:pt x="1695" y="158"/>
                  <a:pt x="1700" y="154"/>
                  <a:pt x="1698" y="153"/>
                </a:cubicBezTo>
                <a:cubicBezTo>
                  <a:pt x="1696" y="151"/>
                  <a:pt x="1685" y="148"/>
                  <a:pt x="1685" y="148"/>
                </a:cubicBezTo>
                <a:cubicBezTo>
                  <a:pt x="1680" y="144"/>
                  <a:pt x="1680" y="144"/>
                  <a:pt x="1680" y="144"/>
                </a:cubicBezTo>
                <a:cubicBezTo>
                  <a:pt x="1677" y="142"/>
                  <a:pt x="1677" y="142"/>
                  <a:pt x="1677" y="142"/>
                </a:cubicBezTo>
                <a:cubicBezTo>
                  <a:pt x="1675" y="140"/>
                  <a:pt x="1675" y="140"/>
                  <a:pt x="1675" y="140"/>
                </a:cubicBezTo>
                <a:cubicBezTo>
                  <a:pt x="1680" y="140"/>
                  <a:pt x="1680" y="140"/>
                  <a:pt x="1680" y="140"/>
                </a:cubicBezTo>
                <a:cubicBezTo>
                  <a:pt x="1680" y="140"/>
                  <a:pt x="1679" y="142"/>
                  <a:pt x="1683" y="143"/>
                </a:cubicBezTo>
                <a:cubicBezTo>
                  <a:pt x="1687" y="143"/>
                  <a:pt x="1693" y="143"/>
                  <a:pt x="1693" y="143"/>
                </a:cubicBezTo>
                <a:cubicBezTo>
                  <a:pt x="1693" y="143"/>
                  <a:pt x="1696" y="147"/>
                  <a:pt x="1698" y="147"/>
                </a:cubicBezTo>
                <a:cubicBezTo>
                  <a:pt x="1701" y="147"/>
                  <a:pt x="1712" y="148"/>
                  <a:pt x="1712" y="148"/>
                </a:cubicBezTo>
                <a:cubicBezTo>
                  <a:pt x="1712" y="148"/>
                  <a:pt x="1720" y="152"/>
                  <a:pt x="1729" y="149"/>
                </a:cubicBezTo>
                <a:cubicBezTo>
                  <a:pt x="1738" y="147"/>
                  <a:pt x="1747" y="144"/>
                  <a:pt x="1742" y="140"/>
                </a:cubicBezTo>
                <a:cubicBezTo>
                  <a:pt x="1738" y="136"/>
                  <a:pt x="1737" y="133"/>
                  <a:pt x="1731" y="132"/>
                </a:cubicBezTo>
                <a:cubicBezTo>
                  <a:pt x="1725" y="130"/>
                  <a:pt x="1717" y="127"/>
                  <a:pt x="1713" y="126"/>
                </a:cubicBezTo>
                <a:cubicBezTo>
                  <a:pt x="1709" y="124"/>
                  <a:pt x="1702" y="121"/>
                  <a:pt x="1698" y="121"/>
                </a:cubicBezTo>
                <a:cubicBezTo>
                  <a:pt x="1693" y="120"/>
                  <a:pt x="1689" y="120"/>
                  <a:pt x="1687" y="120"/>
                </a:cubicBezTo>
                <a:cubicBezTo>
                  <a:pt x="1684" y="120"/>
                  <a:pt x="1680" y="120"/>
                  <a:pt x="1680" y="120"/>
                </a:cubicBezTo>
                <a:cubicBezTo>
                  <a:pt x="1678" y="118"/>
                  <a:pt x="1678" y="118"/>
                  <a:pt x="1678" y="118"/>
                </a:cubicBezTo>
                <a:cubicBezTo>
                  <a:pt x="1674" y="119"/>
                  <a:pt x="1674" y="119"/>
                  <a:pt x="1674" y="119"/>
                </a:cubicBezTo>
                <a:cubicBezTo>
                  <a:pt x="1670" y="117"/>
                  <a:pt x="1670" y="117"/>
                  <a:pt x="1670" y="117"/>
                </a:cubicBezTo>
                <a:cubicBezTo>
                  <a:pt x="1674" y="116"/>
                  <a:pt x="1674" y="116"/>
                  <a:pt x="1674" y="116"/>
                </a:cubicBezTo>
                <a:cubicBezTo>
                  <a:pt x="1677" y="114"/>
                  <a:pt x="1677" y="114"/>
                  <a:pt x="1677" y="114"/>
                </a:cubicBezTo>
                <a:cubicBezTo>
                  <a:pt x="1677" y="114"/>
                  <a:pt x="1668" y="111"/>
                  <a:pt x="1666" y="112"/>
                </a:cubicBezTo>
                <a:cubicBezTo>
                  <a:pt x="1665" y="113"/>
                  <a:pt x="1665" y="115"/>
                  <a:pt x="1665" y="115"/>
                </a:cubicBezTo>
                <a:cubicBezTo>
                  <a:pt x="1661" y="115"/>
                  <a:pt x="1661" y="115"/>
                  <a:pt x="1661" y="115"/>
                </a:cubicBezTo>
                <a:cubicBezTo>
                  <a:pt x="1657" y="116"/>
                  <a:pt x="1657" y="116"/>
                  <a:pt x="1657" y="116"/>
                </a:cubicBezTo>
                <a:cubicBezTo>
                  <a:pt x="1652" y="114"/>
                  <a:pt x="1652" y="114"/>
                  <a:pt x="1652" y="114"/>
                </a:cubicBezTo>
                <a:cubicBezTo>
                  <a:pt x="1647" y="112"/>
                  <a:pt x="1647" y="112"/>
                  <a:pt x="1647" y="112"/>
                </a:cubicBezTo>
                <a:cubicBezTo>
                  <a:pt x="1647" y="112"/>
                  <a:pt x="1653" y="113"/>
                  <a:pt x="1655" y="112"/>
                </a:cubicBezTo>
                <a:cubicBezTo>
                  <a:pt x="1657" y="111"/>
                  <a:pt x="1661" y="109"/>
                  <a:pt x="1661" y="109"/>
                </a:cubicBezTo>
                <a:cubicBezTo>
                  <a:pt x="1661" y="109"/>
                  <a:pt x="1656" y="106"/>
                  <a:pt x="1653" y="106"/>
                </a:cubicBezTo>
                <a:cubicBezTo>
                  <a:pt x="1650" y="106"/>
                  <a:pt x="1645" y="104"/>
                  <a:pt x="1645" y="104"/>
                </a:cubicBezTo>
                <a:cubicBezTo>
                  <a:pt x="1645" y="104"/>
                  <a:pt x="1644" y="109"/>
                  <a:pt x="1640" y="109"/>
                </a:cubicBezTo>
                <a:cubicBezTo>
                  <a:pt x="1637" y="108"/>
                  <a:pt x="1643" y="104"/>
                  <a:pt x="1643" y="104"/>
                </a:cubicBezTo>
                <a:cubicBezTo>
                  <a:pt x="1634" y="101"/>
                  <a:pt x="1634" y="101"/>
                  <a:pt x="1634" y="101"/>
                </a:cubicBezTo>
                <a:cubicBezTo>
                  <a:pt x="1634" y="101"/>
                  <a:pt x="1632" y="111"/>
                  <a:pt x="1629" y="110"/>
                </a:cubicBezTo>
                <a:cubicBezTo>
                  <a:pt x="1626" y="109"/>
                  <a:pt x="1629" y="103"/>
                  <a:pt x="1629" y="103"/>
                </a:cubicBezTo>
                <a:cubicBezTo>
                  <a:pt x="1629" y="103"/>
                  <a:pt x="1621" y="113"/>
                  <a:pt x="1618" y="111"/>
                </a:cubicBezTo>
                <a:cubicBezTo>
                  <a:pt x="1616" y="110"/>
                  <a:pt x="1626" y="102"/>
                  <a:pt x="1626" y="102"/>
                </a:cubicBezTo>
                <a:cubicBezTo>
                  <a:pt x="1621" y="102"/>
                  <a:pt x="1621" y="102"/>
                  <a:pt x="1621" y="102"/>
                </a:cubicBezTo>
                <a:cubicBezTo>
                  <a:pt x="1619" y="104"/>
                  <a:pt x="1619" y="104"/>
                  <a:pt x="1619" y="104"/>
                </a:cubicBezTo>
                <a:cubicBezTo>
                  <a:pt x="1615" y="103"/>
                  <a:pt x="1615" y="103"/>
                  <a:pt x="1615" y="103"/>
                </a:cubicBezTo>
                <a:cubicBezTo>
                  <a:pt x="1609" y="107"/>
                  <a:pt x="1609" y="107"/>
                  <a:pt x="1609" y="107"/>
                </a:cubicBezTo>
                <a:cubicBezTo>
                  <a:pt x="1606" y="107"/>
                  <a:pt x="1606" y="107"/>
                  <a:pt x="1606" y="107"/>
                </a:cubicBezTo>
                <a:cubicBezTo>
                  <a:pt x="1605" y="112"/>
                  <a:pt x="1605" y="112"/>
                  <a:pt x="1605" y="112"/>
                </a:cubicBezTo>
                <a:cubicBezTo>
                  <a:pt x="1600" y="110"/>
                  <a:pt x="1600" y="110"/>
                  <a:pt x="1600" y="110"/>
                </a:cubicBezTo>
                <a:cubicBezTo>
                  <a:pt x="1595" y="111"/>
                  <a:pt x="1595" y="111"/>
                  <a:pt x="1595" y="111"/>
                </a:cubicBezTo>
                <a:cubicBezTo>
                  <a:pt x="1597" y="115"/>
                  <a:pt x="1597" y="115"/>
                  <a:pt x="1597" y="115"/>
                </a:cubicBezTo>
                <a:cubicBezTo>
                  <a:pt x="1590" y="113"/>
                  <a:pt x="1590" y="113"/>
                  <a:pt x="1590" y="113"/>
                </a:cubicBezTo>
                <a:cubicBezTo>
                  <a:pt x="1588" y="114"/>
                  <a:pt x="1588" y="114"/>
                  <a:pt x="1588" y="114"/>
                </a:cubicBezTo>
                <a:cubicBezTo>
                  <a:pt x="1588" y="117"/>
                  <a:pt x="1588" y="117"/>
                  <a:pt x="1588" y="117"/>
                </a:cubicBezTo>
                <a:cubicBezTo>
                  <a:pt x="1582" y="119"/>
                  <a:pt x="1582" y="119"/>
                  <a:pt x="1582" y="119"/>
                </a:cubicBezTo>
                <a:cubicBezTo>
                  <a:pt x="1583" y="114"/>
                  <a:pt x="1583" y="114"/>
                  <a:pt x="1583" y="114"/>
                </a:cubicBezTo>
                <a:cubicBezTo>
                  <a:pt x="1579" y="114"/>
                  <a:pt x="1579" y="114"/>
                  <a:pt x="1579" y="114"/>
                </a:cubicBezTo>
                <a:cubicBezTo>
                  <a:pt x="1580" y="117"/>
                  <a:pt x="1580" y="117"/>
                  <a:pt x="1580" y="117"/>
                </a:cubicBezTo>
                <a:cubicBezTo>
                  <a:pt x="1576" y="115"/>
                  <a:pt x="1576" y="115"/>
                  <a:pt x="1576" y="115"/>
                </a:cubicBezTo>
                <a:cubicBezTo>
                  <a:pt x="1577" y="119"/>
                  <a:pt x="1577" y="119"/>
                  <a:pt x="1577" y="119"/>
                </a:cubicBezTo>
                <a:cubicBezTo>
                  <a:pt x="1573" y="119"/>
                  <a:pt x="1573" y="119"/>
                  <a:pt x="1573" y="119"/>
                </a:cubicBezTo>
                <a:cubicBezTo>
                  <a:pt x="1573" y="119"/>
                  <a:pt x="1573" y="116"/>
                  <a:pt x="1573" y="115"/>
                </a:cubicBezTo>
                <a:cubicBezTo>
                  <a:pt x="1574" y="115"/>
                  <a:pt x="1576" y="113"/>
                  <a:pt x="1576" y="113"/>
                </a:cubicBezTo>
                <a:cubicBezTo>
                  <a:pt x="1571" y="112"/>
                  <a:pt x="1571" y="112"/>
                  <a:pt x="1571" y="112"/>
                </a:cubicBezTo>
                <a:cubicBezTo>
                  <a:pt x="1570" y="118"/>
                  <a:pt x="1570" y="118"/>
                  <a:pt x="1570" y="118"/>
                </a:cubicBezTo>
                <a:cubicBezTo>
                  <a:pt x="1567" y="120"/>
                  <a:pt x="1567" y="120"/>
                  <a:pt x="1567" y="120"/>
                </a:cubicBezTo>
                <a:cubicBezTo>
                  <a:pt x="1569" y="122"/>
                  <a:pt x="1569" y="122"/>
                  <a:pt x="1569" y="122"/>
                </a:cubicBezTo>
                <a:cubicBezTo>
                  <a:pt x="1564" y="122"/>
                  <a:pt x="1564" y="122"/>
                  <a:pt x="1564" y="122"/>
                </a:cubicBezTo>
                <a:cubicBezTo>
                  <a:pt x="1566" y="124"/>
                  <a:pt x="1566" y="124"/>
                  <a:pt x="1566" y="124"/>
                </a:cubicBezTo>
                <a:cubicBezTo>
                  <a:pt x="1560" y="124"/>
                  <a:pt x="1560" y="124"/>
                  <a:pt x="1560" y="124"/>
                </a:cubicBezTo>
                <a:cubicBezTo>
                  <a:pt x="1560" y="126"/>
                  <a:pt x="1560" y="126"/>
                  <a:pt x="1560" y="126"/>
                </a:cubicBezTo>
                <a:cubicBezTo>
                  <a:pt x="1564" y="127"/>
                  <a:pt x="1564" y="127"/>
                  <a:pt x="1564" y="127"/>
                </a:cubicBezTo>
                <a:cubicBezTo>
                  <a:pt x="1563" y="129"/>
                  <a:pt x="1563" y="129"/>
                  <a:pt x="1563" y="129"/>
                </a:cubicBezTo>
                <a:cubicBezTo>
                  <a:pt x="1558" y="127"/>
                  <a:pt x="1558" y="127"/>
                  <a:pt x="1558" y="127"/>
                </a:cubicBezTo>
                <a:cubicBezTo>
                  <a:pt x="1556" y="127"/>
                  <a:pt x="1556" y="127"/>
                  <a:pt x="1556" y="127"/>
                </a:cubicBezTo>
                <a:cubicBezTo>
                  <a:pt x="1559" y="129"/>
                  <a:pt x="1559" y="129"/>
                  <a:pt x="1559" y="129"/>
                </a:cubicBezTo>
                <a:cubicBezTo>
                  <a:pt x="1556" y="131"/>
                  <a:pt x="1556" y="131"/>
                  <a:pt x="1556" y="131"/>
                </a:cubicBezTo>
                <a:cubicBezTo>
                  <a:pt x="1554" y="129"/>
                  <a:pt x="1554" y="129"/>
                  <a:pt x="1554" y="129"/>
                </a:cubicBezTo>
                <a:cubicBezTo>
                  <a:pt x="1552" y="130"/>
                  <a:pt x="1552" y="130"/>
                  <a:pt x="1552" y="130"/>
                </a:cubicBezTo>
                <a:cubicBezTo>
                  <a:pt x="1553" y="131"/>
                  <a:pt x="1553" y="131"/>
                  <a:pt x="1553" y="131"/>
                </a:cubicBezTo>
                <a:cubicBezTo>
                  <a:pt x="1548" y="131"/>
                  <a:pt x="1548" y="131"/>
                  <a:pt x="1548" y="131"/>
                </a:cubicBezTo>
                <a:cubicBezTo>
                  <a:pt x="1547" y="133"/>
                  <a:pt x="1547" y="133"/>
                  <a:pt x="1547" y="133"/>
                </a:cubicBezTo>
                <a:cubicBezTo>
                  <a:pt x="1551" y="135"/>
                  <a:pt x="1551" y="135"/>
                  <a:pt x="1551" y="135"/>
                </a:cubicBezTo>
                <a:cubicBezTo>
                  <a:pt x="1550" y="137"/>
                  <a:pt x="1550" y="137"/>
                  <a:pt x="1550" y="137"/>
                </a:cubicBezTo>
                <a:cubicBezTo>
                  <a:pt x="1546" y="135"/>
                  <a:pt x="1546" y="135"/>
                  <a:pt x="1546" y="135"/>
                </a:cubicBezTo>
                <a:cubicBezTo>
                  <a:pt x="1545" y="138"/>
                  <a:pt x="1545" y="138"/>
                  <a:pt x="1545" y="138"/>
                </a:cubicBezTo>
                <a:cubicBezTo>
                  <a:pt x="1549" y="139"/>
                  <a:pt x="1549" y="139"/>
                  <a:pt x="1549" y="139"/>
                </a:cubicBezTo>
                <a:cubicBezTo>
                  <a:pt x="1549" y="139"/>
                  <a:pt x="1544" y="139"/>
                  <a:pt x="1543" y="139"/>
                </a:cubicBezTo>
                <a:cubicBezTo>
                  <a:pt x="1541" y="139"/>
                  <a:pt x="1542" y="141"/>
                  <a:pt x="1542" y="141"/>
                </a:cubicBezTo>
                <a:cubicBezTo>
                  <a:pt x="1542" y="141"/>
                  <a:pt x="1540" y="140"/>
                  <a:pt x="1538" y="141"/>
                </a:cubicBezTo>
                <a:cubicBezTo>
                  <a:pt x="1536" y="142"/>
                  <a:pt x="1535" y="143"/>
                  <a:pt x="1536" y="144"/>
                </a:cubicBezTo>
                <a:cubicBezTo>
                  <a:pt x="1537" y="145"/>
                  <a:pt x="1535" y="146"/>
                  <a:pt x="1535" y="146"/>
                </a:cubicBezTo>
                <a:cubicBezTo>
                  <a:pt x="1535" y="146"/>
                  <a:pt x="1533" y="148"/>
                  <a:pt x="1534" y="148"/>
                </a:cubicBezTo>
                <a:cubicBezTo>
                  <a:pt x="1534" y="148"/>
                  <a:pt x="1539" y="148"/>
                  <a:pt x="1539" y="148"/>
                </a:cubicBezTo>
                <a:cubicBezTo>
                  <a:pt x="1537" y="150"/>
                  <a:pt x="1537" y="150"/>
                  <a:pt x="1537" y="150"/>
                </a:cubicBezTo>
                <a:cubicBezTo>
                  <a:pt x="1532" y="149"/>
                  <a:pt x="1532" y="149"/>
                  <a:pt x="1532" y="149"/>
                </a:cubicBezTo>
                <a:cubicBezTo>
                  <a:pt x="1532" y="149"/>
                  <a:pt x="1530" y="150"/>
                  <a:pt x="1530" y="151"/>
                </a:cubicBezTo>
                <a:cubicBezTo>
                  <a:pt x="1530" y="153"/>
                  <a:pt x="1532" y="154"/>
                  <a:pt x="1531" y="155"/>
                </a:cubicBezTo>
                <a:cubicBezTo>
                  <a:pt x="1530" y="156"/>
                  <a:pt x="1529" y="156"/>
                  <a:pt x="1528" y="156"/>
                </a:cubicBezTo>
                <a:cubicBezTo>
                  <a:pt x="1527" y="156"/>
                  <a:pt x="1526" y="156"/>
                  <a:pt x="1526" y="157"/>
                </a:cubicBezTo>
                <a:cubicBezTo>
                  <a:pt x="1527" y="159"/>
                  <a:pt x="1528" y="160"/>
                  <a:pt x="1528" y="160"/>
                </a:cubicBezTo>
                <a:cubicBezTo>
                  <a:pt x="1528" y="160"/>
                  <a:pt x="1530" y="162"/>
                  <a:pt x="1528" y="162"/>
                </a:cubicBezTo>
                <a:cubicBezTo>
                  <a:pt x="1527" y="162"/>
                  <a:pt x="1525" y="162"/>
                  <a:pt x="1525" y="162"/>
                </a:cubicBezTo>
                <a:cubicBezTo>
                  <a:pt x="1524" y="162"/>
                  <a:pt x="1523" y="162"/>
                  <a:pt x="1523" y="163"/>
                </a:cubicBezTo>
                <a:cubicBezTo>
                  <a:pt x="1522" y="164"/>
                  <a:pt x="1522" y="165"/>
                  <a:pt x="1522" y="165"/>
                </a:cubicBezTo>
                <a:cubicBezTo>
                  <a:pt x="1522" y="165"/>
                  <a:pt x="1522" y="167"/>
                  <a:pt x="1521" y="167"/>
                </a:cubicBezTo>
                <a:cubicBezTo>
                  <a:pt x="1520" y="167"/>
                  <a:pt x="1519" y="165"/>
                  <a:pt x="1518" y="166"/>
                </a:cubicBezTo>
                <a:cubicBezTo>
                  <a:pt x="1516" y="166"/>
                  <a:pt x="1517" y="166"/>
                  <a:pt x="1516" y="167"/>
                </a:cubicBezTo>
                <a:cubicBezTo>
                  <a:pt x="1515" y="167"/>
                  <a:pt x="1515" y="168"/>
                  <a:pt x="1514" y="169"/>
                </a:cubicBezTo>
                <a:cubicBezTo>
                  <a:pt x="1513" y="169"/>
                  <a:pt x="1512" y="169"/>
                  <a:pt x="1512" y="169"/>
                </a:cubicBezTo>
                <a:cubicBezTo>
                  <a:pt x="1512" y="169"/>
                  <a:pt x="1511" y="170"/>
                  <a:pt x="1510" y="171"/>
                </a:cubicBezTo>
                <a:cubicBezTo>
                  <a:pt x="1509" y="172"/>
                  <a:pt x="1511" y="173"/>
                  <a:pt x="1510" y="174"/>
                </a:cubicBezTo>
                <a:cubicBezTo>
                  <a:pt x="1509" y="174"/>
                  <a:pt x="1509" y="175"/>
                  <a:pt x="1508" y="175"/>
                </a:cubicBezTo>
                <a:cubicBezTo>
                  <a:pt x="1507" y="175"/>
                  <a:pt x="1505" y="174"/>
                  <a:pt x="1504" y="174"/>
                </a:cubicBezTo>
                <a:cubicBezTo>
                  <a:pt x="1504" y="174"/>
                  <a:pt x="1505" y="172"/>
                  <a:pt x="1503" y="173"/>
                </a:cubicBezTo>
                <a:cubicBezTo>
                  <a:pt x="1500" y="175"/>
                  <a:pt x="1500" y="175"/>
                  <a:pt x="1499" y="175"/>
                </a:cubicBezTo>
                <a:cubicBezTo>
                  <a:pt x="1498" y="175"/>
                  <a:pt x="1497" y="174"/>
                  <a:pt x="1497" y="176"/>
                </a:cubicBezTo>
                <a:cubicBezTo>
                  <a:pt x="1497" y="178"/>
                  <a:pt x="1499" y="178"/>
                  <a:pt x="1499" y="179"/>
                </a:cubicBezTo>
                <a:cubicBezTo>
                  <a:pt x="1499" y="179"/>
                  <a:pt x="1500" y="181"/>
                  <a:pt x="1498" y="180"/>
                </a:cubicBezTo>
                <a:cubicBezTo>
                  <a:pt x="1496" y="179"/>
                  <a:pt x="1496" y="178"/>
                  <a:pt x="1495" y="178"/>
                </a:cubicBezTo>
                <a:cubicBezTo>
                  <a:pt x="1494" y="179"/>
                  <a:pt x="1493" y="180"/>
                  <a:pt x="1494" y="181"/>
                </a:cubicBezTo>
                <a:cubicBezTo>
                  <a:pt x="1495" y="181"/>
                  <a:pt x="1498" y="181"/>
                  <a:pt x="1497" y="182"/>
                </a:cubicBezTo>
                <a:cubicBezTo>
                  <a:pt x="1497" y="183"/>
                  <a:pt x="1499" y="184"/>
                  <a:pt x="1496" y="183"/>
                </a:cubicBezTo>
                <a:cubicBezTo>
                  <a:pt x="1493" y="183"/>
                  <a:pt x="1492" y="183"/>
                  <a:pt x="1492" y="183"/>
                </a:cubicBezTo>
                <a:cubicBezTo>
                  <a:pt x="1492" y="183"/>
                  <a:pt x="1492" y="182"/>
                  <a:pt x="1491" y="183"/>
                </a:cubicBezTo>
                <a:cubicBezTo>
                  <a:pt x="1490" y="184"/>
                  <a:pt x="1490" y="186"/>
                  <a:pt x="1490" y="186"/>
                </a:cubicBezTo>
                <a:cubicBezTo>
                  <a:pt x="1490" y="186"/>
                  <a:pt x="1484" y="183"/>
                  <a:pt x="1485" y="185"/>
                </a:cubicBezTo>
                <a:cubicBezTo>
                  <a:pt x="1486" y="186"/>
                  <a:pt x="1490" y="187"/>
                  <a:pt x="1490" y="187"/>
                </a:cubicBezTo>
                <a:cubicBezTo>
                  <a:pt x="1488" y="190"/>
                  <a:pt x="1488" y="190"/>
                  <a:pt x="1488" y="190"/>
                </a:cubicBezTo>
                <a:cubicBezTo>
                  <a:pt x="1488" y="190"/>
                  <a:pt x="1488" y="188"/>
                  <a:pt x="1486" y="188"/>
                </a:cubicBezTo>
                <a:cubicBezTo>
                  <a:pt x="1485" y="188"/>
                  <a:pt x="1484" y="189"/>
                  <a:pt x="1484" y="189"/>
                </a:cubicBezTo>
                <a:cubicBezTo>
                  <a:pt x="1481" y="187"/>
                  <a:pt x="1481" y="187"/>
                  <a:pt x="1481" y="187"/>
                </a:cubicBezTo>
                <a:cubicBezTo>
                  <a:pt x="1480" y="189"/>
                  <a:pt x="1480" y="189"/>
                  <a:pt x="1480" y="189"/>
                </a:cubicBezTo>
                <a:cubicBezTo>
                  <a:pt x="1481" y="190"/>
                  <a:pt x="1481" y="190"/>
                  <a:pt x="1481" y="190"/>
                </a:cubicBezTo>
                <a:cubicBezTo>
                  <a:pt x="1477" y="189"/>
                  <a:pt x="1477" y="189"/>
                  <a:pt x="1477" y="189"/>
                </a:cubicBezTo>
                <a:cubicBezTo>
                  <a:pt x="1476" y="191"/>
                  <a:pt x="1476" y="191"/>
                  <a:pt x="1476" y="191"/>
                </a:cubicBezTo>
                <a:cubicBezTo>
                  <a:pt x="1483" y="192"/>
                  <a:pt x="1483" y="192"/>
                  <a:pt x="1483" y="192"/>
                </a:cubicBezTo>
                <a:cubicBezTo>
                  <a:pt x="1480" y="193"/>
                  <a:pt x="1480" y="193"/>
                  <a:pt x="1480" y="193"/>
                </a:cubicBezTo>
                <a:cubicBezTo>
                  <a:pt x="1475" y="192"/>
                  <a:pt x="1475" y="192"/>
                  <a:pt x="1475" y="192"/>
                </a:cubicBezTo>
                <a:cubicBezTo>
                  <a:pt x="1475" y="192"/>
                  <a:pt x="1473" y="193"/>
                  <a:pt x="1473" y="194"/>
                </a:cubicBezTo>
                <a:cubicBezTo>
                  <a:pt x="1473" y="196"/>
                  <a:pt x="1477" y="196"/>
                  <a:pt x="1477" y="196"/>
                </a:cubicBezTo>
                <a:cubicBezTo>
                  <a:pt x="1475" y="197"/>
                  <a:pt x="1475" y="197"/>
                  <a:pt x="1475" y="197"/>
                </a:cubicBezTo>
                <a:cubicBezTo>
                  <a:pt x="1475" y="197"/>
                  <a:pt x="1473" y="198"/>
                  <a:pt x="1475" y="198"/>
                </a:cubicBezTo>
                <a:cubicBezTo>
                  <a:pt x="1476" y="199"/>
                  <a:pt x="1481" y="199"/>
                  <a:pt x="1481" y="199"/>
                </a:cubicBezTo>
                <a:cubicBezTo>
                  <a:pt x="1483" y="200"/>
                  <a:pt x="1483" y="200"/>
                  <a:pt x="1483" y="200"/>
                </a:cubicBezTo>
                <a:cubicBezTo>
                  <a:pt x="1486" y="198"/>
                  <a:pt x="1486" y="198"/>
                  <a:pt x="1486" y="198"/>
                </a:cubicBezTo>
                <a:cubicBezTo>
                  <a:pt x="1487" y="200"/>
                  <a:pt x="1487" y="200"/>
                  <a:pt x="1487" y="200"/>
                </a:cubicBezTo>
                <a:cubicBezTo>
                  <a:pt x="1491" y="198"/>
                  <a:pt x="1491" y="198"/>
                  <a:pt x="1491" y="198"/>
                </a:cubicBezTo>
                <a:cubicBezTo>
                  <a:pt x="1491" y="198"/>
                  <a:pt x="1490" y="201"/>
                  <a:pt x="1489" y="201"/>
                </a:cubicBezTo>
                <a:cubicBezTo>
                  <a:pt x="1488" y="201"/>
                  <a:pt x="1485" y="201"/>
                  <a:pt x="1485" y="201"/>
                </a:cubicBezTo>
                <a:cubicBezTo>
                  <a:pt x="1482" y="201"/>
                  <a:pt x="1482" y="201"/>
                  <a:pt x="1482" y="201"/>
                </a:cubicBezTo>
                <a:cubicBezTo>
                  <a:pt x="1482" y="201"/>
                  <a:pt x="1478" y="200"/>
                  <a:pt x="1478" y="200"/>
                </a:cubicBezTo>
                <a:cubicBezTo>
                  <a:pt x="1477" y="200"/>
                  <a:pt x="1472" y="201"/>
                  <a:pt x="1472" y="201"/>
                </a:cubicBezTo>
                <a:cubicBezTo>
                  <a:pt x="1472" y="201"/>
                  <a:pt x="1473" y="203"/>
                  <a:pt x="1474" y="204"/>
                </a:cubicBezTo>
                <a:cubicBezTo>
                  <a:pt x="1475" y="204"/>
                  <a:pt x="1477" y="204"/>
                  <a:pt x="1477" y="204"/>
                </a:cubicBezTo>
                <a:cubicBezTo>
                  <a:pt x="1477" y="204"/>
                  <a:pt x="1474" y="206"/>
                  <a:pt x="1475" y="208"/>
                </a:cubicBezTo>
                <a:cubicBezTo>
                  <a:pt x="1476" y="209"/>
                  <a:pt x="1479" y="209"/>
                  <a:pt x="1479" y="209"/>
                </a:cubicBezTo>
                <a:cubicBezTo>
                  <a:pt x="1482" y="207"/>
                  <a:pt x="1482" y="207"/>
                  <a:pt x="1482" y="207"/>
                </a:cubicBezTo>
                <a:cubicBezTo>
                  <a:pt x="1486" y="206"/>
                  <a:pt x="1486" y="206"/>
                  <a:pt x="1486" y="206"/>
                </a:cubicBezTo>
                <a:cubicBezTo>
                  <a:pt x="1485" y="209"/>
                  <a:pt x="1485" y="209"/>
                  <a:pt x="1485" y="209"/>
                </a:cubicBezTo>
                <a:cubicBezTo>
                  <a:pt x="1483" y="208"/>
                  <a:pt x="1483" y="208"/>
                  <a:pt x="1483" y="208"/>
                </a:cubicBezTo>
                <a:cubicBezTo>
                  <a:pt x="1481" y="211"/>
                  <a:pt x="1481" y="211"/>
                  <a:pt x="1481" y="211"/>
                </a:cubicBezTo>
                <a:cubicBezTo>
                  <a:pt x="1481" y="211"/>
                  <a:pt x="1475" y="210"/>
                  <a:pt x="1476" y="211"/>
                </a:cubicBezTo>
                <a:cubicBezTo>
                  <a:pt x="1477" y="213"/>
                  <a:pt x="1479" y="213"/>
                  <a:pt x="1479" y="213"/>
                </a:cubicBezTo>
                <a:cubicBezTo>
                  <a:pt x="1475" y="215"/>
                  <a:pt x="1475" y="215"/>
                  <a:pt x="1475" y="215"/>
                </a:cubicBezTo>
                <a:cubicBezTo>
                  <a:pt x="1473" y="215"/>
                  <a:pt x="1473" y="215"/>
                  <a:pt x="1473" y="215"/>
                </a:cubicBezTo>
                <a:cubicBezTo>
                  <a:pt x="1473" y="215"/>
                  <a:pt x="1473" y="217"/>
                  <a:pt x="1474" y="217"/>
                </a:cubicBezTo>
                <a:cubicBezTo>
                  <a:pt x="1475" y="217"/>
                  <a:pt x="1481" y="218"/>
                  <a:pt x="1481" y="218"/>
                </a:cubicBezTo>
                <a:cubicBezTo>
                  <a:pt x="1479" y="221"/>
                  <a:pt x="1479" y="221"/>
                  <a:pt x="1479" y="221"/>
                </a:cubicBezTo>
                <a:cubicBezTo>
                  <a:pt x="1481" y="221"/>
                  <a:pt x="1481" y="221"/>
                  <a:pt x="1481" y="221"/>
                </a:cubicBezTo>
                <a:cubicBezTo>
                  <a:pt x="1480" y="224"/>
                  <a:pt x="1480" y="224"/>
                  <a:pt x="1480" y="224"/>
                </a:cubicBezTo>
                <a:cubicBezTo>
                  <a:pt x="1480" y="224"/>
                  <a:pt x="1475" y="221"/>
                  <a:pt x="1475" y="223"/>
                </a:cubicBezTo>
                <a:cubicBezTo>
                  <a:pt x="1475" y="224"/>
                  <a:pt x="1477" y="226"/>
                  <a:pt x="1477" y="226"/>
                </a:cubicBezTo>
                <a:cubicBezTo>
                  <a:pt x="1484" y="229"/>
                  <a:pt x="1484" y="229"/>
                  <a:pt x="1484" y="229"/>
                </a:cubicBezTo>
                <a:cubicBezTo>
                  <a:pt x="1484" y="229"/>
                  <a:pt x="1482" y="230"/>
                  <a:pt x="1484" y="231"/>
                </a:cubicBezTo>
                <a:cubicBezTo>
                  <a:pt x="1485" y="232"/>
                  <a:pt x="1490" y="231"/>
                  <a:pt x="1490" y="231"/>
                </a:cubicBezTo>
                <a:cubicBezTo>
                  <a:pt x="1490" y="231"/>
                  <a:pt x="1490" y="233"/>
                  <a:pt x="1494" y="231"/>
                </a:cubicBezTo>
                <a:cubicBezTo>
                  <a:pt x="1498" y="230"/>
                  <a:pt x="1503" y="225"/>
                  <a:pt x="1503" y="225"/>
                </a:cubicBezTo>
                <a:cubicBezTo>
                  <a:pt x="1508" y="221"/>
                  <a:pt x="1508" y="221"/>
                  <a:pt x="1508" y="221"/>
                </a:cubicBezTo>
                <a:cubicBezTo>
                  <a:pt x="1508" y="221"/>
                  <a:pt x="1511" y="222"/>
                  <a:pt x="1513" y="220"/>
                </a:cubicBezTo>
                <a:cubicBezTo>
                  <a:pt x="1515" y="218"/>
                  <a:pt x="1513" y="214"/>
                  <a:pt x="1513" y="214"/>
                </a:cubicBezTo>
                <a:cubicBezTo>
                  <a:pt x="1515" y="214"/>
                  <a:pt x="1515" y="214"/>
                  <a:pt x="1515" y="214"/>
                </a:cubicBezTo>
                <a:cubicBezTo>
                  <a:pt x="1515" y="214"/>
                  <a:pt x="1513" y="217"/>
                  <a:pt x="1516" y="218"/>
                </a:cubicBezTo>
                <a:cubicBezTo>
                  <a:pt x="1519" y="219"/>
                  <a:pt x="1521" y="220"/>
                  <a:pt x="1521" y="220"/>
                </a:cubicBezTo>
                <a:cubicBezTo>
                  <a:pt x="1522" y="228"/>
                  <a:pt x="1522" y="228"/>
                  <a:pt x="1522" y="228"/>
                </a:cubicBezTo>
                <a:cubicBezTo>
                  <a:pt x="1522" y="228"/>
                  <a:pt x="1525" y="226"/>
                  <a:pt x="1526" y="229"/>
                </a:cubicBezTo>
                <a:cubicBezTo>
                  <a:pt x="1527" y="231"/>
                  <a:pt x="1525" y="229"/>
                  <a:pt x="1525" y="229"/>
                </a:cubicBezTo>
                <a:cubicBezTo>
                  <a:pt x="1525" y="229"/>
                  <a:pt x="1524" y="237"/>
                  <a:pt x="1525" y="237"/>
                </a:cubicBezTo>
                <a:cubicBezTo>
                  <a:pt x="1526" y="238"/>
                  <a:pt x="1528" y="239"/>
                  <a:pt x="1528" y="239"/>
                </a:cubicBezTo>
                <a:cubicBezTo>
                  <a:pt x="1528" y="239"/>
                  <a:pt x="1530" y="243"/>
                  <a:pt x="1531" y="244"/>
                </a:cubicBezTo>
                <a:cubicBezTo>
                  <a:pt x="1533" y="246"/>
                  <a:pt x="1535" y="247"/>
                  <a:pt x="1535" y="247"/>
                </a:cubicBezTo>
                <a:cubicBezTo>
                  <a:pt x="1535" y="248"/>
                  <a:pt x="1535" y="248"/>
                  <a:pt x="1535" y="248"/>
                </a:cubicBezTo>
                <a:cubicBezTo>
                  <a:pt x="1532" y="249"/>
                  <a:pt x="1532" y="249"/>
                  <a:pt x="1532" y="249"/>
                </a:cubicBezTo>
                <a:cubicBezTo>
                  <a:pt x="1532" y="249"/>
                  <a:pt x="1532" y="250"/>
                  <a:pt x="1532" y="252"/>
                </a:cubicBezTo>
                <a:cubicBezTo>
                  <a:pt x="1532" y="253"/>
                  <a:pt x="1535" y="256"/>
                  <a:pt x="1535" y="256"/>
                </a:cubicBezTo>
                <a:cubicBezTo>
                  <a:pt x="1535" y="256"/>
                  <a:pt x="1535" y="258"/>
                  <a:pt x="1536" y="259"/>
                </a:cubicBezTo>
                <a:cubicBezTo>
                  <a:pt x="1537" y="260"/>
                  <a:pt x="1541" y="259"/>
                  <a:pt x="1541" y="259"/>
                </a:cubicBezTo>
                <a:cubicBezTo>
                  <a:pt x="1541" y="259"/>
                  <a:pt x="1547" y="261"/>
                  <a:pt x="1547" y="259"/>
                </a:cubicBezTo>
                <a:cubicBezTo>
                  <a:pt x="1546" y="257"/>
                  <a:pt x="1546" y="254"/>
                  <a:pt x="1546" y="254"/>
                </a:cubicBezTo>
                <a:cubicBezTo>
                  <a:pt x="1549" y="252"/>
                  <a:pt x="1549" y="252"/>
                  <a:pt x="1549" y="252"/>
                </a:cubicBezTo>
                <a:cubicBezTo>
                  <a:pt x="1549" y="250"/>
                  <a:pt x="1549" y="250"/>
                  <a:pt x="1549" y="250"/>
                </a:cubicBezTo>
                <a:cubicBezTo>
                  <a:pt x="1558" y="251"/>
                  <a:pt x="1558" y="251"/>
                  <a:pt x="1558" y="251"/>
                </a:cubicBezTo>
                <a:cubicBezTo>
                  <a:pt x="1560" y="252"/>
                  <a:pt x="1560" y="252"/>
                  <a:pt x="1560" y="252"/>
                </a:cubicBezTo>
                <a:cubicBezTo>
                  <a:pt x="1563" y="243"/>
                  <a:pt x="1563" y="243"/>
                  <a:pt x="1563" y="243"/>
                </a:cubicBezTo>
                <a:cubicBezTo>
                  <a:pt x="1563" y="243"/>
                  <a:pt x="1565" y="238"/>
                  <a:pt x="1564" y="237"/>
                </a:cubicBezTo>
                <a:cubicBezTo>
                  <a:pt x="1564" y="235"/>
                  <a:pt x="1563" y="233"/>
                  <a:pt x="1563" y="233"/>
                </a:cubicBezTo>
                <a:cubicBezTo>
                  <a:pt x="1563" y="233"/>
                  <a:pt x="1567" y="232"/>
                  <a:pt x="1567" y="230"/>
                </a:cubicBezTo>
                <a:cubicBezTo>
                  <a:pt x="1566" y="228"/>
                  <a:pt x="1562" y="228"/>
                  <a:pt x="1562" y="228"/>
                </a:cubicBezTo>
                <a:cubicBezTo>
                  <a:pt x="1565" y="227"/>
                  <a:pt x="1565" y="227"/>
                  <a:pt x="1565" y="227"/>
                </a:cubicBezTo>
                <a:cubicBezTo>
                  <a:pt x="1563" y="226"/>
                  <a:pt x="1563" y="226"/>
                  <a:pt x="1563" y="226"/>
                </a:cubicBezTo>
                <a:cubicBezTo>
                  <a:pt x="1563" y="226"/>
                  <a:pt x="1570" y="226"/>
                  <a:pt x="1571" y="224"/>
                </a:cubicBezTo>
                <a:cubicBezTo>
                  <a:pt x="1571" y="222"/>
                  <a:pt x="1572" y="220"/>
                  <a:pt x="1572" y="220"/>
                </a:cubicBezTo>
                <a:cubicBezTo>
                  <a:pt x="1572" y="220"/>
                  <a:pt x="1575" y="224"/>
                  <a:pt x="1577" y="222"/>
                </a:cubicBezTo>
                <a:cubicBezTo>
                  <a:pt x="1579" y="219"/>
                  <a:pt x="1578" y="217"/>
                  <a:pt x="1578" y="217"/>
                </a:cubicBezTo>
                <a:cubicBezTo>
                  <a:pt x="1578" y="217"/>
                  <a:pt x="1583" y="216"/>
                  <a:pt x="1582" y="213"/>
                </a:cubicBezTo>
                <a:cubicBezTo>
                  <a:pt x="1580" y="210"/>
                  <a:pt x="1578" y="210"/>
                  <a:pt x="1578" y="210"/>
                </a:cubicBezTo>
                <a:cubicBezTo>
                  <a:pt x="1578" y="207"/>
                  <a:pt x="1578" y="207"/>
                  <a:pt x="1578" y="207"/>
                </a:cubicBezTo>
                <a:cubicBezTo>
                  <a:pt x="1573" y="205"/>
                  <a:pt x="1573" y="205"/>
                  <a:pt x="1573" y="205"/>
                </a:cubicBezTo>
                <a:cubicBezTo>
                  <a:pt x="1573" y="205"/>
                  <a:pt x="1571" y="207"/>
                  <a:pt x="1569" y="205"/>
                </a:cubicBezTo>
                <a:cubicBezTo>
                  <a:pt x="1567" y="204"/>
                  <a:pt x="1567" y="195"/>
                  <a:pt x="1567" y="195"/>
                </a:cubicBezTo>
                <a:cubicBezTo>
                  <a:pt x="1567" y="195"/>
                  <a:pt x="1569" y="193"/>
                  <a:pt x="1569" y="190"/>
                </a:cubicBezTo>
                <a:cubicBezTo>
                  <a:pt x="1569" y="188"/>
                  <a:pt x="1567" y="186"/>
                  <a:pt x="1567" y="186"/>
                </a:cubicBezTo>
                <a:cubicBezTo>
                  <a:pt x="1567" y="186"/>
                  <a:pt x="1570" y="187"/>
                  <a:pt x="1571" y="185"/>
                </a:cubicBezTo>
                <a:cubicBezTo>
                  <a:pt x="1572" y="183"/>
                  <a:pt x="1570" y="181"/>
                  <a:pt x="1570" y="181"/>
                </a:cubicBezTo>
                <a:cubicBezTo>
                  <a:pt x="1570" y="181"/>
                  <a:pt x="1573" y="183"/>
                  <a:pt x="1574" y="182"/>
                </a:cubicBezTo>
                <a:cubicBezTo>
                  <a:pt x="1575" y="181"/>
                  <a:pt x="1578" y="178"/>
                  <a:pt x="1578" y="178"/>
                </a:cubicBezTo>
                <a:cubicBezTo>
                  <a:pt x="1582" y="179"/>
                  <a:pt x="1582" y="179"/>
                  <a:pt x="1582" y="179"/>
                </a:cubicBezTo>
                <a:cubicBezTo>
                  <a:pt x="1584" y="176"/>
                  <a:pt x="1584" y="176"/>
                  <a:pt x="1584" y="176"/>
                </a:cubicBezTo>
                <a:cubicBezTo>
                  <a:pt x="1584" y="176"/>
                  <a:pt x="1590" y="176"/>
                  <a:pt x="1592" y="174"/>
                </a:cubicBezTo>
                <a:cubicBezTo>
                  <a:pt x="1594" y="172"/>
                  <a:pt x="1597" y="166"/>
                  <a:pt x="1597" y="166"/>
                </a:cubicBezTo>
                <a:cubicBezTo>
                  <a:pt x="1595" y="163"/>
                  <a:pt x="1595" y="163"/>
                  <a:pt x="1595" y="163"/>
                </a:cubicBezTo>
                <a:cubicBezTo>
                  <a:pt x="1599" y="158"/>
                  <a:pt x="1599" y="158"/>
                  <a:pt x="1599" y="158"/>
                </a:cubicBezTo>
                <a:cubicBezTo>
                  <a:pt x="1597" y="156"/>
                  <a:pt x="1597" y="156"/>
                  <a:pt x="1597" y="156"/>
                </a:cubicBezTo>
                <a:cubicBezTo>
                  <a:pt x="1602" y="154"/>
                  <a:pt x="1602" y="154"/>
                  <a:pt x="1602" y="154"/>
                </a:cubicBezTo>
                <a:cubicBezTo>
                  <a:pt x="1604" y="152"/>
                  <a:pt x="1604" y="152"/>
                  <a:pt x="1604" y="152"/>
                </a:cubicBezTo>
                <a:cubicBezTo>
                  <a:pt x="1615" y="152"/>
                  <a:pt x="1615" y="152"/>
                  <a:pt x="1615" y="152"/>
                </a:cubicBezTo>
                <a:cubicBezTo>
                  <a:pt x="1617" y="155"/>
                  <a:pt x="1617" y="155"/>
                  <a:pt x="1617" y="155"/>
                </a:cubicBezTo>
                <a:cubicBezTo>
                  <a:pt x="1617" y="154"/>
                  <a:pt x="1617" y="154"/>
                  <a:pt x="1617" y="154"/>
                </a:cubicBezTo>
                <a:cubicBezTo>
                  <a:pt x="1619" y="153"/>
                  <a:pt x="1619" y="153"/>
                  <a:pt x="1619" y="153"/>
                </a:cubicBezTo>
                <a:cubicBezTo>
                  <a:pt x="1619" y="153"/>
                  <a:pt x="1625" y="155"/>
                  <a:pt x="1626" y="157"/>
                </a:cubicBezTo>
                <a:cubicBezTo>
                  <a:pt x="1626" y="160"/>
                  <a:pt x="1626" y="162"/>
                  <a:pt x="1626" y="162"/>
                </a:cubicBezTo>
                <a:cubicBezTo>
                  <a:pt x="1626" y="162"/>
                  <a:pt x="1624" y="161"/>
                  <a:pt x="1623" y="161"/>
                </a:cubicBezTo>
                <a:cubicBezTo>
                  <a:pt x="1623" y="161"/>
                  <a:pt x="1618" y="166"/>
                  <a:pt x="1618" y="166"/>
                </a:cubicBezTo>
                <a:cubicBezTo>
                  <a:pt x="1613" y="171"/>
                  <a:pt x="1613" y="171"/>
                  <a:pt x="1613" y="171"/>
                </a:cubicBezTo>
                <a:cubicBezTo>
                  <a:pt x="1608" y="172"/>
                  <a:pt x="1608" y="172"/>
                  <a:pt x="1608" y="172"/>
                </a:cubicBezTo>
                <a:cubicBezTo>
                  <a:pt x="1608" y="172"/>
                  <a:pt x="1605" y="175"/>
                  <a:pt x="1605" y="176"/>
                </a:cubicBezTo>
                <a:cubicBezTo>
                  <a:pt x="1605" y="178"/>
                  <a:pt x="1601" y="178"/>
                  <a:pt x="1601" y="178"/>
                </a:cubicBezTo>
                <a:cubicBezTo>
                  <a:pt x="1598" y="182"/>
                  <a:pt x="1598" y="182"/>
                  <a:pt x="1598" y="182"/>
                </a:cubicBezTo>
                <a:cubicBezTo>
                  <a:pt x="1598" y="182"/>
                  <a:pt x="1597" y="185"/>
                  <a:pt x="1597" y="185"/>
                </a:cubicBezTo>
                <a:cubicBezTo>
                  <a:pt x="1598" y="186"/>
                  <a:pt x="1599" y="188"/>
                  <a:pt x="1599" y="188"/>
                </a:cubicBezTo>
                <a:cubicBezTo>
                  <a:pt x="1598" y="191"/>
                  <a:pt x="1598" y="191"/>
                  <a:pt x="1598" y="191"/>
                </a:cubicBezTo>
                <a:cubicBezTo>
                  <a:pt x="1601" y="194"/>
                  <a:pt x="1601" y="194"/>
                  <a:pt x="1601" y="194"/>
                </a:cubicBezTo>
                <a:cubicBezTo>
                  <a:pt x="1601" y="194"/>
                  <a:pt x="1599" y="201"/>
                  <a:pt x="1600" y="203"/>
                </a:cubicBezTo>
                <a:cubicBezTo>
                  <a:pt x="1601" y="205"/>
                  <a:pt x="1603" y="206"/>
                  <a:pt x="1603" y="206"/>
                </a:cubicBezTo>
                <a:cubicBezTo>
                  <a:pt x="1606" y="209"/>
                  <a:pt x="1606" y="209"/>
                  <a:pt x="1606" y="209"/>
                </a:cubicBezTo>
                <a:cubicBezTo>
                  <a:pt x="1612" y="208"/>
                  <a:pt x="1612" y="208"/>
                  <a:pt x="1612" y="208"/>
                </a:cubicBezTo>
                <a:cubicBezTo>
                  <a:pt x="1612" y="208"/>
                  <a:pt x="1610" y="211"/>
                  <a:pt x="1615" y="212"/>
                </a:cubicBezTo>
                <a:cubicBezTo>
                  <a:pt x="1619" y="212"/>
                  <a:pt x="1626" y="211"/>
                  <a:pt x="1626" y="211"/>
                </a:cubicBezTo>
                <a:cubicBezTo>
                  <a:pt x="1630" y="209"/>
                  <a:pt x="1630" y="209"/>
                  <a:pt x="1630" y="209"/>
                </a:cubicBezTo>
                <a:cubicBezTo>
                  <a:pt x="1635" y="209"/>
                  <a:pt x="1635" y="209"/>
                  <a:pt x="1635" y="209"/>
                </a:cubicBezTo>
                <a:cubicBezTo>
                  <a:pt x="1642" y="206"/>
                  <a:pt x="1642" y="206"/>
                  <a:pt x="1642" y="206"/>
                </a:cubicBezTo>
                <a:cubicBezTo>
                  <a:pt x="1652" y="206"/>
                  <a:pt x="1652" y="206"/>
                  <a:pt x="1652" y="206"/>
                </a:cubicBezTo>
                <a:cubicBezTo>
                  <a:pt x="1653" y="206"/>
                  <a:pt x="1653" y="206"/>
                  <a:pt x="1653" y="206"/>
                </a:cubicBezTo>
                <a:cubicBezTo>
                  <a:pt x="1657" y="203"/>
                  <a:pt x="1657" y="203"/>
                  <a:pt x="1657" y="203"/>
                </a:cubicBezTo>
                <a:cubicBezTo>
                  <a:pt x="1658" y="206"/>
                  <a:pt x="1658" y="206"/>
                  <a:pt x="1658" y="206"/>
                </a:cubicBezTo>
                <a:cubicBezTo>
                  <a:pt x="1658" y="206"/>
                  <a:pt x="1660" y="208"/>
                  <a:pt x="1662" y="209"/>
                </a:cubicBezTo>
                <a:cubicBezTo>
                  <a:pt x="1663" y="210"/>
                  <a:pt x="1668" y="210"/>
                  <a:pt x="1668" y="210"/>
                </a:cubicBezTo>
                <a:cubicBezTo>
                  <a:pt x="1670" y="212"/>
                  <a:pt x="1670" y="212"/>
                  <a:pt x="1670" y="212"/>
                </a:cubicBezTo>
                <a:cubicBezTo>
                  <a:pt x="1670" y="212"/>
                  <a:pt x="1662" y="210"/>
                  <a:pt x="1662" y="211"/>
                </a:cubicBezTo>
                <a:cubicBezTo>
                  <a:pt x="1661" y="213"/>
                  <a:pt x="1661" y="214"/>
                  <a:pt x="1661" y="214"/>
                </a:cubicBezTo>
                <a:cubicBezTo>
                  <a:pt x="1656" y="214"/>
                  <a:pt x="1656" y="214"/>
                  <a:pt x="1656" y="214"/>
                </a:cubicBezTo>
                <a:cubicBezTo>
                  <a:pt x="1655" y="217"/>
                  <a:pt x="1655" y="217"/>
                  <a:pt x="1655" y="217"/>
                </a:cubicBezTo>
                <a:cubicBezTo>
                  <a:pt x="1655" y="217"/>
                  <a:pt x="1654" y="217"/>
                  <a:pt x="1653" y="217"/>
                </a:cubicBezTo>
                <a:cubicBezTo>
                  <a:pt x="1650" y="216"/>
                  <a:pt x="1643" y="215"/>
                  <a:pt x="1641" y="215"/>
                </a:cubicBezTo>
                <a:cubicBezTo>
                  <a:pt x="1638" y="215"/>
                  <a:pt x="1628" y="216"/>
                  <a:pt x="1628" y="216"/>
                </a:cubicBezTo>
                <a:cubicBezTo>
                  <a:pt x="1628" y="216"/>
                  <a:pt x="1618" y="220"/>
                  <a:pt x="1618" y="221"/>
                </a:cubicBezTo>
                <a:cubicBezTo>
                  <a:pt x="1618" y="223"/>
                  <a:pt x="1619" y="226"/>
                  <a:pt x="1619" y="226"/>
                </a:cubicBezTo>
                <a:cubicBezTo>
                  <a:pt x="1627" y="228"/>
                  <a:pt x="1627" y="228"/>
                  <a:pt x="1627" y="228"/>
                </a:cubicBezTo>
                <a:cubicBezTo>
                  <a:pt x="1625" y="233"/>
                  <a:pt x="1625" y="233"/>
                  <a:pt x="1625" y="233"/>
                </a:cubicBezTo>
                <a:cubicBezTo>
                  <a:pt x="1625" y="233"/>
                  <a:pt x="1629" y="242"/>
                  <a:pt x="1626" y="242"/>
                </a:cubicBezTo>
                <a:cubicBezTo>
                  <a:pt x="1624" y="242"/>
                  <a:pt x="1618" y="241"/>
                  <a:pt x="1618" y="241"/>
                </a:cubicBezTo>
                <a:cubicBezTo>
                  <a:pt x="1617" y="238"/>
                  <a:pt x="1617" y="238"/>
                  <a:pt x="1617" y="238"/>
                </a:cubicBezTo>
                <a:cubicBezTo>
                  <a:pt x="1612" y="234"/>
                  <a:pt x="1612" y="234"/>
                  <a:pt x="1612" y="234"/>
                </a:cubicBezTo>
                <a:cubicBezTo>
                  <a:pt x="1612" y="234"/>
                  <a:pt x="1606" y="235"/>
                  <a:pt x="1605" y="237"/>
                </a:cubicBezTo>
                <a:cubicBezTo>
                  <a:pt x="1604" y="238"/>
                  <a:pt x="1604" y="240"/>
                  <a:pt x="1604" y="240"/>
                </a:cubicBezTo>
                <a:cubicBezTo>
                  <a:pt x="1604" y="240"/>
                  <a:pt x="1600" y="244"/>
                  <a:pt x="1600" y="245"/>
                </a:cubicBezTo>
                <a:cubicBezTo>
                  <a:pt x="1600" y="246"/>
                  <a:pt x="1602" y="252"/>
                  <a:pt x="1602" y="252"/>
                </a:cubicBezTo>
                <a:cubicBezTo>
                  <a:pt x="1602" y="252"/>
                  <a:pt x="1602" y="260"/>
                  <a:pt x="1604" y="260"/>
                </a:cubicBezTo>
                <a:cubicBezTo>
                  <a:pt x="1604" y="260"/>
                  <a:pt x="1604" y="260"/>
                  <a:pt x="1604" y="261"/>
                </a:cubicBezTo>
                <a:cubicBezTo>
                  <a:pt x="1604" y="262"/>
                  <a:pt x="1603" y="264"/>
                  <a:pt x="1603" y="264"/>
                </a:cubicBezTo>
                <a:cubicBezTo>
                  <a:pt x="1603" y="264"/>
                  <a:pt x="1594" y="263"/>
                  <a:pt x="1593" y="264"/>
                </a:cubicBezTo>
                <a:cubicBezTo>
                  <a:pt x="1592" y="266"/>
                  <a:pt x="1594" y="267"/>
                  <a:pt x="1594" y="267"/>
                </a:cubicBezTo>
                <a:cubicBezTo>
                  <a:pt x="1593" y="269"/>
                  <a:pt x="1593" y="269"/>
                  <a:pt x="1593" y="269"/>
                </a:cubicBezTo>
                <a:cubicBezTo>
                  <a:pt x="1593" y="269"/>
                  <a:pt x="1586" y="270"/>
                  <a:pt x="1585" y="270"/>
                </a:cubicBezTo>
                <a:cubicBezTo>
                  <a:pt x="1583" y="270"/>
                  <a:pt x="1582" y="266"/>
                  <a:pt x="1582" y="266"/>
                </a:cubicBezTo>
                <a:cubicBezTo>
                  <a:pt x="1582" y="266"/>
                  <a:pt x="1579" y="265"/>
                  <a:pt x="1576" y="265"/>
                </a:cubicBezTo>
                <a:cubicBezTo>
                  <a:pt x="1573" y="265"/>
                  <a:pt x="1565" y="269"/>
                  <a:pt x="1565" y="269"/>
                </a:cubicBezTo>
                <a:cubicBezTo>
                  <a:pt x="1562" y="271"/>
                  <a:pt x="1562" y="271"/>
                  <a:pt x="1562" y="271"/>
                </a:cubicBezTo>
                <a:cubicBezTo>
                  <a:pt x="1554" y="272"/>
                  <a:pt x="1554" y="272"/>
                  <a:pt x="1554" y="272"/>
                </a:cubicBezTo>
                <a:cubicBezTo>
                  <a:pt x="1554" y="272"/>
                  <a:pt x="1547" y="275"/>
                  <a:pt x="1548" y="275"/>
                </a:cubicBezTo>
                <a:cubicBezTo>
                  <a:pt x="1548" y="276"/>
                  <a:pt x="1548" y="278"/>
                  <a:pt x="1548" y="278"/>
                </a:cubicBezTo>
                <a:cubicBezTo>
                  <a:pt x="1547" y="278"/>
                  <a:pt x="1547" y="278"/>
                  <a:pt x="1547" y="278"/>
                </a:cubicBezTo>
                <a:cubicBezTo>
                  <a:pt x="1546" y="277"/>
                  <a:pt x="1546" y="277"/>
                  <a:pt x="1546" y="277"/>
                </a:cubicBezTo>
                <a:cubicBezTo>
                  <a:pt x="1543" y="276"/>
                  <a:pt x="1543" y="276"/>
                  <a:pt x="1543" y="276"/>
                </a:cubicBezTo>
                <a:cubicBezTo>
                  <a:pt x="1543" y="276"/>
                  <a:pt x="1543" y="275"/>
                  <a:pt x="1542" y="274"/>
                </a:cubicBezTo>
                <a:cubicBezTo>
                  <a:pt x="1541" y="273"/>
                  <a:pt x="1539" y="273"/>
                  <a:pt x="1539" y="273"/>
                </a:cubicBezTo>
                <a:cubicBezTo>
                  <a:pt x="1538" y="272"/>
                  <a:pt x="1538" y="272"/>
                  <a:pt x="1538" y="272"/>
                </a:cubicBezTo>
                <a:cubicBezTo>
                  <a:pt x="1538" y="272"/>
                  <a:pt x="1532" y="269"/>
                  <a:pt x="1531" y="270"/>
                </a:cubicBezTo>
                <a:cubicBezTo>
                  <a:pt x="1530" y="271"/>
                  <a:pt x="1529" y="272"/>
                  <a:pt x="1529" y="272"/>
                </a:cubicBezTo>
                <a:cubicBezTo>
                  <a:pt x="1523" y="272"/>
                  <a:pt x="1523" y="272"/>
                  <a:pt x="1523" y="272"/>
                </a:cubicBezTo>
                <a:cubicBezTo>
                  <a:pt x="1523" y="274"/>
                  <a:pt x="1523" y="274"/>
                  <a:pt x="1523" y="274"/>
                </a:cubicBezTo>
                <a:cubicBezTo>
                  <a:pt x="1518" y="274"/>
                  <a:pt x="1518" y="274"/>
                  <a:pt x="1518" y="274"/>
                </a:cubicBezTo>
                <a:cubicBezTo>
                  <a:pt x="1518" y="274"/>
                  <a:pt x="1517" y="273"/>
                  <a:pt x="1518" y="272"/>
                </a:cubicBezTo>
                <a:cubicBezTo>
                  <a:pt x="1519" y="271"/>
                  <a:pt x="1520" y="269"/>
                  <a:pt x="1520" y="269"/>
                </a:cubicBezTo>
                <a:cubicBezTo>
                  <a:pt x="1517" y="270"/>
                  <a:pt x="1517" y="270"/>
                  <a:pt x="1517" y="270"/>
                </a:cubicBezTo>
                <a:cubicBezTo>
                  <a:pt x="1511" y="269"/>
                  <a:pt x="1511" y="269"/>
                  <a:pt x="1511" y="269"/>
                </a:cubicBezTo>
                <a:cubicBezTo>
                  <a:pt x="1511" y="269"/>
                  <a:pt x="1509" y="267"/>
                  <a:pt x="1508" y="265"/>
                </a:cubicBezTo>
                <a:cubicBezTo>
                  <a:pt x="1508" y="265"/>
                  <a:pt x="1508" y="265"/>
                  <a:pt x="1508" y="265"/>
                </a:cubicBezTo>
                <a:cubicBezTo>
                  <a:pt x="1508" y="263"/>
                  <a:pt x="1507" y="262"/>
                  <a:pt x="1507" y="262"/>
                </a:cubicBezTo>
                <a:cubicBezTo>
                  <a:pt x="1509" y="259"/>
                  <a:pt x="1509" y="259"/>
                  <a:pt x="1509" y="259"/>
                </a:cubicBezTo>
                <a:cubicBezTo>
                  <a:pt x="1509" y="259"/>
                  <a:pt x="1506" y="256"/>
                  <a:pt x="1508" y="256"/>
                </a:cubicBezTo>
                <a:cubicBezTo>
                  <a:pt x="1510" y="255"/>
                  <a:pt x="1511" y="254"/>
                  <a:pt x="1511" y="254"/>
                </a:cubicBezTo>
                <a:cubicBezTo>
                  <a:pt x="1512" y="250"/>
                  <a:pt x="1512" y="250"/>
                  <a:pt x="1512" y="250"/>
                </a:cubicBezTo>
                <a:cubicBezTo>
                  <a:pt x="1515" y="250"/>
                  <a:pt x="1515" y="250"/>
                  <a:pt x="1515" y="250"/>
                </a:cubicBezTo>
                <a:cubicBezTo>
                  <a:pt x="1516" y="247"/>
                  <a:pt x="1516" y="247"/>
                  <a:pt x="1516" y="247"/>
                </a:cubicBezTo>
                <a:cubicBezTo>
                  <a:pt x="1511" y="247"/>
                  <a:pt x="1511" y="247"/>
                  <a:pt x="1511" y="247"/>
                </a:cubicBezTo>
                <a:cubicBezTo>
                  <a:pt x="1511" y="247"/>
                  <a:pt x="1511" y="243"/>
                  <a:pt x="1511" y="243"/>
                </a:cubicBezTo>
                <a:cubicBezTo>
                  <a:pt x="1512" y="242"/>
                  <a:pt x="1515" y="239"/>
                  <a:pt x="1514" y="238"/>
                </a:cubicBezTo>
                <a:cubicBezTo>
                  <a:pt x="1514" y="237"/>
                  <a:pt x="1513" y="236"/>
                  <a:pt x="1513" y="236"/>
                </a:cubicBezTo>
                <a:cubicBezTo>
                  <a:pt x="1513" y="236"/>
                  <a:pt x="1509" y="235"/>
                  <a:pt x="1509" y="236"/>
                </a:cubicBezTo>
                <a:cubicBezTo>
                  <a:pt x="1509" y="237"/>
                  <a:pt x="1504" y="242"/>
                  <a:pt x="1504" y="243"/>
                </a:cubicBezTo>
                <a:cubicBezTo>
                  <a:pt x="1504" y="244"/>
                  <a:pt x="1505" y="246"/>
                  <a:pt x="1505" y="246"/>
                </a:cubicBezTo>
                <a:cubicBezTo>
                  <a:pt x="1502" y="244"/>
                  <a:pt x="1502" y="244"/>
                  <a:pt x="1502" y="244"/>
                </a:cubicBezTo>
                <a:cubicBezTo>
                  <a:pt x="1501" y="240"/>
                  <a:pt x="1501" y="240"/>
                  <a:pt x="1501" y="240"/>
                </a:cubicBezTo>
                <a:cubicBezTo>
                  <a:pt x="1501" y="240"/>
                  <a:pt x="1496" y="243"/>
                  <a:pt x="1496" y="244"/>
                </a:cubicBezTo>
                <a:cubicBezTo>
                  <a:pt x="1496" y="244"/>
                  <a:pt x="1499" y="244"/>
                  <a:pt x="1499" y="244"/>
                </a:cubicBezTo>
                <a:cubicBezTo>
                  <a:pt x="1499" y="245"/>
                  <a:pt x="1501" y="248"/>
                  <a:pt x="1501" y="248"/>
                </a:cubicBezTo>
                <a:cubicBezTo>
                  <a:pt x="1497" y="247"/>
                  <a:pt x="1497" y="247"/>
                  <a:pt x="1497" y="247"/>
                </a:cubicBezTo>
                <a:cubicBezTo>
                  <a:pt x="1497" y="247"/>
                  <a:pt x="1494" y="250"/>
                  <a:pt x="1494" y="252"/>
                </a:cubicBezTo>
                <a:cubicBezTo>
                  <a:pt x="1494" y="254"/>
                  <a:pt x="1498" y="254"/>
                  <a:pt x="1498" y="254"/>
                </a:cubicBezTo>
                <a:cubicBezTo>
                  <a:pt x="1498" y="254"/>
                  <a:pt x="1495" y="257"/>
                  <a:pt x="1495" y="258"/>
                </a:cubicBezTo>
                <a:cubicBezTo>
                  <a:pt x="1496" y="258"/>
                  <a:pt x="1499" y="258"/>
                  <a:pt x="1499" y="258"/>
                </a:cubicBezTo>
                <a:cubicBezTo>
                  <a:pt x="1499" y="261"/>
                  <a:pt x="1499" y="261"/>
                  <a:pt x="1499" y="261"/>
                </a:cubicBezTo>
                <a:cubicBezTo>
                  <a:pt x="1497" y="264"/>
                  <a:pt x="1497" y="264"/>
                  <a:pt x="1497" y="264"/>
                </a:cubicBezTo>
                <a:cubicBezTo>
                  <a:pt x="1499" y="265"/>
                  <a:pt x="1499" y="265"/>
                  <a:pt x="1499" y="265"/>
                </a:cubicBezTo>
                <a:cubicBezTo>
                  <a:pt x="1502" y="269"/>
                  <a:pt x="1502" y="269"/>
                  <a:pt x="1502" y="269"/>
                </a:cubicBezTo>
                <a:cubicBezTo>
                  <a:pt x="1500" y="271"/>
                  <a:pt x="1500" y="271"/>
                  <a:pt x="1500" y="271"/>
                </a:cubicBezTo>
                <a:cubicBezTo>
                  <a:pt x="1503" y="275"/>
                  <a:pt x="1503" y="275"/>
                  <a:pt x="1503" y="275"/>
                </a:cubicBezTo>
                <a:cubicBezTo>
                  <a:pt x="1506" y="277"/>
                  <a:pt x="1506" y="277"/>
                  <a:pt x="1506" y="277"/>
                </a:cubicBezTo>
                <a:cubicBezTo>
                  <a:pt x="1502" y="275"/>
                  <a:pt x="1502" y="275"/>
                  <a:pt x="1502" y="275"/>
                </a:cubicBezTo>
                <a:cubicBezTo>
                  <a:pt x="1498" y="276"/>
                  <a:pt x="1498" y="276"/>
                  <a:pt x="1498" y="276"/>
                </a:cubicBezTo>
                <a:cubicBezTo>
                  <a:pt x="1498" y="276"/>
                  <a:pt x="1499" y="279"/>
                  <a:pt x="1498" y="280"/>
                </a:cubicBezTo>
                <a:cubicBezTo>
                  <a:pt x="1496" y="280"/>
                  <a:pt x="1494" y="280"/>
                  <a:pt x="1494" y="280"/>
                </a:cubicBezTo>
                <a:cubicBezTo>
                  <a:pt x="1493" y="278"/>
                  <a:pt x="1493" y="278"/>
                  <a:pt x="1493" y="278"/>
                </a:cubicBezTo>
                <a:cubicBezTo>
                  <a:pt x="1493" y="278"/>
                  <a:pt x="1487" y="277"/>
                  <a:pt x="1487" y="278"/>
                </a:cubicBezTo>
                <a:cubicBezTo>
                  <a:pt x="1487" y="279"/>
                  <a:pt x="1487" y="282"/>
                  <a:pt x="1487" y="282"/>
                </a:cubicBezTo>
                <a:cubicBezTo>
                  <a:pt x="1487" y="282"/>
                  <a:pt x="1484" y="280"/>
                  <a:pt x="1482" y="280"/>
                </a:cubicBezTo>
                <a:cubicBezTo>
                  <a:pt x="1481" y="280"/>
                  <a:pt x="1476" y="280"/>
                  <a:pt x="1476" y="280"/>
                </a:cubicBezTo>
                <a:cubicBezTo>
                  <a:pt x="1476" y="280"/>
                  <a:pt x="1473" y="281"/>
                  <a:pt x="1472" y="282"/>
                </a:cubicBezTo>
                <a:cubicBezTo>
                  <a:pt x="1472" y="283"/>
                  <a:pt x="1472" y="284"/>
                  <a:pt x="1472" y="285"/>
                </a:cubicBezTo>
                <a:cubicBezTo>
                  <a:pt x="1473" y="285"/>
                  <a:pt x="1473" y="287"/>
                  <a:pt x="1473" y="287"/>
                </a:cubicBezTo>
                <a:cubicBezTo>
                  <a:pt x="1473" y="287"/>
                  <a:pt x="1474" y="289"/>
                  <a:pt x="1474" y="289"/>
                </a:cubicBezTo>
                <a:cubicBezTo>
                  <a:pt x="1475" y="289"/>
                  <a:pt x="1476" y="289"/>
                  <a:pt x="1476" y="290"/>
                </a:cubicBezTo>
                <a:cubicBezTo>
                  <a:pt x="1476" y="291"/>
                  <a:pt x="1473" y="293"/>
                  <a:pt x="1472" y="293"/>
                </a:cubicBezTo>
                <a:cubicBezTo>
                  <a:pt x="1471" y="293"/>
                  <a:pt x="1470" y="292"/>
                  <a:pt x="1469" y="291"/>
                </a:cubicBezTo>
                <a:cubicBezTo>
                  <a:pt x="1468" y="290"/>
                  <a:pt x="1470" y="290"/>
                  <a:pt x="1471" y="288"/>
                </a:cubicBezTo>
                <a:cubicBezTo>
                  <a:pt x="1472" y="286"/>
                  <a:pt x="1471" y="285"/>
                  <a:pt x="1471" y="285"/>
                </a:cubicBezTo>
                <a:cubicBezTo>
                  <a:pt x="1471" y="285"/>
                  <a:pt x="1471" y="285"/>
                  <a:pt x="1470" y="284"/>
                </a:cubicBezTo>
                <a:cubicBezTo>
                  <a:pt x="1469" y="285"/>
                  <a:pt x="1467" y="287"/>
                  <a:pt x="1467" y="287"/>
                </a:cubicBezTo>
                <a:cubicBezTo>
                  <a:pt x="1467" y="287"/>
                  <a:pt x="1463" y="289"/>
                  <a:pt x="1463" y="291"/>
                </a:cubicBezTo>
                <a:cubicBezTo>
                  <a:pt x="1463" y="292"/>
                  <a:pt x="1463" y="295"/>
                  <a:pt x="1463" y="295"/>
                </a:cubicBezTo>
                <a:cubicBezTo>
                  <a:pt x="1459" y="299"/>
                  <a:pt x="1459" y="299"/>
                  <a:pt x="1459" y="299"/>
                </a:cubicBezTo>
                <a:cubicBezTo>
                  <a:pt x="1460" y="301"/>
                  <a:pt x="1460" y="301"/>
                  <a:pt x="1460" y="301"/>
                </a:cubicBezTo>
                <a:cubicBezTo>
                  <a:pt x="1457" y="301"/>
                  <a:pt x="1457" y="301"/>
                  <a:pt x="1457" y="301"/>
                </a:cubicBezTo>
                <a:cubicBezTo>
                  <a:pt x="1453" y="302"/>
                  <a:pt x="1453" y="302"/>
                  <a:pt x="1453" y="302"/>
                </a:cubicBezTo>
                <a:cubicBezTo>
                  <a:pt x="1451" y="304"/>
                  <a:pt x="1451" y="304"/>
                  <a:pt x="1451" y="304"/>
                </a:cubicBezTo>
                <a:cubicBezTo>
                  <a:pt x="1449" y="306"/>
                  <a:pt x="1449" y="306"/>
                  <a:pt x="1449" y="306"/>
                </a:cubicBezTo>
                <a:cubicBezTo>
                  <a:pt x="1449" y="306"/>
                  <a:pt x="1445" y="305"/>
                  <a:pt x="1443" y="306"/>
                </a:cubicBezTo>
                <a:cubicBezTo>
                  <a:pt x="1441" y="307"/>
                  <a:pt x="1436" y="306"/>
                  <a:pt x="1437" y="308"/>
                </a:cubicBezTo>
                <a:cubicBezTo>
                  <a:pt x="1438" y="309"/>
                  <a:pt x="1438" y="311"/>
                  <a:pt x="1438" y="311"/>
                </a:cubicBezTo>
                <a:cubicBezTo>
                  <a:pt x="1438" y="311"/>
                  <a:pt x="1440" y="314"/>
                  <a:pt x="1438" y="316"/>
                </a:cubicBezTo>
                <a:cubicBezTo>
                  <a:pt x="1435" y="318"/>
                  <a:pt x="1431" y="318"/>
                  <a:pt x="1431" y="318"/>
                </a:cubicBezTo>
                <a:cubicBezTo>
                  <a:pt x="1425" y="322"/>
                  <a:pt x="1425" y="322"/>
                  <a:pt x="1425" y="322"/>
                </a:cubicBezTo>
                <a:cubicBezTo>
                  <a:pt x="1427" y="323"/>
                  <a:pt x="1427" y="323"/>
                  <a:pt x="1427" y="323"/>
                </a:cubicBezTo>
                <a:cubicBezTo>
                  <a:pt x="1427" y="323"/>
                  <a:pt x="1423" y="326"/>
                  <a:pt x="1420" y="325"/>
                </a:cubicBezTo>
                <a:cubicBezTo>
                  <a:pt x="1417" y="325"/>
                  <a:pt x="1415" y="324"/>
                  <a:pt x="1415" y="324"/>
                </a:cubicBezTo>
                <a:cubicBezTo>
                  <a:pt x="1413" y="321"/>
                  <a:pt x="1413" y="321"/>
                  <a:pt x="1413" y="321"/>
                </a:cubicBezTo>
                <a:cubicBezTo>
                  <a:pt x="1413" y="321"/>
                  <a:pt x="1408" y="319"/>
                  <a:pt x="1408" y="321"/>
                </a:cubicBezTo>
                <a:cubicBezTo>
                  <a:pt x="1409" y="322"/>
                  <a:pt x="1411" y="325"/>
                  <a:pt x="1411" y="325"/>
                </a:cubicBezTo>
                <a:cubicBezTo>
                  <a:pt x="1411" y="325"/>
                  <a:pt x="1414" y="330"/>
                  <a:pt x="1410" y="331"/>
                </a:cubicBezTo>
                <a:cubicBezTo>
                  <a:pt x="1406" y="332"/>
                  <a:pt x="1402" y="331"/>
                  <a:pt x="1402" y="331"/>
                </a:cubicBezTo>
                <a:cubicBezTo>
                  <a:pt x="1401" y="334"/>
                  <a:pt x="1401" y="334"/>
                  <a:pt x="1401" y="334"/>
                </a:cubicBezTo>
                <a:cubicBezTo>
                  <a:pt x="1401" y="334"/>
                  <a:pt x="1397" y="329"/>
                  <a:pt x="1396" y="330"/>
                </a:cubicBezTo>
                <a:cubicBezTo>
                  <a:pt x="1395" y="330"/>
                  <a:pt x="1391" y="331"/>
                  <a:pt x="1391" y="331"/>
                </a:cubicBezTo>
                <a:cubicBezTo>
                  <a:pt x="1391" y="331"/>
                  <a:pt x="1383" y="332"/>
                  <a:pt x="1382" y="334"/>
                </a:cubicBezTo>
                <a:cubicBezTo>
                  <a:pt x="1382" y="335"/>
                  <a:pt x="1386" y="336"/>
                  <a:pt x="1386" y="337"/>
                </a:cubicBezTo>
                <a:cubicBezTo>
                  <a:pt x="1386" y="338"/>
                  <a:pt x="1380" y="337"/>
                  <a:pt x="1381" y="339"/>
                </a:cubicBezTo>
                <a:cubicBezTo>
                  <a:pt x="1382" y="341"/>
                  <a:pt x="1386" y="341"/>
                  <a:pt x="1386" y="341"/>
                </a:cubicBezTo>
                <a:cubicBezTo>
                  <a:pt x="1388" y="340"/>
                  <a:pt x="1388" y="340"/>
                  <a:pt x="1388" y="340"/>
                </a:cubicBezTo>
                <a:cubicBezTo>
                  <a:pt x="1395" y="344"/>
                  <a:pt x="1395" y="344"/>
                  <a:pt x="1395" y="344"/>
                </a:cubicBezTo>
                <a:cubicBezTo>
                  <a:pt x="1399" y="344"/>
                  <a:pt x="1399" y="344"/>
                  <a:pt x="1399" y="344"/>
                </a:cubicBezTo>
                <a:cubicBezTo>
                  <a:pt x="1401" y="346"/>
                  <a:pt x="1401" y="346"/>
                  <a:pt x="1401" y="346"/>
                </a:cubicBezTo>
                <a:cubicBezTo>
                  <a:pt x="1407" y="347"/>
                  <a:pt x="1407" y="347"/>
                  <a:pt x="1407" y="347"/>
                </a:cubicBezTo>
                <a:cubicBezTo>
                  <a:pt x="1403" y="349"/>
                  <a:pt x="1403" y="349"/>
                  <a:pt x="1403" y="349"/>
                </a:cubicBezTo>
                <a:cubicBezTo>
                  <a:pt x="1403" y="349"/>
                  <a:pt x="1407" y="355"/>
                  <a:pt x="1408" y="356"/>
                </a:cubicBezTo>
                <a:cubicBezTo>
                  <a:pt x="1408" y="357"/>
                  <a:pt x="1412" y="357"/>
                  <a:pt x="1412" y="357"/>
                </a:cubicBezTo>
                <a:cubicBezTo>
                  <a:pt x="1412" y="363"/>
                  <a:pt x="1412" y="363"/>
                  <a:pt x="1412" y="363"/>
                </a:cubicBezTo>
                <a:cubicBezTo>
                  <a:pt x="1414" y="367"/>
                  <a:pt x="1414" y="367"/>
                  <a:pt x="1414" y="367"/>
                </a:cubicBezTo>
                <a:cubicBezTo>
                  <a:pt x="1416" y="372"/>
                  <a:pt x="1416" y="372"/>
                  <a:pt x="1416" y="372"/>
                </a:cubicBezTo>
                <a:cubicBezTo>
                  <a:pt x="1412" y="367"/>
                  <a:pt x="1412" y="367"/>
                  <a:pt x="1412" y="367"/>
                </a:cubicBezTo>
                <a:cubicBezTo>
                  <a:pt x="1412" y="367"/>
                  <a:pt x="1411" y="373"/>
                  <a:pt x="1411" y="375"/>
                </a:cubicBezTo>
                <a:cubicBezTo>
                  <a:pt x="1411" y="377"/>
                  <a:pt x="1409" y="385"/>
                  <a:pt x="1408" y="387"/>
                </a:cubicBezTo>
                <a:cubicBezTo>
                  <a:pt x="1407" y="388"/>
                  <a:pt x="1407" y="390"/>
                  <a:pt x="1405" y="391"/>
                </a:cubicBezTo>
                <a:cubicBezTo>
                  <a:pt x="1404" y="391"/>
                  <a:pt x="1404" y="391"/>
                  <a:pt x="1403" y="391"/>
                </a:cubicBezTo>
                <a:cubicBezTo>
                  <a:pt x="1399" y="391"/>
                  <a:pt x="1390" y="389"/>
                  <a:pt x="1390" y="389"/>
                </a:cubicBezTo>
                <a:cubicBezTo>
                  <a:pt x="1385" y="391"/>
                  <a:pt x="1385" y="391"/>
                  <a:pt x="1385" y="391"/>
                </a:cubicBezTo>
                <a:cubicBezTo>
                  <a:pt x="1377" y="390"/>
                  <a:pt x="1377" y="390"/>
                  <a:pt x="1377" y="390"/>
                </a:cubicBezTo>
                <a:cubicBezTo>
                  <a:pt x="1377" y="390"/>
                  <a:pt x="1372" y="387"/>
                  <a:pt x="1369" y="387"/>
                </a:cubicBezTo>
                <a:cubicBezTo>
                  <a:pt x="1366" y="388"/>
                  <a:pt x="1362" y="388"/>
                  <a:pt x="1361" y="388"/>
                </a:cubicBezTo>
                <a:cubicBezTo>
                  <a:pt x="1359" y="388"/>
                  <a:pt x="1356" y="388"/>
                  <a:pt x="1356" y="388"/>
                </a:cubicBezTo>
                <a:cubicBezTo>
                  <a:pt x="1356" y="388"/>
                  <a:pt x="1353" y="386"/>
                  <a:pt x="1352" y="386"/>
                </a:cubicBezTo>
                <a:cubicBezTo>
                  <a:pt x="1351" y="386"/>
                  <a:pt x="1347" y="390"/>
                  <a:pt x="1347" y="390"/>
                </a:cubicBezTo>
                <a:cubicBezTo>
                  <a:pt x="1347" y="390"/>
                  <a:pt x="1337" y="391"/>
                  <a:pt x="1337" y="394"/>
                </a:cubicBezTo>
                <a:cubicBezTo>
                  <a:pt x="1336" y="397"/>
                  <a:pt x="1341" y="400"/>
                  <a:pt x="1341" y="400"/>
                </a:cubicBezTo>
                <a:cubicBezTo>
                  <a:pt x="1339" y="405"/>
                  <a:pt x="1339" y="405"/>
                  <a:pt x="1339" y="405"/>
                </a:cubicBezTo>
                <a:cubicBezTo>
                  <a:pt x="1339" y="405"/>
                  <a:pt x="1339" y="406"/>
                  <a:pt x="1340" y="407"/>
                </a:cubicBezTo>
                <a:cubicBezTo>
                  <a:pt x="1340" y="409"/>
                  <a:pt x="1341" y="413"/>
                  <a:pt x="1341" y="415"/>
                </a:cubicBezTo>
                <a:cubicBezTo>
                  <a:pt x="1340" y="420"/>
                  <a:pt x="1336" y="428"/>
                  <a:pt x="1336" y="428"/>
                </a:cubicBezTo>
                <a:cubicBezTo>
                  <a:pt x="1333" y="435"/>
                  <a:pt x="1333" y="435"/>
                  <a:pt x="1333" y="435"/>
                </a:cubicBezTo>
                <a:cubicBezTo>
                  <a:pt x="1333" y="435"/>
                  <a:pt x="1331" y="441"/>
                  <a:pt x="1332" y="442"/>
                </a:cubicBezTo>
                <a:cubicBezTo>
                  <a:pt x="1334" y="443"/>
                  <a:pt x="1336" y="444"/>
                  <a:pt x="1336" y="444"/>
                </a:cubicBezTo>
                <a:cubicBezTo>
                  <a:pt x="1337" y="452"/>
                  <a:pt x="1337" y="452"/>
                  <a:pt x="1337" y="452"/>
                </a:cubicBezTo>
                <a:cubicBezTo>
                  <a:pt x="1337" y="452"/>
                  <a:pt x="1334" y="461"/>
                  <a:pt x="1335" y="461"/>
                </a:cubicBezTo>
                <a:cubicBezTo>
                  <a:pt x="1336" y="461"/>
                  <a:pt x="1342" y="460"/>
                  <a:pt x="1342" y="460"/>
                </a:cubicBezTo>
                <a:cubicBezTo>
                  <a:pt x="1342" y="460"/>
                  <a:pt x="1343" y="462"/>
                  <a:pt x="1344" y="462"/>
                </a:cubicBezTo>
                <a:cubicBezTo>
                  <a:pt x="1345" y="462"/>
                  <a:pt x="1349" y="460"/>
                  <a:pt x="1349" y="459"/>
                </a:cubicBezTo>
                <a:cubicBezTo>
                  <a:pt x="1349" y="459"/>
                  <a:pt x="1349" y="459"/>
                  <a:pt x="1349" y="459"/>
                </a:cubicBezTo>
                <a:cubicBezTo>
                  <a:pt x="1353" y="459"/>
                  <a:pt x="1353" y="459"/>
                  <a:pt x="1353" y="459"/>
                </a:cubicBezTo>
                <a:cubicBezTo>
                  <a:pt x="1357" y="462"/>
                  <a:pt x="1357" y="462"/>
                  <a:pt x="1357" y="462"/>
                </a:cubicBezTo>
                <a:cubicBezTo>
                  <a:pt x="1359" y="462"/>
                  <a:pt x="1359" y="462"/>
                  <a:pt x="1359" y="462"/>
                </a:cubicBezTo>
                <a:cubicBezTo>
                  <a:pt x="1358" y="466"/>
                  <a:pt x="1358" y="466"/>
                  <a:pt x="1358" y="466"/>
                </a:cubicBezTo>
                <a:cubicBezTo>
                  <a:pt x="1359" y="466"/>
                  <a:pt x="1359" y="466"/>
                  <a:pt x="1359" y="466"/>
                </a:cubicBezTo>
                <a:cubicBezTo>
                  <a:pt x="1359" y="466"/>
                  <a:pt x="1359" y="470"/>
                  <a:pt x="1361" y="471"/>
                </a:cubicBezTo>
                <a:cubicBezTo>
                  <a:pt x="1362" y="472"/>
                  <a:pt x="1365" y="472"/>
                  <a:pt x="1365" y="472"/>
                </a:cubicBezTo>
                <a:cubicBezTo>
                  <a:pt x="1365" y="472"/>
                  <a:pt x="1368" y="470"/>
                  <a:pt x="1369" y="469"/>
                </a:cubicBezTo>
                <a:cubicBezTo>
                  <a:pt x="1370" y="467"/>
                  <a:pt x="1373" y="467"/>
                  <a:pt x="1373" y="467"/>
                </a:cubicBezTo>
                <a:cubicBezTo>
                  <a:pt x="1377" y="465"/>
                  <a:pt x="1377" y="465"/>
                  <a:pt x="1377" y="465"/>
                </a:cubicBezTo>
                <a:cubicBezTo>
                  <a:pt x="1377" y="465"/>
                  <a:pt x="1384" y="465"/>
                  <a:pt x="1386" y="465"/>
                </a:cubicBezTo>
                <a:cubicBezTo>
                  <a:pt x="1387" y="464"/>
                  <a:pt x="1389" y="464"/>
                  <a:pt x="1389" y="464"/>
                </a:cubicBezTo>
                <a:cubicBezTo>
                  <a:pt x="1389" y="464"/>
                  <a:pt x="1391" y="465"/>
                  <a:pt x="1392" y="465"/>
                </a:cubicBezTo>
                <a:cubicBezTo>
                  <a:pt x="1393" y="465"/>
                  <a:pt x="1397" y="463"/>
                  <a:pt x="1397" y="463"/>
                </a:cubicBezTo>
                <a:cubicBezTo>
                  <a:pt x="1397" y="463"/>
                  <a:pt x="1396" y="466"/>
                  <a:pt x="1399" y="464"/>
                </a:cubicBezTo>
                <a:cubicBezTo>
                  <a:pt x="1401" y="463"/>
                  <a:pt x="1401" y="459"/>
                  <a:pt x="1401" y="459"/>
                </a:cubicBezTo>
                <a:cubicBezTo>
                  <a:pt x="1406" y="455"/>
                  <a:pt x="1406" y="455"/>
                  <a:pt x="1406" y="455"/>
                </a:cubicBezTo>
                <a:cubicBezTo>
                  <a:pt x="1411" y="455"/>
                  <a:pt x="1411" y="455"/>
                  <a:pt x="1411" y="455"/>
                </a:cubicBezTo>
                <a:cubicBezTo>
                  <a:pt x="1411" y="452"/>
                  <a:pt x="1411" y="452"/>
                  <a:pt x="1411" y="452"/>
                </a:cubicBezTo>
                <a:cubicBezTo>
                  <a:pt x="1411" y="452"/>
                  <a:pt x="1413" y="446"/>
                  <a:pt x="1414" y="445"/>
                </a:cubicBezTo>
                <a:cubicBezTo>
                  <a:pt x="1414" y="445"/>
                  <a:pt x="1420" y="444"/>
                  <a:pt x="1420" y="442"/>
                </a:cubicBezTo>
                <a:cubicBezTo>
                  <a:pt x="1421" y="441"/>
                  <a:pt x="1416" y="438"/>
                  <a:pt x="1416" y="438"/>
                </a:cubicBezTo>
                <a:cubicBezTo>
                  <a:pt x="1416" y="438"/>
                  <a:pt x="1415" y="433"/>
                  <a:pt x="1417" y="431"/>
                </a:cubicBezTo>
                <a:cubicBezTo>
                  <a:pt x="1419" y="429"/>
                  <a:pt x="1421" y="426"/>
                  <a:pt x="1421" y="426"/>
                </a:cubicBezTo>
                <a:cubicBezTo>
                  <a:pt x="1421" y="426"/>
                  <a:pt x="1425" y="422"/>
                  <a:pt x="1425" y="422"/>
                </a:cubicBezTo>
                <a:cubicBezTo>
                  <a:pt x="1426" y="422"/>
                  <a:pt x="1428" y="420"/>
                  <a:pt x="1428" y="420"/>
                </a:cubicBezTo>
                <a:cubicBezTo>
                  <a:pt x="1427" y="419"/>
                  <a:pt x="1426" y="418"/>
                  <a:pt x="1428" y="416"/>
                </a:cubicBezTo>
                <a:cubicBezTo>
                  <a:pt x="1430" y="415"/>
                  <a:pt x="1435" y="414"/>
                  <a:pt x="1438" y="413"/>
                </a:cubicBezTo>
                <a:cubicBezTo>
                  <a:pt x="1441" y="412"/>
                  <a:pt x="1444" y="410"/>
                  <a:pt x="1444" y="410"/>
                </a:cubicBezTo>
                <a:cubicBezTo>
                  <a:pt x="1444" y="410"/>
                  <a:pt x="1448" y="408"/>
                  <a:pt x="1448" y="407"/>
                </a:cubicBezTo>
                <a:cubicBezTo>
                  <a:pt x="1449" y="406"/>
                  <a:pt x="1448" y="404"/>
                  <a:pt x="1448" y="404"/>
                </a:cubicBezTo>
                <a:cubicBezTo>
                  <a:pt x="1450" y="403"/>
                  <a:pt x="1450" y="403"/>
                  <a:pt x="1450" y="403"/>
                </a:cubicBezTo>
                <a:cubicBezTo>
                  <a:pt x="1450" y="403"/>
                  <a:pt x="1447" y="402"/>
                  <a:pt x="1447" y="400"/>
                </a:cubicBezTo>
                <a:cubicBezTo>
                  <a:pt x="1447" y="400"/>
                  <a:pt x="1447" y="400"/>
                  <a:pt x="1447" y="399"/>
                </a:cubicBezTo>
                <a:cubicBezTo>
                  <a:pt x="1447" y="397"/>
                  <a:pt x="1450" y="392"/>
                  <a:pt x="1451" y="392"/>
                </a:cubicBezTo>
                <a:cubicBezTo>
                  <a:pt x="1453" y="391"/>
                  <a:pt x="1457" y="387"/>
                  <a:pt x="1459" y="388"/>
                </a:cubicBezTo>
                <a:cubicBezTo>
                  <a:pt x="1461" y="389"/>
                  <a:pt x="1463" y="390"/>
                  <a:pt x="1463" y="390"/>
                </a:cubicBezTo>
                <a:cubicBezTo>
                  <a:pt x="1463" y="390"/>
                  <a:pt x="1467" y="389"/>
                  <a:pt x="1468" y="390"/>
                </a:cubicBezTo>
                <a:cubicBezTo>
                  <a:pt x="1470" y="391"/>
                  <a:pt x="1471" y="393"/>
                  <a:pt x="1472" y="393"/>
                </a:cubicBezTo>
                <a:cubicBezTo>
                  <a:pt x="1472" y="393"/>
                  <a:pt x="1477" y="395"/>
                  <a:pt x="1480" y="393"/>
                </a:cubicBezTo>
                <a:cubicBezTo>
                  <a:pt x="1482" y="391"/>
                  <a:pt x="1483" y="387"/>
                  <a:pt x="1484" y="387"/>
                </a:cubicBezTo>
                <a:cubicBezTo>
                  <a:pt x="1485" y="387"/>
                  <a:pt x="1486" y="387"/>
                  <a:pt x="1487" y="386"/>
                </a:cubicBezTo>
                <a:cubicBezTo>
                  <a:pt x="1489" y="386"/>
                  <a:pt x="1491" y="386"/>
                  <a:pt x="1492" y="385"/>
                </a:cubicBezTo>
                <a:cubicBezTo>
                  <a:pt x="1494" y="384"/>
                  <a:pt x="1497" y="379"/>
                  <a:pt x="1499" y="379"/>
                </a:cubicBezTo>
                <a:cubicBezTo>
                  <a:pt x="1502" y="379"/>
                  <a:pt x="1508" y="381"/>
                  <a:pt x="1510" y="383"/>
                </a:cubicBezTo>
                <a:cubicBezTo>
                  <a:pt x="1513" y="385"/>
                  <a:pt x="1513" y="389"/>
                  <a:pt x="1513" y="389"/>
                </a:cubicBezTo>
                <a:cubicBezTo>
                  <a:pt x="1515" y="391"/>
                  <a:pt x="1515" y="391"/>
                  <a:pt x="1515" y="391"/>
                </a:cubicBezTo>
                <a:cubicBezTo>
                  <a:pt x="1515" y="391"/>
                  <a:pt x="1513" y="395"/>
                  <a:pt x="1515" y="396"/>
                </a:cubicBezTo>
                <a:cubicBezTo>
                  <a:pt x="1517" y="397"/>
                  <a:pt x="1520" y="398"/>
                  <a:pt x="1520" y="398"/>
                </a:cubicBezTo>
                <a:cubicBezTo>
                  <a:pt x="1521" y="401"/>
                  <a:pt x="1521" y="401"/>
                  <a:pt x="1521" y="401"/>
                </a:cubicBezTo>
                <a:cubicBezTo>
                  <a:pt x="1525" y="401"/>
                  <a:pt x="1525" y="401"/>
                  <a:pt x="1525" y="401"/>
                </a:cubicBezTo>
                <a:cubicBezTo>
                  <a:pt x="1525" y="401"/>
                  <a:pt x="1532" y="408"/>
                  <a:pt x="1534" y="410"/>
                </a:cubicBezTo>
                <a:cubicBezTo>
                  <a:pt x="1536" y="413"/>
                  <a:pt x="1538" y="414"/>
                  <a:pt x="1538" y="414"/>
                </a:cubicBezTo>
                <a:cubicBezTo>
                  <a:pt x="1543" y="415"/>
                  <a:pt x="1543" y="415"/>
                  <a:pt x="1543" y="415"/>
                </a:cubicBezTo>
                <a:cubicBezTo>
                  <a:pt x="1543" y="415"/>
                  <a:pt x="1545" y="418"/>
                  <a:pt x="1548" y="419"/>
                </a:cubicBezTo>
                <a:cubicBezTo>
                  <a:pt x="1551" y="420"/>
                  <a:pt x="1555" y="419"/>
                  <a:pt x="1556" y="420"/>
                </a:cubicBezTo>
                <a:cubicBezTo>
                  <a:pt x="1556" y="422"/>
                  <a:pt x="1557" y="427"/>
                  <a:pt x="1559" y="427"/>
                </a:cubicBezTo>
                <a:cubicBezTo>
                  <a:pt x="1562" y="428"/>
                  <a:pt x="1563" y="427"/>
                  <a:pt x="1563" y="427"/>
                </a:cubicBezTo>
                <a:cubicBezTo>
                  <a:pt x="1563" y="427"/>
                  <a:pt x="1564" y="431"/>
                  <a:pt x="1564" y="434"/>
                </a:cubicBezTo>
                <a:cubicBezTo>
                  <a:pt x="1565" y="437"/>
                  <a:pt x="1567" y="437"/>
                  <a:pt x="1567" y="439"/>
                </a:cubicBezTo>
                <a:cubicBezTo>
                  <a:pt x="1567" y="441"/>
                  <a:pt x="1567" y="442"/>
                  <a:pt x="1567" y="442"/>
                </a:cubicBezTo>
                <a:cubicBezTo>
                  <a:pt x="1565" y="442"/>
                  <a:pt x="1565" y="442"/>
                  <a:pt x="1565" y="442"/>
                </a:cubicBezTo>
                <a:cubicBezTo>
                  <a:pt x="1565" y="445"/>
                  <a:pt x="1565" y="445"/>
                  <a:pt x="1565" y="445"/>
                </a:cubicBezTo>
                <a:cubicBezTo>
                  <a:pt x="1565" y="445"/>
                  <a:pt x="1560" y="451"/>
                  <a:pt x="1563" y="451"/>
                </a:cubicBezTo>
                <a:cubicBezTo>
                  <a:pt x="1565" y="451"/>
                  <a:pt x="1567" y="450"/>
                  <a:pt x="1567" y="450"/>
                </a:cubicBezTo>
                <a:cubicBezTo>
                  <a:pt x="1568" y="447"/>
                  <a:pt x="1568" y="447"/>
                  <a:pt x="1568" y="447"/>
                </a:cubicBezTo>
                <a:cubicBezTo>
                  <a:pt x="1571" y="446"/>
                  <a:pt x="1571" y="446"/>
                  <a:pt x="1571" y="446"/>
                </a:cubicBezTo>
                <a:cubicBezTo>
                  <a:pt x="1571" y="446"/>
                  <a:pt x="1570" y="442"/>
                  <a:pt x="1571" y="441"/>
                </a:cubicBezTo>
                <a:cubicBezTo>
                  <a:pt x="1572" y="441"/>
                  <a:pt x="1576" y="439"/>
                  <a:pt x="1576" y="439"/>
                </a:cubicBezTo>
                <a:cubicBezTo>
                  <a:pt x="1576" y="439"/>
                  <a:pt x="1575" y="435"/>
                  <a:pt x="1575" y="434"/>
                </a:cubicBezTo>
                <a:cubicBezTo>
                  <a:pt x="1574" y="433"/>
                  <a:pt x="1570" y="432"/>
                  <a:pt x="1570" y="431"/>
                </a:cubicBezTo>
                <a:cubicBezTo>
                  <a:pt x="1570" y="429"/>
                  <a:pt x="1573" y="422"/>
                  <a:pt x="1575" y="423"/>
                </a:cubicBezTo>
                <a:cubicBezTo>
                  <a:pt x="1576" y="424"/>
                  <a:pt x="1578" y="424"/>
                  <a:pt x="1578" y="424"/>
                </a:cubicBezTo>
                <a:cubicBezTo>
                  <a:pt x="1582" y="424"/>
                  <a:pt x="1582" y="424"/>
                  <a:pt x="1582" y="424"/>
                </a:cubicBezTo>
                <a:cubicBezTo>
                  <a:pt x="1582" y="424"/>
                  <a:pt x="1583" y="429"/>
                  <a:pt x="1586" y="429"/>
                </a:cubicBezTo>
                <a:cubicBezTo>
                  <a:pt x="1589" y="430"/>
                  <a:pt x="1589" y="427"/>
                  <a:pt x="1588" y="425"/>
                </a:cubicBezTo>
                <a:cubicBezTo>
                  <a:pt x="1586" y="423"/>
                  <a:pt x="1581" y="419"/>
                  <a:pt x="1581" y="419"/>
                </a:cubicBezTo>
                <a:cubicBezTo>
                  <a:pt x="1574" y="416"/>
                  <a:pt x="1574" y="416"/>
                  <a:pt x="1574" y="416"/>
                </a:cubicBezTo>
                <a:cubicBezTo>
                  <a:pt x="1574" y="416"/>
                  <a:pt x="1563" y="413"/>
                  <a:pt x="1564" y="411"/>
                </a:cubicBezTo>
                <a:cubicBezTo>
                  <a:pt x="1565" y="410"/>
                  <a:pt x="1567" y="409"/>
                  <a:pt x="1567" y="408"/>
                </a:cubicBezTo>
                <a:cubicBezTo>
                  <a:pt x="1566" y="406"/>
                  <a:pt x="1556" y="406"/>
                  <a:pt x="1556" y="406"/>
                </a:cubicBezTo>
                <a:cubicBezTo>
                  <a:pt x="1556" y="406"/>
                  <a:pt x="1553" y="405"/>
                  <a:pt x="1550" y="401"/>
                </a:cubicBezTo>
                <a:cubicBezTo>
                  <a:pt x="1546" y="397"/>
                  <a:pt x="1545" y="394"/>
                  <a:pt x="1545" y="394"/>
                </a:cubicBezTo>
                <a:cubicBezTo>
                  <a:pt x="1545" y="394"/>
                  <a:pt x="1544" y="389"/>
                  <a:pt x="1542" y="388"/>
                </a:cubicBezTo>
                <a:cubicBezTo>
                  <a:pt x="1540" y="387"/>
                  <a:pt x="1538" y="384"/>
                  <a:pt x="1538" y="384"/>
                </a:cubicBezTo>
                <a:cubicBezTo>
                  <a:pt x="1532" y="380"/>
                  <a:pt x="1532" y="380"/>
                  <a:pt x="1532" y="380"/>
                </a:cubicBezTo>
                <a:cubicBezTo>
                  <a:pt x="1532" y="380"/>
                  <a:pt x="1529" y="375"/>
                  <a:pt x="1530" y="375"/>
                </a:cubicBezTo>
                <a:cubicBezTo>
                  <a:pt x="1531" y="374"/>
                  <a:pt x="1533" y="374"/>
                  <a:pt x="1533" y="373"/>
                </a:cubicBezTo>
                <a:cubicBezTo>
                  <a:pt x="1533" y="372"/>
                  <a:pt x="1529" y="370"/>
                  <a:pt x="1531" y="368"/>
                </a:cubicBezTo>
                <a:cubicBezTo>
                  <a:pt x="1533" y="366"/>
                  <a:pt x="1538" y="365"/>
                  <a:pt x="1538" y="365"/>
                </a:cubicBezTo>
                <a:cubicBezTo>
                  <a:pt x="1540" y="364"/>
                  <a:pt x="1540" y="364"/>
                  <a:pt x="1540" y="364"/>
                </a:cubicBezTo>
                <a:cubicBezTo>
                  <a:pt x="1540" y="364"/>
                  <a:pt x="1545" y="365"/>
                  <a:pt x="1545" y="365"/>
                </a:cubicBezTo>
                <a:cubicBezTo>
                  <a:pt x="1544" y="366"/>
                  <a:pt x="1544" y="367"/>
                  <a:pt x="1544" y="368"/>
                </a:cubicBezTo>
                <a:cubicBezTo>
                  <a:pt x="1543" y="368"/>
                  <a:pt x="1543" y="369"/>
                  <a:pt x="1543" y="369"/>
                </a:cubicBezTo>
                <a:cubicBezTo>
                  <a:pt x="1543" y="369"/>
                  <a:pt x="1543" y="376"/>
                  <a:pt x="1544" y="374"/>
                </a:cubicBezTo>
                <a:cubicBezTo>
                  <a:pt x="1546" y="372"/>
                  <a:pt x="1548" y="369"/>
                  <a:pt x="1549" y="370"/>
                </a:cubicBezTo>
                <a:cubicBezTo>
                  <a:pt x="1550" y="371"/>
                  <a:pt x="1550" y="374"/>
                  <a:pt x="1550" y="374"/>
                </a:cubicBezTo>
                <a:cubicBezTo>
                  <a:pt x="1554" y="374"/>
                  <a:pt x="1554" y="374"/>
                  <a:pt x="1554" y="374"/>
                </a:cubicBezTo>
                <a:cubicBezTo>
                  <a:pt x="1554" y="374"/>
                  <a:pt x="1553" y="378"/>
                  <a:pt x="1555" y="379"/>
                </a:cubicBezTo>
                <a:cubicBezTo>
                  <a:pt x="1558" y="379"/>
                  <a:pt x="1557" y="381"/>
                  <a:pt x="1557" y="381"/>
                </a:cubicBezTo>
                <a:cubicBezTo>
                  <a:pt x="1563" y="386"/>
                  <a:pt x="1563" y="386"/>
                  <a:pt x="1563" y="386"/>
                </a:cubicBezTo>
                <a:cubicBezTo>
                  <a:pt x="1563" y="389"/>
                  <a:pt x="1563" y="389"/>
                  <a:pt x="1563" y="389"/>
                </a:cubicBezTo>
                <a:cubicBezTo>
                  <a:pt x="1569" y="389"/>
                  <a:pt x="1569" y="389"/>
                  <a:pt x="1569" y="389"/>
                </a:cubicBezTo>
                <a:cubicBezTo>
                  <a:pt x="1569" y="389"/>
                  <a:pt x="1572" y="389"/>
                  <a:pt x="1573" y="391"/>
                </a:cubicBezTo>
                <a:cubicBezTo>
                  <a:pt x="1573" y="391"/>
                  <a:pt x="1572" y="393"/>
                  <a:pt x="1574" y="394"/>
                </a:cubicBezTo>
                <a:cubicBezTo>
                  <a:pt x="1577" y="394"/>
                  <a:pt x="1577" y="394"/>
                  <a:pt x="1577" y="394"/>
                </a:cubicBezTo>
                <a:cubicBezTo>
                  <a:pt x="1579" y="395"/>
                  <a:pt x="1579" y="395"/>
                  <a:pt x="1579" y="395"/>
                </a:cubicBezTo>
                <a:cubicBezTo>
                  <a:pt x="1579" y="395"/>
                  <a:pt x="1584" y="400"/>
                  <a:pt x="1586" y="401"/>
                </a:cubicBezTo>
                <a:cubicBezTo>
                  <a:pt x="1586" y="401"/>
                  <a:pt x="1587" y="401"/>
                  <a:pt x="1587" y="401"/>
                </a:cubicBezTo>
                <a:cubicBezTo>
                  <a:pt x="1588" y="402"/>
                  <a:pt x="1590" y="401"/>
                  <a:pt x="1590" y="401"/>
                </a:cubicBezTo>
                <a:cubicBezTo>
                  <a:pt x="1590" y="403"/>
                  <a:pt x="1590" y="403"/>
                  <a:pt x="1590" y="403"/>
                </a:cubicBezTo>
                <a:cubicBezTo>
                  <a:pt x="1594" y="407"/>
                  <a:pt x="1594" y="407"/>
                  <a:pt x="1594" y="407"/>
                </a:cubicBezTo>
                <a:cubicBezTo>
                  <a:pt x="1595" y="407"/>
                  <a:pt x="1595" y="407"/>
                  <a:pt x="1595" y="407"/>
                </a:cubicBezTo>
                <a:cubicBezTo>
                  <a:pt x="1598" y="407"/>
                  <a:pt x="1598" y="407"/>
                  <a:pt x="1598" y="407"/>
                </a:cubicBezTo>
                <a:cubicBezTo>
                  <a:pt x="1598" y="407"/>
                  <a:pt x="1597" y="416"/>
                  <a:pt x="1597" y="418"/>
                </a:cubicBezTo>
                <a:cubicBezTo>
                  <a:pt x="1597" y="421"/>
                  <a:pt x="1594" y="424"/>
                  <a:pt x="1595" y="425"/>
                </a:cubicBezTo>
                <a:cubicBezTo>
                  <a:pt x="1597" y="426"/>
                  <a:pt x="1600" y="428"/>
                  <a:pt x="1600" y="428"/>
                </a:cubicBezTo>
                <a:cubicBezTo>
                  <a:pt x="1600" y="428"/>
                  <a:pt x="1600" y="432"/>
                  <a:pt x="1600" y="432"/>
                </a:cubicBezTo>
                <a:cubicBezTo>
                  <a:pt x="1601" y="432"/>
                  <a:pt x="1605" y="433"/>
                  <a:pt x="1605" y="433"/>
                </a:cubicBezTo>
                <a:cubicBezTo>
                  <a:pt x="1605" y="433"/>
                  <a:pt x="1604" y="436"/>
                  <a:pt x="1606" y="437"/>
                </a:cubicBezTo>
                <a:cubicBezTo>
                  <a:pt x="1608" y="437"/>
                  <a:pt x="1610" y="441"/>
                  <a:pt x="1610" y="441"/>
                </a:cubicBezTo>
                <a:cubicBezTo>
                  <a:pt x="1610" y="441"/>
                  <a:pt x="1612" y="446"/>
                  <a:pt x="1614" y="446"/>
                </a:cubicBezTo>
                <a:cubicBezTo>
                  <a:pt x="1616" y="446"/>
                  <a:pt x="1620" y="446"/>
                  <a:pt x="1620" y="446"/>
                </a:cubicBezTo>
                <a:cubicBezTo>
                  <a:pt x="1620" y="446"/>
                  <a:pt x="1623" y="445"/>
                  <a:pt x="1625" y="445"/>
                </a:cubicBezTo>
                <a:cubicBezTo>
                  <a:pt x="1626" y="446"/>
                  <a:pt x="1634" y="449"/>
                  <a:pt x="1634" y="449"/>
                </a:cubicBezTo>
                <a:cubicBezTo>
                  <a:pt x="1634" y="449"/>
                  <a:pt x="1638" y="454"/>
                  <a:pt x="1639" y="452"/>
                </a:cubicBezTo>
                <a:cubicBezTo>
                  <a:pt x="1640" y="451"/>
                  <a:pt x="1641" y="449"/>
                  <a:pt x="1639" y="448"/>
                </a:cubicBezTo>
                <a:cubicBezTo>
                  <a:pt x="1637" y="446"/>
                  <a:pt x="1634" y="443"/>
                  <a:pt x="1633" y="443"/>
                </a:cubicBezTo>
                <a:cubicBezTo>
                  <a:pt x="1633" y="443"/>
                  <a:pt x="1629" y="441"/>
                  <a:pt x="1629" y="441"/>
                </a:cubicBezTo>
                <a:cubicBezTo>
                  <a:pt x="1629" y="441"/>
                  <a:pt x="1630" y="440"/>
                  <a:pt x="1631" y="440"/>
                </a:cubicBezTo>
                <a:cubicBezTo>
                  <a:pt x="1632" y="440"/>
                  <a:pt x="1637" y="445"/>
                  <a:pt x="1640" y="446"/>
                </a:cubicBezTo>
                <a:cubicBezTo>
                  <a:pt x="1643" y="446"/>
                  <a:pt x="1644" y="443"/>
                  <a:pt x="1641" y="442"/>
                </a:cubicBezTo>
                <a:cubicBezTo>
                  <a:pt x="1638" y="442"/>
                  <a:pt x="1636" y="441"/>
                  <a:pt x="1636" y="441"/>
                </a:cubicBezTo>
                <a:cubicBezTo>
                  <a:pt x="1636" y="441"/>
                  <a:pt x="1633" y="439"/>
                  <a:pt x="1633" y="438"/>
                </a:cubicBezTo>
                <a:cubicBezTo>
                  <a:pt x="1632" y="436"/>
                  <a:pt x="1630" y="433"/>
                  <a:pt x="1630" y="433"/>
                </a:cubicBezTo>
                <a:cubicBezTo>
                  <a:pt x="1630" y="433"/>
                  <a:pt x="1628" y="429"/>
                  <a:pt x="1627" y="428"/>
                </a:cubicBezTo>
                <a:cubicBezTo>
                  <a:pt x="1626" y="427"/>
                  <a:pt x="1625" y="422"/>
                  <a:pt x="1626" y="422"/>
                </a:cubicBezTo>
                <a:cubicBezTo>
                  <a:pt x="1627" y="421"/>
                  <a:pt x="1628" y="425"/>
                  <a:pt x="1630" y="425"/>
                </a:cubicBezTo>
                <a:cubicBezTo>
                  <a:pt x="1630" y="425"/>
                  <a:pt x="1631" y="425"/>
                  <a:pt x="1631" y="425"/>
                </a:cubicBezTo>
                <a:cubicBezTo>
                  <a:pt x="1632" y="426"/>
                  <a:pt x="1633" y="428"/>
                  <a:pt x="1633" y="428"/>
                </a:cubicBezTo>
                <a:cubicBezTo>
                  <a:pt x="1634" y="429"/>
                  <a:pt x="1635" y="428"/>
                  <a:pt x="1635" y="428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4" y="425"/>
                  <a:pt x="1634" y="425"/>
                  <a:pt x="1634" y="425"/>
                </a:cubicBezTo>
                <a:cubicBezTo>
                  <a:pt x="1638" y="427"/>
                  <a:pt x="1638" y="427"/>
                  <a:pt x="1638" y="427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6" y="424"/>
                  <a:pt x="1636" y="424"/>
                  <a:pt x="1636" y="424"/>
                </a:cubicBezTo>
                <a:cubicBezTo>
                  <a:pt x="1637" y="424"/>
                  <a:pt x="1637" y="422"/>
                  <a:pt x="1637" y="420"/>
                </a:cubicBezTo>
                <a:cubicBezTo>
                  <a:pt x="1637" y="419"/>
                  <a:pt x="1640" y="418"/>
                  <a:pt x="1642" y="419"/>
                </a:cubicBezTo>
                <a:cubicBezTo>
                  <a:pt x="1644" y="419"/>
                  <a:pt x="1643" y="422"/>
                  <a:pt x="1645" y="421"/>
                </a:cubicBezTo>
                <a:cubicBezTo>
                  <a:pt x="1647" y="421"/>
                  <a:pt x="1647" y="418"/>
                  <a:pt x="1648" y="417"/>
                </a:cubicBezTo>
                <a:cubicBezTo>
                  <a:pt x="1649" y="417"/>
                  <a:pt x="1658" y="419"/>
                  <a:pt x="1658" y="419"/>
                </a:cubicBezTo>
                <a:cubicBezTo>
                  <a:pt x="1658" y="419"/>
                  <a:pt x="1656" y="422"/>
                  <a:pt x="1659" y="422"/>
                </a:cubicBezTo>
                <a:cubicBezTo>
                  <a:pt x="1662" y="421"/>
                  <a:pt x="1664" y="420"/>
                  <a:pt x="1664" y="420"/>
                </a:cubicBezTo>
                <a:cubicBezTo>
                  <a:pt x="1664" y="420"/>
                  <a:pt x="1663" y="422"/>
                  <a:pt x="1665" y="422"/>
                </a:cubicBezTo>
                <a:cubicBezTo>
                  <a:pt x="1667" y="421"/>
                  <a:pt x="1671" y="417"/>
                  <a:pt x="1671" y="417"/>
                </a:cubicBezTo>
                <a:cubicBezTo>
                  <a:pt x="1671" y="417"/>
                  <a:pt x="1678" y="415"/>
                  <a:pt x="1680" y="416"/>
                </a:cubicBezTo>
                <a:cubicBezTo>
                  <a:pt x="1683" y="418"/>
                  <a:pt x="1690" y="419"/>
                  <a:pt x="1690" y="419"/>
                </a:cubicBezTo>
                <a:cubicBezTo>
                  <a:pt x="1690" y="419"/>
                  <a:pt x="1683" y="420"/>
                  <a:pt x="1683" y="420"/>
                </a:cubicBezTo>
                <a:cubicBezTo>
                  <a:pt x="1683" y="421"/>
                  <a:pt x="1682" y="423"/>
                  <a:pt x="1682" y="423"/>
                </a:cubicBezTo>
                <a:cubicBezTo>
                  <a:pt x="1675" y="423"/>
                  <a:pt x="1675" y="423"/>
                  <a:pt x="1675" y="423"/>
                </a:cubicBezTo>
                <a:cubicBezTo>
                  <a:pt x="1668" y="423"/>
                  <a:pt x="1668" y="423"/>
                  <a:pt x="1668" y="423"/>
                </a:cubicBezTo>
                <a:cubicBezTo>
                  <a:pt x="1668" y="423"/>
                  <a:pt x="1662" y="424"/>
                  <a:pt x="1661" y="425"/>
                </a:cubicBezTo>
                <a:cubicBezTo>
                  <a:pt x="1661" y="427"/>
                  <a:pt x="1659" y="433"/>
                  <a:pt x="1659" y="433"/>
                </a:cubicBezTo>
                <a:cubicBezTo>
                  <a:pt x="1664" y="433"/>
                  <a:pt x="1664" y="433"/>
                  <a:pt x="1664" y="433"/>
                </a:cubicBezTo>
                <a:cubicBezTo>
                  <a:pt x="1664" y="433"/>
                  <a:pt x="1663" y="435"/>
                  <a:pt x="1665" y="437"/>
                </a:cubicBezTo>
                <a:cubicBezTo>
                  <a:pt x="1666" y="438"/>
                  <a:pt x="1667" y="440"/>
                  <a:pt x="1667" y="440"/>
                </a:cubicBezTo>
                <a:cubicBezTo>
                  <a:pt x="1666" y="442"/>
                  <a:pt x="1666" y="442"/>
                  <a:pt x="1666" y="442"/>
                </a:cubicBezTo>
                <a:cubicBezTo>
                  <a:pt x="1668" y="446"/>
                  <a:pt x="1668" y="446"/>
                  <a:pt x="1668" y="446"/>
                </a:cubicBezTo>
                <a:cubicBezTo>
                  <a:pt x="1666" y="448"/>
                  <a:pt x="1666" y="448"/>
                  <a:pt x="1666" y="448"/>
                </a:cubicBezTo>
                <a:cubicBezTo>
                  <a:pt x="1671" y="452"/>
                  <a:pt x="1671" y="452"/>
                  <a:pt x="1671" y="452"/>
                </a:cubicBezTo>
                <a:cubicBezTo>
                  <a:pt x="1671" y="457"/>
                  <a:pt x="1671" y="457"/>
                  <a:pt x="1671" y="457"/>
                </a:cubicBezTo>
                <a:cubicBezTo>
                  <a:pt x="1678" y="461"/>
                  <a:pt x="1678" y="461"/>
                  <a:pt x="1678" y="461"/>
                </a:cubicBezTo>
                <a:cubicBezTo>
                  <a:pt x="1679" y="466"/>
                  <a:pt x="1679" y="466"/>
                  <a:pt x="1679" y="466"/>
                </a:cubicBezTo>
                <a:cubicBezTo>
                  <a:pt x="1679" y="466"/>
                  <a:pt x="1678" y="463"/>
                  <a:pt x="1682" y="464"/>
                </a:cubicBezTo>
                <a:cubicBezTo>
                  <a:pt x="1686" y="465"/>
                  <a:pt x="1686" y="469"/>
                  <a:pt x="1692" y="469"/>
                </a:cubicBezTo>
                <a:cubicBezTo>
                  <a:pt x="1698" y="470"/>
                  <a:pt x="1701" y="470"/>
                  <a:pt x="1701" y="468"/>
                </a:cubicBezTo>
                <a:cubicBezTo>
                  <a:pt x="1701" y="467"/>
                  <a:pt x="1701" y="463"/>
                  <a:pt x="1703" y="463"/>
                </a:cubicBezTo>
                <a:cubicBezTo>
                  <a:pt x="1705" y="463"/>
                  <a:pt x="1711" y="464"/>
                  <a:pt x="1714" y="465"/>
                </a:cubicBezTo>
                <a:cubicBezTo>
                  <a:pt x="1717" y="466"/>
                  <a:pt x="1714" y="472"/>
                  <a:pt x="1724" y="472"/>
                </a:cubicBezTo>
                <a:cubicBezTo>
                  <a:pt x="1733" y="471"/>
                  <a:pt x="1733" y="466"/>
                  <a:pt x="1737" y="465"/>
                </a:cubicBezTo>
                <a:cubicBezTo>
                  <a:pt x="1740" y="464"/>
                  <a:pt x="1743" y="463"/>
                  <a:pt x="1744" y="464"/>
                </a:cubicBezTo>
                <a:cubicBezTo>
                  <a:pt x="1745" y="466"/>
                  <a:pt x="1746" y="467"/>
                  <a:pt x="1748" y="466"/>
                </a:cubicBezTo>
                <a:cubicBezTo>
                  <a:pt x="1750" y="465"/>
                  <a:pt x="1752" y="461"/>
                  <a:pt x="1753" y="463"/>
                </a:cubicBezTo>
                <a:cubicBezTo>
                  <a:pt x="1755" y="464"/>
                  <a:pt x="1753" y="466"/>
                  <a:pt x="1753" y="468"/>
                </a:cubicBezTo>
                <a:cubicBezTo>
                  <a:pt x="1752" y="469"/>
                  <a:pt x="1750" y="471"/>
                  <a:pt x="1752" y="472"/>
                </a:cubicBezTo>
                <a:cubicBezTo>
                  <a:pt x="1752" y="473"/>
                  <a:pt x="1752" y="473"/>
                  <a:pt x="1752" y="473"/>
                </a:cubicBezTo>
                <a:cubicBezTo>
                  <a:pt x="1752" y="474"/>
                  <a:pt x="1750" y="476"/>
                  <a:pt x="1750" y="477"/>
                </a:cubicBezTo>
                <a:cubicBezTo>
                  <a:pt x="1749" y="478"/>
                  <a:pt x="1749" y="478"/>
                  <a:pt x="1749" y="478"/>
                </a:cubicBezTo>
                <a:cubicBezTo>
                  <a:pt x="1749" y="484"/>
                  <a:pt x="1749" y="484"/>
                  <a:pt x="1749" y="484"/>
                </a:cubicBezTo>
                <a:cubicBezTo>
                  <a:pt x="1749" y="484"/>
                  <a:pt x="1752" y="486"/>
                  <a:pt x="1753" y="488"/>
                </a:cubicBezTo>
                <a:cubicBezTo>
                  <a:pt x="1753" y="488"/>
                  <a:pt x="1753" y="488"/>
                  <a:pt x="1753" y="489"/>
                </a:cubicBezTo>
                <a:cubicBezTo>
                  <a:pt x="1751" y="491"/>
                  <a:pt x="1749" y="492"/>
                  <a:pt x="1749" y="492"/>
                </a:cubicBezTo>
                <a:cubicBezTo>
                  <a:pt x="1747" y="497"/>
                  <a:pt x="1747" y="497"/>
                  <a:pt x="1747" y="497"/>
                </a:cubicBezTo>
                <a:cubicBezTo>
                  <a:pt x="1747" y="497"/>
                  <a:pt x="1745" y="502"/>
                  <a:pt x="1745" y="506"/>
                </a:cubicBezTo>
                <a:cubicBezTo>
                  <a:pt x="1745" y="507"/>
                  <a:pt x="1745" y="509"/>
                  <a:pt x="1745" y="510"/>
                </a:cubicBezTo>
                <a:cubicBezTo>
                  <a:pt x="1745" y="512"/>
                  <a:pt x="1746" y="515"/>
                  <a:pt x="1746" y="515"/>
                </a:cubicBezTo>
                <a:cubicBezTo>
                  <a:pt x="1743" y="520"/>
                  <a:pt x="1743" y="520"/>
                  <a:pt x="1743" y="520"/>
                </a:cubicBezTo>
                <a:cubicBezTo>
                  <a:pt x="1743" y="523"/>
                  <a:pt x="1743" y="523"/>
                  <a:pt x="1743" y="523"/>
                </a:cubicBezTo>
                <a:cubicBezTo>
                  <a:pt x="1741" y="525"/>
                  <a:pt x="1741" y="525"/>
                  <a:pt x="1741" y="525"/>
                </a:cubicBezTo>
                <a:cubicBezTo>
                  <a:pt x="1741" y="525"/>
                  <a:pt x="1733" y="528"/>
                  <a:pt x="1731" y="527"/>
                </a:cubicBezTo>
                <a:cubicBezTo>
                  <a:pt x="1729" y="527"/>
                  <a:pt x="1728" y="526"/>
                  <a:pt x="1728" y="526"/>
                </a:cubicBezTo>
                <a:cubicBezTo>
                  <a:pt x="1728" y="526"/>
                  <a:pt x="1726" y="528"/>
                  <a:pt x="1723" y="527"/>
                </a:cubicBezTo>
                <a:cubicBezTo>
                  <a:pt x="1720" y="525"/>
                  <a:pt x="1721" y="523"/>
                  <a:pt x="1718" y="523"/>
                </a:cubicBezTo>
                <a:cubicBezTo>
                  <a:pt x="1714" y="522"/>
                  <a:pt x="1710" y="524"/>
                  <a:pt x="1710" y="524"/>
                </a:cubicBezTo>
                <a:cubicBezTo>
                  <a:pt x="1710" y="524"/>
                  <a:pt x="1707" y="523"/>
                  <a:pt x="1704" y="523"/>
                </a:cubicBezTo>
                <a:cubicBezTo>
                  <a:pt x="1702" y="524"/>
                  <a:pt x="1700" y="527"/>
                  <a:pt x="1700" y="527"/>
                </a:cubicBezTo>
                <a:cubicBezTo>
                  <a:pt x="1700" y="527"/>
                  <a:pt x="1698" y="527"/>
                  <a:pt x="1697" y="527"/>
                </a:cubicBezTo>
                <a:cubicBezTo>
                  <a:pt x="1696" y="528"/>
                  <a:pt x="1694" y="530"/>
                  <a:pt x="1694" y="530"/>
                </a:cubicBezTo>
                <a:cubicBezTo>
                  <a:pt x="1694" y="530"/>
                  <a:pt x="1686" y="527"/>
                  <a:pt x="1685" y="527"/>
                </a:cubicBezTo>
                <a:cubicBezTo>
                  <a:pt x="1684" y="527"/>
                  <a:pt x="1682" y="528"/>
                  <a:pt x="1679" y="527"/>
                </a:cubicBezTo>
                <a:cubicBezTo>
                  <a:pt x="1676" y="527"/>
                  <a:pt x="1676" y="524"/>
                  <a:pt x="1673" y="524"/>
                </a:cubicBezTo>
                <a:cubicBezTo>
                  <a:pt x="1670" y="524"/>
                  <a:pt x="1668" y="524"/>
                  <a:pt x="1668" y="524"/>
                </a:cubicBezTo>
                <a:cubicBezTo>
                  <a:pt x="1668" y="524"/>
                  <a:pt x="1664" y="521"/>
                  <a:pt x="1662" y="521"/>
                </a:cubicBezTo>
                <a:cubicBezTo>
                  <a:pt x="1660" y="521"/>
                  <a:pt x="1659" y="524"/>
                  <a:pt x="1656" y="522"/>
                </a:cubicBezTo>
                <a:cubicBezTo>
                  <a:pt x="1656" y="522"/>
                  <a:pt x="1655" y="522"/>
                  <a:pt x="1655" y="521"/>
                </a:cubicBezTo>
                <a:cubicBezTo>
                  <a:pt x="1653" y="519"/>
                  <a:pt x="1654" y="517"/>
                  <a:pt x="1654" y="517"/>
                </a:cubicBezTo>
                <a:cubicBezTo>
                  <a:pt x="1651" y="518"/>
                  <a:pt x="1651" y="518"/>
                  <a:pt x="1651" y="518"/>
                </a:cubicBezTo>
                <a:cubicBezTo>
                  <a:pt x="1649" y="517"/>
                  <a:pt x="1649" y="517"/>
                  <a:pt x="1649" y="517"/>
                </a:cubicBezTo>
                <a:cubicBezTo>
                  <a:pt x="1649" y="517"/>
                  <a:pt x="1648" y="518"/>
                  <a:pt x="1647" y="518"/>
                </a:cubicBezTo>
                <a:cubicBezTo>
                  <a:pt x="1645" y="518"/>
                  <a:pt x="1644" y="515"/>
                  <a:pt x="1642" y="515"/>
                </a:cubicBezTo>
                <a:cubicBezTo>
                  <a:pt x="1640" y="515"/>
                  <a:pt x="1638" y="516"/>
                  <a:pt x="1635" y="514"/>
                </a:cubicBezTo>
                <a:cubicBezTo>
                  <a:pt x="1633" y="513"/>
                  <a:pt x="1635" y="511"/>
                  <a:pt x="1633" y="510"/>
                </a:cubicBezTo>
                <a:cubicBezTo>
                  <a:pt x="1631" y="509"/>
                  <a:pt x="1627" y="509"/>
                  <a:pt x="1627" y="509"/>
                </a:cubicBezTo>
                <a:cubicBezTo>
                  <a:pt x="1627" y="509"/>
                  <a:pt x="1623" y="507"/>
                  <a:pt x="1621" y="507"/>
                </a:cubicBezTo>
                <a:cubicBezTo>
                  <a:pt x="1620" y="507"/>
                  <a:pt x="1620" y="509"/>
                  <a:pt x="1620" y="509"/>
                </a:cubicBezTo>
                <a:cubicBezTo>
                  <a:pt x="1620" y="509"/>
                  <a:pt x="1613" y="509"/>
                  <a:pt x="1611" y="511"/>
                </a:cubicBezTo>
                <a:cubicBezTo>
                  <a:pt x="1608" y="513"/>
                  <a:pt x="1604" y="515"/>
                  <a:pt x="1604" y="519"/>
                </a:cubicBezTo>
                <a:cubicBezTo>
                  <a:pt x="1604" y="522"/>
                  <a:pt x="1608" y="526"/>
                  <a:pt x="1608" y="528"/>
                </a:cubicBezTo>
                <a:cubicBezTo>
                  <a:pt x="1608" y="530"/>
                  <a:pt x="1603" y="536"/>
                  <a:pt x="1601" y="536"/>
                </a:cubicBezTo>
                <a:cubicBezTo>
                  <a:pt x="1598" y="537"/>
                  <a:pt x="1595" y="537"/>
                  <a:pt x="1592" y="534"/>
                </a:cubicBezTo>
                <a:cubicBezTo>
                  <a:pt x="1589" y="531"/>
                  <a:pt x="1581" y="526"/>
                  <a:pt x="1577" y="526"/>
                </a:cubicBezTo>
                <a:cubicBezTo>
                  <a:pt x="1574" y="526"/>
                  <a:pt x="1567" y="528"/>
                  <a:pt x="1565" y="524"/>
                </a:cubicBezTo>
                <a:cubicBezTo>
                  <a:pt x="1562" y="521"/>
                  <a:pt x="1563" y="519"/>
                  <a:pt x="1561" y="515"/>
                </a:cubicBezTo>
                <a:cubicBezTo>
                  <a:pt x="1559" y="512"/>
                  <a:pt x="1555" y="513"/>
                  <a:pt x="1555" y="513"/>
                </a:cubicBezTo>
                <a:cubicBezTo>
                  <a:pt x="1555" y="513"/>
                  <a:pt x="1550" y="509"/>
                  <a:pt x="1548" y="509"/>
                </a:cubicBezTo>
                <a:cubicBezTo>
                  <a:pt x="1547" y="508"/>
                  <a:pt x="1542" y="508"/>
                  <a:pt x="1540" y="508"/>
                </a:cubicBezTo>
                <a:cubicBezTo>
                  <a:pt x="1539" y="509"/>
                  <a:pt x="1536" y="510"/>
                  <a:pt x="1534" y="509"/>
                </a:cubicBezTo>
                <a:cubicBezTo>
                  <a:pt x="1532" y="508"/>
                  <a:pt x="1527" y="505"/>
                  <a:pt x="1526" y="505"/>
                </a:cubicBezTo>
                <a:cubicBezTo>
                  <a:pt x="1526" y="505"/>
                  <a:pt x="1525" y="504"/>
                  <a:pt x="1524" y="504"/>
                </a:cubicBezTo>
                <a:cubicBezTo>
                  <a:pt x="1523" y="504"/>
                  <a:pt x="1522" y="504"/>
                  <a:pt x="1522" y="504"/>
                </a:cubicBezTo>
                <a:cubicBezTo>
                  <a:pt x="1521" y="500"/>
                  <a:pt x="1521" y="500"/>
                  <a:pt x="1521" y="500"/>
                </a:cubicBezTo>
                <a:cubicBezTo>
                  <a:pt x="1519" y="499"/>
                  <a:pt x="1519" y="499"/>
                  <a:pt x="1519" y="499"/>
                </a:cubicBezTo>
                <a:cubicBezTo>
                  <a:pt x="1518" y="501"/>
                  <a:pt x="1518" y="501"/>
                  <a:pt x="1518" y="501"/>
                </a:cubicBezTo>
                <a:cubicBezTo>
                  <a:pt x="1517" y="499"/>
                  <a:pt x="1517" y="499"/>
                  <a:pt x="1517" y="499"/>
                </a:cubicBezTo>
                <a:cubicBezTo>
                  <a:pt x="1517" y="499"/>
                  <a:pt x="1511" y="499"/>
                  <a:pt x="1511" y="495"/>
                </a:cubicBezTo>
                <a:cubicBezTo>
                  <a:pt x="1511" y="491"/>
                  <a:pt x="1510" y="493"/>
                  <a:pt x="1515" y="489"/>
                </a:cubicBezTo>
                <a:cubicBezTo>
                  <a:pt x="1520" y="484"/>
                  <a:pt x="1523" y="481"/>
                  <a:pt x="1520" y="478"/>
                </a:cubicBezTo>
                <a:cubicBezTo>
                  <a:pt x="1517" y="474"/>
                  <a:pt x="1514" y="475"/>
                  <a:pt x="1515" y="472"/>
                </a:cubicBezTo>
                <a:cubicBezTo>
                  <a:pt x="1516" y="468"/>
                  <a:pt x="1516" y="469"/>
                  <a:pt x="1518" y="467"/>
                </a:cubicBezTo>
                <a:cubicBezTo>
                  <a:pt x="1520" y="465"/>
                  <a:pt x="1522" y="460"/>
                  <a:pt x="1520" y="460"/>
                </a:cubicBezTo>
                <a:cubicBezTo>
                  <a:pt x="1519" y="460"/>
                  <a:pt x="1515" y="465"/>
                  <a:pt x="1514" y="466"/>
                </a:cubicBezTo>
                <a:cubicBezTo>
                  <a:pt x="1513" y="466"/>
                  <a:pt x="1510" y="463"/>
                  <a:pt x="1510" y="463"/>
                </a:cubicBezTo>
                <a:cubicBezTo>
                  <a:pt x="1510" y="463"/>
                  <a:pt x="1514" y="460"/>
                  <a:pt x="1511" y="458"/>
                </a:cubicBezTo>
                <a:cubicBezTo>
                  <a:pt x="1507" y="456"/>
                  <a:pt x="1501" y="460"/>
                  <a:pt x="1500" y="461"/>
                </a:cubicBezTo>
                <a:cubicBezTo>
                  <a:pt x="1500" y="461"/>
                  <a:pt x="1499" y="462"/>
                  <a:pt x="1499" y="462"/>
                </a:cubicBezTo>
                <a:cubicBezTo>
                  <a:pt x="1499" y="464"/>
                  <a:pt x="1499" y="464"/>
                  <a:pt x="1499" y="464"/>
                </a:cubicBezTo>
                <a:cubicBezTo>
                  <a:pt x="1499" y="462"/>
                  <a:pt x="1499" y="462"/>
                  <a:pt x="1499" y="462"/>
                </a:cubicBezTo>
                <a:cubicBezTo>
                  <a:pt x="1497" y="462"/>
                  <a:pt x="1494" y="461"/>
                  <a:pt x="1494" y="461"/>
                </a:cubicBezTo>
                <a:cubicBezTo>
                  <a:pt x="1493" y="463"/>
                  <a:pt x="1493" y="463"/>
                  <a:pt x="1493" y="463"/>
                </a:cubicBezTo>
                <a:cubicBezTo>
                  <a:pt x="1487" y="460"/>
                  <a:pt x="1487" y="460"/>
                  <a:pt x="1487" y="460"/>
                </a:cubicBezTo>
                <a:cubicBezTo>
                  <a:pt x="1485" y="460"/>
                  <a:pt x="1485" y="460"/>
                  <a:pt x="1485" y="460"/>
                </a:cubicBezTo>
                <a:cubicBezTo>
                  <a:pt x="1485" y="462"/>
                  <a:pt x="1485" y="462"/>
                  <a:pt x="1485" y="462"/>
                </a:cubicBezTo>
                <a:cubicBezTo>
                  <a:pt x="1480" y="462"/>
                  <a:pt x="1480" y="462"/>
                  <a:pt x="1480" y="462"/>
                </a:cubicBezTo>
                <a:cubicBezTo>
                  <a:pt x="1476" y="459"/>
                  <a:pt x="1476" y="459"/>
                  <a:pt x="1476" y="459"/>
                </a:cubicBezTo>
                <a:cubicBezTo>
                  <a:pt x="1475" y="463"/>
                  <a:pt x="1475" y="463"/>
                  <a:pt x="1475" y="463"/>
                </a:cubicBezTo>
                <a:cubicBezTo>
                  <a:pt x="1471" y="462"/>
                  <a:pt x="1471" y="462"/>
                  <a:pt x="1471" y="462"/>
                </a:cubicBezTo>
                <a:cubicBezTo>
                  <a:pt x="1467" y="465"/>
                  <a:pt x="1467" y="465"/>
                  <a:pt x="1467" y="465"/>
                </a:cubicBezTo>
                <a:cubicBezTo>
                  <a:pt x="1467" y="465"/>
                  <a:pt x="1462" y="463"/>
                  <a:pt x="1456" y="463"/>
                </a:cubicBezTo>
                <a:cubicBezTo>
                  <a:pt x="1449" y="463"/>
                  <a:pt x="1449" y="465"/>
                  <a:pt x="1446" y="465"/>
                </a:cubicBezTo>
                <a:cubicBezTo>
                  <a:pt x="1443" y="465"/>
                  <a:pt x="1438" y="465"/>
                  <a:pt x="1438" y="465"/>
                </a:cubicBezTo>
                <a:cubicBezTo>
                  <a:pt x="1437" y="466"/>
                  <a:pt x="1437" y="466"/>
                  <a:pt x="1437" y="466"/>
                </a:cubicBezTo>
                <a:cubicBezTo>
                  <a:pt x="1429" y="466"/>
                  <a:pt x="1429" y="466"/>
                  <a:pt x="1429" y="466"/>
                </a:cubicBezTo>
                <a:cubicBezTo>
                  <a:pt x="1429" y="466"/>
                  <a:pt x="1419" y="468"/>
                  <a:pt x="1419" y="470"/>
                </a:cubicBezTo>
                <a:cubicBezTo>
                  <a:pt x="1419" y="472"/>
                  <a:pt x="1417" y="474"/>
                  <a:pt x="1417" y="474"/>
                </a:cubicBezTo>
                <a:cubicBezTo>
                  <a:pt x="1417" y="474"/>
                  <a:pt x="1407" y="475"/>
                  <a:pt x="1406" y="477"/>
                </a:cubicBezTo>
                <a:cubicBezTo>
                  <a:pt x="1406" y="479"/>
                  <a:pt x="1401" y="483"/>
                  <a:pt x="1398" y="483"/>
                </a:cubicBezTo>
                <a:cubicBezTo>
                  <a:pt x="1398" y="483"/>
                  <a:pt x="1397" y="483"/>
                  <a:pt x="1397" y="483"/>
                </a:cubicBezTo>
                <a:cubicBezTo>
                  <a:pt x="1397" y="483"/>
                  <a:pt x="1397" y="483"/>
                  <a:pt x="1397" y="483"/>
                </a:cubicBezTo>
                <a:cubicBezTo>
                  <a:pt x="1394" y="482"/>
                  <a:pt x="1392" y="480"/>
                  <a:pt x="1390" y="480"/>
                </a:cubicBezTo>
                <a:cubicBezTo>
                  <a:pt x="1388" y="480"/>
                  <a:pt x="1386" y="482"/>
                  <a:pt x="1386" y="482"/>
                </a:cubicBezTo>
                <a:cubicBezTo>
                  <a:pt x="1386" y="482"/>
                  <a:pt x="1381" y="481"/>
                  <a:pt x="1380" y="481"/>
                </a:cubicBezTo>
                <a:cubicBezTo>
                  <a:pt x="1378" y="481"/>
                  <a:pt x="1376" y="483"/>
                  <a:pt x="1373" y="482"/>
                </a:cubicBezTo>
                <a:cubicBezTo>
                  <a:pt x="1370" y="481"/>
                  <a:pt x="1367" y="475"/>
                  <a:pt x="1366" y="475"/>
                </a:cubicBezTo>
                <a:cubicBezTo>
                  <a:pt x="1365" y="475"/>
                  <a:pt x="1362" y="475"/>
                  <a:pt x="1362" y="475"/>
                </a:cubicBezTo>
                <a:cubicBezTo>
                  <a:pt x="1362" y="475"/>
                  <a:pt x="1360" y="482"/>
                  <a:pt x="1358" y="485"/>
                </a:cubicBezTo>
                <a:cubicBezTo>
                  <a:pt x="1357" y="487"/>
                  <a:pt x="1353" y="495"/>
                  <a:pt x="1351" y="497"/>
                </a:cubicBezTo>
                <a:cubicBezTo>
                  <a:pt x="1348" y="499"/>
                  <a:pt x="1345" y="498"/>
                  <a:pt x="1344" y="499"/>
                </a:cubicBezTo>
                <a:cubicBezTo>
                  <a:pt x="1343" y="500"/>
                  <a:pt x="1340" y="502"/>
                  <a:pt x="1340" y="502"/>
                </a:cubicBezTo>
                <a:cubicBezTo>
                  <a:pt x="1338" y="501"/>
                  <a:pt x="1338" y="501"/>
                  <a:pt x="1338" y="501"/>
                </a:cubicBezTo>
                <a:cubicBezTo>
                  <a:pt x="1334" y="503"/>
                  <a:pt x="1334" y="503"/>
                  <a:pt x="1334" y="503"/>
                </a:cubicBezTo>
                <a:cubicBezTo>
                  <a:pt x="1334" y="503"/>
                  <a:pt x="1333" y="506"/>
                  <a:pt x="1332" y="508"/>
                </a:cubicBezTo>
                <a:cubicBezTo>
                  <a:pt x="1332" y="508"/>
                  <a:pt x="1328" y="510"/>
                  <a:pt x="1328" y="511"/>
                </a:cubicBezTo>
                <a:cubicBezTo>
                  <a:pt x="1328" y="512"/>
                  <a:pt x="1329" y="515"/>
                  <a:pt x="1327" y="516"/>
                </a:cubicBezTo>
                <a:cubicBezTo>
                  <a:pt x="1326" y="518"/>
                  <a:pt x="1322" y="523"/>
                  <a:pt x="1322" y="526"/>
                </a:cubicBezTo>
                <a:cubicBezTo>
                  <a:pt x="1323" y="529"/>
                  <a:pt x="1323" y="531"/>
                  <a:pt x="1323" y="531"/>
                </a:cubicBezTo>
                <a:cubicBezTo>
                  <a:pt x="1323" y="531"/>
                  <a:pt x="1321" y="532"/>
                  <a:pt x="1321" y="532"/>
                </a:cubicBezTo>
                <a:cubicBezTo>
                  <a:pt x="1321" y="533"/>
                  <a:pt x="1324" y="533"/>
                  <a:pt x="1323" y="536"/>
                </a:cubicBezTo>
                <a:cubicBezTo>
                  <a:pt x="1323" y="539"/>
                  <a:pt x="1323" y="541"/>
                  <a:pt x="1323" y="541"/>
                </a:cubicBezTo>
                <a:cubicBezTo>
                  <a:pt x="1323" y="541"/>
                  <a:pt x="1322" y="540"/>
                  <a:pt x="1320" y="542"/>
                </a:cubicBezTo>
                <a:cubicBezTo>
                  <a:pt x="1318" y="544"/>
                  <a:pt x="1317" y="547"/>
                  <a:pt x="1315" y="550"/>
                </a:cubicBezTo>
                <a:cubicBezTo>
                  <a:pt x="1313" y="552"/>
                  <a:pt x="1311" y="551"/>
                  <a:pt x="1309" y="553"/>
                </a:cubicBezTo>
                <a:cubicBezTo>
                  <a:pt x="1308" y="555"/>
                  <a:pt x="1306" y="558"/>
                  <a:pt x="1305" y="559"/>
                </a:cubicBezTo>
                <a:cubicBezTo>
                  <a:pt x="1303" y="560"/>
                  <a:pt x="1295" y="563"/>
                  <a:pt x="1295" y="563"/>
                </a:cubicBezTo>
                <a:cubicBezTo>
                  <a:pt x="1294" y="563"/>
                  <a:pt x="1290" y="563"/>
                  <a:pt x="1290" y="563"/>
                </a:cubicBezTo>
                <a:cubicBezTo>
                  <a:pt x="1290" y="563"/>
                  <a:pt x="1289" y="564"/>
                  <a:pt x="1288" y="566"/>
                </a:cubicBezTo>
                <a:cubicBezTo>
                  <a:pt x="1288" y="567"/>
                  <a:pt x="1287" y="568"/>
                  <a:pt x="1287" y="569"/>
                </a:cubicBezTo>
                <a:cubicBezTo>
                  <a:pt x="1286" y="572"/>
                  <a:pt x="1285" y="576"/>
                  <a:pt x="1285" y="576"/>
                </a:cubicBezTo>
                <a:cubicBezTo>
                  <a:pt x="1285" y="576"/>
                  <a:pt x="1282" y="578"/>
                  <a:pt x="1281" y="579"/>
                </a:cubicBezTo>
                <a:cubicBezTo>
                  <a:pt x="1280" y="580"/>
                  <a:pt x="1277" y="580"/>
                  <a:pt x="1277" y="580"/>
                </a:cubicBezTo>
                <a:cubicBezTo>
                  <a:pt x="1277" y="580"/>
                  <a:pt x="1275" y="579"/>
                  <a:pt x="1274" y="581"/>
                </a:cubicBezTo>
                <a:cubicBezTo>
                  <a:pt x="1273" y="583"/>
                  <a:pt x="1273" y="587"/>
                  <a:pt x="1273" y="587"/>
                </a:cubicBezTo>
                <a:cubicBezTo>
                  <a:pt x="1273" y="587"/>
                  <a:pt x="1270" y="591"/>
                  <a:pt x="1270" y="592"/>
                </a:cubicBezTo>
                <a:cubicBezTo>
                  <a:pt x="1270" y="593"/>
                  <a:pt x="1272" y="597"/>
                  <a:pt x="1270" y="599"/>
                </a:cubicBezTo>
                <a:cubicBezTo>
                  <a:pt x="1269" y="602"/>
                  <a:pt x="1267" y="602"/>
                  <a:pt x="1267" y="602"/>
                </a:cubicBezTo>
                <a:cubicBezTo>
                  <a:pt x="1267" y="602"/>
                  <a:pt x="1265" y="605"/>
                  <a:pt x="1264" y="606"/>
                </a:cubicBezTo>
                <a:cubicBezTo>
                  <a:pt x="1263" y="607"/>
                  <a:pt x="1261" y="608"/>
                  <a:pt x="1260" y="608"/>
                </a:cubicBezTo>
                <a:cubicBezTo>
                  <a:pt x="1259" y="609"/>
                  <a:pt x="1259" y="611"/>
                  <a:pt x="1259" y="611"/>
                </a:cubicBezTo>
                <a:cubicBezTo>
                  <a:pt x="1260" y="612"/>
                  <a:pt x="1260" y="612"/>
                  <a:pt x="1260" y="612"/>
                </a:cubicBezTo>
                <a:cubicBezTo>
                  <a:pt x="1260" y="612"/>
                  <a:pt x="1258" y="614"/>
                  <a:pt x="1257" y="616"/>
                </a:cubicBezTo>
                <a:cubicBezTo>
                  <a:pt x="1256" y="618"/>
                  <a:pt x="1256" y="621"/>
                  <a:pt x="1256" y="621"/>
                </a:cubicBezTo>
                <a:cubicBezTo>
                  <a:pt x="1254" y="621"/>
                  <a:pt x="1254" y="621"/>
                  <a:pt x="1254" y="621"/>
                </a:cubicBezTo>
                <a:cubicBezTo>
                  <a:pt x="1254" y="621"/>
                  <a:pt x="1257" y="623"/>
                  <a:pt x="1254" y="625"/>
                </a:cubicBezTo>
                <a:cubicBezTo>
                  <a:pt x="1252" y="627"/>
                  <a:pt x="1252" y="626"/>
                  <a:pt x="1252" y="626"/>
                </a:cubicBezTo>
                <a:cubicBezTo>
                  <a:pt x="1252" y="626"/>
                  <a:pt x="1248" y="630"/>
                  <a:pt x="1248" y="633"/>
                </a:cubicBezTo>
                <a:cubicBezTo>
                  <a:pt x="1248" y="634"/>
                  <a:pt x="1248" y="636"/>
                  <a:pt x="1248" y="638"/>
                </a:cubicBezTo>
                <a:cubicBezTo>
                  <a:pt x="1248" y="638"/>
                  <a:pt x="1248" y="638"/>
                  <a:pt x="1248" y="638"/>
                </a:cubicBezTo>
                <a:cubicBezTo>
                  <a:pt x="1248" y="640"/>
                  <a:pt x="1248" y="641"/>
                  <a:pt x="1248" y="641"/>
                </a:cubicBezTo>
                <a:cubicBezTo>
                  <a:pt x="1248" y="641"/>
                  <a:pt x="1250" y="641"/>
                  <a:pt x="1250" y="642"/>
                </a:cubicBezTo>
                <a:cubicBezTo>
                  <a:pt x="1250" y="643"/>
                  <a:pt x="1250" y="645"/>
                  <a:pt x="1251" y="646"/>
                </a:cubicBezTo>
                <a:cubicBezTo>
                  <a:pt x="1252" y="647"/>
                  <a:pt x="1253" y="644"/>
                  <a:pt x="1253" y="644"/>
                </a:cubicBezTo>
                <a:cubicBezTo>
                  <a:pt x="1254" y="649"/>
                  <a:pt x="1254" y="649"/>
                  <a:pt x="1254" y="649"/>
                </a:cubicBezTo>
                <a:cubicBezTo>
                  <a:pt x="1254" y="656"/>
                  <a:pt x="1254" y="656"/>
                  <a:pt x="1254" y="656"/>
                </a:cubicBezTo>
                <a:cubicBezTo>
                  <a:pt x="1252" y="656"/>
                  <a:pt x="1252" y="656"/>
                  <a:pt x="1252" y="656"/>
                </a:cubicBezTo>
                <a:cubicBezTo>
                  <a:pt x="1253" y="659"/>
                  <a:pt x="1253" y="659"/>
                  <a:pt x="1253" y="659"/>
                </a:cubicBezTo>
                <a:cubicBezTo>
                  <a:pt x="1251" y="660"/>
                  <a:pt x="1251" y="660"/>
                  <a:pt x="1251" y="660"/>
                </a:cubicBezTo>
                <a:cubicBezTo>
                  <a:pt x="1251" y="660"/>
                  <a:pt x="1256" y="666"/>
                  <a:pt x="1256" y="670"/>
                </a:cubicBezTo>
                <a:cubicBezTo>
                  <a:pt x="1256" y="673"/>
                  <a:pt x="1255" y="678"/>
                  <a:pt x="1255" y="678"/>
                </a:cubicBezTo>
                <a:cubicBezTo>
                  <a:pt x="1254" y="684"/>
                  <a:pt x="1254" y="684"/>
                  <a:pt x="1254" y="684"/>
                </a:cubicBezTo>
                <a:cubicBezTo>
                  <a:pt x="1254" y="684"/>
                  <a:pt x="1251" y="687"/>
                  <a:pt x="1250" y="691"/>
                </a:cubicBezTo>
                <a:cubicBezTo>
                  <a:pt x="1250" y="692"/>
                  <a:pt x="1250" y="696"/>
                  <a:pt x="1250" y="698"/>
                </a:cubicBezTo>
                <a:cubicBezTo>
                  <a:pt x="1250" y="699"/>
                  <a:pt x="1250" y="701"/>
                  <a:pt x="1250" y="701"/>
                </a:cubicBezTo>
                <a:cubicBezTo>
                  <a:pt x="1249" y="701"/>
                  <a:pt x="1247" y="703"/>
                  <a:pt x="1246" y="706"/>
                </a:cubicBezTo>
                <a:cubicBezTo>
                  <a:pt x="1244" y="708"/>
                  <a:pt x="1241" y="711"/>
                  <a:pt x="1241" y="711"/>
                </a:cubicBezTo>
                <a:cubicBezTo>
                  <a:pt x="1242" y="713"/>
                  <a:pt x="1242" y="713"/>
                  <a:pt x="1242" y="713"/>
                </a:cubicBezTo>
                <a:cubicBezTo>
                  <a:pt x="1243" y="712"/>
                  <a:pt x="1243" y="712"/>
                  <a:pt x="1243" y="712"/>
                </a:cubicBezTo>
                <a:cubicBezTo>
                  <a:pt x="1243" y="712"/>
                  <a:pt x="1245" y="714"/>
                  <a:pt x="1245" y="716"/>
                </a:cubicBezTo>
                <a:cubicBezTo>
                  <a:pt x="1245" y="717"/>
                  <a:pt x="1245" y="718"/>
                  <a:pt x="1245" y="718"/>
                </a:cubicBezTo>
                <a:cubicBezTo>
                  <a:pt x="1247" y="720"/>
                  <a:pt x="1247" y="720"/>
                  <a:pt x="1247" y="720"/>
                </a:cubicBezTo>
                <a:cubicBezTo>
                  <a:pt x="1247" y="720"/>
                  <a:pt x="1247" y="720"/>
                  <a:pt x="1247" y="722"/>
                </a:cubicBezTo>
                <a:cubicBezTo>
                  <a:pt x="1247" y="723"/>
                  <a:pt x="1248" y="724"/>
                  <a:pt x="1248" y="724"/>
                </a:cubicBezTo>
                <a:cubicBezTo>
                  <a:pt x="1249" y="725"/>
                  <a:pt x="1249" y="725"/>
                  <a:pt x="1249" y="725"/>
                </a:cubicBezTo>
                <a:cubicBezTo>
                  <a:pt x="1249" y="725"/>
                  <a:pt x="1247" y="728"/>
                  <a:pt x="1247" y="729"/>
                </a:cubicBezTo>
                <a:cubicBezTo>
                  <a:pt x="1247" y="730"/>
                  <a:pt x="1247" y="730"/>
                  <a:pt x="1247" y="730"/>
                </a:cubicBezTo>
                <a:cubicBezTo>
                  <a:pt x="1246" y="731"/>
                  <a:pt x="1246" y="733"/>
                  <a:pt x="1246" y="733"/>
                </a:cubicBezTo>
                <a:cubicBezTo>
                  <a:pt x="1245" y="734"/>
                  <a:pt x="1245" y="734"/>
                  <a:pt x="1245" y="734"/>
                </a:cubicBezTo>
                <a:cubicBezTo>
                  <a:pt x="1245" y="734"/>
                  <a:pt x="1246" y="738"/>
                  <a:pt x="1248" y="739"/>
                </a:cubicBezTo>
                <a:cubicBezTo>
                  <a:pt x="1250" y="740"/>
                  <a:pt x="1252" y="739"/>
                  <a:pt x="1252" y="739"/>
                </a:cubicBezTo>
                <a:cubicBezTo>
                  <a:pt x="1251" y="744"/>
                  <a:pt x="1251" y="744"/>
                  <a:pt x="1251" y="744"/>
                </a:cubicBezTo>
                <a:cubicBezTo>
                  <a:pt x="1251" y="744"/>
                  <a:pt x="1253" y="746"/>
                  <a:pt x="1254" y="745"/>
                </a:cubicBezTo>
                <a:cubicBezTo>
                  <a:pt x="1255" y="743"/>
                  <a:pt x="1261" y="744"/>
                  <a:pt x="1261" y="744"/>
                </a:cubicBezTo>
                <a:cubicBezTo>
                  <a:pt x="1264" y="742"/>
                  <a:pt x="1264" y="742"/>
                  <a:pt x="1264" y="742"/>
                </a:cubicBezTo>
                <a:cubicBezTo>
                  <a:pt x="1264" y="745"/>
                  <a:pt x="1264" y="745"/>
                  <a:pt x="1264" y="745"/>
                </a:cubicBezTo>
                <a:cubicBezTo>
                  <a:pt x="1264" y="745"/>
                  <a:pt x="1259" y="743"/>
                  <a:pt x="1259" y="745"/>
                </a:cubicBezTo>
                <a:cubicBezTo>
                  <a:pt x="1258" y="747"/>
                  <a:pt x="1260" y="748"/>
                  <a:pt x="1260" y="748"/>
                </a:cubicBezTo>
                <a:cubicBezTo>
                  <a:pt x="1264" y="747"/>
                  <a:pt x="1264" y="747"/>
                  <a:pt x="1264" y="747"/>
                </a:cubicBezTo>
                <a:cubicBezTo>
                  <a:pt x="1259" y="750"/>
                  <a:pt x="1259" y="750"/>
                  <a:pt x="1259" y="750"/>
                </a:cubicBezTo>
                <a:cubicBezTo>
                  <a:pt x="1263" y="756"/>
                  <a:pt x="1263" y="756"/>
                  <a:pt x="1263" y="756"/>
                </a:cubicBezTo>
                <a:cubicBezTo>
                  <a:pt x="1264" y="753"/>
                  <a:pt x="1264" y="753"/>
                  <a:pt x="1264" y="753"/>
                </a:cubicBezTo>
                <a:cubicBezTo>
                  <a:pt x="1264" y="753"/>
                  <a:pt x="1265" y="755"/>
                  <a:pt x="1266" y="756"/>
                </a:cubicBezTo>
                <a:cubicBezTo>
                  <a:pt x="1267" y="756"/>
                  <a:pt x="1268" y="756"/>
                  <a:pt x="1268" y="756"/>
                </a:cubicBezTo>
                <a:cubicBezTo>
                  <a:pt x="1268" y="756"/>
                  <a:pt x="1266" y="761"/>
                  <a:pt x="1269" y="763"/>
                </a:cubicBezTo>
                <a:cubicBezTo>
                  <a:pt x="1272" y="764"/>
                  <a:pt x="1273" y="763"/>
                  <a:pt x="1273" y="763"/>
                </a:cubicBezTo>
                <a:cubicBezTo>
                  <a:pt x="1273" y="763"/>
                  <a:pt x="1273" y="766"/>
                  <a:pt x="1274" y="767"/>
                </a:cubicBezTo>
                <a:cubicBezTo>
                  <a:pt x="1275" y="768"/>
                  <a:pt x="1276" y="766"/>
                  <a:pt x="1276" y="766"/>
                </a:cubicBezTo>
                <a:cubicBezTo>
                  <a:pt x="1276" y="766"/>
                  <a:pt x="1277" y="770"/>
                  <a:pt x="1278" y="771"/>
                </a:cubicBezTo>
                <a:cubicBezTo>
                  <a:pt x="1279" y="773"/>
                  <a:pt x="1282" y="775"/>
                  <a:pt x="1282" y="775"/>
                </a:cubicBezTo>
                <a:cubicBezTo>
                  <a:pt x="1280" y="776"/>
                  <a:pt x="1280" y="776"/>
                  <a:pt x="1280" y="776"/>
                </a:cubicBezTo>
                <a:cubicBezTo>
                  <a:pt x="1282" y="778"/>
                  <a:pt x="1282" y="778"/>
                  <a:pt x="1282" y="778"/>
                </a:cubicBezTo>
                <a:cubicBezTo>
                  <a:pt x="1282" y="778"/>
                  <a:pt x="1280" y="780"/>
                  <a:pt x="1280" y="781"/>
                </a:cubicBezTo>
                <a:cubicBezTo>
                  <a:pt x="1280" y="783"/>
                  <a:pt x="1284" y="785"/>
                  <a:pt x="1284" y="785"/>
                </a:cubicBezTo>
                <a:cubicBezTo>
                  <a:pt x="1283" y="789"/>
                  <a:pt x="1283" y="789"/>
                  <a:pt x="1283" y="789"/>
                </a:cubicBezTo>
                <a:cubicBezTo>
                  <a:pt x="1286" y="791"/>
                  <a:pt x="1286" y="791"/>
                  <a:pt x="1286" y="791"/>
                </a:cubicBezTo>
                <a:cubicBezTo>
                  <a:pt x="1286" y="791"/>
                  <a:pt x="1286" y="793"/>
                  <a:pt x="1288" y="795"/>
                </a:cubicBezTo>
                <a:cubicBezTo>
                  <a:pt x="1290" y="797"/>
                  <a:pt x="1294" y="797"/>
                  <a:pt x="1294" y="797"/>
                </a:cubicBezTo>
                <a:cubicBezTo>
                  <a:pt x="1298" y="801"/>
                  <a:pt x="1298" y="801"/>
                  <a:pt x="1298" y="801"/>
                </a:cubicBezTo>
                <a:cubicBezTo>
                  <a:pt x="1295" y="798"/>
                  <a:pt x="1295" y="798"/>
                  <a:pt x="1295" y="798"/>
                </a:cubicBezTo>
                <a:cubicBezTo>
                  <a:pt x="1300" y="803"/>
                  <a:pt x="1300" y="803"/>
                  <a:pt x="1300" y="803"/>
                </a:cubicBezTo>
                <a:cubicBezTo>
                  <a:pt x="1303" y="804"/>
                  <a:pt x="1303" y="804"/>
                  <a:pt x="1303" y="804"/>
                </a:cubicBezTo>
                <a:cubicBezTo>
                  <a:pt x="1305" y="808"/>
                  <a:pt x="1305" y="808"/>
                  <a:pt x="1305" y="808"/>
                </a:cubicBezTo>
                <a:cubicBezTo>
                  <a:pt x="1305" y="808"/>
                  <a:pt x="1309" y="807"/>
                  <a:pt x="1310" y="808"/>
                </a:cubicBezTo>
                <a:cubicBezTo>
                  <a:pt x="1311" y="810"/>
                  <a:pt x="1314" y="816"/>
                  <a:pt x="1317" y="818"/>
                </a:cubicBezTo>
                <a:cubicBezTo>
                  <a:pt x="1320" y="821"/>
                  <a:pt x="1326" y="823"/>
                  <a:pt x="1328" y="824"/>
                </a:cubicBezTo>
                <a:cubicBezTo>
                  <a:pt x="1329" y="825"/>
                  <a:pt x="1333" y="829"/>
                  <a:pt x="1336" y="829"/>
                </a:cubicBezTo>
                <a:cubicBezTo>
                  <a:pt x="1336" y="829"/>
                  <a:pt x="1336" y="829"/>
                  <a:pt x="1336" y="829"/>
                </a:cubicBezTo>
                <a:cubicBezTo>
                  <a:pt x="1339" y="828"/>
                  <a:pt x="1340" y="826"/>
                  <a:pt x="1340" y="826"/>
                </a:cubicBezTo>
                <a:cubicBezTo>
                  <a:pt x="1341" y="826"/>
                  <a:pt x="1341" y="826"/>
                  <a:pt x="1341" y="826"/>
                </a:cubicBezTo>
                <a:cubicBezTo>
                  <a:pt x="1344" y="825"/>
                  <a:pt x="1344" y="825"/>
                  <a:pt x="1344" y="825"/>
                </a:cubicBezTo>
                <a:cubicBezTo>
                  <a:pt x="1344" y="825"/>
                  <a:pt x="1353" y="819"/>
                  <a:pt x="1357" y="820"/>
                </a:cubicBezTo>
                <a:cubicBezTo>
                  <a:pt x="1362" y="820"/>
                  <a:pt x="1363" y="819"/>
                  <a:pt x="1363" y="819"/>
                </a:cubicBezTo>
                <a:cubicBezTo>
                  <a:pt x="1363" y="819"/>
                  <a:pt x="1370" y="817"/>
                  <a:pt x="1371" y="818"/>
                </a:cubicBezTo>
                <a:cubicBezTo>
                  <a:pt x="1373" y="819"/>
                  <a:pt x="1374" y="820"/>
                  <a:pt x="1375" y="820"/>
                </a:cubicBezTo>
                <a:cubicBezTo>
                  <a:pt x="1377" y="819"/>
                  <a:pt x="1379" y="817"/>
                  <a:pt x="1379" y="817"/>
                </a:cubicBezTo>
                <a:cubicBezTo>
                  <a:pt x="1379" y="817"/>
                  <a:pt x="1380" y="820"/>
                  <a:pt x="1383" y="821"/>
                </a:cubicBezTo>
                <a:cubicBezTo>
                  <a:pt x="1384" y="821"/>
                  <a:pt x="1385" y="822"/>
                  <a:pt x="1385" y="822"/>
                </a:cubicBezTo>
                <a:cubicBezTo>
                  <a:pt x="1387" y="822"/>
                  <a:pt x="1389" y="822"/>
                  <a:pt x="1389" y="822"/>
                </a:cubicBezTo>
                <a:cubicBezTo>
                  <a:pt x="1389" y="822"/>
                  <a:pt x="1389" y="825"/>
                  <a:pt x="1391" y="825"/>
                </a:cubicBezTo>
                <a:cubicBezTo>
                  <a:pt x="1394" y="824"/>
                  <a:pt x="1398" y="820"/>
                  <a:pt x="1399" y="820"/>
                </a:cubicBezTo>
                <a:cubicBezTo>
                  <a:pt x="1401" y="819"/>
                  <a:pt x="1403" y="820"/>
                  <a:pt x="1403" y="820"/>
                </a:cubicBezTo>
                <a:cubicBezTo>
                  <a:pt x="1403" y="820"/>
                  <a:pt x="1408" y="816"/>
                  <a:pt x="1408" y="816"/>
                </a:cubicBezTo>
                <a:cubicBezTo>
                  <a:pt x="1409" y="815"/>
                  <a:pt x="1412" y="815"/>
                  <a:pt x="1412" y="815"/>
                </a:cubicBezTo>
                <a:cubicBezTo>
                  <a:pt x="1412" y="815"/>
                  <a:pt x="1413" y="811"/>
                  <a:pt x="1415" y="812"/>
                </a:cubicBezTo>
                <a:cubicBezTo>
                  <a:pt x="1417" y="812"/>
                  <a:pt x="1418" y="813"/>
                  <a:pt x="1420" y="812"/>
                </a:cubicBezTo>
                <a:cubicBezTo>
                  <a:pt x="1421" y="812"/>
                  <a:pt x="1422" y="811"/>
                  <a:pt x="1423" y="809"/>
                </a:cubicBezTo>
                <a:cubicBezTo>
                  <a:pt x="1424" y="808"/>
                  <a:pt x="1426" y="807"/>
                  <a:pt x="1427" y="807"/>
                </a:cubicBezTo>
                <a:cubicBezTo>
                  <a:pt x="1428" y="807"/>
                  <a:pt x="1429" y="807"/>
                  <a:pt x="1430" y="807"/>
                </a:cubicBezTo>
                <a:cubicBezTo>
                  <a:pt x="1430" y="807"/>
                  <a:pt x="1430" y="807"/>
                  <a:pt x="1430" y="807"/>
                </a:cubicBezTo>
                <a:cubicBezTo>
                  <a:pt x="1432" y="807"/>
                  <a:pt x="1434" y="808"/>
                  <a:pt x="1434" y="808"/>
                </a:cubicBezTo>
                <a:cubicBezTo>
                  <a:pt x="1436" y="805"/>
                  <a:pt x="1436" y="805"/>
                  <a:pt x="1436" y="805"/>
                </a:cubicBezTo>
                <a:cubicBezTo>
                  <a:pt x="1436" y="805"/>
                  <a:pt x="1437" y="805"/>
                  <a:pt x="1438" y="806"/>
                </a:cubicBezTo>
                <a:cubicBezTo>
                  <a:pt x="1440" y="806"/>
                  <a:pt x="1442" y="807"/>
                  <a:pt x="1443" y="807"/>
                </a:cubicBezTo>
                <a:cubicBezTo>
                  <a:pt x="1445" y="806"/>
                  <a:pt x="1447" y="804"/>
                  <a:pt x="1447" y="804"/>
                </a:cubicBezTo>
                <a:cubicBezTo>
                  <a:pt x="1448" y="805"/>
                  <a:pt x="1448" y="805"/>
                  <a:pt x="1448" y="805"/>
                </a:cubicBezTo>
                <a:cubicBezTo>
                  <a:pt x="1448" y="805"/>
                  <a:pt x="1455" y="804"/>
                  <a:pt x="1458" y="808"/>
                </a:cubicBezTo>
                <a:cubicBezTo>
                  <a:pt x="1462" y="812"/>
                  <a:pt x="1462" y="814"/>
                  <a:pt x="1462" y="814"/>
                </a:cubicBezTo>
                <a:cubicBezTo>
                  <a:pt x="1465" y="814"/>
                  <a:pt x="1465" y="814"/>
                  <a:pt x="1465" y="814"/>
                </a:cubicBezTo>
                <a:cubicBezTo>
                  <a:pt x="1465" y="814"/>
                  <a:pt x="1463" y="817"/>
                  <a:pt x="1463" y="817"/>
                </a:cubicBezTo>
                <a:cubicBezTo>
                  <a:pt x="1464" y="817"/>
                  <a:pt x="1466" y="816"/>
                  <a:pt x="1466" y="816"/>
                </a:cubicBezTo>
                <a:cubicBezTo>
                  <a:pt x="1466" y="817"/>
                  <a:pt x="1465" y="819"/>
                  <a:pt x="1465" y="820"/>
                </a:cubicBezTo>
                <a:cubicBezTo>
                  <a:pt x="1465" y="822"/>
                  <a:pt x="1467" y="828"/>
                  <a:pt x="1471" y="828"/>
                </a:cubicBezTo>
                <a:cubicBezTo>
                  <a:pt x="1475" y="829"/>
                  <a:pt x="1478" y="828"/>
                  <a:pt x="1478" y="828"/>
                </a:cubicBezTo>
                <a:cubicBezTo>
                  <a:pt x="1479" y="824"/>
                  <a:pt x="1479" y="824"/>
                  <a:pt x="1479" y="824"/>
                </a:cubicBezTo>
                <a:cubicBezTo>
                  <a:pt x="1482" y="826"/>
                  <a:pt x="1482" y="826"/>
                  <a:pt x="1482" y="826"/>
                </a:cubicBezTo>
                <a:cubicBezTo>
                  <a:pt x="1486" y="825"/>
                  <a:pt x="1486" y="825"/>
                  <a:pt x="1486" y="825"/>
                </a:cubicBezTo>
                <a:cubicBezTo>
                  <a:pt x="1488" y="827"/>
                  <a:pt x="1488" y="827"/>
                  <a:pt x="1488" y="827"/>
                </a:cubicBezTo>
                <a:cubicBezTo>
                  <a:pt x="1494" y="827"/>
                  <a:pt x="1494" y="827"/>
                  <a:pt x="1494" y="827"/>
                </a:cubicBezTo>
                <a:cubicBezTo>
                  <a:pt x="1494" y="824"/>
                  <a:pt x="1494" y="824"/>
                  <a:pt x="1494" y="824"/>
                </a:cubicBezTo>
                <a:cubicBezTo>
                  <a:pt x="1497" y="823"/>
                  <a:pt x="1497" y="823"/>
                  <a:pt x="1497" y="823"/>
                </a:cubicBezTo>
                <a:cubicBezTo>
                  <a:pt x="1497" y="824"/>
                  <a:pt x="1497" y="824"/>
                  <a:pt x="1497" y="824"/>
                </a:cubicBezTo>
                <a:cubicBezTo>
                  <a:pt x="1496" y="826"/>
                  <a:pt x="1496" y="826"/>
                  <a:pt x="1496" y="826"/>
                </a:cubicBezTo>
                <a:cubicBezTo>
                  <a:pt x="1500" y="825"/>
                  <a:pt x="1500" y="825"/>
                  <a:pt x="1500" y="825"/>
                </a:cubicBezTo>
                <a:cubicBezTo>
                  <a:pt x="1500" y="825"/>
                  <a:pt x="1500" y="830"/>
                  <a:pt x="1502" y="832"/>
                </a:cubicBezTo>
                <a:cubicBezTo>
                  <a:pt x="1504" y="834"/>
                  <a:pt x="1505" y="834"/>
                  <a:pt x="1505" y="834"/>
                </a:cubicBezTo>
                <a:cubicBezTo>
                  <a:pt x="1508" y="831"/>
                  <a:pt x="1508" y="831"/>
                  <a:pt x="1508" y="831"/>
                </a:cubicBezTo>
                <a:cubicBezTo>
                  <a:pt x="1506" y="836"/>
                  <a:pt x="1506" y="836"/>
                  <a:pt x="1506" y="836"/>
                </a:cubicBezTo>
                <a:cubicBezTo>
                  <a:pt x="1508" y="839"/>
                  <a:pt x="1508" y="839"/>
                  <a:pt x="1508" y="839"/>
                </a:cubicBezTo>
                <a:cubicBezTo>
                  <a:pt x="1511" y="840"/>
                  <a:pt x="1511" y="840"/>
                  <a:pt x="1511" y="840"/>
                </a:cubicBezTo>
                <a:cubicBezTo>
                  <a:pt x="1510" y="847"/>
                  <a:pt x="1510" y="847"/>
                  <a:pt x="1510" y="847"/>
                </a:cubicBezTo>
                <a:cubicBezTo>
                  <a:pt x="1509" y="847"/>
                  <a:pt x="1509" y="847"/>
                  <a:pt x="1509" y="847"/>
                </a:cubicBezTo>
                <a:cubicBezTo>
                  <a:pt x="1509" y="852"/>
                  <a:pt x="1509" y="852"/>
                  <a:pt x="1509" y="852"/>
                </a:cubicBezTo>
                <a:cubicBezTo>
                  <a:pt x="1508" y="852"/>
                  <a:pt x="1508" y="852"/>
                  <a:pt x="1508" y="852"/>
                </a:cubicBezTo>
                <a:cubicBezTo>
                  <a:pt x="1508" y="852"/>
                  <a:pt x="1509" y="856"/>
                  <a:pt x="1508" y="858"/>
                </a:cubicBezTo>
                <a:cubicBezTo>
                  <a:pt x="1507" y="859"/>
                  <a:pt x="1503" y="862"/>
                  <a:pt x="1504" y="863"/>
                </a:cubicBezTo>
                <a:cubicBezTo>
                  <a:pt x="1504" y="865"/>
                  <a:pt x="1506" y="865"/>
                  <a:pt x="1507" y="866"/>
                </a:cubicBezTo>
                <a:cubicBezTo>
                  <a:pt x="1509" y="865"/>
                  <a:pt x="1509" y="865"/>
                  <a:pt x="1509" y="865"/>
                </a:cubicBezTo>
                <a:cubicBezTo>
                  <a:pt x="1507" y="866"/>
                  <a:pt x="1507" y="866"/>
                  <a:pt x="1507" y="866"/>
                </a:cubicBezTo>
                <a:cubicBezTo>
                  <a:pt x="1507" y="866"/>
                  <a:pt x="1508" y="866"/>
                  <a:pt x="1508" y="866"/>
                </a:cubicBezTo>
                <a:cubicBezTo>
                  <a:pt x="1506" y="867"/>
                  <a:pt x="1506" y="867"/>
                  <a:pt x="1506" y="867"/>
                </a:cubicBezTo>
                <a:cubicBezTo>
                  <a:pt x="1506" y="867"/>
                  <a:pt x="1508" y="873"/>
                  <a:pt x="1507" y="873"/>
                </a:cubicBezTo>
                <a:cubicBezTo>
                  <a:pt x="1506" y="874"/>
                  <a:pt x="1504" y="873"/>
                  <a:pt x="1504" y="873"/>
                </a:cubicBezTo>
                <a:cubicBezTo>
                  <a:pt x="1504" y="873"/>
                  <a:pt x="1504" y="882"/>
                  <a:pt x="1502" y="884"/>
                </a:cubicBezTo>
                <a:cubicBezTo>
                  <a:pt x="1500" y="886"/>
                  <a:pt x="1498" y="885"/>
                  <a:pt x="1498" y="885"/>
                </a:cubicBezTo>
                <a:cubicBezTo>
                  <a:pt x="1501" y="893"/>
                  <a:pt x="1501" y="893"/>
                  <a:pt x="1501" y="893"/>
                </a:cubicBezTo>
                <a:cubicBezTo>
                  <a:pt x="1503" y="891"/>
                  <a:pt x="1503" y="891"/>
                  <a:pt x="1503" y="891"/>
                </a:cubicBezTo>
                <a:cubicBezTo>
                  <a:pt x="1505" y="894"/>
                  <a:pt x="1505" y="894"/>
                  <a:pt x="1505" y="894"/>
                </a:cubicBezTo>
                <a:cubicBezTo>
                  <a:pt x="1505" y="894"/>
                  <a:pt x="1503" y="897"/>
                  <a:pt x="1503" y="898"/>
                </a:cubicBezTo>
                <a:cubicBezTo>
                  <a:pt x="1504" y="900"/>
                  <a:pt x="1506" y="899"/>
                  <a:pt x="1506" y="899"/>
                </a:cubicBezTo>
                <a:cubicBezTo>
                  <a:pt x="1507" y="905"/>
                  <a:pt x="1507" y="905"/>
                  <a:pt x="1507" y="905"/>
                </a:cubicBezTo>
                <a:cubicBezTo>
                  <a:pt x="1511" y="906"/>
                  <a:pt x="1511" y="906"/>
                  <a:pt x="1511" y="906"/>
                </a:cubicBezTo>
                <a:cubicBezTo>
                  <a:pt x="1510" y="907"/>
                  <a:pt x="1510" y="907"/>
                  <a:pt x="1510" y="907"/>
                </a:cubicBezTo>
                <a:cubicBezTo>
                  <a:pt x="1517" y="915"/>
                  <a:pt x="1517" y="915"/>
                  <a:pt x="1517" y="915"/>
                </a:cubicBezTo>
                <a:cubicBezTo>
                  <a:pt x="1517" y="916"/>
                  <a:pt x="1517" y="916"/>
                  <a:pt x="1517" y="916"/>
                </a:cubicBezTo>
                <a:cubicBezTo>
                  <a:pt x="1521" y="921"/>
                  <a:pt x="1521" y="921"/>
                  <a:pt x="1521" y="921"/>
                </a:cubicBezTo>
                <a:cubicBezTo>
                  <a:pt x="1521" y="922"/>
                  <a:pt x="1521" y="922"/>
                  <a:pt x="1521" y="922"/>
                </a:cubicBezTo>
                <a:cubicBezTo>
                  <a:pt x="1529" y="928"/>
                  <a:pt x="1529" y="928"/>
                  <a:pt x="1529" y="928"/>
                </a:cubicBezTo>
                <a:cubicBezTo>
                  <a:pt x="1529" y="931"/>
                  <a:pt x="1529" y="931"/>
                  <a:pt x="1529" y="931"/>
                </a:cubicBezTo>
                <a:cubicBezTo>
                  <a:pt x="1532" y="934"/>
                  <a:pt x="1532" y="934"/>
                  <a:pt x="1532" y="934"/>
                </a:cubicBezTo>
                <a:cubicBezTo>
                  <a:pt x="1532" y="942"/>
                  <a:pt x="1532" y="942"/>
                  <a:pt x="1532" y="942"/>
                </a:cubicBezTo>
                <a:cubicBezTo>
                  <a:pt x="1532" y="942"/>
                  <a:pt x="1533" y="942"/>
                  <a:pt x="1533" y="942"/>
                </a:cubicBezTo>
                <a:cubicBezTo>
                  <a:pt x="1534" y="942"/>
                  <a:pt x="1534" y="942"/>
                  <a:pt x="1535" y="941"/>
                </a:cubicBezTo>
                <a:cubicBezTo>
                  <a:pt x="1534" y="942"/>
                  <a:pt x="1534" y="942"/>
                  <a:pt x="1533" y="942"/>
                </a:cubicBezTo>
                <a:cubicBezTo>
                  <a:pt x="1534" y="943"/>
                  <a:pt x="1535" y="944"/>
                  <a:pt x="1535" y="945"/>
                </a:cubicBezTo>
                <a:cubicBezTo>
                  <a:pt x="1535" y="946"/>
                  <a:pt x="1535" y="946"/>
                  <a:pt x="1535" y="946"/>
                </a:cubicBezTo>
                <a:cubicBezTo>
                  <a:pt x="1534" y="947"/>
                  <a:pt x="1533" y="947"/>
                  <a:pt x="1533" y="947"/>
                </a:cubicBezTo>
                <a:cubicBezTo>
                  <a:pt x="1533" y="947"/>
                  <a:pt x="1536" y="951"/>
                  <a:pt x="1536" y="953"/>
                </a:cubicBezTo>
                <a:cubicBezTo>
                  <a:pt x="1537" y="954"/>
                  <a:pt x="1539" y="955"/>
                  <a:pt x="1539" y="955"/>
                </a:cubicBezTo>
                <a:cubicBezTo>
                  <a:pt x="1538" y="959"/>
                  <a:pt x="1538" y="959"/>
                  <a:pt x="1538" y="959"/>
                </a:cubicBezTo>
                <a:cubicBezTo>
                  <a:pt x="1538" y="959"/>
                  <a:pt x="1545" y="966"/>
                  <a:pt x="1544" y="972"/>
                </a:cubicBezTo>
                <a:cubicBezTo>
                  <a:pt x="1543" y="978"/>
                  <a:pt x="1541" y="979"/>
                  <a:pt x="1541" y="979"/>
                </a:cubicBezTo>
                <a:cubicBezTo>
                  <a:pt x="1540" y="983"/>
                  <a:pt x="1540" y="983"/>
                  <a:pt x="1540" y="983"/>
                </a:cubicBezTo>
                <a:cubicBezTo>
                  <a:pt x="1542" y="982"/>
                  <a:pt x="1542" y="982"/>
                  <a:pt x="1542" y="982"/>
                </a:cubicBezTo>
                <a:cubicBezTo>
                  <a:pt x="1542" y="982"/>
                  <a:pt x="1541" y="987"/>
                  <a:pt x="1544" y="992"/>
                </a:cubicBezTo>
                <a:cubicBezTo>
                  <a:pt x="1547" y="996"/>
                  <a:pt x="1549" y="1004"/>
                  <a:pt x="1549" y="1007"/>
                </a:cubicBezTo>
                <a:cubicBezTo>
                  <a:pt x="1548" y="1010"/>
                  <a:pt x="1546" y="1014"/>
                  <a:pt x="1546" y="1014"/>
                </a:cubicBezTo>
                <a:cubicBezTo>
                  <a:pt x="1546" y="1014"/>
                  <a:pt x="1547" y="1017"/>
                  <a:pt x="1546" y="1018"/>
                </a:cubicBezTo>
                <a:cubicBezTo>
                  <a:pt x="1544" y="1020"/>
                  <a:pt x="1541" y="1019"/>
                  <a:pt x="1541" y="1019"/>
                </a:cubicBezTo>
                <a:cubicBezTo>
                  <a:pt x="1540" y="1022"/>
                  <a:pt x="1540" y="1022"/>
                  <a:pt x="1540" y="1022"/>
                </a:cubicBezTo>
                <a:cubicBezTo>
                  <a:pt x="1540" y="1025"/>
                  <a:pt x="1540" y="1025"/>
                  <a:pt x="1540" y="1025"/>
                </a:cubicBezTo>
                <a:cubicBezTo>
                  <a:pt x="1540" y="1025"/>
                  <a:pt x="1535" y="1025"/>
                  <a:pt x="1535" y="1027"/>
                </a:cubicBezTo>
                <a:cubicBezTo>
                  <a:pt x="1536" y="1030"/>
                  <a:pt x="1535" y="1033"/>
                  <a:pt x="1535" y="1033"/>
                </a:cubicBezTo>
                <a:cubicBezTo>
                  <a:pt x="1533" y="1035"/>
                  <a:pt x="1533" y="1035"/>
                  <a:pt x="1533" y="1035"/>
                </a:cubicBezTo>
                <a:cubicBezTo>
                  <a:pt x="1533" y="1035"/>
                  <a:pt x="1534" y="1042"/>
                  <a:pt x="1534" y="1044"/>
                </a:cubicBezTo>
                <a:cubicBezTo>
                  <a:pt x="1533" y="1046"/>
                  <a:pt x="1531" y="1047"/>
                  <a:pt x="1531" y="1047"/>
                </a:cubicBezTo>
                <a:cubicBezTo>
                  <a:pt x="1531" y="1053"/>
                  <a:pt x="1531" y="1053"/>
                  <a:pt x="1531" y="1053"/>
                </a:cubicBezTo>
                <a:cubicBezTo>
                  <a:pt x="1527" y="1055"/>
                  <a:pt x="1527" y="1055"/>
                  <a:pt x="1527" y="1055"/>
                </a:cubicBezTo>
                <a:cubicBezTo>
                  <a:pt x="1527" y="1061"/>
                  <a:pt x="1527" y="1061"/>
                  <a:pt x="1527" y="1061"/>
                </a:cubicBezTo>
                <a:cubicBezTo>
                  <a:pt x="1529" y="1063"/>
                  <a:pt x="1529" y="1063"/>
                  <a:pt x="1529" y="1063"/>
                </a:cubicBezTo>
                <a:cubicBezTo>
                  <a:pt x="1526" y="1066"/>
                  <a:pt x="1526" y="1066"/>
                  <a:pt x="1526" y="1066"/>
                </a:cubicBezTo>
                <a:cubicBezTo>
                  <a:pt x="1527" y="1071"/>
                  <a:pt x="1527" y="1071"/>
                  <a:pt x="1527" y="1071"/>
                </a:cubicBezTo>
                <a:cubicBezTo>
                  <a:pt x="1528" y="1081"/>
                  <a:pt x="1528" y="1081"/>
                  <a:pt x="1528" y="1081"/>
                </a:cubicBezTo>
                <a:cubicBezTo>
                  <a:pt x="1528" y="1081"/>
                  <a:pt x="1530" y="1085"/>
                  <a:pt x="1531" y="1087"/>
                </a:cubicBezTo>
                <a:cubicBezTo>
                  <a:pt x="1533" y="1090"/>
                  <a:pt x="1540" y="1100"/>
                  <a:pt x="1540" y="1104"/>
                </a:cubicBezTo>
                <a:cubicBezTo>
                  <a:pt x="1541" y="1107"/>
                  <a:pt x="1543" y="1111"/>
                  <a:pt x="1544" y="1114"/>
                </a:cubicBezTo>
                <a:cubicBezTo>
                  <a:pt x="1545" y="1116"/>
                  <a:pt x="1548" y="1119"/>
                  <a:pt x="1548" y="1119"/>
                </a:cubicBezTo>
                <a:cubicBezTo>
                  <a:pt x="1548" y="1122"/>
                  <a:pt x="1548" y="1122"/>
                  <a:pt x="1548" y="1122"/>
                </a:cubicBezTo>
                <a:cubicBezTo>
                  <a:pt x="1548" y="1122"/>
                  <a:pt x="1554" y="1127"/>
                  <a:pt x="1554" y="1130"/>
                </a:cubicBezTo>
                <a:cubicBezTo>
                  <a:pt x="1554" y="1133"/>
                  <a:pt x="1554" y="1149"/>
                  <a:pt x="1554" y="1149"/>
                </a:cubicBezTo>
                <a:cubicBezTo>
                  <a:pt x="1554" y="1149"/>
                  <a:pt x="1557" y="1154"/>
                  <a:pt x="1557" y="1158"/>
                </a:cubicBezTo>
                <a:cubicBezTo>
                  <a:pt x="1558" y="1162"/>
                  <a:pt x="1556" y="1162"/>
                  <a:pt x="1556" y="1162"/>
                </a:cubicBezTo>
                <a:cubicBezTo>
                  <a:pt x="1558" y="1169"/>
                  <a:pt x="1558" y="1169"/>
                  <a:pt x="1558" y="1169"/>
                </a:cubicBezTo>
                <a:cubicBezTo>
                  <a:pt x="1558" y="1174"/>
                  <a:pt x="1558" y="1174"/>
                  <a:pt x="1558" y="1174"/>
                </a:cubicBezTo>
                <a:cubicBezTo>
                  <a:pt x="1560" y="1174"/>
                  <a:pt x="1560" y="1174"/>
                  <a:pt x="1560" y="1174"/>
                </a:cubicBezTo>
                <a:cubicBezTo>
                  <a:pt x="1560" y="1174"/>
                  <a:pt x="1559" y="1179"/>
                  <a:pt x="1560" y="1179"/>
                </a:cubicBezTo>
                <a:cubicBezTo>
                  <a:pt x="1560" y="1180"/>
                  <a:pt x="1562" y="1182"/>
                  <a:pt x="1562" y="1182"/>
                </a:cubicBezTo>
                <a:cubicBezTo>
                  <a:pt x="1562" y="1186"/>
                  <a:pt x="1562" y="1186"/>
                  <a:pt x="1562" y="1186"/>
                </a:cubicBezTo>
                <a:cubicBezTo>
                  <a:pt x="1562" y="1186"/>
                  <a:pt x="1565" y="1193"/>
                  <a:pt x="1567" y="1195"/>
                </a:cubicBezTo>
                <a:cubicBezTo>
                  <a:pt x="1568" y="1197"/>
                  <a:pt x="1572" y="1199"/>
                  <a:pt x="1572" y="1199"/>
                </a:cubicBezTo>
                <a:cubicBezTo>
                  <a:pt x="1572" y="1199"/>
                  <a:pt x="1574" y="1203"/>
                  <a:pt x="1574" y="1204"/>
                </a:cubicBezTo>
                <a:cubicBezTo>
                  <a:pt x="1575" y="1205"/>
                  <a:pt x="1579" y="1209"/>
                  <a:pt x="1579" y="1212"/>
                </a:cubicBezTo>
                <a:cubicBezTo>
                  <a:pt x="1579" y="1214"/>
                  <a:pt x="1578" y="1220"/>
                  <a:pt x="1580" y="1223"/>
                </a:cubicBezTo>
                <a:cubicBezTo>
                  <a:pt x="1582" y="1226"/>
                  <a:pt x="1589" y="1233"/>
                  <a:pt x="1589" y="1236"/>
                </a:cubicBezTo>
                <a:cubicBezTo>
                  <a:pt x="1589" y="1239"/>
                  <a:pt x="1589" y="1245"/>
                  <a:pt x="1588" y="1245"/>
                </a:cubicBezTo>
                <a:cubicBezTo>
                  <a:pt x="1588" y="1246"/>
                  <a:pt x="1585" y="1245"/>
                  <a:pt x="1585" y="1246"/>
                </a:cubicBezTo>
                <a:cubicBezTo>
                  <a:pt x="1585" y="1248"/>
                  <a:pt x="1585" y="1250"/>
                  <a:pt x="1587" y="1253"/>
                </a:cubicBezTo>
                <a:cubicBezTo>
                  <a:pt x="1589" y="1257"/>
                  <a:pt x="1588" y="1261"/>
                  <a:pt x="1589" y="1262"/>
                </a:cubicBezTo>
                <a:cubicBezTo>
                  <a:pt x="1590" y="1264"/>
                  <a:pt x="1590" y="1262"/>
                  <a:pt x="1591" y="1261"/>
                </a:cubicBezTo>
                <a:cubicBezTo>
                  <a:pt x="1592" y="1260"/>
                  <a:pt x="1594" y="1263"/>
                  <a:pt x="1594" y="1263"/>
                </a:cubicBezTo>
                <a:cubicBezTo>
                  <a:pt x="1597" y="1264"/>
                  <a:pt x="1597" y="1264"/>
                  <a:pt x="1597" y="1264"/>
                </a:cubicBezTo>
                <a:cubicBezTo>
                  <a:pt x="1597" y="1264"/>
                  <a:pt x="1598" y="1269"/>
                  <a:pt x="1602" y="1269"/>
                </a:cubicBezTo>
                <a:cubicBezTo>
                  <a:pt x="1606" y="1268"/>
                  <a:pt x="1607" y="1265"/>
                  <a:pt x="1609" y="1264"/>
                </a:cubicBezTo>
                <a:cubicBezTo>
                  <a:pt x="1612" y="1263"/>
                  <a:pt x="1619" y="1266"/>
                  <a:pt x="1621" y="1265"/>
                </a:cubicBezTo>
                <a:cubicBezTo>
                  <a:pt x="1623" y="1264"/>
                  <a:pt x="1622" y="1260"/>
                  <a:pt x="1627" y="1260"/>
                </a:cubicBezTo>
                <a:cubicBezTo>
                  <a:pt x="1631" y="1260"/>
                  <a:pt x="1633" y="1262"/>
                  <a:pt x="1633" y="1262"/>
                </a:cubicBezTo>
                <a:cubicBezTo>
                  <a:pt x="1633" y="1262"/>
                  <a:pt x="1635" y="1259"/>
                  <a:pt x="1640" y="1260"/>
                </a:cubicBezTo>
                <a:cubicBezTo>
                  <a:pt x="1645" y="1260"/>
                  <a:pt x="1648" y="1262"/>
                  <a:pt x="1649" y="1262"/>
                </a:cubicBezTo>
                <a:cubicBezTo>
                  <a:pt x="1650" y="1261"/>
                  <a:pt x="1652" y="1259"/>
                  <a:pt x="1652" y="1259"/>
                </a:cubicBezTo>
                <a:cubicBezTo>
                  <a:pt x="1652" y="1259"/>
                  <a:pt x="1655" y="1261"/>
                  <a:pt x="1657" y="1260"/>
                </a:cubicBezTo>
                <a:cubicBezTo>
                  <a:pt x="1659" y="1259"/>
                  <a:pt x="1661" y="1257"/>
                  <a:pt x="1661" y="1257"/>
                </a:cubicBezTo>
                <a:cubicBezTo>
                  <a:pt x="1661" y="1257"/>
                  <a:pt x="1666" y="1259"/>
                  <a:pt x="1671" y="1256"/>
                </a:cubicBezTo>
                <a:cubicBezTo>
                  <a:pt x="1676" y="1252"/>
                  <a:pt x="1682" y="1246"/>
                  <a:pt x="1682" y="1246"/>
                </a:cubicBezTo>
                <a:cubicBezTo>
                  <a:pt x="1685" y="1245"/>
                  <a:pt x="1685" y="1245"/>
                  <a:pt x="1685" y="1245"/>
                </a:cubicBezTo>
                <a:cubicBezTo>
                  <a:pt x="1698" y="1231"/>
                  <a:pt x="1698" y="1231"/>
                  <a:pt x="1698" y="1231"/>
                </a:cubicBezTo>
                <a:cubicBezTo>
                  <a:pt x="1701" y="1231"/>
                  <a:pt x="1701" y="1231"/>
                  <a:pt x="1701" y="1231"/>
                </a:cubicBezTo>
                <a:cubicBezTo>
                  <a:pt x="1701" y="1231"/>
                  <a:pt x="1708" y="1220"/>
                  <a:pt x="1709" y="1218"/>
                </a:cubicBezTo>
                <a:cubicBezTo>
                  <a:pt x="1710" y="1215"/>
                  <a:pt x="1714" y="1207"/>
                  <a:pt x="1716" y="1206"/>
                </a:cubicBezTo>
                <a:cubicBezTo>
                  <a:pt x="1717" y="1205"/>
                  <a:pt x="1724" y="1202"/>
                  <a:pt x="1725" y="1200"/>
                </a:cubicBezTo>
                <a:cubicBezTo>
                  <a:pt x="1725" y="1197"/>
                  <a:pt x="1729" y="1189"/>
                  <a:pt x="1729" y="1189"/>
                </a:cubicBezTo>
                <a:cubicBezTo>
                  <a:pt x="1729" y="1189"/>
                  <a:pt x="1730" y="1185"/>
                  <a:pt x="1731" y="1182"/>
                </a:cubicBezTo>
                <a:cubicBezTo>
                  <a:pt x="1731" y="1180"/>
                  <a:pt x="1732" y="1179"/>
                  <a:pt x="1732" y="1178"/>
                </a:cubicBezTo>
                <a:cubicBezTo>
                  <a:pt x="1732" y="1174"/>
                  <a:pt x="1730" y="1172"/>
                  <a:pt x="1730" y="1172"/>
                </a:cubicBezTo>
                <a:cubicBezTo>
                  <a:pt x="1730" y="1172"/>
                  <a:pt x="1726" y="1171"/>
                  <a:pt x="1730" y="1167"/>
                </a:cubicBezTo>
                <a:cubicBezTo>
                  <a:pt x="1735" y="1162"/>
                  <a:pt x="1742" y="1160"/>
                  <a:pt x="1747" y="1157"/>
                </a:cubicBezTo>
                <a:cubicBezTo>
                  <a:pt x="1751" y="1155"/>
                  <a:pt x="1758" y="1151"/>
                  <a:pt x="1758" y="1149"/>
                </a:cubicBezTo>
                <a:cubicBezTo>
                  <a:pt x="1758" y="1147"/>
                  <a:pt x="1758" y="1146"/>
                  <a:pt x="1758" y="1146"/>
                </a:cubicBezTo>
                <a:cubicBezTo>
                  <a:pt x="1758" y="1146"/>
                  <a:pt x="1756" y="1147"/>
                  <a:pt x="1756" y="1144"/>
                </a:cubicBezTo>
                <a:cubicBezTo>
                  <a:pt x="1756" y="1142"/>
                  <a:pt x="1760" y="1138"/>
                  <a:pt x="1759" y="1136"/>
                </a:cubicBezTo>
                <a:cubicBezTo>
                  <a:pt x="1759" y="1134"/>
                  <a:pt x="1758" y="1131"/>
                  <a:pt x="1758" y="1131"/>
                </a:cubicBezTo>
                <a:cubicBezTo>
                  <a:pt x="1759" y="1127"/>
                  <a:pt x="1759" y="1127"/>
                  <a:pt x="1759" y="1127"/>
                </a:cubicBezTo>
                <a:cubicBezTo>
                  <a:pt x="1759" y="1126"/>
                  <a:pt x="1759" y="1126"/>
                  <a:pt x="1759" y="1126"/>
                </a:cubicBezTo>
                <a:cubicBezTo>
                  <a:pt x="1757" y="1129"/>
                  <a:pt x="1757" y="1129"/>
                  <a:pt x="1757" y="1129"/>
                </a:cubicBezTo>
                <a:cubicBezTo>
                  <a:pt x="1757" y="1123"/>
                  <a:pt x="1757" y="1123"/>
                  <a:pt x="1757" y="1123"/>
                </a:cubicBezTo>
                <a:cubicBezTo>
                  <a:pt x="1757" y="1123"/>
                  <a:pt x="1754" y="1120"/>
                  <a:pt x="1754" y="1118"/>
                </a:cubicBezTo>
                <a:cubicBezTo>
                  <a:pt x="1754" y="1116"/>
                  <a:pt x="1756" y="1114"/>
                  <a:pt x="1755" y="1111"/>
                </a:cubicBezTo>
                <a:cubicBezTo>
                  <a:pt x="1754" y="1109"/>
                  <a:pt x="1751" y="1111"/>
                  <a:pt x="1751" y="1108"/>
                </a:cubicBezTo>
                <a:cubicBezTo>
                  <a:pt x="1751" y="1106"/>
                  <a:pt x="1753" y="1101"/>
                  <a:pt x="1754" y="1101"/>
                </a:cubicBezTo>
                <a:cubicBezTo>
                  <a:pt x="1755" y="1100"/>
                  <a:pt x="1760" y="1098"/>
                  <a:pt x="1760" y="1097"/>
                </a:cubicBezTo>
                <a:cubicBezTo>
                  <a:pt x="1761" y="1095"/>
                  <a:pt x="1762" y="1092"/>
                  <a:pt x="1763" y="1091"/>
                </a:cubicBezTo>
                <a:cubicBezTo>
                  <a:pt x="1765" y="1089"/>
                  <a:pt x="1766" y="1091"/>
                  <a:pt x="1768" y="1089"/>
                </a:cubicBezTo>
                <a:cubicBezTo>
                  <a:pt x="1769" y="1088"/>
                  <a:pt x="1772" y="1086"/>
                  <a:pt x="1773" y="1083"/>
                </a:cubicBezTo>
                <a:cubicBezTo>
                  <a:pt x="1773" y="1080"/>
                  <a:pt x="1777" y="1076"/>
                  <a:pt x="1780" y="1074"/>
                </a:cubicBezTo>
                <a:cubicBezTo>
                  <a:pt x="1784" y="1073"/>
                  <a:pt x="1793" y="1070"/>
                  <a:pt x="1795" y="1068"/>
                </a:cubicBezTo>
                <a:cubicBezTo>
                  <a:pt x="1797" y="1067"/>
                  <a:pt x="1803" y="1063"/>
                  <a:pt x="1803" y="1063"/>
                </a:cubicBezTo>
                <a:cubicBezTo>
                  <a:pt x="1803" y="1061"/>
                  <a:pt x="1803" y="1061"/>
                  <a:pt x="1803" y="1061"/>
                </a:cubicBezTo>
                <a:cubicBezTo>
                  <a:pt x="1803" y="1061"/>
                  <a:pt x="1807" y="1057"/>
                  <a:pt x="1807" y="1056"/>
                </a:cubicBezTo>
                <a:cubicBezTo>
                  <a:pt x="1807" y="1055"/>
                  <a:pt x="1812" y="1050"/>
                  <a:pt x="1812" y="1050"/>
                </a:cubicBezTo>
                <a:cubicBezTo>
                  <a:pt x="1811" y="1048"/>
                  <a:pt x="1811" y="1048"/>
                  <a:pt x="1811" y="1048"/>
                </a:cubicBezTo>
                <a:cubicBezTo>
                  <a:pt x="1811" y="1048"/>
                  <a:pt x="1814" y="1045"/>
                  <a:pt x="1814" y="1043"/>
                </a:cubicBezTo>
                <a:cubicBezTo>
                  <a:pt x="1814" y="1042"/>
                  <a:pt x="1814" y="1039"/>
                  <a:pt x="1814" y="1039"/>
                </a:cubicBezTo>
                <a:cubicBezTo>
                  <a:pt x="1812" y="1039"/>
                  <a:pt x="1812" y="1039"/>
                  <a:pt x="1812" y="1039"/>
                </a:cubicBezTo>
                <a:cubicBezTo>
                  <a:pt x="1812" y="1031"/>
                  <a:pt x="1812" y="1031"/>
                  <a:pt x="1812" y="1031"/>
                </a:cubicBezTo>
                <a:cubicBezTo>
                  <a:pt x="1810" y="1029"/>
                  <a:pt x="1810" y="1029"/>
                  <a:pt x="1810" y="1029"/>
                </a:cubicBezTo>
                <a:cubicBezTo>
                  <a:pt x="1813" y="1028"/>
                  <a:pt x="1813" y="1028"/>
                  <a:pt x="1813" y="1028"/>
                </a:cubicBezTo>
                <a:cubicBezTo>
                  <a:pt x="1811" y="1021"/>
                  <a:pt x="1811" y="1021"/>
                  <a:pt x="1811" y="1021"/>
                </a:cubicBezTo>
                <a:cubicBezTo>
                  <a:pt x="1813" y="1017"/>
                  <a:pt x="1813" y="1017"/>
                  <a:pt x="1813" y="1017"/>
                </a:cubicBezTo>
                <a:cubicBezTo>
                  <a:pt x="1811" y="1012"/>
                  <a:pt x="1811" y="1012"/>
                  <a:pt x="1811" y="1012"/>
                </a:cubicBezTo>
                <a:cubicBezTo>
                  <a:pt x="1811" y="1012"/>
                  <a:pt x="1813" y="1000"/>
                  <a:pt x="1813" y="998"/>
                </a:cubicBezTo>
                <a:cubicBezTo>
                  <a:pt x="1813" y="996"/>
                  <a:pt x="1812" y="995"/>
                  <a:pt x="1812" y="995"/>
                </a:cubicBezTo>
                <a:cubicBezTo>
                  <a:pt x="1812" y="995"/>
                  <a:pt x="1812" y="995"/>
                  <a:pt x="1812" y="995"/>
                </a:cubicBezTo>
                <a:cubicBezTo>
                  <a:pt x="1811" y="993"/>
                  <a:pt x="1811" y="993"/>
                  <a:pt x="1811" y="993"/>
                </a:cubicBezTo>
                <a:cubicBezTo>
                  <a:pt x="1811" y="993"/>
                  <a:pt x="1805" y="992"/>
                  <a:pt x="1805" y="989"/>
                </a:cubicBezTo>
                <a:cubicBezTo>
                  <a:pt x="1804" y="987"/>
                  <a:pt x="1804" y="980"/>
                  <a:pt x="1804" y="980"/>
                </a:cubicBezTo>
                <a:cubicBezTo>
                  <a:pt x="1801" y="974"/>
                  <a:pt x="1801" y="974"/>
                  <a:pt x="1801" y="974"/>
                </a:cubicBezTo>
                <a:cubicBezTo>
                  <a:pt x="1803" y="967"/>
                  <a:pt x="1803" y="967"/>
                  <a:pt x="1803" y="967"/>
                </a:cubicBezTo>
                <a:cubicBezTo>
                  <a:pt x="1800" y="965"/>
                  <a:pt x="1800" y="965"/>
                  <a:pt x="1800" y="965"/>
                </a:cubicBezTo>
                <a:cubicBezTo>
                  <a:pt x="1800" y="965"/>
                  <a:pt x="1804" y="957"/>
                  <a:pt x="1803" y="956"/>
                </a:cubicBezTo>
                <a:cubicBezTo>
                  <a:pt x="1802" y="954"/>
                  <a:pt x="1797" y="952"/>
                  <a:pt x="1796" y="950"/>
                </a:cubicBezTo>
                <a:cubicBezTo>
                  <a:pt x="1795" y="947"/>
                  <a:pt x="1799" y="939"/>
                  <a:pt x="1799" y="938"/>
                </a:cubicBezTo>
                <a:cubicBezTo>
                  <a:pt x="1799" y="936"/>
                  <a:pt x="1800" y="932"/>
                  <a:pt x="1800" y="931"/>
                </a:cubicBezTo>
                <a:cubicBezTo>
                  <a:pt x="1800" y="930"/>
                  <a:pt x="1800" y="930"/>
                  <a:pt x="1800" y="930"/>
                </a:cubicBezTo>
                <a:cubicBezTo>
                  <a:pt x="1803" y="930"/>
                  <a:pt x="1803" y="930"/>
                  <a:pt x="1803" y="930"/>
                </a:cubicBezTo>
                <a:cubicBezTo>
                  <a:pt x="1807" y="921"/>
                  <a:pt x="1807" y="921"/>
                  <a:pt x="1807" y="921"/>
                </a:cubicBezTo>
                <a:cubicBezTo>
                  <a:pt x="1807" y="921"/>
                  <a:pt x="1807" y="918"/>
                  <a:pt x="1807" y="916"/>
                </a:cubicBezTo>
                <a:cubicBezTo>
                  <a:pt x="1807" y="915"/>
                  <a:pt x="1811" y="915"/>
                  <a:pt x="1811" y="913"/>
                </a:cubicBezTo>
                <a:cubicBezTo>
                  <a:pt x="1811" y="911"/>
                  <a:pt x="1809" y="908"/>
                  <a:pt x="1811" y="907"/>
                </a:cubicBezTo>
                <a:cubicBezTo>
                  <a:pt x="1813" y="907"/>
                  <a:pt x="1816" y="905"/>
                  <a:pt x="1816" y="905"/>
                </a:cubicBezTo>
                <a:cubicBezTo>
                  <a:pt x="1817" y="900"/>
                  <a:pt x="1817" y="900"/>
                  <a:pt x="1817" y="900"/>
                </a:cubicBezTo>
                <a:cubicBezTo>
                  <a:pt x="1817" y="900"/>
                  <a:pt x="1822" y="901"/>
                  <a:pt x="1824" y="898"/>
                </a:cubicBezTo>
                <a:cubicBezTo>
                  <a:pt x="1824" y="897"/>
                  <a:pt x="1824" y="897"/>
                  <a:pt x="1824" y="896"/>
                </a:cubicBezTo>
                <a:cubicBezTo>
                  <a:pt x="1824" y="896"/>
                  <a:pt x="1824" y="897"/>
                  <a:pt x="1824" y="897"/>
                </a:cubicBezTo>
                <a:cubicBezTo>
                  <a:pt x="1826" y="893"/>
                  <a:pt x="1829" y="886"/>
                  <a:pt x="1831" y="884"/>
                </a:cubicBezTo>
                <a:cubicBezTo>
                  <a:pt x="1832" y="882"/>
                  <a:pt x="1839" y="879"/>
                  <a:pt x="1839" y="876"/>
                </a:cubicBezTo>
                <a:cubicBezTo>
                  <a:pt x="1840" y="873"/>
                  <a:pt x="1849" y="865"/>
                  <a:pt x="1851" y="862"/>
                </a:cubicBezTo>
                <a:cubicBezTo>
                  <a:pt x="1854" y="859"/>
                  <a:pt x="1861" y="855"/>
                  <a:pt x="1862" y="854"/>
                </a:cubicBezTo>
                <a:cubicBezTo>
                  <a:pt x="1864" y="853"/>
                  <a:pt x="1876" y="843"/>
                  <a:pt x="1877" y="841"/>
                </a:cubicBezTo>
                <a:cubicBezTo>
                  <a:pt x="1879" y="839"/>
                  <a:pt x="1888" y="829"/>
                  <a:pt x="1889" y="826"/>
                </a:cubicBezTo>
                <a:cubicBezTo>
                  <a:pt x="1889" y="823"/>
                  <a:pt x="1895" y="813"/>
                  <a:pt x="1896" y="812"/>
                </a:cubicBezTo>
                <a:cubicBezTo>
                  <a:pt x="1897" y="811"/>
                  <a:pt x="1899" y="808"/>
                  <a:pt x="1899" y="807"/>
                </a:cubicBezTo>
                <a:cubicBezTo>
                  <a:pt x="1899" y="805"/>
                  <a:pt x="1900" y="799"/>
                  <a:pt x="1902" y="797"/>
                </a:cubicBezTo>
                <a:cubicBezTo>
                  <a:pt x="1903" y="795"/>
                  <a:pt x="1906" y="793"/>
                  <a:pt x="1906" y="790"/>
                </a:cubicBezTo>
                <a:cubicBezTo>
                  <a:pt x="1906" y="787"/>
                  <a:pt x="1908" y="785"/>
                  <a:pt x="1908" y="785"/>
                </a:cubicBezTo>
                <a:cubicBezTo>
                  <a:pt x="1911" y="777"/>
                  <a:pt x="1911" y="777"/>
                  <a:pt x="1911" y="777"/>
                </a:cubicBezTo>
                <a:cubicBezTo>
                  <a:pt x="1911" y="777"/>
                  <a:pt x="1914" y="778"/>
                  <a:pt x="1914" y="773"/>
                </a:cubicBezTo>
                <a:cubicBezTo>
                  <a:pt x="1914" y="767"/>
                  <a:pt x="1914" y="762"/>
                  <a:pt x="1914" y="762"/>
                </a:cubicBezTo>
                <a:cubicBezTo>
                  <a:pt x="1917" y="760"/>
                  <a:pt x="1917" y="760"/>
                  <a:pt x="1917" y="760"/>
                </a:cubicBezTo>
                <a:cubicBezTo>
                  <a:pt x="1916" y="750"/>
                  <a:pt x="1916" y="750"/>
                  <a:pt x="1916" y="750"/>
                </a:cubicBezTo>
                <a:cubicBezTo>
                  <a:pt x="1916" y="750"/>
                  <a:pt x="1919" y="745"/>
                  <a:pt x="1918" y="744"/>
                </a:cubicBezTo>
                <a:cubicBezTo>
                  <a:pt x="1916" y="743"/>
                  <a:pt x="1912" y="742"/>
                  <a:pt x="1912" y="742"/>
                </a:cubicBezTo>
                <a:cubicBezTo>
                  <a:pt x="1912" y="742"/>
                  <a:pt x="1910" y="745"/>
                  <a:pt x="1909" y="746"/>
                </a:cubicBezTo>
                <a:cubicBezTo>
                  <a:pt x="1907" y="748"/>
                  <a:pt x="1900" y="750"/>
                  <a:pt x="1898" y="750"/>
                </a:cubicBezTo>
                <a:cubicBezTo>
                  <a:pt x="1897" y="750"/>
                  <a:pt x="1893" y="749"/>
                  <a:pt x="1891" y="749"/>
                </a:cubicBezTo>
                <a:cubicBezTo>
                  <a:pt x="1889" y="750"/>
                  <a:pt x="1886" y="753"/>
                  <a:pt x="1885" y="753"/>
                </a:cubicBezTo>
                <a:cubicBezTo>
                  <a:pt x="1884" y="753"/>
                  <a:pt x="1882" y="751"/>
                  <a:pt x="1880" y="751"/>
                </a:cubicBezTo>
                <a:cubicBezTo>
                  <a:pt x="1879" y="751"/>
                  <a:pt x="1873" y="757"/>
                  <a:pt x="1871" y="757"/>
                </a:cubicBezTo>
                <a:cubicBezTo>
                  <a:pt x="1869" y="758"/>
                  <a:pt x="1868" y="754"/>
                  <a:pt x="1865" y="755"/>
                </a:cubicBezTo>
                <a:cubicBezTo>
                  <a:pt x="1862" y="756"/>
                  <a:pt x="1858" y="759"/>
                  <a:pt x="1856" y="760"/>
                </a:cubicBezTo>
                <a:cubicBezTo>
                  <a:pt x="1855" y="760"/>
                  <a:pt x="1848" y="760"/>
                  <a:pt x="1848" y="760"/>
                </a:cubicBezTo>
                <a:cubicBezTo>
                  <a:pt x="1848" y="760"/>
                  <a:pt x="1842" y="754"/>
                  <a:pt x="1842" y="752"/>
                </a:cubicBezTo>
                <a:cubicBezTo>
                  <a:pt x="1842" y="750"/>
                  <a:pt x="1840" y="750"/>
                  <a:pt x="1839" y="749"/>
                </a:cubicBezTo>
                <a:cubicBezTo>
                  <a:pt x="1839" y="749"/>
                  <a:pt x="1839" y="749"/>
                  <a:pt x="1839" y="749"/>
                </a:cubicBezTo>
                <a:cubicBezTo>
                  <a:pt x="1838" y="747"/>
                  <a:pt x="1838" y="747"/>
                  <a:pt x="1838" y="747"/>
                </a:cubicBezTo>
                <a:cubicBezTo>
                  <a:pt x="1833" y="748"/>
                  <a:pt x="1833" y="748"/>
                  <a:pt x="1833" y="748"/>
                </a:cubicBezTo>
                <a:cubicBezTo>
                  <a:pt x="1833" y="748"/>
                  <a:pt x="1841" y="741"/>
                  <a:pt x="1839" y="738"/>
                </a:cubicBezTo>
                <a:cubicBezTo>
                  <a:pt x="1839" y="737"/>
                  <a:pt x="1838" y="736"/>
                  <a:pt x="1837" y="735"/>
                </a:cubicBezTo>
                <a:cubicBezTo>
                  <a:pt x="1835" y="732"/>
                  <a:pt x="1833" y="731"/>
                  <a:pt x="1833" y="731"/>
                </a:cubicBezTo>
                <a:cubicBezTo>
                  <a:pt x="1833" y="731"/>
                  <a:pt x="1830" y="731"/>
                  <a:pt x="1829" y="730"/>
                </a:cubicBezTo>
                <a:cubicBezTo>
                  <a:pt x="1829" y="728"/>
                  <a:pt x="1829" y="725"/>
                  <a:pt x="1829" y="725"/>
                </a:cubicBezTo>
                <a:cubicBezTo>
                  <a:pt x="1829" y="725"/>
                  <a:pt x="1821" y="722"/>
                  <a:pt x="1820" y="720"/>
                </a:cubicBezTo>
                <a:cubicBezTo>
                  <a:pt x="1820" y="718"/>
                  <a:pt x="1820" y="713"/>
                  <a:pt x="1818" y="712"/>
                </a:cubicBezTo>
                <a:cubicBezTo>
                  <a:pt x="1817" y="712"/>
                  <a:pt x="1813" y="712"/>
                  <a:pt x="1812" y="712"/>
                </a:cubicBezTo>
                <a:cubicBezTo>
                  <a:pt x="1812" y="711"/>
                  <a:pt x="1809" y="708"/>
                  <a:pt x="1809" y="708"/>
                </a:cubicBezTo>
                <a:cubicBezTo>
                  <a:pt x="1807" y="709"/>
                  <a:pt x="1807" y="709"/>
                  <a:pt x="1807" y="709"/>
                </a:cubicBezTo>
                <a:cubicBezTo>
                  <a:pt x="1805" y="706"/>
                  <a:pt x="1805" y="706"/>
                  <a:pt x="1805" y="706"/>
                </a:cubicBezTo>
                <a:cubicBezTo>
                  <a:pt x="1803" y="706"/>
                  <a:pt x="1803" y="706"/>
                  <a:pt x="1803" y="706"/>
                </a:cubicBezTo>
                <a:cubicBezTo>
                  <a:pt x="1803" y="706"/>
                  <a:pt x="1798" y="701"/>
                  <a:pt x="1798" y="699"/>
                </a:cubicBezTo>
                <a:cubicBezTo>
                  <a:pt x="1797" y="696"/>
                  <a:pt x="1798" y="692"/>
                  <a:pt x="1797" y="687"/>
                </a:cubicBezTo>
                <a:cubicBezTo>
                  <a:pt x="1795" y="683"/>
                  <a:pt x="1791" y="675"/>
                  <a:pt x="1791" y="675"/>
                </a:cubicBezTo>
                <a:cubicBezTo>
                  <a:pt x="1790" y="674"/>
                  <a:pt x="1790" y="674"/>
                  <a:pt x="1790" y="674"/>
                </a:cubicBezTo>
                <a:cubicBezTo>
                  <a:pt x="1785" y="671"/>
                  <a:pt x="1785" y="671"/>
                  <a:pt x="1785" y="671"/>
                </a:cubicBezTo>
                <a:cubicBezTo>
                  <a:pt x="1785" y="671"/>
                  <a:pt x="1784" y="668"/>
                  <a:pt x="1783" y="667"/>
                </a:cubicBezTo>
                <a:cubicBezTo>
                  <a:pt x="1782" y="666"/>
                  <a:pt x="1779" y="668"/>
                  <a:pt x="1778" y="666"/>
                </a:cubicBezTo>
                <a:cubicBezTo>
                  <a:pt x="1777" y="663"/>
                  <a:pt x="1777" y="655"/>
                  <a:pt x="1777" y="655"/>
                </a:cubicBezTo>
                <a:cubicBezTo>
                  <a:pt x="1775" y="654"/>
                  <a:pt x="1775" y="654"/>
                  <a:pt x="1775" y="654"/>
                </a:cubicBezTo>
                <a:cubicBezTo>
                  <a:pt x="1775" y="654"/>
                  <a:pt x="1775" y="645"/>
                  <a:pt x="1775" y="644"/>
                </a:cubicBezTo>
                <a:cubicBezTo>
                  <a:pt x="1775" y="643"/>
                  <a:pt x="1774" y="641"/>
                  <a:pt x="1774" y="641"/>
                </a:cubicBezTo>
                <a:cubicBezTo>
                  <a:pt x="1776" y="640"/>
                  <a:pt x="1776" y="640"/>
                  <a:pt x="1776" y="640"/>
                </a:cubicBezTo>
                <a:cubicBezTo>
                  <a:pt x="1776" y="640"/>
                  <a:pt x="1773" y="637"/>
                  <a:pt x="1772" y="635"/>
                </a:cubicBezTo>
                <a:cubicBezTo>
                  <a:pt x="1772" y="633"/>
                  <a:pt x="1774" y="630"/>
                  <a:pt x="1772" y="629"/>
                </a:cubicBezTo>
                <a:cubicBezTo>
                  <a:pt x="1770" y="628"/>
                  <a:pt x="1768" y="626"/>
                  <a:pt x="1768" y="626"/>
                </a:cubicBezTo>
                <a:cubicBezTo>
                  <a:pt x="1768" y="626"/>
                  <a:pt x="1766" y="623"/>
                  <a:pt x="1765" y="623"/>
                </a:cubicBezTo>
                <a:cubicBezTo>
                  <a:pt x="1764" y="622"/>
                  <a:pt x="1764" y="623"/>
                  <a:pt x="1763" y="622"/>
                </a:cubicBezTo>
                <a:cubicBezTo>
                  <a:pt x="1762" y="622"/>
                  <a:pt x="1761" y="620"/>
                  <a:pt x="1759" y="618"/>
                </a:cubicBezTo>
                <a:cubicBezTo>
                  <a:pt x="1759" y="617"/>
                  <a:pt x="1758" y="615"/>
                  <a:pt x="1758" y="614"/>
                </a:cubicBezTo>
                <a:cubicBezTo>
                  <a:pt x="1758" y="611"/>
                  <a:pt x="1758" y="608"/>
                  <a:pt x="1758" y="608"/>
                </a:cubicBezTo>
                <a:cubicBezTo>
                  <a:pt x="1761" y="608"/>
                  <a:pt x="1761" y="608"/>
                  <a:pt x="1761" y="608"/>
                </a:cubicBezTo>
                <a:cubicBezTo>
                  <a:pt x="1761" y="608"/>
                  <a:pt x="1755" y="604"/>
                  <a:pt x="1752" y="598"/>
                </a:cubicBezTo>
                <a:cubicBezTo>
                  <a:pt x="1749" y="592"/>
                  <a:pt x="1750" y="589"/>
                  <a:pt x="1748" y="587"/>
                </a:cubicBezTo>
                <a:cubicBezTo>
                  <a:pt x="1746" y="585"/>
                  <a:pt x="1745" y="584"/>
                  <a:pt x="1743" y="581"/>
                </a:cubicBezTo>
                <a:cubicBezTo>
                  <a:pt x="1742" y="578"/>
                  <a:pt x="1742" y="574"/>
                  <a:pt x="1742" y="574"/>
                </a:cubicBezTo>
                <a:cubicBezTo>
                  <a:pt x="1736" y="568"/>
                  <a:pt x="1736" y="568"/>
                  <a:pt x="1736" y="568"/>
                </a:cubicBezTo>
                <a:cubicBezTo>
                  <a:pt x="1736" y="568"/>
                  <a:pt x="1737" y="566"/>
                  <a:pt x="1736" y="564"/>
                </a:cubicBezTo>
                <a:cubicBezTo>
                  <a:pt x="1735" y="561"/>
                  <a:pt x="1729" y="557"/>
                  <a:pt x="1729" y="555"/>
                </a:cubicBezTo>
                <a:cubicBezTo>
                  <a:pt x="1728" y="553"/>
                  <a:pt x="1727" y="552"/>
                  <a:pt x="1727" y="552"/>
                </a:cubicBezTo>
                <a:cubicBezTo>
                  <a:pt x="1727" y="552"/>
                  <a:pt x="1728" y="550"/>
                  <a:pt x="1727" y="547"/>
                </a:cubicBezTo>
                <a:cubicBezTo>
                  <a:pt x="1725" y="545"/>
                  <a:pt x="1723" y="545"/>
                  <a:pt x="1723" y="545"/>
                </a:cubicBezTo>
                <a:cubicBezTo>
                  <a:pt x="1725" y="542"/>
                  <a:pt x="1725" y="542"/>
                  <a:pt x="1725" y="542"/>
                </a:cubicBezTo>
                <a:cubicBezTo>
                  <a:pt x="1728" y="544"/>
                  <a:pt x="1728" y="544"/>
                  <a:pt x="1728" y="544"/>
                </a:cubicBezTo>
                <a:cubicBezTo>
                  <a:pt x="1728" y="544"/>
                  <a:pt x="1727" y="547"/>
                  <a:pt x="1729" y="548"/>
                </a:cubicBezTo>
                <a:cubicBezTo>
                  <a:pt x="1731" y="550"/>
                  <a:pt x="1732" y="551"/>
                  <a:pt x="1732" y="551"/>
                </a:cubicBezTo>
                <a:cubicBezTo>
                  <a:pt x="1732" y="555"/>
                  <a:pt x="1732" y="555"/>
                  <a:pt x="1732" y="555"/>
                </a:cubicBezTo>
                <a:cubicBezTo>
                  <a:pt x="1732" y="555"/>
                  <a:pt x="1739" y="566"/>
                  <a:pt x="1741" y="564"/>
                </a:cubicBezTo>
                <a:cubicBezTo>
                  <a:pt x="1744" y="563"/>
                  <a:pt x="1745" y="562"/>
                  <a:pt x="1745" y="562"/>
                </a:cubicBezTo>
                <a:cubicBezTo>
                  <a:pt x="1744" y="559"/>
                  <a:pt x="1744" y="559"/>
                  <a:pt x="1744" y="559"/>
                </a:cubicBezTo>
                <a:cubicBezTo>
                  <a:pt x="1744" y="559"/>
                  <a:pt x="1746" y="554"/>
                  <a:pt x="1746" y="551"/>
                </a:cubicBezTo>
                <a:cubicBezTo>
                  <a:pt x="1746" y="548"/>
                  <a:pt x="1748" y="545"/>
                  <a:pt x="1748" y="545"/>
                </a:cubicBezTo>
                <a:cubicBezTo>
                  <a:pt x="1749" y="547"/>
                  <a:pt x="1749" y="547"/>
                  <a:pt x="1749" y="547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50" y="548"/>
                  <a:pt x="1750" y="548"/>
                  <a:pt x="1750" y="548"/>
                </a:cubicBezTo>
                <a:cubicBezTo>
                  <a:pt x="1749" y="548"/>
                  <a:pt x="1749" y="549"/>
                  <a:pt x="1749" y="549"/>
                </a:cubicBezTo>
                <a:cubicBezTo>
                  <a:pt x="1749" y="549"/>
                  <a:pt x="1749" y="549"/>
                  <a:pt x="1749" y="549"/>
                </a:cubicBezTo>
                <a:cubicBezTo>
                  <a:pt x="1749" y="551"/>
                  <a:pt x="1746" y="565"/>
                  <a:pt x="1749" y="568"/>
                </a:cubicBezTo>
                <a:cubicBezTo>
                  <a:pt x="1751" y="570"/>
                  <a:pt x="1756" y="570"/>
                  <a:pt x="1757" y="573"/>
                </a:cubicBezTo>
                <a:cubicBezTo>
                  <a:pt x="1759" y="576"/>
                  <a:pt x="1762" y="583"/>
                  <a:pt x="1764" y="585"/>
                </a:cubicBezTo>
                <a:cubicBezTo>
                  <a:pt x="1766" y="587"/>
                  <a:pt x="1770" y="590"/>
                  <a:pt x="1771" y="593"/>
                </a:cubicBezTo>
                <a:cubicBezTo>
                  <a:pt x="1773" y="596"/>
                  <a:pt x="1774" y="604"/>
                  <a:pt x="1776" y="606"/>
                </a:cubicBezTo>
                <a:cubicBezTo>
                  <a:pt x="1779" y="609"/>
                  <a:pt x="1785" y="606"/>
                  <a:pt x="1788" y="610"/>
                </a:cubicBezTo>
                <a:cubicBezTo>
                  <a:pt x="1792" y="614"/>
                  <a:pt x="1795" y="627"/>
                  <a:pt x="1795" y="633"/>
                </a:cubicBezTo>
                <a:cubicBezTo>
                  <a:pt x="1795" y="639"/>
                  <a:pt x="1802" y="646"/>
                  <a:pt x="1802" y="646"/>
                </a:cubicBezTo>
                <a:cubicBezTo>
                  <a:pt x="1802" y="646"/>
                  <a:pt x="1807" y="646"/>
                  <a:pt x="1809" y="648"/>
                </a:cubicBezTo>
                <a:cubicBezTo>
                  <a:pt x="1811" y="649"/>
                  <a:pt x="1818" y="663"/>
                  <a:pt x="1821" y="668"/>
                </a:cubicBezTo>
                <a:cubicBezTo>
                  <a:pt x="1824" y="673"/>
                  <a:pt x="1834" y="685"/>
                  <a:pt x="1834" y="688"/>
                </a:cubicBezTo>
                <a:cubicBezTo>
                  <a:pt x="1834" y="690"/>
                  <a:pt x="1833" y="692"/>
                  <a:pt x="1833" y="694"/>
                </a:cubicBezTo>
                <a:cubicBezTo>
                  <a:pt x="1832" y="695"/>
                  <a:pt x="1832" y="697"/>
                  <a:pt x="1831" y="698"/>
                </a:cubicBezTo>
                <a:cubicBezTo>
                  <a:pt x="1831" y="700"/>
                  <a:pt x="1836" y="704"/>
                  <a:pt x="1836" y="704"/>
                </a:cubicBezTo>
                <a:cubicBezTo>
                  <a:pt x="1834" y="721"/>
                  <a:pt x="1834" y="721"/>
                  <a:pt x="1834" y="721"/>
                </a:cubicBezTo>
                <a:cubicBezTo>
                  <a:pt x="1839" y="725"/>
                  <a:pt x="1839" y="725"/>
                  <a:pt x="1839" y="725"/>
                </a:cubicBezTo>
                <a:cubicBezTo>
                  <a:pt x="1839" y="725"/>
                  <a:pt x="1840" y="731"/>
                  <a:pt x="1844" y="732"/>
                </a:cubicBezTo>
                <a:cubicBezTo>
                  <a:pt x="1848" y="733"/>
                  <a:pt x="1851" y="733"/>
                  <a:pt x="1853" y="731"/>
                </a:cubicBezTo>
                <a:cubicBezTo>
                  <a:pt x="1856" y="730"/>
                  <a:pt x="1857" y="724"/>
                  <a:pt x="1859" y="724"/>
                </a:cubicBezTo>
                <a:cubicBezTo>
                  <a:pt x="1861" y="724"/>
                  <a:pt x="1865" y="725"/>
                  <a:pt x="1869" y="725"/>
                </a:cubicBezTo>
                <a:cubicBezTo>
                  <a:pt x="1874" y="724"/>
                  <a:pt x="1879" y="723"/>
                  <a:pt x="1882" y="723"/>
                </a:cubicBezTo>
                <a:cubicBezTo>
                  <a:pt x="1885" y="723"/>
                  <a:pt x="1889" y="716"/>
                  <a:pt x="1892" y="715"/>
                </a:cubicBezTo>
                <a:cubicBezTo>
                  <a:pt x="1895" y="714"/>
                  <a:pt x="1897" y="710"/>
                  <a:pt x="1901" y="709"/>
                </a:cubicBezTo>
                <a:cubicBezTo>
                  <a:pt x="1905" y="707"/>
                  <a:pt x="1914" y="702"/>
                  <a:pt x="1914" y="702"/>
                </a:cubicBezTo>
                <a:cubicBezTo>
                  <a:pt x="1924" y="702"/>
                  <a:pt x="1924" y="702"/>
                  <a:pt x="1924" y="702"/>
                </a:cubicBezTo>
                <a:cubicBezTo>
                  <a:pt x="1924" y="702"/>
                  <a:pt x="1929" y="692"/>
                  <a:pt x="1931" y="690"/>
                </a:cubicBezTo>
                <a:cubicBezTo>
                  <a:pt x="1931" y="690"/>
                  <a:pt x="1932" y="690"/>
                  <a:pt x="1933" y="689"/>
                </a:cubicBezTo>
                <a:cubicBezTo>
                  <a:pt x="1939" y="687"/>
                  <a:pt x="1955" y="683"/>
                  <a:pt x="1956" y="682"/>
                </a:cubicBezTo>
                <a:cubicBezTo>
                  <a:pt x="1957" y="681"/>
                  <a:pt x="1957" y="674"/>
                  <a:pt x="1957" y="674"/>
                </a:cubicBezTo>
                <a:cubicBezTo>
                  <a:pt x="1957" y="674"/>
                  <a:pt x="1966" y="673"/>
                  <a:pt x="1968" y="671"/>
                </a:cubicBezTo>
                <a:cubicBezTo>
                  <a:pt x="1969" y="669"/>
                  <a:pt x="1969" y="665"/>
                  <a:pt x="1969" y="665"/>
                </a:cubicBezTo>
                <a:cubicBezTo>
                  <a:pt x="1969" y="665"/>
                  <a:pt x="1976" y="663"/>
                  <a:pt x="1978" y="660"/>
                </a:cubicBezTo>
                <a:cubicBezTo>
                  <a:pt x="1980" y="656"/>
                  <a:pt x="1979" y="648"/>
                  <a:pt x="1981" y="648"/>
                </a:cubicBezTo>
                <a:cubicBezTo>
                  <a:pt x="1983" y="648"/>
                  <a:pt x="1985" y="650"/>
                  <a:pt x="1987" y="648"/>
                </a:cubicBezTo>
                <a:cubicBezTo>
                  <a:pt x="1989" y="646"/>
                  <a:pt x="1988" y="642"/>
                  <a:pt x="1988" y="642"/>
                </a:cubicBezTo>
                <a:cubicBezTo>
                  <a:pt x="1996" y="635"/>
                  <a:pt x="1996" y="635"/>
                  <a:pt x="1996" y="635"/>
                </a:cubicBezTo>
                <a:cubicBezTo>
                  <a:pt x="1996" y="635"/>
                  <a:pt x="1998" y="626"/>
                  <a:pt x="1997" y="624"/>
                </a:cubicBezTo>
                <a:cubicBezTo>
                  <a:pt x="1996" y="622"/>
                  <a:pt x="1993" y="623"/>
                  <a:pt x="1993" y="623"/>
                </a:cubicBezTo>
                <a:cubicBezTo>
                  <a:pt x="1993" y="623"/>
                  <a:pt x="1988" y="614"/>
                  <a:pt x="1985" y="612"/>
                </a:cubicBezTo>
                <a:cubicBezTo>
                  <a:pt x="1982" y="609"/>
                  <a:pt x="1971" y="607"/>
                  <a:pt x="1971" y="607"/>
                </a:cubicBezTo>
                <a:cubicBezTo>
                  <a:pt x="1971" y="607"/>
                  <a:pt x="1962" y="604"/>
                  <a:pt x="1962" y="601"/>
                </a:cubicBezTo>
                <a:cubicBezTo>
                  <a:pt x="1961" y="600"/>
                  <a:pt x="1961" y="599"/>
                  <a:pt x="1960" y="597"/>
                </a:cubicBezTo>
                <a:cubicBezTo>
                  <a:pt x="1959" y="595"/>
                  <a:pt x="1958" y="592"/>
                  <a:pt x="1958" y="589"/>
                </a:cubicBezTo>
                <a:cubicBezTo>
                  <a:pt x="1959" y="586"/>
                  <a:pt x="1960" y="580"/>
                  <a:pt x="1958" y="579"/>
                </a:cubicBezTo>
                <a:cubicBezTo>
                  <a:pt x="1957" y="578"/>
                  <a:pt x="1952" y="589"/>
                  <a:pt x="1952" y="589"/>
                </a:cubicBezTo>
                <a:cubicBezTo>
                  <a:pt x="1952" y="589"/>
                  <a:pt x="1949" y="590"/>
                  <a:pt x="1948" y="591"/>
                </a:cubicBezTo>
                <a:cubicBezTo>
                  <a:pt x="1947" y="593"/>
                  <a:pt x="1941" y="600"/>
                  <a:pt x="1941" y="600"/>
                </a:cubicBezTo>
                <a:cubicBezTo>
                  <a:pt x="1941" y="600"/>
                  <a:pt x="1941" y="606"/>
                  <a:pt x="1939" y="606"/>
                </a:cubicBezTo>
                <a:cubicBezTo>
                  <a:pt x="1937" y="606"/>
                  <a:pt x="1928" y="605"/>
                  <a:pt x="1926" y="605"/>
                </a:cubicBezTo>
                <a:cubicBezTo>
                  <a:pt x="1925" y="605"/>
                  <a:pt x="1918" y="609"/>
                  <a:pt x="1917" y="608"/>
                </a:cubicBezTo>
                <a:cubicBezTo>
                  <a:pt x="1916" y="607"/>
                  <a:pt x="1914" y="606"/>
                  <a:pt x="1913" y="605"/>
                </a:cubicBezTo>
                <a:cubicBezTo>
                  <a:pt x="1913" y="605"/>
                  <a:pt x="1913" y="605"/>
                  <a:pt x="1913" y="605"/>
                </a:cubicBezTo>
                <a:cubicBezTo>
                  <a:pt x="1913" y="604"/>
                  <a:pt x="1912" y="603"/>
                  <a:pt x="1912" y="602"/>
                </a:cubicBezTo>
                <a:cubicBezTo>
                  <a:pt x="1912" y="602"/>
                  <a:pt x="1912" y="602"/>
                  <a:pt x="1912" y="602"/>
                </a:cubicBezTo>
                <a:cubicBezTo>
                  <a:pt x="1913" y="600"/>
                  <a:pt x="1916" y="594"/>
                  <a:pt x="1916" y="589"/>
                </a:cubicBezTo>
                <a:cubicBezTo>
                  <a:pt x="1915" y="585"/>
                  <a:pt x="1912" y="582"/>
                  <a:pt x="1911" y="582"/>
                </a:cubicBezTo>
                <a:cubicBezTo>
                  <a:pt x="1908" y="583"/>
                  <a:pt x="1908" y="588"/>
                  <a:pt x="1908" y="592"/>
                </a:cubicBezTo>
                <a:cubicBezTo>
                  <a:pt x="1908" y="595"/>
                  <a:pt x="1908" y="599"/>
                  <a:pt x="1906" y="599"/>
                </a:cubicBezTo>
                <a:cubicBezTo>
                  <a:pt x="1906" y="599"/>
                  <a:pt x="1906" y="599"/>
                  <a:pt x="1906" y="599"/>
                </a:cubicBezTo>
                <a:cubicBezTo>
                  <a:pt x="1904" y="599"/>
                  <a:pt x="1903" y="591"/>
                  <a:pt x="1902" y="590"/>
                </a:cubicBezTo>
                <a:cubicBezTo>
                  <a:pt x="1901" y="588"/>
                  <a:pt x="1897" y="588"/>
                  <a:pt x="1897" y="585"/>
                </a:cubicBezTo>
                <a:cubicBezTo>
                  <a:pt x="1896" y="582"/>
                  <a:pt x="1897" y="577"/>
                  <a:pt x="1894" y="575"/>
                </a:cubicBezTo>
                <a:cubicBezTo>
                  <a:pt x="1891" y="573"/>
                  <a:pt x="1887" y="573"/>
                  <a:pt x="1886" y="571"/>
                </a:cubicBezTo>
                <a:cubicBezTo>
                  <a:pt x="1885" y="568"/>
                  <a:pt x="1886" y="565"/>
                  <a:pt x="1885" y="565"/>
                </a:cubicBezTo>
                <a:cubicBezTo>
                  <a:pt x="1884" y="564"/>
                  <a:pt x="1881" y="561"/>
                  <a:pt x="1881" y="561"/>
                </a:cubicBezTo>
                <a:cubicBezTo>
                  <a:pt x="1881" y="558"/>
                  <a:pt x="1881" y="558"/>
                  <a:pt x="1881" y="558"/>
                </a:cubicBezTo>
                <a:cubicBezTo>
                  <a:pt x="1881" y="558"/>
                  <a:pt x="1880" y="557"/>
                  <a:pt x="1879" y="556"/>
                </a:cubicBezTo>
                <a:cubicBezTo>
                  <a:pt x="1877" y="555"/>
                  <a:pt x="1874" y="552"/>
                  <a:pt x="1874" y="549"/>
                </a:cubicBezTo>
                <a:cubicBezTo>
                  <a:pt x="1874" y="549"/>
                  <a:pt x="1874" y="549"/>
                  <a:pt x="1874" y="549"/>
                </a:cubicBezTo>
                <a:cubicBezTo>
                  <a:pt x="1872" y="548"/>
                  <a:pt x="1872" y="548"/>
                  <a:pt x="1872" y="548"/>
                </a:cubicBezTo>
                <a:cubicBezTo>
                  <a:pt x="1872" y="545"/>
                  <a:pt x="1872" y="545"/>
                  <a:pt x="1872" y="545"/>
                </a:cubicBezTo>
                <a:cubicBezTo>
                  <a:pt x="1872" y="545"/>
                  <a:pt x="1875" y="545"/>
                  <a:pt x="1876" y="545"/>
                </a:cubicBezTo>
                <a:cubicBezTo>
                  <a:pt x="1877" y="545"/>
                  <a:pt x="1877" y="543"/>
                  <a:pt x="1877" y="543"/>
                </a:cubicBezTo>
                <a:cubicBezTo>
                  <a:pt x="1877" y="543"/>
                  <a:pt x="1877" y="541"/>
                  <a:pt x="1875" y="541"/>
                </a:cubicBezTo>
                <a:cubicBezTo>
                  <a:pt x="1873" y="541"/>
                  <a:pt x="1873" y="542"/>
                  <a:pt x="1873" y="542"/>
                </a:cubicBezTo>
                <a:cubicBezTo>
                  <a:pt x="1872" y="540"/>
                  <a:pt x="1872" y="540"/>
                  <a:pt x="1872" y="540"/>
                </a:cubicBezTo>
                <a:cubicBezTo>
                  <a:pt x="1873" y="541"/>
                  <a:pt x="1873" y="541"/>
                  <a:pt x="1873" y="541"/>
                </a:cubicBezTo>
                <a:cubicBezTo>
                  <a:pt x="1876" y="539"/>
                  <a:pt x="1876" y="539"/>
                  <a:pt x="1876" y="539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7" y="538"/>
                  <a:pt x="1877" y="538"/>
                  <a:pt x="1877" y="538"/>
                </a:cubicBezTo>
                <a:cubicBezTo>
                  <a:pt x="1879" y="540"/>
                  <a:pt x="1881" y="541"/>
                  <a:pt x="1882" y="540"/>
                </a:cubicBezTo>
                <a:cubicBezTo>
                  <a:pt x="1883" y="539"/>
                  <a:pt x="1879" y="537"/>
                  <a:pt x="1882" y="535"/>
                </a:cubicBezTo>
                <a:cubicBezTo>
                  <a:pt x="1885" y="534"/>
                  <a:pt x="1885" y="538"/>
                  <a:pt x="1885" y="538"/>
                </a:cubicBezTo>
                <a:cubicBezTo>
                  <a:pt x="1887" y="539"/>
                  <a:pt x="1887" y="539"/>
                  <a:pt x="1887" y="539"/>
                </a:cubicBezTo>
                <a:cubicBezTo>
                  <a:pt x="1887" y="539"/>
                  <a:pt x="1887" y="539"/>
                  <a:pt x="1888" y="539"/>
                </a:cubicBezTo>
                <a:cubicBezTo>
                  <a:pt x="1888" y="539"/>
                  <a:pt x="1889" y="539"/>
                  <a:pt x="1889" y="539"/>
                </a:cubicBezTo>
                <a:cubicBezTo>
                  <a:pt x="1889" y="539"/>
                  <a:pt x="1889" y="539"/>
                  <a:pt x="1889" y="538"/>
                </a:cubicBezTo>
                <a:cubicBezTo>
                  <a:pt x="1890" y="538"/>
                  <a:pt x="1892" y="537"/>
                  <a:pt x="1893" y="537"/>
                </a:cubicBezTo>
                <a:cubicBezTo>
                  <a:pt x="1893" y="538"/>
                  <a:pt x="1892" y="542"/>
                  <a:pt x="1894" y="543"/>
                </a:cubicBezTo>
                <a:cubicBezTo>
                  <a:pt x="1895" y="544"/>
                  <a:pt x="1898" y="546"/>
                  <a:pt x="1898" y="546"/>
                </a:cubicBezTo>
                <a:cubicBezTo>
                  <a:pt x="1898" y="546"/>
                  <a:pt x="1898" y="547"/>
                  <a:pt x="1898" y="548"/>
                </a:cubicBezTo>
                <a:cubicBezTo>
                  <a:pt x="1899" y="549"/>
                  <a:pt x="1900" y="550"/>
                  <a:pt x="1901" y="552"/>
                </a:cubicBezTo>
                <a:cubicBezTo>
                  <a:pt x="1901" y="552"/>
                  <a:pt x="1901" y="552"/>
                  <a:pt x="1901" y="552"/>
                </a:cubicBezTo>
                <a:cubicBezTo>
                  <a:pt x="1901" y="552"/>
                  <a:pt x="1902" y="553"/>
                  <a:pt x="1902" y="553"/>
                </a:cubicBezTo>
                <a:cubicBezTo>
                  <a:pt x="1904" y="555"/>
                  <a:pt x="1904" y="555"/>
                  <a:pt x="1904" y="555"/>
                </a:cubicBezTo>
                <a:cubicBezTo>
                  <a:pt x="1904" y="555"/>
                  <a:pt x="1904" y="560"/>
                  <a:pt x="1906" y="561"/>
                </a:cubicBezTo>
                <a:cubicBezTo>
                  <a:pt x="1908" y="561"/>
                  <a:pt x="1908" y="564"/>
                  <a:pt x="1908" y="564"/>
                </a:cubicBezTo>
                <a:cubicBezTo>
                  <a:pt x="1913" y="564"/>
                  <a:pt x="1913" y="564"/>
                  <a:pt x="1913" y="564"/>
                </a:cubicBezTo>
                <a:cubicBezTo>
                  <a:pt x="1916" y="567"/>
                  <a:pt x="1916" y="567"/>
                  <a:pt x="1916" y="567"/>
                </a:cubicBezTo>
                <a:cubicBezTo>
                  <a:pt x="1917" y="567"/>
                  <a:pt x="1919" y="566"/>
                  <a:pt x="1920" y="567"/>
                </a:cubicBezTo>
                <a:cubicBezTo>
                  <a:pt x="1922" y="568"/>
                  <a:pt x="1928" y="573"/>
                  <a:pt x="1933" y="577"/>
                </a:cubicBezTo>
                <a:cubicBezTo>
                  <a:pt x="1933" y="577"/>
                  <a:pt x="1933" y="577"/>
                  <a:pt x="1934" y="577"/>
                </a:cubicBezTo>
                <a:cubicBezTo>
                  <a:pt x="1935" y="577"/>
                  <a:pt x="1937" y="577"/>
                  <a:pt x="1937" y="577"/>
                </a:cubicBezTo>
                <a:cubicBezTo>
                  <a:pt x="1937" y="577"/>
                  <a:pt x="1938" y="580"/>
                  <a:pt x="1941" y="579"/>
                </a:cubicBezTo>
                <a:cubicBezTo>
                  <a:pt x="1944" y="578"/>
                  <a:pt x="1945" y="577"/>
                  <a:pt x="1945" y="577"/>
                </a:cubicBezTo>
                <a:cubicBezTo>
                  <a:pt x="1948" y="577"/>
                  <a:pt x="1948" y="577"/>
                  <a:pt x="1948" y="577"/>
                </a:cubicBezTo>
                <a:cubicBezTo>
                  <a:pt x="1950" y="574"/>
                  <a:pt x="1950" y="574"/>
                  <a:pt x="1950" y="574"/>
                </a:cubicBezTo>
                <a:cubicBezTo>
                  <a:pt x="1953" y="574"/>
                  <a:pt x="1953" y="574"/>
                  <a:pt x="1953" y="574"/>
                </a:cubicBezTo>
                <a:cubicBezTo>
                  <a:pt x="1956" y="571"/>
                  <a:pt x="1956" y="571"/>
                  <a:pt x="1956" y="571"/>
                </a:cubicBezTo>
                <a:cubicBezTo>
                  <a:pt x="1957" y="572"/>
                  <a:pt x="1957" y="572"/>
                  <a:pt x="1957" y="572"/>
                </a:cubicBezTo>
                <a:cubicBezTo>
                  <a:pt x="1959" y="572"/>
                  <a:pt x="1960" y="572"/>
                  <a:pt x="1961" y="573"/>
                </a:cubicBezTo>
                <a:cubicBezTo>
                  <a:pt x="1963" y="575"/>
                  <a:pt x="1966" y="580"/>
                  <a:pt x="1967" y="583"/>
                </a:cubicBezTo>
                <a:cubicBezTo>
                  <a:pt x="1967" y="587"/>
                  <a:pt x="1973" y="587"/>
                  <a:pt x="1973" y="587"/>
                </a:cubicBezTo>
                <a:cubicBezTo>
                  <a:pt x="1973" y="587"/>
                  <a:pt x="1973" y="588"/>
                  <a:pt x="1976" y="589"/>
                </a:cubicBezTo>
                <a:cubicBezTo>
                  <a:pt x="1978" y="590"/>
                  <a:pt x="1985" y="589"/>
                  <a:pt x="1985" y="589"/>
                </a:cubicBezTo>
                <a:cubicBezTo>
                  <a:pt x="1985" y="589"/>
                  <a:pt x="1990" y="593"/>
                  <a:pt x="1991" y="593"/>
                </a:cubicBezTo>
                <a:cubicBezTo>
                  <a:pt x="1992" y="593"/>
                  <a:pt x="1996" y="591"/>
                  <a:pt x="1996" y="591"/>
                </a:cubicBezTo>
                <a:cubicBezTo>
                  <a:pt x="1996" y="591"/>
                  <a:pt x="2002" y="595"/>
                  <a:pt x="2005" y="595"/>
                </a:cubicBezTo>
                <a:cubicBezTo>
                  <a:pt x="2007" y="595"/>
                  <a:pt x="2008" y="595"/>
                  <a:pt x="2009" y="594"/>
                </a:cubicBezTo>
                <a:cubicBezTo>
                  <a:pt x="2009" y="594"/>
                  <a:pt x="2009" y="594"/>
                  <a:pt x="2009" y="594"/>
                </a:cubicBezTo>
                <a:cubicBezTo>
                  <a:pt x="2011" y="593"/>
                  <a:pt x="2013" y="592"/>
                  <a:pt x="2013" y="592"/>
                </a:cubicBezTo>
                <a:cubicBezTo>
                  <a:pt x="2013" y="592"/>
                  <a:pt x="2017" y="594"/>
                  <a:pt x="2020" y="594"/>
                </a:cubicBezTo>
                <a:cubicBezTo>
                  <a:pt x="2022" y="594"/>
                  <a:pt x="2028" y="591"/>
                  <a:pt x="2028" y="591"/>
                </a:cubicBezTo>
                <a:cubicBezTo>
                  <a:pt x="2028" y="591"/>
                  <a:pt x="2031" y="592"/>
                  <a:pt x="2033" y="592"/>
                </a:cubicBezTo>
                <a:cubicBezTo>
                  <a:pt x="2035" y="591"/>
                  <a:pt x="2040" y="590"/>
                  <a:pt x="2040" y="590"/>
                </a:cubicBezTo>
                <a:cubicBezTo>
                  <a:pt x="2045" y="591"/>
                  <a:pt x="2045" y="591"/>
                  <a:pt x="2045" y="591"/>
                </a:cubicBezTo>
                <a:cubicBezTo>
                  <a:pt x="2045" y="591"/>
                  <a:pt x="2049" y="587"/>
                  <a:pt x="2052" y="589"/>
                </a:cubicBezTo>
                <a:cubicBezTo>
                  <a:pt x="2056" y="591"/>
                  <a:pt x="2056" y="599"/>
                  <a:pt x="2059" y="599"/>
                </a:cubicBezTo>
                <a:cubicBezTo>
                  <a:pt x="2062" y="600"/>
                  <a:pt x="2067" y="600"/>
                  <a:pt x="2069" y="602"/>
                </a:cubicBezTo>
                <a:cubicBezTo>
                  <a:pt x="2071" y="604"/>
                  <a:pt x="2072" y="608"/>
                  <a:pt x="2074" y="608"/>
                </a:cubicBezTo>
                <a:cubicBezTo>
                  <a:pt x="2075" y="608"/>
                  <a:pt x="2075" y="608"/>
                  <a:pt x="2076" y="608"/>
                </a:cubicBezTo>
                <a:cubicBezTo>
                  <a:pt x="2079" y="609"/>
                  <a:pt x="2081" y="609"/>
                  <a:pt x="2081" y="609"/>
                </a:cubicBezTo>
                <a:cubicBezTo>
                  <a:pt x="2081" y="609"/>
                  <a:pt x="2079" y="614"/>
                  <a:pt x="2082" y="615"/>
                </a:cubicBezTo>
                <a:cubicBezTo>
                  <a:pt x="2084" y="618"/>
                  <a:pt x="2091" y="618"/>
                  <a:pt x="2093" y="618"/>
                </a:cubicBezTo>
                <a:cubicBezTo>
                  <a:pt x="2094" y="617"/>
                  <a:pt x="2099" y="614"/>
                  <a:pt x="2099" y="614"/>
                </a:cubicBezTo>
                <a:cubicBezTo>
                  <a:pt x="2099" y="614"/>
                  <a:pt x="2101" y="616"/>
                  <a:pt x="2098" y="619"/>
                </a:cubicBezTo>
                <a:cubicBezTo>
                  <a:pt x="2096" y="621"/>
                  <a:pt x="2091" y="622"/>
                  <a:pt x="2091" y="622"/>
                </a:cubicBezTo>
                <a:cubicBezTo>
                  <a:pt x="2091" y="622"/>
                  <a:pt x="2083" y="623"/>
                  <a:pt x="2083" y="626"/>
                </a:cubicBezTo>
                <a:cubicBezTo>
                  <a:pt x="2082" y="628"/>
                  <a:pt x="2088" y="633"/>
                  <a:pt x="2091" y="635"/>
                </a:cubicBezTo>
                <a:cubicBezTo>
                  <a:pt x="2094" y="637"/>
                  <a:pt x="2098" y="643"/>
                  <a:pt x="2105" y="643"/>
                </a:cubicBezTo>
                <a:cubicBezTo>
                  <a:pt x="2111" y="644"/>
                  <a:pt x="2119" y="638"/>
                  <a:pt x="2118" y="634"/>
                </a:cubicBezTo>
                <a:cubicBezTo>
                  <a:pt x="2117" y="630"/>
                  <a:pt x="2120" y="627"/>
                  <a:pt x="2122" y="625"/>
                </a:cubicBezTo>
                <a:cubicBezTo>
                  <a:pt x="2124" y="623"/>
                  <a:pt x="2128" y="622"/>
                  <a:pt x="2126" y="626"/>
                </a:cubicBezTo>
                <a:cubicBezTo>
                  <a:pt x="2124" y="629"/>
                  <a:pt x="2119" y="632"/>
                  <a:pt x="2121" y="635"/>
                </a:cubicBezTo>
                <a:cubicBezTo>
                  <a:pt x="2122" y="638"/>
                  <a:pt x="2126" y="638"/>
                  <a:pt x="2126" y="641"/>
                </a:cubicBezTo>
                <a:cubicBezTo>
                  <a:pt x="2126" y="644"/>
                  <a:pt x="2125" y="647"/>
                  <a:pt x="2124" y="652"/>
                </a:cubicBezTo>
                <a:cubicBezTo>
                  <a:pt x="2122" y="657"/>
                  <a:pt x="2122" y="662"/>
                  <a:pt x="2124" y="668"/>
                </a:cubicBezTo>
                <a:cubicBezTo>
                  <a:pt x="2125" y="674"/>
                  <a:pt x="2128" y="684"/>
                  <a:pt x="2130" y="687"/>
                </a:cubicBezTo>
                <a:cubicBezTo>
                  <a:pt x="2133" y="691"/>
                  <a:pt x="2133" y="689"/>
                  <a:pt x="2132" y="694"/>
                </a:cubicBezTo>
                <a:cubicBezTo>
                  <a:pt x="2131" y="699"/>
                  <a:pt x="2139" y="700"/>
                  <a:pt x="2139" y="700"/>
                </a:cubicBezTo>
                <a:cubicBezTo>
                  <a:pt x="2139" y="700"/>
                  <a:pt x="2140" y="707"/>
                  <a:pt x="2142" y="709"/>
                </a:cubicBezTo>
                <a:cubicBezTo>
                  <a:pt x="2143" y="712"/>
                  <a:pt x="2147" y="714"/>
                  <a:pt x="2147" y="714"/>
                </a:cubicBezTo>
                <a:cubicBezTo>
                  <a:pt x="2147" y="714"/>
                  <a:pt x="2148" y="728"/>
                  <a:pt x="2150" y="734"/>
                </a:cubicBezTo>
                <a:cubicBezTo>
                  <a:pt x="2153" y="740"/>
                  <a:pt x="2160" y="749"/>
                  <a:pt x="2161" y="751"/>
                </a:cubicBezTo>
                <a:cubicBezTo>
                  <a:pt x="2162" y="754"/>
                  <a:pt x="2163" y="759"/>
                  <a:pt x="2163" y="762"/>
                </a:cubicBezTo>
                <a:cubicBezTo>
                  <a:pt x="2162" y="764"/>
                  <a:pt x="2176" y="786"/>
                  <a:pt x="2176" y="786"/>
                </a:cubicBezTo>
                <a:cubicBezTo>
                  <a:pt x="2176" y="786"/>
                  <a:pt x="2183" y="784"/>
                  <a:pt x="2185" y="782"/>
                </a:cubicBezTo>
                <a:cubicBezTo>
                  <a:pt x="2186" y="780"/>
                  <a:pt x="2184" y="776"/>
                  <a:pt x="2186" y="774"/>
                </a:cubicBezTo>
                <a:cubicBezTo>
                  <a:pt x="2188" y="773"/>
                  <a:pt x="2189" y="775"/>
                  <a:pt x="2191" y="774"/>
                </a:cubicBezTo>
                <a:cubicBezTo>
                  <a:pt x="2194" y="773"/>
                  <a:pt x="2197" y="771"/>
                  <a:pt x="2197" y="771"/>
                </a:cubicBezTo>
                <a:cubicBezTo>
                  <a:pt x="2197" y="771"/>
                  <a:pt x="2194" y="771"/>
                  <a:pt x="2195" y="768"/>
                </a:cubicBezTo>
                <a:cubicBezTo>
                  <a:pt x="2195" y="764"/>
                  <a:pt x="2197" y="764"/>
                  <a:pt x="2199" y="762"/>
                </a:cubicBezTo>
                <a:cubicBezTo>
                  <a:pt x="2202" y="761"/>
                  <a:pt x="2204" y="761"/>
                  <a:pt x="2204" y="759"/>
                </a:cubicBezTo>
                <a:cubicBezTo>
                  <a:pt x="2205" y="757"/>
                  <a:pt x="2202" y="750"/>
                  <a:pt x="2202" y="746"/>
                </a:cubicBezTo>
                <a:cubicBezTo>
                  <a:pt x="2202" y="743"/>
                  <a:pt x="2202" y="736"/>
                  <a:pt x="2203" y="736"/>
                </a:cubicBezTo>
                <a:cubicBezTo>
                  <a:pt x="2204" y="735"/>
                  <a:pt x="2204" y="733"/>
                  <a:pt x="2204" y="727"/>
                </a:cubicBezTo>
                <a:cubicBezTo>
                  <a:pt x="2204" y="720"/>
                  <a:pt x="2200" y="720"/>
                  <a:pt x="2200" y="717"/>
                </a:cubicBezTo>
                <a:cubicBezTo>
                  <a:pt x="2199" y="715"/>
                  <a:pt x="2201" y="713"/>
                  <a:pt x="2202" y="711"/>
                </a:cubicBezTo>
                <a:cubicBezTo>
                  <a:pt x="2202" y="708"/>
                  <a:pt x="2201" y="707"/>
                  <a:pt x="2201" y="704"/>
                </a:cubicBezTo>
                <a:cubicBezTo>
                  <a:pt x="2201" y="700"/>
                  <a:pt x="2208" y="700"/>
                  <a:pt x="2208" y="698"/>
                </a:cubicBezTo>
                <a:cubicBezTo>
                  <a:pt x="2208" y="697"/>
                  <a:pt x="2208" y="694"/>
                  <a:pt x="2210" y="692"/>
                </a:cubicBezTo>
                <a:cubicBezTo>
                  <a:pt x="2211" y="691"/>
                  <a:pt x="2214" y="692"/>
                  <a:pt x="2214" y="692"/>
                </a:cubicBezTo>
                <a:cubicBezTo>
                  <a:pt x="2215" y="690"/>
                  <a:pt x="2215" y="690"/>
                  <a:pt x="2215" y="690"/>
                </a:cubicBezTo>
                <a:cubicBezTo>
                  <a:pt x="2215" y="690"/>
                  <a:pt x="2220" y="693"/>
                  <a:pt x="2220" y="690"/>
                </a:cubicBezTo>
                <a:cubicBezTo>
                  <a:pt x="2221" y="688"/>
                  <a:pt x="2225" y="681"/>
                  <a:pt x="2226" y="679"/>
                </a:cubicBezTo>
                <a:cubicBezTo>
                  <a:pt x="2227" y="677"/>
                  <a:pt x="2232" y="677"/>
                  <a:pt x="2233" y="674"/>
                </a:cubicBezTo>
                <a:cubicBezTo>
                  <a:pt x="2235" y="671"/>
                  <a:pt x="2237" y="666"/>
                  <a:pt x="2239" y="664"/>
                </a:cubicBezTo>
                <a:cubicBezTo>
                  <a:pt x="2241" y="662"/>
                  <a:pt x="2249" y="657"/>
                  <a:pt x="2249" y="657"/>
                </a:cubicBezTo>
                <a:cubicBezTo>
                  <a:pt x="2248" y="653"/>
                  <a:pt x="2248" y="653"/>
                  <a:pt x="2248" y="653"/>
                </a:cubicBezTo>
                <a:cubicBezTo>
                  <a:pt x="2249" y="652"/>
                  <a:pt x="2249" y="652"/>
                  <a:pt x="2249" y="652"/>
                </a:cubicBezTo>
                <a:cubicBezTo>
                  <a:pt x="2252" y="656"/>
                  <a:pt x="2252" y="656"/>
                  <a:pt x="2252" y="656"/>
                </a:cubicBezTo>
                <a:cubicBezTo>
                  <a:pt x="2260" y="648"/>
                  <a:pt x="2260" y="648"/>
                  <a:pt x="2260" y="648"/>
                </a:cubicBezTo>
                <a:cubicBezTo>
                  <a:pt x="2262" y="644"/>
                  <a:pt x="2262" y="644"/>
                  <a:pt x="2262" y="644"/>
                </a:cubicBezTo>
                <a:cubicBezTo>
                  <a:pt x="2262" y="644"/>
                  <a:pt x="2259" y="641"/>
                  <a:pt x="2259" y="638"/>
                </a:cubicBezTo>
                <a:cubicBezTo>
                  <a:pt x="2259" y="636"/>
                  <a:pt x="2264" y="637"/>
                  <a:pt x="2266" y="634"/>
                </a:cubicBezTo>
                <a:cubicBezTo>
                  <a:pt x="2269" y="630"/>
                  <a:pt x="2268" y="628"/>
                  <a:pt x="2268" y="628"/>
                </a:cubicBezTo>
                <a:cubicBezTo>
                  <a:pt x="2270" y="629"/>
                  <a:pt x="2270" y="629"/>
                  <a:pt x="2270" y="629"/>
                </a:cubicBezTo>
                <a:cubicBezTo>
                  <a:pt x="2272" y="632"/>
                  <a:pt x="2272" y="632"/>
                  <a:pt x="2272" y="632"/>
                </a:cubicBezTo>
                <a:cubicBezTo>
                  <a:pt x="2273" y="628"/>
                  <a:pt x="2273" y="628"/>
                  <a:pt x="2273" y="628"/>
                </a:cubicBezTo>
                <a:cubicBezTo>
                  <a:pt x="2273" y="628"/>
                  <a:pt x="2275" y="636"/>
                  <a:pt x="2276" y="637"/>
                </a:cubicBezTo>
                <a:cubicBezTo>
                  <a:pt x="2278" y="637"/>
                  <a:pt x="2279" y="632"/>
                  <a:pt x="2279" y="632"/>
                </a:cubicBezTo>
                <a:cubicBezTo>
                  <a:pt x="2282" y="636"/>
                  <a:pt x="2282" y="636"/>
                  <a:pt x="2282" y="636"/>
                </a:cubicBezTo>
                <a:cubicBezTo>
                  <a:pt x="2283" y="628"/>
                  <a:pt x="2283" y="628"/>
                  <a:pt x="2283" y="628"/>
                </a:cubicBezTo>
                <a:cubicBezTo>
                  <a:pt x="2283" y="628"/>
                  <a:pt x="2292" y="632"/>
                  <a:pt x="2293" y="631"/>
                </a:cubicBezTo>
                <a:cubicBezTo>
                  <a:pt x="2295" y="631"/>
                  <a:pt x="2292" y="627"/>
                  <a:pt x="2293" y="626"/>
                </a:cubicBezTo>
                <a:cubicBezTo>
                  <a:pt x="2295" y="626"/>
                  <a:pt x="2299" y="630"/>
                  <a:pt x="2302" y="629"/>
                </a:cubicBezTo>
                <a:cubicBezTo>
                  <a:pt x="2304" y="628"/>
                  <a:pt x="2303" y="626"/>
                  <a:pt x="2303" y="626"/>
                </a:cubicBezTo>
                <a:cubicBezTo>
                  <a:pt x="2302" y="621"/>
                  <a:pt x="2302" y="621"/>
                  <a:pt x="2302" y="621"/>
                </a:cubicBezTo>
                <a:cubicBezTo>
                  <a:pt x="2308" y="628"/>
                  <a:pt x="2308" y="628"/>
                  <a:pt x="2308" y="628"/>
                </a:cubicBezTo>
                <a:cubicBezTo>
                  <a:pt x="2308" y="628"/>
                  <a:pt x="2306" y="636"/>
                  <a:pt x="2307" y="637"/>
                </a:cubicBezTo>
                <a:cubicBezTo>
                  <a:pt x="2308" y="638"/>
                  <a:pt x="2309" y="638"/>
                  <a:pt x="2310" y="638"/>
                </a:cubicBezTo>
                <a:cubicBezTo>
                  <a:pt x="2310" y="638"/>
                  <a:pt x="2310" y="638"/>
                  <a:pt x="2310" y="638"/>
                </a:cubicBezTo>
                <a:cubicBezTo>
                  <a:pt x="2311" y="638"/>
                  <a:pt x="2312" y="638"/>
                  <a:pt x="2312" y="638"/>
                </a:cubicBezTo>
                <a:cubicBezTo>
                  <a:pt x="2312" y="645"/>
                  <a:pt x="2312" y="645"/>
                  <a:pt x="2312" y="645"/>
                </a:cubicBezTo>
                <a:cubicBezTo>
                  <a:pt x="2312" y="645"/>
                  <a:pt x="2317" y="646"/>
                  <a:pt x="2319" y="648"/>
                </a:cubicBezTo>
                <a:cubicBezTo>
                  <a:pt x="2321" y="650"/>
                  <a:pt x="2322" y="655"/>
                  <a:pt x="2322" y="655"/>
                </a:cubicBezTo>
                <a:cubicBezTo>
                  <a:pt x="2327" y="654"/>
                  <a:pt x="2327" y="654"/>
                  <a:pt x="2327" y="654"/>
                </a:cubicBezTo>
                <a:cubicBezTo>
                  <a:pt x="2324" y="660"/>
                  <a:pt x="2324" y="660"/>
                  <a:pt x="2324" y="660"/>
                </a:cubicBezTo>
                <a:cubicBezTo>
                  <a:pt x="2324" y="660"/>
                  <a:pt x="2330" y="661"/>
                  <a:pt x="2333" y="663"/>
                </a:cubicBezTo>
                <a:cubicBezTo>
                  <a:pt x="2335" y="665"/>
                  <a:pt x="2337" y="673"/>
                  <a:pt x="2338" y="674"/>
                </a:cubicBezTo>
                <a:cubicBezTo>
                  <a:pt x="2338" y="675"/>
                  <a:pt x="2341" y="678"/>
                  <a:pt x="2341" y="678"/>
                </a:cubicBezTo>
                <a:cubicBezTo>
                  <a:pt x="2339" y="681"/>
                  <a:pt x="2339" y="681"/>
                  <a:pt x="2339" y="681"/>
                </a:cubicBezTo>
                <a:cubicBezTo>
                  <a:pt x="2340" y="693"/>
                  <a:pt x="2340" y="693"/>
                  <a:pt x="2340" y="693"/>
                </a:cubicBezTo>
                <a:cubicBezTo>
                  <a:pt x="2338" y="695"/>
                  <a:pt x="2338" y="695"/>
                  <a:pt x="2338" y="695"/>
                </a:cubicBezTo>
                <a:cubicBezTo>
                  <a:pt x="2338" y="695"/>
                  <a:pt x="2339" y="699"/>
                  <a:pt x="2341" y="699"/>
                </a:cubicBezTo>
                <a:cubicBezTo>
                  <a:pt x="2343" y="699"/>
                  <a:pt x="2345" y="697"/>
                  <a:pt x="2345" y="697"/>
                </a:cubicBezTo>
                <a:cubicBezTo>
                  <a:pt x="2345" y="697"/>
                  <a:pt x="2346" y="700"/>
                  <a:pt x="2348" y="699"/>
                </a:cubicBezTo>
                <a:cubicBezTo>
                  <a:pt x="2351" y="698"/>
                  <a:pt x="2353" y="693"/>
                  <a:pt x="2353" y="693"/>
                </a:cubicBezTo>
                <a:cubicBezTo>
                  <a:pt x="2353" y="693"/>
                  <a:pt x="2358" y="692"/>
                  <a:pt x="2360" y="691"/>
                </a:cubicBezTo>
                <a:cubicBezTo>
                  <a:pt x="2363" y="689"/>
                  <a:pt x="2360" y="682"/>
                  <a:pt x="2361" y="681"/>
                </a:cubicBezTo>
                <a:close/>
                <a:moveTo>
                  <a:pt x="1719" y="975"/>
                </a:moveTo>
                <a:cubicBezTo>
                  <a:pt x="1719" y="976"/>
                  <a:pt x="1718" y="977"/>
                  <a:pt x="1718" y="977"/>
                </a:cubicBezTo>
                <a:cubicBezTo>
                  <a:pt x="1716" y="978"/>
                  <a:pt x="1716" y="975"/>
                  <a:pt x="1716" y="975"/>
                </a:cubicBezTo>
                <a:cubicBezTo>
                  <a:pt x="1716" y="975"/>
                  <a:pt x="1714" y="974"/>
                  <a:pt x="1712" y="973"/>
                </a:cubicBezTo>
                <a:cubicBezTo>
                  <a:pt x="1710" y="972"/>
                  <a:pt x="1711" y="971"/>
                  <a:pt x="1712" y="969"/>
                </a:cubicBezTo>
                <a:cubicBezTo>
                  <a:pt x="1713" y="969"/>
                  <a:pt x="1713" y="968"/>
                  <a:pt x="1713" y="968"/>
                </a:cubicBezTo>
                <a:cubicBezTo>
                  <a:pt x="1713" y="968"/>
                  <a:pt x="1712" y="966"/>
                  <a:pt x="1711" y="965"/>
                </a:cubicBezTo>
                <a:cubicBezTo>
                  <a:pt x="1710" y="964"/>
                  <a:pt x="1711" y="960"/>
                  <a:pt x="1711" y="959"/>
                </a:cubicBezTo>
                <a:cubicBezTo>
                  <a:pt x="1711" y="957"/>
                  <a:pt x="1708" y="958"/>
                  <a:pt x="1707" y="958"/>
                </a:cubicBezTo>
                <a:cubicBezTo>
                  <a:pt x="1707" y="958"/>
                  <a:pt x="1706" y="956"/>
                  <a:pt x="1706" y="954"/>
                </a:cubicBezTo>
                <a:cubicBezTo>
                  <a:pt x="1706" y="952"/>
                  <a:pt x="1704" y="952"/>
                  <a:pt x="1703" y="951"/>
                </a:cubicBezTo>
                <a:cubicBezTo>
                  <a:pt x="1701" y="949"/>
                  <a:pt x="1701" y="946"/>
                  <a:pt x="1701" y="944"/>
                </a:cubicBezTo>
                <a:cubicBezTo>
                  <a:pt x="1701" y="943"/>
                  <a:pt x="1702" y="941"/>
                  <a:pt x="1702" y="940"/>
                </a:cubicBezTo>
                <a:cubicBezTo>
                  <a:pt x="1702" y="938"/>
                  <a:pt x="1700" y="938"/>
                  <a:pt x="1699" y="936"/>
                </a:cubicBezTo>
                <a:cubicBezTo>
                  <a:pt x="1699" y="934"/>
                  <a:pt x="1699" y="931"/>
                  <a:pt x="1700" y="929"/>
                </a:cubicBezTo>
                <a:cubicBezTo>
                  <a:pt x="1700" y="926"/>
                  <a:pt x="1700" y="924"/>
                  <a:pt x="1701" y="921"/>
                </a:cubicBezTo>
                <a:cubicBezTo>
                  <a:pt x="1701" y="920"/>
                  <a:pt x="1702" y="920"/>
                  <a:pt x="1703" y="921"/>
                </a:cubicBezTo>
                <a:cubicBezTo>
                  <a:pt x="1703" y="922"/>
                  <a:pt x="1703" y="926"/>
                  <a:pt x="1704" y="928"/>
                </a:cubicBezTo>
                <a:cubicBezTo>
                  <a:pt x="1705" y="928"/>
                  <a:pt x="1705" y="928"/>
                  <a:pt x="1706" y="928"/>
                </a:cubicBezTo>
                <a:cubicBezTo>
                  <a:pt x="1705" y="928"/>
                  <a:pt x="1705" y="928"/>
                  <a:pt x="1705" y="928"/>
                </a:cubicBezTo>
                <a:cubicBezTo>
                  <a:pt x="1705" y="930"/>
                  <a:pt x="1705" y="930"/>
                  <a:pt x="1705" y="930"/>
                </a:cubicBezTo>
                <a:cubicBezTo>
                  <a:pt x="1705" y="930"/>
                  <a:pt x="1706" y="932"/>
                  <a:pt x="1707" y="933"/>
                </a:cubicBezTo>
                <a:cubicBezTo>
                  <a:pt x="1707" y="934"/>
                  <a:pt x="1707" y="936"/>
                  <a:pt x="1707" y="936"/>
                </a:cubicBezTo>
                <a:cubicBezTo>
                  <a:pt x="1707" y="936"/>
                  <a:pt x="1709" y="943"/>
                  <a:pt x="1708" y="944"/>
                </a:cubicBezTo>
                <a:cubicBezTo>
                  <a:pt x="1707" y="945"/>
                  <a:pt x="1707" y="945"/>
                  <a:pt x="1707" y="948"/>
                </a:cubicBezTo>
                <a:cubicBezTo>
                  <a:pt x="1707" y="950"/>
                  <a:pt x="1709" y="951"/>
                  <a:pt x="1710" y="951"/>
                </a:cubicBezTo>
                <a:cubicBezTo>
                  <a:pt x="1711" y="952"/>
                  <a:pt x="1715" y="955"/>
                  <a:pt x="1716" y="957"/>
                </a:cubicBezTo>
                <a:cubicBezTo>
                  <a:pt x="1716" y="958"/>
                  <a:pt x="1716" y="960"/>
                  <a:pt x="1715" y="961"/>
                </a:cubicBezTo>
                <a:cubicBezTo>
                  <a:pt x="1715" y="963"/>
                  <a:pt x="1717" y="967"/>
                  <a:pt x="1717" y="967"/>
                </a:cubicBezTo>
                <a:cubicBezTo>
                  <a:pt x="1720" y="972"/>
                  <a:pt x="1720" y="972"/>
                  <a:pt x="1720" y="972"/>
                </a:cubicBezTo>
                <a:cubicBezTo>
                  <a:pt x="1720" y="972"/>
                  <a:pt x="1720" y="973"/>
                  <a:pt x="1719" y="975"/>
                </a:cubicBezTo>
                <a:close/>
                <a:moveTo>
                  <a:pt x="1763" y="1008"/>
                </a:moveTo>
                <a:cubicBezTo>
                  <a:pt x="1763" y="1008"/>
                  <a:pt x="1763" y="1008"/>
                  <a:pt x="1763" y="1008"/>
                </a:cubicBezTo>
                <a:cubicBezTo>
                  <a:pt x="1763" y="1008"/>
                  <a:pt x="1763" y="1008"/>
                  <a:pt x="1763" y="1008"/>
                </a:cubicBezTo>
                <a:close/>
                <a:moveTo>
                  <a:pt x="1763" y="1008"/>
                </a:moveTo>
                <a:cubicBezTo>
                  <a:pt x="1763" y="1008"/>
                  <a:pt x="1761" y="1008"/>
                  <a:pt x="1759" y="1008"/>
                </a:cubicBezTo>
                <a:cubicBezTo>
                  <a:pt x="1761" y="1008"/>
                  <a:pt x="1763" y="1008"/>
                  <a:pt x="1763" y="1008"/>
                </a:cubicBezTo>
                <a:close/>
                <a:moveTo>
                  <a:pt x="1757" y="1008"/>
                </a:moveTo>
                <a:cubicBezTo>
                  <a:pt x="1757" y="1008"/>
                  <a:pt x="1757" y="1008"/>
                  <a:pt x="1757" y="1008"/>
                </a:cubicBezTo>
                <a:cubicBezTo>
                  <a:pt x="1757" y="1009"/>
                  <a:pt x="1757" y="1010"/>
                  <a:pt x="1757" y="1010"/>
                </a:cubicBezTo>
                <a:cubicBezTo>
                  <a:pt x="1757" y="1011"/>
                  <a:pt x="1756" y="1012"/>
                  <a:pt x="1754" y="1014"/>
                </a:cubicBezTo>
                <a:cubicBezTo>
                  <a:pt x="1753" y="1016"/>
                  <a:pt x="1755" y="1017"/>
                  <a:pt x="1756" y="1018"/>
                </a:cubicBezTo>
                <a:cubicBezTo>
                  <a:pt x="1756" y="1019"/>
                  <a:pt x="1756" y="1023"/>
                  <a:pt x="1755" y="1025"/>
                </a:cubicBezTo>
                <a:cubicBezTo>
                  <a:pt x="1755" y="1027"/>
                  <a:pt x="1755" y="1029"/>
                  <a:pt x="1755" y="1030"/>
                </a:cubicBezTo>
                <a:cubicBezTo>
                  <a:pt x="1755" y="1031"/>
                  <a:pt x="1755" y="1031"/>
                  <a:pt x="1756" y="1031"/>
                </a:cubicBezTo>
                <a:cubicBezTo>
                  <a:pt x="1757" y="1032"/>
                  <a:pt x="1758" y="1033"/>
                  <a:pt x="1758" y="1033"/>
                </a:cubicBezTo>
                <a:cubicBezTo>
                  <a:pt x="1758" y="1033"/>
                  <a:pt x="1759" y="1038"/>
                  <a:pt x="1757" y="1039"/>
                </a:cubicBezTo>
                <a:cubicBezTo>
                  <a:pt x="1756" y="1039"/>
                  <a:pt x="1756" y="1037"/>
                  <a:pt x="1756" y="1037"/>
                </a:cubicBezTo>
                <a:cubicBezTo>
                  <a:pt x="1756" y="1037"/>
                  <a:pt x="1753" y="1038"/>
                  <a:pt x="1753" y="1037"/>
                </a:cubicBezTo>
                <a:cubicBezTo>
                  <a:pt x="1752" y="1037"/>
                  <a:pt x="1752" y="1034"/>
                  <a:pt x="1752" y="1033"/>
                </a:cubicBezTo>
                <a:cubicBezTo>
                  <a:pt x="1752" y="1031"/>
                  <a:pt x="1751" y="1030"/>
                  <a:pt x="1751" y="1030"/>
                </a:cubicBezTo>
                <a:cubicBezTo>
                  <a:pt x="1750" y="1029"/>
                  <a:pt x="1751" y="1026"/>
                  <a:pt x="1751" y="1024"/>
                </a:cubicBezTo>
                <a:cubicBezTo>
                  <a:pt x="1751" y="1023"/>
                  <a:pt x="1750" y="1021"/>
                  <a:pt x="1747" y="1019"/>
                </a:cubicBezTo>
                <a:cubicBezTo>
                  <a:pt x="1745" y="1017"/>
                  <a:pt x="1747" y="1018"/>
                  <a:pt x="1746" y="1016"/>
                </a:cubicBezTo>
                <a:cubicBezTo>
                  <a:pt x="1746" y="1014"/>
                  <a:pt x="1748" y="1012"/>
                  <a:pt x="1750" y="1010"/>
                </a:cubicBezTo>
                <a:cubicBezTo>
                  <a:pt x="1752" y="1008"/>
                  <a:pt x="1751" y="1007"/>
                  <a:pt x="1751" y="1006"/>
                </a:cubicBezTo>
                <a:cubicBezTo>
                  <a:pt x="1752" y="1005"/>
                  <a:pt x="1751" y="1004"/>
                  <a:pt x="1751" y="1002"/>
                </a:cubicBezTo>
                <a:cubicBezTo>
                  <a:pt x="1751" y="1001"/>
                  <a:pt x="1750" y="998"/>
                  <a:pt x="1750" y="994"/>
                </a:cubicBezTo>
                <a:cubicBezTo>
                  <a:pt x="1750" y="991"/>
                  <a:pt x="1749" y="993"/>
                  <a:pt x="1747" y="991"/>
                </a:cubicBezTo>
                <a:cubicBezTo>
                  <a:pt x="1745" y="990"/>
                  <a:pt x="1747" y="988"/>
                  <a:pt x="1746" y="986"/>
                </a:cubicBezTo>
                <a:cubicBezTo>
                  <a:pt x="1746" y="986"/>
                  <a:pt x="1747" y="983"/>
                  <a:pt x="1749" y="984"/>
                </a:cubicBezTo>
                <a:cubicBezTo>
                  <a:pt x="1751" y="985"/>
                  <a:pt x="1753" y="989"/>
                  <a:pt x="1753" y="989"/>
                </a:cubicBezTo>
                <a:cubicBezTo>
                  <a:pt x="1753" y="997"/>
                  <a:pt x="1753" y="997"/>
                  <a:pt x="1753" y="997"/>
                </a:cubicBezTo>
                <a:cubicBezTo>
                  <a:pt x="1753" y="997"/>
                  <a:pt x="1754" y="997"/>
                  <a:pt x="1754" y="998"/>
                </a:cubicBezTo>
                <a:cubicBezTo>
                  <a:pt x="1754" y="1000"/>
                  <a:pt x="1754" y="1000"/>
                  <a:pt x="1753" y="1002"/>
                </a:cubicBezTo>
                <a:cubicBezTo>
                  <a:pt x="1753" y="1004"/>
                  <a:pt x="1757" y="1006"/>
                  <a:pt x="1757" y="1006"/>
                </a:cubicBezTo>
                <a:cubicBezTo>
                  <a:pt x="1757" y="1008"/>
                  <a:pt x="1757" y="1008"/>
                  <a:pt x="1757" y="1008"/>
                </a:cubicBezTo>
                <a:cubicBezTo>
                  <a:pt x="1757" y="1008"/>
                  <a:pt x="1757" y="1008"/>
                  <a:pt x="1757" y="1008"/>
                </a:cubicBezTo>
                <a:close/>
                <a:moveTo>
                  <a:pt x="1726" y="898"/>
                </a:moveTo>
                <a:cubicBezTo>
                  <a:pt x="1726" y="895"/>
                  <a:pt x="1728" y="891"/>
                  <a:pt x="1728" y="890"/>
                </a:cubicBezTo>
                <a:cubicBezTo>
                  <a:pt x="1728" y="889"/>
                  <a:pt x="1728" y="889"/>
                  <a:pt x="1728" y="889"/>
                </a:cubicBezTo>
                <a:cubicBezTo>
                  <a:pt x="1728" y="888"/>
                  <a:pt x="1727" y="887"/>
                  <a:pt x="1727" y="886"/>
                </a:cubicBezTo>
                <a:cubicBezTo>
                  <a:pt x="1726" y="884"/>
                  <a:pt x="1728" y="882"/>
                  <a:pt x="1729" y="882"/>
                </a:cubicBezTo>
                <a:cubicBezTo>
                  <a:pt x="1729" y="881"/>
                  <a:pt x="1728" y="878"/>
                  <a:pt x="1730" y="877"/>
                </a:cubicBezTo>
                <a:cubicBezTo>
                  <a:pt x="1732" y="875"/>
                  <a:pt x="1738" y="876"/>
                  <a:pt x="1739" y="875"/>
                </a:cubicBezTo>
                <a:cubicBezTo>
                  <a:pt x="1739" y="875"/>
                  <a:pt x="1741" y="872"/>
                  <a:pt x="1742" y="872"/>
                </a:cubicBezTo>
                <a:cubicBezTo>
                  <a:pt x="1743" y="872"/>
                  <a:pt x="1743" y="876"/>
                  <a:pt x="1743" y="876"/>
                </a:cubicBezTo>
                <a:cubicBezTo>
                  <a:pt x="1743" y="876"/>
                  <a:pt x="1745" y="875"/>
                  <a:pt x="1747" y="875"/>
                </a:cubicBezTo>
                <a:cubicBezTo>
                  <a:pt x="1748" y="875"/>
                  <a:pt x="1748" y="875"/>
                  <a:pt x="1749" y="876"/>
                </a:cubicBezTo>
                <a:cubicBezTo>
                  <a:pt x="1749" y="876"/>
                  <a:pt x="1749" y="876"/>
                  <a:pt x="1749" y="876"/>
                </a:cubicBezTo>
                <a:cubicBezTo>
                  <a:pt x="1749" y="878"/>
                  <a:pt x="1750" y="880"/>
                  <a:pt x="1752" y="881"/>
                </a:cubicBezTo>
                <a:cubicBezTo>
                  <a:pt x="1753" y="881"/>
                  <a:pt x="1753" y="879"/>
                  <a:pt x="1753" y="879"/>
                </a:cubicBezTo>
                <a:cubicBezTo>
                  <a:pt x="1756" y="879"/>
                  <a:pt x="1756" y="879"/>
                  <a:pt x="1756" y="879"/>
                </a:cubicBezTo>
                <a:cubicBezTo>
                  <a:pt x="1757" y="881"/>
                  <a:pt x="1757" y="881"/>
                  <a:pt x="1757" y="881"/>
                </a:cubicBezTo>
                <a:cubicBezTo>
                  <a:pt x="1755" y="882"/>
                  <a:pt x="1755" y="882"/>
                  <a:pt x="1755" y="882"/>
                </a:cubicBezTo>
                <a:cubicBezTo>
                  <a:pt x="1753" y="883"/>
                  <a:pt x="1753" y="883"/>
                  <a:pt x="1753" y="883"/>
                </a:cubicBezTo>
                <a:cubicBezTo>
                  <a:pt x="1753" y="883"/>
                  <a:pt x="1752" y="881"/>
                  <a:pt x="1750" y="883"/>
                </a:cubicBezTo>
                <a:cubicBezTo>
                  <a:pt x="1748" y="885"/>
                  <a:pt x="1751" y="887"/>
                  <a:pt x="1751" y="887"/>
                </a:cubicBezTo>
                <a:cubicBezTo>
                  <a:pt x="1750" y="889"/>
                  <a:pt x="1750" y="889"/>
                  <a:pt x="1750" y="889"/>
                </a:cubicBezTo>
                <a:cubicBezTo>
                  <a:pt x="1749" y="889"/>
                  <a:pt x="1748" y="889"/>
                  <a:pt x="1748" y="889"/>
                </a:cubicBezTo>
                <a:cubicBezTo>
                  <a:pt x="1748" y="889"/>
                  <a:pt x="1748" y="889"/>
                  <a:pt x="1748" y="889"/>
                </a:cubicBezTo>
                <a:cubicBezTo>
                  <a:pt x="1748" y="891"/>
                  <a:pt x="1749" y="894"/>
                  <a:pt x="1749" y="894"/>
                </a:cubicBezTo>
                <a:cubicBezTo>
                  <a:pt x="1745" y="896"/>
                  <a:pt x="1745" y="896"/>
                  <a:pt x="1745" y="896"/>
                </a:cubicBezTo>
                <a:cubicBezTo>
                  <a:pt x="1745" y="896"/>
                  <a:pt x="1743" y="898"/>
                  <a:pt x="1742" y="901"/>
                </a:cubicBezTo>
                <a:cubicBezTo>
                  <a:pt x="1741" y="904"/>
                  <a:pt x="1748" y="902"/>
                  <a:pt x="1748" y="902"/>
                </a:cubicBezTo>
                <a:cubicBezTo>
                  <a:pt x="1748" y="902"/>
                  <a:pt x="1744" y="905"/>
                  <a:pt x="1743" y="906"/>
                </a:cubicBezTo>
                <a:cubicBezTo>
                  <a:pt x="1741" y="906"/>
                  <a:pt x="1741" y="904"/>
                  <a:pt x="1739" y="904"/>
                </a:cubicBezTo>
                <a:cubicBezTo>
                  <a:pt x="1737" y="904"/>
                  <a:pt x="1737" y="908"/>
                  <a:pt x="1737" y="908"/>
                </a:cubicBezTo>
                <a:cubicBezTo>
                  <a:pt x="1739" y="910"/>
                  <a:pt x="1739" y="910"/>
                  <a:pt x="1739" y="910"/>
                </a:cubicBezTo>
                <a:cubicBezTo>
                  <a:pt x="1739" y="910"/>
                  <a:pt x="1738" y="910"/>
                  <a:pt x="1736" y="910"/>
                </a:cubicBezTo>
                <a:cubicBezTo>
                  <a:pt x="1734" y="910"/>
                  <a:pt x="1736" y="904"/>
                  <a:pt x="1736" y="904"/>
                </a:cubicBezTo>
                <a:cubicBezTo>
                  <a:pt x="1734" y="906"/>
                  <a:pt x="1734" y="906"/>
                  <a:pt x="1734" y="906"/>
                </a:cubicBezTo>
                <a:cubicBezTo>
                  <a:pt x="1734" y="906"/>
                  <a:pt x="1732" y="903"/>
                  <a:pt x="1731" y="903"/>
                </a:cubicBezTo>
                <a:cubicBezTo>
                  <a:pt x="1729" y="903"/>
                  <a:pt x="1729" y="908"/>
                  <a:pt x="1728" y="908"/>
                </a:cubicBezTo>
                <a:cubicBezTo>
                  <a:pt x="1727" y="908"/>
                  <a:pt x="1727" y="906"/>
                  <a:pt x="1727" y="906"/>
                </a:cubicBezTo>
                <a:cubicBezTo>
                  <a:pt x="1727" y="906"/>
                  <a:pt x="1726" y="900"/>
                  <a:pt x="1726" y="898"/>
                </a:cubicBezTo>
                <a:close/>
                <a:moveTo>
                  <a:pt x="1796" y="411"/>
                </a:moveTo>
                <a:cubicBezTo>
                  <a:pt x="1795" y="413"/>
                  <a:pt x="1791" y="416"/>
                  <a:pt x="1789" y="417"/>
                </a:cubicBezTo>
                <a:cubicBezTo>
                  <a:pt x="1786" y="418"/>
                  <a:pt x="1777" y="417"/>
                  <a:pt x="1777" y="417"/>
                </a:cubicBezTo>
                <a:cubicBezTo>
                  <a:pt x="1769" y="419"/>
                  <a:pt x="1769" y="419"/>
                  <a:pt x="1769" y="419"/>
                </a:cubicBezTo>
                <a:cubicBezTo>
                  <a:pt x="1760" y="416"/>
                  <a:pt x="1760" y="416"/>
                  <a:pt x="1760" y="416"/>
                </a:cubicBezTo>
                <a:cubicBezTo>
                  <a:pt x="1756" y="417"/>
                  <a:pt x="1756" y="417"/>
                  <a:pt x="1756" y="417"/>
                </a:cubicBezTo>
                <a:cubicBezTo>
                  <a:pt x="1756" y="417"/>
                  <a:pt x="1754" y="412"/>
                  <a:pt x="1753" y="413"/>
                </a:cubicBezTo>
                <a:cubicBezTo>
                  <a:pt x="1751" y="413"/>
                  <a:pt x="1749" y="414"/>
                  <a:pt x="1749" y="414"/>
                </a:cubicBezTo>
                <a:cubicBezTo>
                  <a:pt x="1746" y="412"/>
                  <a:pt x="1746" y="412"/>
                  <a:pt x="1746" y="412"/>
                </a:cubicBezTo>
                <a:cubicBezTo>
                  <a:pt x="1745" y="409"/>
                  <a:pt x="1745" y="409"/>
                  <a:pt x="1745" y="409"/>
                </a:cubicBezTo>
                <a:cubicBezTo>
                  <a:pt x="1739" y="410"/>
                  <a:pt x="1739" y="410"/>
                  <a:pt x="1739" y="410"/>
                </a:cubicBezTo>
                <a:cubicBezTo>
                  <a:pt x="1735" y="408"/>
                  <a:pt x="1735" y="408"/>
                  <a:pt x="1735" y="408"/>
                </a:cubicBezTo>
                <a:cubicBezTo>
                  <a:pt x="1734" y="405"/>
                  <a:pt x="1734" y="405"/>
                  <a:pt x="1734" y="405"/>
                </a:cubicBezTo>
                <a:cubicBezTo>
                  <a:pt x="1734" y="405"/>
                  <a:pt x="1730" y="407"/>
                  <a:pt x="1727" y="407"/>
                </a:cubicBezTo>
                <a:cubicBezTo>
                  <a:pt x="1724" y="407"/>
                  <a:pt x="1721" y="406"/>
                  <a:pt x="1718" y="406"/>
                </a:cubicBezTo>
                <a:cubicBezTo>
                  <a:pt x="1716" y="406"/>
                  <a:pt x="1708" y="409"/>
                  <a:pt x="1707" y="411"/>
                </a:cubicBezTo>
                <a:cubicBezTo>
                  <a:pt x="1706" y="412"/>
                  <a:pt x="1703" y="413"/>
                  <a:pt x="1703" y="413"/>
                </a:cubicBezTo>
                <a:cubicBezTo>
                  <a:pt x="1702" y="416"/>
                  <a:pt x="1702" y="416"/>
                  <a:pt x="1702" y="416"/>
                </a:cubicBezTo>
                <a:cubicBezTo>
                  <a:pt x="1702" y="416"/>
                  <a:pt x="1702" y="417"/>
                  <a:pt x="1699" y="416"/>
                </a:cubicBezTo>
                <a:cubicBezTo>
                  <a:pt x="1696" y="415"/>
                  <a:pt x="1691" y="415"/>
                  <a:pt x="1689" y="415"/>
                </a:cubicBezTo>
                <a:cubicBezTo>
                  <a:pt x="1686" y="415"/>
                  <a:pt x="1678" y="413"/>
                  <a:pt x="1678" y="413"/>
                </a:cubicBezTo>
                <a:cubicBezTo>
                  <a:pt x="1678" y="413"/>
                  <a:pt x="1672" y="414"/>
                  <a:pt x="1672" y="411"/>
                </a:cubicBezTo>
                <a:cubicBezTo>
                  <a:pt x="1671" y="409"/>
                  <a:pt x="1671" y="408"/>
                  <a:pt x="1671" y="407"/>
                </a:cubicBezTo>
                <a:cubicBezTo>
                  <a:pt x="1669" y="407"/>
                  <a:pt x="1666" y="407"/>
                  <a:pt x="1666" y="407"/>
                </a:cubicBezTo>
                <a:cubicBezTo>
                  <a:pt x="1666" y="406"/>
                  <a:pt x="1666" y="406"/>
                  <a:pt x="1665" y="405"/>
                </a:cubicBezTo>
                <a:cubicBezTo>
                  <a:pt x="1667" y="404"/>
                  <a:pt x="1667" y="404"/>
                  <a:pt x="1667" y="404"/>
                </a:cubicBezTo>
                <a:cubicBezTo>
                  <a:pt x="1669" y="406"/>
                  <a:pt x="1669" y="406"/>
                  <a:pt x="1669" y="406"/>
                </a:cubicBezTo>
                <a:cubicBezTo>
                  <a:pt x="1669" y="406"/>
                  <a:pt x="1672" y="407"/>
                  <a:pt x="1674" y="406"/>
                </a:cubicBezTo>
                <a:cubicBezTo>
                  <a:pt x="1673" y="406"/>
                  <a:pt x="1673" y="405"/>
                  <a:pt x="1673" y="405"/>
                </a:cubicBezTo>
                <a:cubicBezTo>
                  <a:pt x="1668" y="400"/>
                  <a:pt x="1668" y="400"/>
                  <a:pt x="1668" y="400"/>
                </a:cubicBezTo>
                <a:cubicBezTo>
                  <a:pt x="1668" y="400"/>
                  <a:pt x="1671" y="398"/>
                  <a:pt x="1671" y="397"/>
                </a:cubicBezTo>
                <a:cubicBezTo>
                  <a:pt x="1672" y="396"/>
                  <a:pt x="1670" y="393"/>
                  <a:pt x="1672" y="391"/>
                </a:cubicBezTo>
                <a:cubicBezTo>
                  <a:pt x="1674" y="390"/>
                  <a:pt x="1677" y="391"/>
                  <a:pt x="1677" y="391"/>
                </a:cubicBezTo>
                <a:cubicBezTo>
                  <a:pt x="1677" y="391"/>
                  <a:pt x="1677" y="389"/>
                  <a:pt x="1677" y="386"/>
                </a:cubicBezTo>
                <a:cubicBezTo>
                  <a:pt x="1676" y="384"/>
                  <a:pt x="1676" y="381"/>
                  <a:pt x="1677" y="379"/>
                </a:cubicBezTo>
                <a:cubicBezTo>
                  <a:pt x="1679" y="377"/>
                  <a:pt x="1681" y="375"/>
                  <a:pt x="1681" y="375"/>
                </a:cubicBezTo>
                <a:cubicBezTo>
                  <a:pt x="1681" y="375"/>
                  <a:pt x="1687" y="377"/>
                  <a:pt x="1686" y="372"/>
                </a:cubicBezTo>
                <a:cubicBezTo>
                  <a:pt x="1686" y="369"/>
                  <a:pt x="1685" y="367"/>
                  <a:pt x="1684" y="366"/>
                </a:cubicBezTo>
                <a:cubicBezTo>
                  <a:pt x="1684" y="366"/>
                  <a:pt x="1684" y="366"/>
                  <a:pt x="1684" y="366"/>
                </a:cubicBezTo>
                <a:cubicBezTo>
                  <a:pt x="1684" y="366"/>
                  <a:pt x="1688" y="364"/>
                  <a:pt x="1689" y="363"/>
                </a:cubicBezTo>
                <a:cubicBezTo>
                  <a:pt x="1691" y="362"/>
                  <a:pt x="1694" y="357"/>
                  <a:pt x="1694" y="357"/>
                </a:cubicBezTo>
                <a:cubicBezTo>
                  <a:pt x="1698" y="355"/>
                  <a:pt x="1698" y="355"/>
                  <a:pt x="1698" y="355"/>
                </a:cubicBezTo>
                <a:cubicBezTo>
                  <a:pt x="1700" y="353"/>
                  <a:pt x="1700" y="353"/>
                  <a:pt x="1700" y="353"/>
                </a:cubicBezTo>
                <a:cubicBezTo>
                  <a:pt x="1702" y="354"/>
                  <a:pt x="1702" y="354"/>
                  <a:pt x="1702" y="354"/>
                </a:cubicBezTo>
                <a:cubicBezTo>
                  <a:pt x="1702" y="354"/>
                  <a:pt x="1707" y="355"/>
                  <a:pt x="1708" y="355"/>
                </a:cubicBezTo>
                <a:cubicBezTo>
                  <a:pt x="1708" y="355"/>
                  <a:pt x="1710" y="353"/>
                  <a:pt x="1710" y="353"/>
                </a:cubicBezTo>
                <a:cubicBezTo>
                  <a:pt x="1707" y="357"/>
                  <a:pt x="1707" y="357"/>
                  <a:pt x="1707" y="357"/>
                </a:cubicBezTo>
                <a:cubicBezTo>
                  <a:pt x="1707" y="357"/>
                  <a:pt x="1704" y="355"/>
                  <a:pt x="1704" y="357"/>
                </a:cubicBezTo>
                <a:cubicBezTo>
                  <a:pt x="1705" y="358"/>
                  <a:pt x="1709" y="359"/>
                  <a:pt x="1709" y="359"/>
                </a:cubicBezTo>
                <a:cubicBezTo>
                  <a:pt x="1716" y="360"/>
                  <a:pt x="1716" y="360"/>
                  <a:pt x="1716" y="360"/>
                </a:cubicBezTo>
                <a:cubicBezTo>
                  <a:pt x="1718" y="360"/>
                  <a:pt x="1718" y="360"/>
                  <a:pt x="1718" y="360"/>
                </a:cubicBezTo>
                <a:cubicBezTo>
                  <a:pt x="1720" y="362"/>
                  <a:pt x="1720" y="362"/>
                  <a:pt x="1720" y="362"/>
                </a:cubicBezTo>
                <a:cubicBezTo>
                  <a:pt x="1720" y="362"/>
                  <a:pt x="1710" y="368"/>
                  <a:pt x="1711" y="368"/>
                </a:cubicBezTo>
                <a:cubicBezTo>
                  <a:pt x="1712" y="369"/>
                  <a:pt x="1720" y="369"/>
                  <a:pt x="1721" y="372"/>
                </a:cubicBezTo>
                <a:cubicBezTo>
                  <a:pt x="1721" y="375"/>
                  <a:pt x="1719" y="378"/>
                  <a:pt x="1720" y="378"/>
                </a:cubicBezTo>
                <a:cubicBezTo>
                  <a:pt x="1721" y="378"/>
                  <a:pt x="1725" y="379"/>
                  <a:pt x="1725" y="379"/>
                </a:cubicBezTo>
                <a:cubicBezTo>
                  <a:pt x="1725" y="379"/>
                  <a:pt x="1728" y="375"/>
                  <a:pt x="1730" y="375"/>
                </a:cubicBezTo>
                <a:cubicBezTo>
                  <a:pt x="1731" y="375"/>
                  <a:pt x="1732" y="376"/>
                  <a:pt x="1734" y="375"/>
                </a:cubicBezTo>
                <a:cubicBezTo>
                  <a:pt x="1736" y="374"/>
                  <a:pt x="1736" y="371"/>
                  <a:pt x="1737" y="371"/>
                </a:cubicBezTo>
                <a:cubicBezTo>
                  <a:pt x="1739" y="371"/>
                  <a:pt x="1740" y="373"/>
                  <a:pt x="1740" y="373"/>
                </a:cubicBezTo>
                <a:cubicBezTo>
                  <a:pt x="1745" y="372"/>
                  <a:pt x="1745" y="372"/>
                  <a:pt x="1745" y="372"/>
                </a:cubicBezTo>
                <a:cubicBezTo>
                  <a:pt x="1745" y="369"/>
                  <a:pt x="1745" y="369"/>
                  <a:pt x="1745" y="369"/>
                </a:cubicBezTo>
                <a:cubicBezTo>
                  <a:pt x="1747" y="368"/>
                  <a:pt x="1747" y="368"/>
                  <a:pt x="1747" y="368"/>
                </a:cubicBezTo>
                <a:cubicBezTo>
                  <a:pt x="1747" y="368"/>
                  <a:pt x="1744" y="366"/>
                  <a:pt x="1742" y="368"/>
                </a:cubicBezTo>
                <a:cubicBezTo>
                  <a:pt x="1741" y="369"/>
                  <a:pt x="1736" y="369"/>
                  <a:pt x="1736" y="369"/>
                </a:cubicBezTo>
                <a:cubicBezTo>
                  <a:pt x="1736" y="369"/>
                  <a:pt x="1732" y="368"/>
                  <a:pt x="1732" y="366"/>
                </a:cubicBezTo>
                <a:cubicBezTo>
                  <a:pt x="1732" y="364"/>
                  <a:pt x="1729" y="364"/>
                  <a:pt x="1729" y="364"/>
                </a:cubicBezTo>
                <a:cubicBezTo>
                  <a:pt x="1727" y="361"/>
                  <a:pt x="1727" y="361"/>
                  <a:pt x="1727" y="361"/>
                </a:cubicBezTo>
                <a:cubicBezTo>
                  <a:pt x="1722" y="361"/>
                  <a:pt x="1722" y="361"/>
                  <a:pt x="1722" y="361"/>
                </a:cubicBezTo>
                <a:cubicBezTo>
                  <a:pt x="1720" y="359"/>
                  <a:pt x="1720" y="359"/>
                  <a:pt x="1720" y="359"/>
                </a:cubicBezTo>
                <a:cubicBezTo>
                  <a:pt x="1724" y="359"/>
                  <a:pt x="1724" y="359"/>
                  <a:pt x="1724" y="359"/>
                </a:cubicBezTo>
                <a:cubicBezTo>
                  <a:pt x="1724" y="359"/>
                  <a:pt x="1727" y="360"/>
                  <a:pt x="1729" y="359"/>
                </a:cubicBezTo>
                <a:cubicBezTo>
                  <a:pt x="1730" y="359"/>
                  <a:pt x="1733" y="356"/>
                  <a:pt x="1733" y="356"/>
                </a:cubicBezTo>
                <a:cubicBezTo>
                  <a:pt x="1735" y="357"/>
                  <a:pt x="1735" y="357"/>
                  <a:pt x="1735" y="357"/>
                </a:cubicBezTo>
                <a:cubicBezTo>
                  <a:pt x="1735" y="357"/>
                  <a:pt x="1738" y="355"/>
                  <a:pt x="1739" y="354"/>
                </a:cubicBezTo>
                <a:cubicBezTo>
                  <a:pt x="1741" y="353"/>
                  <a:pt x="1747" y="353"/>
                  <a:pt x="1747" y="353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3" y="349"/>
                </a:cubicBezTo>
                <a:cubicBezTo>
                  <a:pt x="1753" y="349"/>
                  <a:pt x="1753" y="349"/>
                  <a:pt x="1754" y="349"/>
                </a:cubicBezTo>
                <a:cubicBezTo>
                  <a:pt x="1755" y="349"/>
                  <a:pt x="1757" y="350"/>
                  <a:pt x="1758" y="349"/>
                </a:cubicBezTo>
                <a:cubicBezTo>
                  <a:pt x="1758" y="349"/>
                  <a:pt x="1758" y="349"/>
                  <a:pt x="1758" y="349"/>
                </a:cubicBezTo>
                <a:cubicBezTo>
                  <a:pt x="1758" y="349"/>
                  <a:pt x="1758" y="349"/>
                  <a:pt x="1759" y="349"/>
                </a:cubicBezTo>
                <a:cubicBezTo>
                  <a:pt x="1761" y="348"/>
                  <a:pt x="1767" y="346"/>
                  <a:pt x="1767" y="348"/>
                </a:cubicBezTo>
                <a:cubicBezTo>
                  <a:pt x="1768" y="350"/>
                  <a:pt x="1763" y="353"/>
                  <a:pt x="1763" y="353"/>
                </a:cubicBezTo>
                <a:cubicBezTo>
                  <a:pt x="1756" y="355"/>
                  <a:pt x="1756" y="355"/>
                  <a:pt x="1756" y="355"/>
                </a:cubicBezTo>
                <a:cubicBezTo>
                  <a:pt x="1762" y="360"/>
                  <a:pt x="1762" y="360"/>
                  <a:pt x="1762" y="360"/>
                </a:cubicBezTo>
                <a:cubicBezTo>
                  <a:pt x="1762" y="360"/>
                  <a:pt x="1757" y="361"/>
                  <a:pt x="1757" y="363"/>
                </a:cubicBezTo>
                <a:cubicBezTo>
                  <a:pt x="1757" y="365"/>
                  <a:pt x="1757" y="367"/>
                  <a:pt x="1757" y="367"/>
                </a:cubicBezTo>
                <a:cubicBezTo>
                  <a:pt x="1757" y="367"/>
                  <a:pt x="1754" y="369"/>
                  <a:pt x="1753" y="369"/>
                </a:cubicBezTo>
                <a:cubicBezTo>
                  <a:pt x="1752" y="369"/>
                  <a:pt x="1749" y="367"/>
                  <a:pt x="1749" y="367"/>
                </a:cubicBezTo>
                <a:cubicBezTo>
                  <a:pt x="1748" y="369"/>
                  <a:pt x="1748" y="369"/>
                  <a:pt x="1748" y="369"/>
                </a:cubicBezTo>
                <a:cubicBezTo>
                  <a:pt x="1748" y="369"/>
                  <a:pt x="1751" y="372"/>
                  <a:pt x="1751" y="372"/>
                </a:cubicBezTo>
                <a:cubicBezTo>
                  <a:pt x="1752" y="372"/>
                  <a:pt x="1754" y="376"/>
                  <a:pt x="1754" y="376"/>
                </a:cubicBezTo>
                <a:cubicBezTo>
                  <a:pt x="1759" y="375"/>
                  <a:pt x="1759" y="375"/>
                  <a:pt x="1759" y="375"/>
                </a:cubicBezTo>
                <a:cubicBezTo>
                  <a:pt x="1759" y="375"/>
                  <a:pt x="1763" y="379"/>
                  <a:pt x="1764" y="379"/>
                </a:cubicBezTo>
                <a:cubicBezTo>
                  <a:pt x="1765" y="379"/>
                  <a:pt x="1768" y="380"/>
                  <a:pt x="1768" y="380"/>
                </a:cubicBezTo>
                <a:cubicBezTo>
                  <a:pt x="1768" y="380"/>
                  <a:pt x="1774" y="387"/>
                  <a:pt x="1776" y="388"/>
                </a:cubicBezTo>
                <a:cubicBezTo>
                  <a:pt x="1777" y="388"/>
                  <a:pt x="1778" y="389"/>
                  <a:pt x="1779" y="389"/>
                </a:cubicBezTo>
                <a:cubicBezTo>
                  <a:pt x="1779" y="389"/>
                  <a:pt x="1779" y="390"/>
                  <a:pt x="1779" y="390"/>
                </a:cubicBezTo>
                <a:cubicBezTo>
                  <a:pt x="1779" y="390"/>
                  <a:pt x="1779" y="390"/>
                  <a:pt x="1779" y="390"/>
                </a:cubicBezTo>
                <a:cubicBezTo>
                  <a:pt x="1779" y="390"/>
                  <a:pt x="1788" y="395"/>
                  <a:pt x="1790" y="396"/>
                </a:cubicBezTo>
                <a:cubicBezTo>
                  <a:pt x="1791" y="396"/>
                  <a:pt x="1794" y="399"/>
                  <a:pt x="1794" y="399"/>
                </a:cubicBezTo>
                <a:cubicBezTo>
                  <a:pt x="1794" y="399"/>
                  <a:pt x="1795" y="405"/>
                  <a:pt x="1795" y="406"/>
                </a:cubicBezTo>
                <a:cubicBezTo>
                  <a:pt x="1795" y="406"/>
                  <a:pt x="1798" y="410"/>
                  <a:pt x="1798" y="410"/>
                </a:cubicBezTo>
                <a:cubicBezTo>
                  <a:pt x="1798" y="410"/>
                  <a:pt x="1797" y="410"/>
                  <a:pt x="1796" y="411"/>
                </a:cubicBezTo>
                <a:close/>
                <a:moveTo>
                  <a:pt x="1835" y="337"/>
                </a:move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ubicBezTo>
                  <a:pt x="1835" y="337"/>
                  <a:pt x="1835" y="337"/>
                  <a:pt x="1835" y="337"/>
                </a:cubicBezTo>
                <a:close/>
                <a:moveTo>
                  <a:pt x="1835" y="313"/>
                </a:moveTo>
                <a:cubicBezTo>
                  <a:pt x="1835" y="312"/>
                  <a:pt x="1835" y="312"/>
                  <a:pt x="1834" y="312"/>
                </a:cubicBezTo>
                <a:cubicBezTo>
                  <a:pt x="1835" y="312"/>
                  <a:pt x="1835" y="312"/>
                  <a:pt x="1835" y="313"/>
                </a:cubicBezTo>
                <a:cubicBezTo>
                  <a:pt x="1835" y="313"/>
                  <a:pt x="1835" y="313"/>
                  <a:pt x="1835" y="313"/>
                </a:cubicBezTo>
                <a:close/>
                <a:moveTo>
                  <a:pt x="1908" y="405"/>
                </a:moveTo>
                <a:cubicBezTo>
                  <a:pt x="1908" y="406"/>
                  <a:pt x="1908" y="406"/>
                  <a:pt x="1910" y="409"/>
                </a:cubicBezTo>
                <a:cubicBezTo>
                  <a:pt x="1911" y="411"/>
                  <a:pt x="1919" y="413"/>
                  <a:pt x="1918" y="415"/>
                </a:cubicBezTo>
                <a:cubicBezTo>
                  <a:pt x="1918" y="418"/>
                  <a:pt x="1918" y="419"/>
                  <a:pt x="1916" y="418"/>
                </a:cubicBezTo>
                <a:cubicBezTo>
                  <a:pt x="1915" y="418"/>
                  <a:pt x="1912" y="415"/>
                  <a:pt x="1912" y="416"/>
                </a:cubicBezTo>
                <a:cubicBezTo>
                  <a:pt x="1913" y="417"/>
                  <a:pt x="1912" y="419"/>
                  <a:pt x="1912" y="419"/>
                </a:cubicBezTo>
                <a:cubicBezTo>
                  <a:pt x="1906" y="419"/>
                  <a:pt x="1906" y="419"/>
                  <a:pt x="1906" y="419"/>
                </a:cubicBezTo>
                <a:cubicBezTo>
                  <a:pt x="1904" y="416"/>
                  <a:pt x="1904" y="416"/>
                  <a:pt x="1904" y="416"/>
                </a:cubicBezTo>
                <a:cubicBezTo>
                  <a:pt x="1904" y="418"/>
                  <a:pt x="1904" y="418"/>
                  <a:pt x="1904" y="418"/>
                </a:cubicBezTo>
                <a:cubicBezTo>
                  <a:pt x="1904" y="418"/>
                  <a:pt x="1902" y="415"/>
                  <a:pt x="1900" y="413"/>
                </a:cubicBezTo>
                <a:cubicBezTo>
                  <a:pt x="1899" y="411"/>
                  <a:pt x="1900" y="408"/>
                  <a:pt x="1899" y="408"/>
                </a:cubicBezTo>
                <a:cubicBezTo>
                  <a:pt x="1899" y="408"/>
                  <a:pt x="1899" y="408"/>
                  <a:pt x="1898" y="408"/>
                </a:cubicBezTo>
                <a:cubicBezTo>
                  <a:pt x="1898" y="408"/>
                  <a:pt x="1898" y="408"/>
                  <a:pt x="1898" y="408"/>
                </a:cubicBezTo>
                <a:cubicBezTo>
                  <a:pt x="1899" y="406"/>
                  <a:pt x="1900" y="402"/>
                  <a:pt x="1902" y="402"/>
                </a:cubicBezTo>
                <a:cubicBezTo>
                  <a:pt x="1903" y="402"/>
                  <a:pt x="1904" y="402"/>
                  <a:pt x="1906" y="402"/>
                </a:cubicBezTo>
                <a:cubicBezTo>
                  <a:pt x="1906" y="403"/>
                  <a:pt x="1906" y="403"/>
                  <a:pt x="1906" y="403"/>
                </a:cubicBezTo>
                <a:cubicBezTo>
                  <a:pt x="1906" y="403"/>
                  <a:pt x="1908" y="405"/>
                  <a:pt x="1908" y="405"/>
                </a:cubicBezTo>
                <a:close/>
                <a:moveTo>
                  <a:pt x="1883" y="302"/>
                </a:moveTo>
                <a:cubicBezTo>
                  <a:pt x="1883" y="302"/>
                  <a:pt x="1882" y="302"/>
                  <a:pt x="1882" y="302"/>
                </a:cubicBezTo>
                <a:cubicBezTo>
                  <a:pt x="1882" y="302"/>
                  <a:pt x="1883" y="302"/>
                  <a:pt x="1883" y="302"/>
                </a:cubicBezTo>
                <a:close/>
                <a:moveTo>
                  <a:pt x="1882" y="301"/>
                </a:moveTo>
                <a:cubicBezTo>
                  <a:pt x="1881" y="301"/>
                  <a:pt x="1881" y="301"/>
                  <a:pt x="1881" y="301"/>
                </a:cubicBezTo>
                <a:cubicBezTo>
                  <a:pt x="1881" y="301"/>
                  <a:pt x="1881" y="301"/>
                  <a:pt x="1882" y="301"/>
                </a:cubicBezTo>
                <a:close/>
                <a:moveTo>
                  <a:pt x="1852" y="353"/>
                </a:moveTo>
                <a:cubicBezTo>
                  <a:pt x="1852" y="353"/>
                  <a:pt x="1852" y="353"/>
                  <a:pt x="1852" y="353"/>
                </a:cubicBezTo>
                <a:cubicBezTo>
                  <a:pt x="1852" y="353"/>
                  <a:pt x="1852" y="353"/>
                  <a:pt x="1851" y="353"/>
                </a:cubicBezTo>
                <a:cubicBezTo>
                  <a:pt x="1852" y="353"/>
                  <a:pt x="1852" y="353"/>
                  <a:pt x="1852" y="353"/>
                </a:cubicBezTo>
                <a:close/>
                <a:moveTo>
                  <a:pt x="1851" y="347"/>
                </a:moveTo>
                <a:cubicBezTo>
                  <a:pt x="1851" y="347"/>
                  <a:pt x="1851" y="347"/>
                  <a:pt x="1851" y="347"/>
                </a:cubicBezTo>
                <a:cubicBezTo>
                  <a:pt x="1850" y="352"/>
                  <a:pt x="1850" y="352"/>
                  <a:pt x="1850" y="352"/>
                </a:cubicBezTo>
                <a:cubicBezTo>
                  <a:pt x="1851" y="347"/>
                  <a:pt x="1851" y="347"/>
                  <a:pt x="1851" y="347"/>
                </a:cubicBezTo>
                <a:cubicBezTo>
                  <a:pt x="1851" y="347"/>
                  <a:pt x="1851" y="347"/>
                  <a:pt x="1851" y="347"/>
                </a:cubicBezTo>
                <a:close/>
                <a:moveTo>
                  <a:pt x="1845" y="313"/>
                </a:move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3"/>
                </a:cubicBezTo>
                <a:cubicBezTo>
                  <a:pt x="1845" y="313"/>
                  <a:pt x="1845" y="313"/>
                  <a:pt x="1845" y="313"/>
                </a:cubicBez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5" y="312"/>
                  <a:pt x="1845" y="312"/>
                </a:cubicBezTo>
                <a:close/>
                <a:moveTo>
                  <a:pt x="1845" y="312"/>
                </a:moveTo>
                <a:cubicBezTo>
                  <a:pt x="1845" y="312"/>
                  <a:pt x="1845" y="312"/>
                  <a:pt x="1845" y="312"/>
                </a:cubicBezTo>
                <a:cubicBezTo>
                  <a:pt x="1845" y="312"/>
                  <a:pt x="1844" y="312"/>
                  <a:pt x="1844" y="312"/>
                </a:cubicBezTo>
                <a:cubicBezTo>
                  <a:pt x="1844" y="312"/>
                  <a:pt x="1844" y="312"/>
                  <a:pt x="1845" y="312"/>
                </a:cubicBezTo>
                <a:close/>
                <a:moveTo>
                  <a:pt x="1844" y="311"/>
                </a:move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2"/>
                </a:cubicBezTo>
                <a:cubicBezTo>
                  <a:pt x="1844" y="312"/>
                  <a:pt x="1844" y="312"/>
                  <a:pt x="1844" y="311"/>
                </a:cubicBezTo>
                <a:cubicBezTo>
                  <a:pt x="1844" y="311"/>
                  <a:pt x="1844" y="311"/>
                  <a:pt x="1844" y="311"/>
                </a:cubicBezTo>
                <a:close/>
                <a:moveTo>
                  <a:pt x="1868" y="446"/>
                </a:moveTo>
                <a:cubicBezTo>
                  <a:pt x="1868" y="446"/>
                  <a:pt x="1868" y="447"/>
                  <a:pt x="1869" y="447"/>
                </a:cubicBezTo>
                <a:cubicBezTo>
                  <a:pt x="1868" y="447"/>
                  <a:pt x="1868" y="446"/>
                  <a:pt x="1868" y="446"/>
                </a:cubicBezTo>
                <a:close/>
                <a:moveTo>
                  <a:pt x="1919" y="463"/>
                </a:moveTo>
                <a:cubicBezTo>
                  <a:pt x="1917" y="464"/>
                  <a:pt x="1914" y="462"/>
                  <a:pt x="1914" y="462"/>
                </a:cubicBezTo>
                <a:cubicBezTo>
                  <a:pt x="1914" y="462"/>
                  <a:pt x="1909" y="463"/>
                  <a:pt x="1906" y="464"/>
                </a:cubicBezTo>
                <a:cubicBezTo>
                  <a:pt x="1904" y="465"/>
                  <a:pt x="1902" y="466"/>
                  <a:pt x="1901" y="466"/>
                </a:cubicBezTo>
                <a:cubicBezTo>
                  <a:pt x="1899" y="466"/>
                  <a:pt x="1897" y="464"/>
                  <a:pt x="1895" y="464"/>
                </a:cubicBezTo>
                <a:cubicBezTo>
                  <a:pt x="1893" y="464"/>
                  <a:pt x="1890" y="464"/>
                  <a:pt x="1888" y="462"/>
                </a:cubicBezTo>
                <a:cubicBezTo>
                  <a:pt x="1885" y="460"/>
                  <a:pt x="1883" y="456"/>
                  <a:pt x="1883" y="456"/>
                </a:cubicBezTo>
                <a:cubicBezTo>
                  <a:pt x="1883" y="456"/>
                  <a:pt x="1877" y="456"/>
                  <a:pt x="1876" y="456"/>
                </a:cubicBezTo>
                <a:cubicBezTo>
                  <a:pt x="1876" y="456"/>
                  <a:pt x="1873" y="454"/>
                  <a:pt x="1872" y="453"/>
                </a:cubicBezTo>
                <a:cubicBezTo>
                  <a:pt x="1871" y="451"/>
                  <a:pt x="1869" y="449"/>
                  <a:pt x="1869" y="447"/>
                </a:cubicBezTo>
                <a:cubicBezTo>
                  <a:pt x="1869" y="446"/>
                  <a:pt x="1870" y="444"/>
                  <a:pt x="1869" y="443"/>
                </a:cubicBezTo>
                <a:cubicBezTo>
                  <a:pt x="1869" y="442"/>
                  <a:pt x="1867" y="441"/>
                  <a:pt x="1867" y="441"/>
                </a:cubicBezTo>
                <a:cubicBezTo>
                  <a:pt x="1869" y="440"/>
                  <a:pt x="1869" y="440"/>
                  <a:pt x="1869" y="440"/>
                </a:cubicBezTo>
                <a:cubicBezTo>
                  <a:pt x="1869" y="436"/>
                  <a:pt x="1869" y="436"/>
                  <a:pt x="1869" y="436"/>
                </a:cubicBezTo>
                <a:cubicBezTo>
                  <a:pt x="1869" y="436"/>
                  <a:pt x="1872" y="439"/>
                  <a:pt x="1873" y="437"/>
                </a:cubicBezTo>
                <a:cubicBezTo>
                  <a:pt x="1874" y="436"/>
                  <a:pt x="1871" y="433"/>
                  <a:pt x="1871" y="433"/>
                </a:cubicBezTo>
                <a:cubicBezTo>
                  <a:pt x="1871" y="431"/>
                  <a:pt x="1871" y="431"/>
                  <a:pt x="1871" y="431"/>
                </a:cubicBezTo>
                <a:cubicBezTo>
                  <a:pt x="1871" y="426"/>
                  <a:pt x="1871" y="426"/>
                  <a:pt x="1871" y="426"/>
                </a:cubicBezTo>
                <a:cubicBezTo>
                  <a:pt x="1873" y="426"/>
                  <a:pt x="1873" y="426"/>
                  <a:pt x="1873" y="426"/>
                </a:cubicBezTo>
                <a:cubicBezTo>
                  <a:pt x="1875" y="424"/>
                  <a:pt x="1875" y="424"/>
                  <a:pt x="1875" y="424"/>
                </a:cubicBezTo>
                <a:cubicBezTo>
                  <a:pt x="1880" y="425"/>
                  <a:pt x="1880" y="425"/>
                  <a:pt x="1880" y="425"/>
                </a:cubicBezTo>
                <a:cubicBezTo>
                  <a:pt x="1880" y="425"/>
                  <a:pt x="1879" y="424"/>
                  <a:pt x="1879" y="422"/>
                </a:cubicBezTo>
                <a:cubicBezTo>
                  <a:pt x="1878" y="420"/>
                  <a:pt x="1874" y="422"/>
                  <a:pt x="1872" y="422"/>
                </a:cubicBezTo>
                <a:cubicBezTo>
                  <a:pt x="1870" y="422"/>
                  <a:pt x="1870" y="418"/>
                  <a:pt x="1870" y="418"/>
                </a:cubicBezTo>
                <a:cubicBezTo>
                  <a:pt x="1866" y="414"/>
                  <a:pt x="1866" y="414"/>
                  <a:pt x="1866" y="414"/>
                </a:cubicBezTo>
                <a:cubicBezTo>
                  <a:pt x="1866" y="413"/>
                  <a:pt x="1866" y="413"/>
                  <a:pt x="1866" y="413"/>
                </a:cubicBezTo>
                <a:cubicBezTo>
                  <a:pt x="1860" y="407"/>
                  <a:pt x="1860" y="407"/>
                  <a:pt x="1860" y="407"/>
                </a:cubicBezTo>
                <a:cubicBezTo>
                  <a:pt x="1858" y="406"/>
                  <a:pt x="1858" y="406"/>
                  <a:pt x="1858" y="406"/>
                </a:cubicBezTo>
                <a:cubicBezTo>
                  <a:pt x="1858" y="406"/>
                  <a:pt x="1857" y="403"/>
                  <a:pt x="1856" y="402"/>
                </a:cubicBezTo>
                <a:cubicBezTo>
                  <a:pt x="1855" y="400"/>
                  <a:pt x="1851" y="399"/>
                  <a:pt x="1851" y="399"/>
                </a:cubicBezTo>
                <a:cubicBezTo>
                  <a:pt x="1851" y="396"/>
                  <a:pt x="1851" y="396"/>
                  <a:pt x="1851" y="396"/>
                </a:cubicBezTo>
                <a:cubicBezTo>
                  <a:pt x="1851" y="396"/>
                  <a:pt x="1849" y="395"/>
                  <a:pt x="1848" y="393"/>
                </a:cubicBezTo>
                <a:cubicBezTo>
                  <a:pt x="1846" y="391"/>
                  <a:pt x="1848" y="388"/>
                  <a:pt x="1847" y="385"/>
                </a:cubicBezTo>
                <a:cubicBezTo>
                  <a:pt x="1846" y="382"/>
                  <a:pt x="1842" y="379"/>
                  <a:pt x="1842" y="379"/>
                </a:cubicBezTo>
                <a:cubicBezTo>
                  <a:pt x="1842" y="379"/>
                  <a:pt x="1840" y="379"/>
                  <a:pt x="1838" y="378"/>
                </a:cubicBezTo>
                <a:cubicBezTo>
                  <a:pt x="1836" y="377"/>
                  <a:pt x="1841" y="373"/>
                  <a:pt x="1841" y="373"/>
                </a:cubicBezTo>
                <a:cubicBezTo>
                  <a:pt x="1841" y="373"/>
                  <a:pt x="1844" y="370"/>
                  <a:pt x="1844" y="368"/>
                </a:cubicBezTo>
                <a:cubicBezTo>
                  <a:pt x="1845" y="367"/>
                  <a:pt x="1842" y="364"/>
                  <a:pt x="1842" y="364"/>
                </a:cubicBezTo>
                <a:cubicBezTo>
                  <a:pt x="1842" y="364"/>
                  <a:pt x="1845" y="365"/>
                  <a:pt x="1846" y="365"/>
                </a:cubicBezTo>
                <a:cubicBezTo>
                  <a:pt x="1846" y="365"/>
                  <a:pt x="1849" y="365"/>
                  <a:pt x="1849" y="364"/>
                </a:cubicBezTo>
                <a:cubicBezTo>
                  <a:pt x="1850" y="362"/>
                  <a:pt x="1851" y="364"/>
                  <a:pt x="1853" y="363"/>
                </a:cubicBezTo>
                <a:cubicBezTo>
                  <a:pt x="1856" y="363"/>
                  <a:pt x="1852" y="360"/>
                  <a:pt x="1852" y="360"/>
                </a:cubicBezTo>
                <a:cubicBezTo>
                  <a:pt x="1852" y="360"/>
                  <a:pt x="1856" y="360"/>
                  <a:pt x="1856" y="360"/>
                </a:cubicBezTo>
                <a:cubicBezTo>
                  <a:pt x="1857" y="360"/>
                  <a:pt x="1856" y="358"/>
                  <a:pt x="1856" y="357"/>
                </a:cubicBezTo>
                <a:cubicBezTo>
                  <a:pt x="1856" y="357"/>
                  <a:pt x="1857" y="358"/>
                  <a:pt x="1857" y="358"/>
                </a:cubicBezTo>
                <a:cubicBezTo>
                  <a:pt x="1858" y="356"/>
                  <a:pt x="1858" y="356"/>
                  <a:pt x="1858" y="356"/>
                </a:cubicBezTo>
                <a:cubicBezTo>
                  <a:pt x="1858" y="356"/>
                  <a:pt x="1860" y="356"/>
                  <a:pt x="1861" y="355"/>
                </a:cubicBezTo>
                <a:cubicBezTo>
                  <a:pt x="1863" y="353"/>
                  <a:pt x="1873" y="349"/>
                  <a:pt x="1874" y="349"/>
                </a:cubicBezTo>
                <a:cubicBezTo>
                  <a:pt x="1876" y="350"/>
                  <a:pt x="1880" y="353"/>
                  <a:pt x="1882" y="353"/>
                </a:cubicBezTo>
                <a:cubicBezTo>
                  <a:pt x="1884" y="353"/>
                  <a:pt x="1886" y="349"/>
                  <a:pt x="1890" y="355"/>
                </a:cubicBezTo>
                <a:cubicBezTo>
                  <a:pt x="1894" y="360"/>
                  <a:pt x="1891" y="361"/>
                  <a:pt x="1890" y="363"/>
                </a:cubicBezTo>
                <a:cubicBezTo>
                  <a:pt x="1890" y="365"/>
                  <a:pt x="1894" y="368"/>
                  <a:pt x="1896" y="369"/>
                </a:cubicBezTo>
                <a:cubicBezTo>
                  <a:pt x="1897" y="369"/>
                  <a:pt x="1899" y="366"/>
                  <a:pt x="1901" y="365"/>
                </a:cubicBezTo>
                <a:cubicBezTo>
                  <a:pt x="1903" y="365"/>
                  <a:pt x="1903" y="367"/>
                  <a:pt x="1903" y="369"/>
                </a:cubicBezTo>
                <a:cubicBezTo>
                  <a:pt x="1903" y="371"/>
                  <a:pt x="1906" y="373"/>
                  <a:pt x="1906" y="373"/>
                </a:cubicBezTo>
                <a:cubicBezTo>
                  <a:pt x="1900" y="373"/>
                  <a:pt x="1900" y="373"/>
                  <a:pt x="1900" y="373"/>
                </a:cubicBezTo>
                <a:cubicBezTo>
                  <a:pt x="1900" y="373"/>
                  <a:pt x="1900" y="377"/>
                  <a:pt x="1898" y="375"/>
                </a:cubicBezTo>
                <a:cubicBezTo>
                  <a:pt x="1895" y="373"/>
                  <a:pt x="1900" y="370"/>
                  <a:pt x="1900" y="370"/>
                </a:cubicBezTo>
                <a:cubicBezTo>
                  <a:pt x="1900" y="370"/>
                  <a:pt x="1890" y="370"/>
                  <a:pt x="1889" y="369"/>
                </a:cubicBezTo>
                <a:cubicBezTo>
                  <a:pt x="1887" y="369"/>
                  <a:pt x="1878" y="367"/>
                  <a:pt x="1878" y="367"/>
                </a:cubicBezTo>
                <a:cubicBezTo>
                  <a:pt x="1880" y="372"/>
                  <a:pt x="1880" y="372"/>
                  <a:pt x="1880" y="372"/>
                </a:cubicBezTo>
                <a:cubicBezTo>
                  <a:pt x="1880" y="372"/>
                  <a:pt x="1876" y="370"/>
                  <a:pt x="1875" y="373"/>
                </a:cubicBezTo>
                <a:cubicBezTo>
                  <a:pt x="1874" y="376"/>
                  <a:pt x="1882" y="376"/>
                  <a:pt x="1881" y="378"/>
                </a:cubicBezTo>
                <a:cubicBezTo>
                  <a:pt x="1881" y="380"/>
                  <a:pt x="1871" y="374"/>
                  <a:pt x="1870" y="377"/>
                </a:cubicBezTo>
                <a:cubicBezTo>
                  <a:pt x="1869" y="379"/>
                  <a:pt x="1876" y="381"/>
                  <a:pt x="1876" y="381"/>
                </a:cubicBezTo>
                <a:cubicBezTo>
                  <a:pt x="1876" y="381"/>
                  <a:pt x="1876" y="383"/>
                  <a:pt x="1877" y="384"/>
                </a:cubicBezTo>
                <a:cubicBezTo>
                  <a:pt x="1879" y="386"/>
                  <a:pt x="1881" y="389"/>
                  <a:pt x="1881" y="389"/>
                </a:cubicBezTo>
                <a:cubicBezTo>
                  <a:pt x="1881" y="392"/>
                  <a:pt x="1881" y="392"/>
                  <a:pt x="1881" y="392"/>
                </a:cubicBezTo>
                <a:cubicBezTo>
                  <a:pt x="1886" y="393"/>
                  <a:pt x="1886" y="393"/>
                  <a:pt x="1886" y="393"/>
                </a:cubicBezTo>
                <a:cubicBezTo>
                  <a:pt x="1887" y="396"/>
                  <a:pt x="1887" y="396"/>
                  <a:pt x="1887" y="396"/>
                </a:cubicBezTo>
                <a:cubicBezTo>
                  <a:pt x="1887" y="396"/>
                  <a:pt x="1894" y="396"/>
                  <a:pt x="1897" y="398"/>
                </a:cubicBezTo>
                <a:cubicBezTo>
                  <a:pt x="1899" y="401"/>
                  <a:pt x="1894" y="403"/>
                  <a:pt x="1894" y="405"/>
                </a:cubicBezTo>
                <a:cubicBezTo>
                  <a:pt x="1893" y="407"/>
                  <a:pt x="1896" y="407"/>
                  <a:pt x="1896" y="407"/>
                </a:cubicBezTo>
                <a:cubicBezTo>
                  <a:pt x="1895" y="409"/>
                  <a:pt x="1898" y="412"/>
                  <a:pt x="1898" y="412"/>
                </a:cubicBezTo>
                <a:cubicBezTo>
                  <a:pt x="1898" y="412"/>
                  <a:pt x="1902" y="417"/>
                  <a:pt x="1902" y="418"/>
                </a:cubicBezTo>
                <a:cubicBezTo>
                  <a:pt x="1902" y="418"/>
                  <a:pt x="1900" y="421"/>
                  <a:pt x="1900" y="422"/>
                </a:cubicBezTo>
                <a:cubicBezTo>
                  <a:pt x="1900" y="423"/>
                  <a:pt x="1904" y="428"/>
                  <a:pt x="1904" y="428"/>
                </a:cubicBezTo>
                <a:cubicBezTo>
                  <a:pt x="1908" y="428"/>
                  <a:pt x="1908" y="428"/>
                  <a:pt x="1908" y="428"/>
                </a:cubicBezTo>
                <a:cubicBezTo>
                  <a:pt x="1908" y="431"/>
                  <a:pt x="1908" y="431"/>
                  <a:pt x="1908" y="431"/>
                </a:cubicBezTo>
                <a:cubicBezTo>
                  <a:pt x="1911" y="433"/>
                  <a:pt x="1911" y="433"/>
                  <a:pt x="1911" y="433"/>
                </a:cubicBezTo>
                <a:cubicBezTo>
                  <a:pt x="1911" y="433"/>
                  <a:pt x="1905" y="432"/>
                  <a:pt x="1906" y="434"/>
                </a:cubicBezTo>
                <a:cubicBezTo>
                  <a:pt x="1907" y="436"/>
                  <a:pt x="1909" y="435"/>
                  <a:pt x="1910" y="436"/>
                </a:cubicBezTo>
                <a:cubicBezTo>
                  <a:pt x="1912" y="436"/>
                  <a:pt x="1914" y="439"/>
                  <a:pt x="1914" y="439"/>
                </a:cubicBezTo>
                <a:cubicBezTo>
                  <a:pt x="1915" y="446"/>
                  <a:pt x="1915" y="446"/>
                  <a:pt x="1915" y="446"/>
                </a:cubicBezTo>
                <a:cubicBezTo>
                  <a:pt x="1916" y="447"/>
                  <a:pt x="1916" y="447"/>
                  <a:pt x="1916" y="447"/>
                </a:cubicBezTo>
                <a:cubicBezTo>
                  <a:pt x="1916" y="447"/>
                  <a:pt x="1915" y="450"/>
                  <a:pt x="1915" y="451"/>
                </a:cubicBezTo>
                <a:cubicBezTo>
                  <a:pt x="1915" y="453"/>
                  <a:pt x="1917" y="457"/>
                  <a:pt x="1917" y="457"/>
                </a:cubicBezTo>
                <a:cubicBezTo>
                  <a:pt x="1917" y="457"/>
                  <a:pt x="1922" y="463"/>
                  <a:pt x="1919" y="463"/>
                </a:cubicBezTo>
                <a:close/>
                <a:moveTo>
                  <a:pt x="1964" y="358"/>
                </a:moveTo>
                <a:cubicBezTo>
                  <a:pt x="1963" y="359"/>
                  <a:pt x="1960" y="360"/>
                  <a:pt x="1960" y="360"/>
                </a:cubicBezTo>
                <a:cubicBezTo>
                  <a:pt x="1960" y="360"/>
                  <a:pt x="1959" y="361"/>
                  <a:pt x="1958" y="362"/>
                </a:cubicBezTo>
                <a:cubicBezTo>
                  <a:pt x="1957" y="363"/>
                  <a:pt x="1954" y="362"/>
                  <a:pt x="1953" y="362"/>
                </a:cubicBezTo>
                <a:cubicBezTo>
                  <a:pt x="1952" y="363"/>
                  <a:pt x="1952" y="365"/>
                  <a:pt x="1952" y="365"/>
                </a:cubicBezTo>
                <a:cubicBezTo>
                  <a:pt x="1952" y="365"/>
                  <a:pt x="1956" y="366"/>
                  <a:pt x="1956" y="367"/>
                </a:cubicBezTo>
                <a:cubicBezTo>
                  <a:pt x="1957" y="367"/>
                  <a:pt x="1958" y="369"/>
                  <a:pt x="1957" y="371"/>
                </a:cubicBezTo>
                <a:cubicBezTo>
                  <a:pt x="1956" y="371"/>
                  <a:pt x="1957" y="373"/>
                  <a:pt x="1957" y="374"/>
                </a:cubicBezTo>
                <a:cubicBezTo>
                  <a:pt x="1958" y="376"/>
                  <a:pt x="1959" y="378"/>
                  <a:pt x="1958" y="379"/>
                </a:cubicBezTo>
                <a:cubicBezTo>
                  <a:pt x="1957" y="381"/>
                  <a:pt x="1957" y="382"/>
                  <a:pt x="1957" y="382"/>
                </a:cubicBezTo>
                <a:cubicBezTo>
                  <a:pt x="1957" y="382"/>
                  <a:pt x="1954" y="382"/>
                  <a:pt x="1952" y="381"/>
                </a:cubicBezTo>
                <a:cubicBezTo>
                  <a:pt x="1951" y="380"/>
                  <a:pt x="1951" y="378"/>
                  <a:pt x="1951" y="378"/>
                </a:cubicBezTo>
                <a:cubicBezTo>
                  <a:pt x="1950" y="374"/>
                  <a:pt x="1950" y="374"/>
                  <a:pt x="1950" y="374"/>
                </a:cubicBezTo>
                <a:cubicBezTo>
                  <a:pt x="1951" y="371"/>
                  <a:pt x="1951" y="371"/>
                  <a:pt x="1951" y="371"/>
                </a:cubicBezTo>
                <a:cubicBezTo>
                  <a:pt x="1951" y="369"/>
                  <a:pt x="1951" y="369"/>
                  <a:pt x="1951" y="369"/>
                </a:cubicBezTo>
                <a:cubicBezTo>
                  <a:pt x="1951" y="369"/>
                  <a:pt x="1949" y="366"/>
                  <a:pt x="1948" y="365"/>
                </a:cubicBezTo>
                <a:cubicBezTo>
                  <a:pt x="1946" y="364"/>
                  <a:pt x="1946" y="363"/>
                  <a:pt x="1946" y="363"/>
                </a:cubicBezTo>
                <a:cubicBezTo>
                  <a:pt x="1944" y="366"/>
                  <a:pt x="1944" y="366"/>
                  <a:pt x="1944" y="366"/>
                </a:cubicBezTo>
                <a:cubicBezTo>
                  <a:pt x="1944" y="368"/>
                  <a:pt x="1944" y="368"/>
                  <a:pt x="1944" y="368"/>
                </a:cubicBezTo>
                <a:cubicBezTo>
                  <a:pt x="1942" y="370"/>
                  <a:pt x="1942" y="370"/>
                  <a:pt x="1942" y="370"/>
                </a:cubicBezTo>
                <a:cubicBezTo>
                  <a:pt x="1942" y="370"/>
                  <a:pt x="1945" y="372"/>
                  <a:pt x="1945" y="374"/>
                </a:cubicBezTo>
                <a:cubicBezTo>
                  <a:pt x="1945" y="376"/>
                  <a:pt x="1944" y="376"/>
                  <a:pt x="1944" y="376"/>
                </a:cubicBezTo>
                <a:cubicBezTo>
                  <a:pt x="1944" y="376"/>
                  <a:pt x="1945" y="378"/>
                  <a:pt x="1942" y="378"/>
                </a:cubicBezTo>
                <a:cubicBezTo>
                  <a:pt x="1940" y="379"/>
                  <a:pt x="1941" y="374"/>
                  <a:pt x="1939" y="374"/>
                </a:cubicBezTo>
                <a:cubicBezTo>
                  <a:pt x="1938" y="374"/>
                  <a:pt x="1941" y="371"/>
                  <a:pt x="1941" y="371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2" y="367"/>
                  <a:pt x="1942" y="367"/>
                </a:cubicBezTo>
                <a:cubicBezTo>
                  <a:pt x="1942" y="367"/>
                  <a:pt x="1943" y="364"/>
                  <a:pt x="1943" y="362"/>
                </a:cubicBezTo>
                <a:cubicBezTo>
                  <a:pt x="1943" y="360"/>
                  <a:pt x="1947" y="361"/>
                  <a:pt x="1947" y="361"/>
                </a:cubicBezTo>
                <a:cubicBezTo>
                  <a:pt x="1948" y="364"/>
                  <a:pt x="1948" y="364"/>
                  <a:pt x="1948" y="364"/>
                </a:cubicBezTo>
                <a:cubicBezTo>
                  <a:pt x="1948" y="364"/>
                  <a:pt x="1951" y="363"/>
                  <a:pt x="1951" y="362"/>
                </a:cubicBezTo>
                <a:cubicBezTo>
                  <a:pt x="1952" y="362"/>
                  <a:pt x="1948" y="358"/>
                  <a:pt x="1948" y="358"/>
                </a:cubicBezTo>
                <a:cubicBezTo>
                  <a:pt x="1951" y="358"/>
                  <a:pt x="1951" y="358"/>
                  <a:pt x="1951" y="358"/>
                </a:cubicBezTo>
                <a:cubicBezTo>
                  <a:pt x="1952" y="360"/>
                  <a:pt x="1952" y="360"/>
                  <a:pt x="1952" y="360"/>
                </a:cubicBezTo>
                <a:cubicBezTo>
                  <a:pt x="1956" y="360"/>
                  <a:pt x="1956" y="360"/>
                  <a:pt x="1956" y="360"/>
                </a:cubicBezTo>
                <a:cubicBezTo>
                  <a:pt x="1956" y="360"/>
                  <a:pt x="1959" y="360"/>
                  <a:pt x="1959" y="360"/>
                </a:cubicBezTo>
                <a:cubicBezTo>
                  <a:pt x="1960" y="359"/>
                  <a:pt x="1959" y="358"/>
                  <a:pt x="1958" y="358"/>
                </a:cubicBezTo>
                <a:cubicBezTo>
                  <a:pt x="1957" y="358"/>
                  <a:pt x="1956" y="357"/>
                  <a:pt x="1956" y="357"/>
                </a:cubicBezTo>
                <a:cubicBezTo>
                  <a:pt x="1956" y="357"/>
                  <a:pt x="1952" y="358"/>
                  <a:pt x="1952" y="356"/>
                </a:cubicBezTo>
                <a:cubicBezTo>
                  <a:pt x="1951" y="353"/>
                  <a:pt x="1956" y="354"/>
                  <a:pt x="1956" y="354"/>
                </a:cubicBezTo>
                <a:cubicBezTo>
                  <a:pt x="1958" y="352"/>
                  <a:pt x="1958" y="352"/>
                  <a:pt x="1958" y="352"/>
                </a:cubicBezTo>
                <a:cubicBezTo>
                  <a:pt x="1958" y="352"/>
                  <a:pt x="1960" y="356"/>
                  <a:pt x="1961" y="356"/>
                </a:cubicBezTo>
                <a:cubicBezTo>
                  <a:pt x="1962" y="356"/>
                  <a:pt x="1963" y="355"/>
                  <a:pt x="1963" y="355"/>
                </a:cubicBezTo>
                <a:cubicBezTo>
                  <a:pt x="1963" y="355"/>
                  <a:pt x="1965" y="357"/>
                  <a:pt x="1964" y="358"/>
                </a:cubicBezTo>
                <a:close/>
                <a:moveTo>
                  <a:pt x="2119" y="357"/>
                </a:moveTo>
                <a:cubicBezTo>
                  <a:pt x="2118" y="358"/>
                  <a:pt x="2115" y="357"/>
                  <a:pt x="2115" y="357"/>
                </a:cubicBezTo>
                <a:cubicBezTo>
                  <a:pt x="2115" y="357"/>
                  <a:pt x="2114" y="358"/>
                  <a:pt x="2113" y="358"/>
                </a:cubicBezTo>
                <a:cubicBezTo>
                  <a:pt x="2112" y="359"/>
                  <a:pt x="2110" y="356"/>
                  <a:pt x="2110" y="356"/>
                </a:cubicBezTo>
                <a:cubicBezTo>
                  <a:pt x="2106" y="357"/>
                  <a:pt x="2106" y="357"/>
                  <a:pt x="2106" y="357"/>
                </a:cubicBezTo>
                <a:cubicBezTo>
                  <a:pt x="2101" y="356"/>
                  <a:pt x="2101" y="356"/>
                  <a:pt x="2101" y="356"/>
                </a:cubicBezTo>
                <a:cubicBezTo>
                  <a:pt x="2099" y="356"/>
                  <a:pt x="2099" y="356"/>
                  <a:pt x="2099" y="356"/>
                </a:cubicBezTo>
                <a:cubicBezTo>
                  <a:pt x="2095" y="355"/>
                  <a:pt x="2095" y="355"/>
                  <a:pt x="2095" y="355"/>
                </a:cubicBezTo>
                <a:cubicBezTo>
                  <a:pt x="2095" y="355"/>
                  <a:pt x="2093" y="356"/>
                  <a:pt x="2090" y="356"/>
                </a:cubicBezTo>
                <a:cubicBezTo>
                  <a:pt x="2088" y="356"/>
                  <a:pt x="2088" y="354"/>
                  <a:pt x="2088" y="354"/>
                </a:cubicBezTo>
                <a:cubicBezTo>
                  <a:pt x="2088" y="354"/>
                  <a:pt x="2086" y="356"/>
                  <a:pt x="2085" y="356"/>
                </a:cubicBezTo>
                <a:cubicBezTo>
                  <a:pt x="2084" y="357"/>
                  <a:pt x="2084" y="359"/>
                  <a:pt x="2083" y="361"/>
                </a:cubicBezTo>
                <a:cubicBezTo>
                  <a:pt x="2081" y="362"/>
                  <a:pt x="2080" y="362"/>
                  <a:pt x="2080" y="362"/>
                </a:cubicBezTo>
                <a:cubicBezTo>
                  <a:pt x="2080" y="365"/>
                  <a:pt x="2080" y="365"/>
                  <a:pt x="2080" y="365"/>
                </a:cubicBezTo>
                <a:cubicBezTo>
                  <a:pt x="2079" y="367"/>
                  <a:pt x="2079" y="367"/>
                  <a:pt x="2079" y="367"/>
                </a:cubicBezTo>
                <a:cubicBezTo>
                  <a:pt x="2081" y="369"/>
                  <a:pt x="2081" y="369"/>
                  <a:pt x="2081" y="369"/>
                </a:cubicBezTo>
                <a:cubicBezTo>
                  <a:pt x="2081" y="373"/>
                  <a:pt x="2081" y="373"/>
                  <a:pt x="2081" y="373"/>
                </a:cubicBezTo>
                <a:cubicBezTo>
                  <a:pt x="2080" y="373"/>
                  <a:pt x="2074" y="365"/>
                  <a:pt x="2074" y="365"/>
                </a:cubicBezTo>
                <a:cubicBezTo>
                  <a:pt x="2074" y="365"/>
                  <a:pt x="2073" y="362"/>
                  <a:pt x="2073" y="360"/>
                </a:cubicBezTo>
                <a:cubicBezTo>
                  <a:pt x="2073" y="358"/>
                  <a:pt x="2077" y="357"/>
                  <a:pt x="2077" y="357"/>
                </a:cubicBezTo>
                <a:cubicBezTo>
                  <a:pt x="2078" y="357"/>
                  <a:pt x="2078" y="354"/>
                  <a:pt x="2079" y="353"/>
                </a:cubicBezTo>
                <a:cubicBezTo>
                  <a:pt x="2080" y="352"/>
                  <a:pt x="2086" y="353"/>
                  <a:pt x="2086" y="353"/>
                </a:cubicBezTo>
                <a:cubicBezTo>
                  <a:pt x="2087" y="353"/>
                  <a:pt x="2089" y="352"/>
                  <a:pt x="2092" y="352"/>
                </a:cubicBezTo>
                <a:cubicBezTo>
                  <a:pt x="2094" y="352"/>
                  <a:pt x="2096" y="354"/>
                  <a:pt x="2098" y="354"/>
                </a:cubicBezTo>
                <a:cubicBezTo>
                  <a:pt x="2099" y="354"/>
                  <a:pt x="2100" y="355"/>
                  <a:pt x="2103" y="355"/>
                </a:cubicBezTo>
                <a:cubicBezTo>
                  <a:pt x="2106" y="356"/>
                  <a:pt x="2105" y="353"/>
                  <a:pt x="2107" y="353"/>
                </a:cubicBezTo>
                <a:cubicBezTo>
                  <a:pt x="2110" y="353"/>
                  <a:pt x="2114" y="354"/>
                  <a:pt x="2114" y="354"/>
                </a:cubicBezTo>
                <a:cubicBezTo>
                  <a:pt x="2114" y="354"/>
                  <a:pt x="2116" y="352"/>
                  <a:pt x="2119" y="352"/>
                </a:cubicBezTo>
                <a:cubicBezTo>
                  <a:pt x="2122" y="352"/>
                  <a:pt x="2120" y="356"/>
                  <a:pt x="2119" y="357"/>
                </a:cubicBezTo>
                <a:close/>
                <a:moveTo>
                  <a:pt x="2339" y="282"/>
                </a:moveTo>
                <a:cubicBezTo>
                  <a:pt x="2339" y="282"/>
                  <a:pt x="2339" y="285"/>
                  <a:pt x="2339" y="286"/>
                </a:cubicBezTo>
                <a:cubicBezTo>
                  <a:pt x="2338" y="286"/>
                  <a:pt x="2336" y="288"/>
                  <a:pt x="2336" y="288"/>
                </a:cubicBezTo>
                <a:cubicBezTo>
                  <a:pt x="2336" y="288"/>
                  <a:pt x="2333" y="289"/>
                  <a:pt x="2332" y="289"/>
                </a:cubicBezTo>
                <a:cubicBezTo>
                  <a:pt x="2331" y="289"/>
                  <a:pt x="2331" y="292"/>
                  <a:pt x="2331" y="292"/>
                </a:cubicBezTo>
                <a:cubicBezTo>
                  <a:pt x="2331" y="292"/>
                  <a:pt x="2331" y="290"/>
                  <a:pt x="2327" y="292"/>
                </a:cubicBezTo>
                <a:cubicBezTo>
                  <a:pt x="2322" y="293"/>
                  <a:pt x="2329" y="295"/>
                  <a:pt x="2329" y="295"/>
                </a:cubicBezTo>
                <a:cubicBezTo>
                  <a:pt x="2329" y="295"/>
                  <a:pt x="2326" y="297"/>
                  <a:pt x="2326" y="298"/>
                </a:cubicBezTo>
                <a:cubicBezTo>
                  <a:pt x="2326" y="301"/>
                  <a:pt x="2323" y="299"/>
                  <a:pt x="2323" y="299"/>
                </a:cubicBezTo>
                <a:cubicBezTo>
                  <a:pt x="2323" y="299"/>
                  <a:pt x="2322" y="302"/>
                  <a:pt x="2318" y="302"/>
                </a:cubicBezTo>
                <a:cubicBezTo>
                  <a:pt x="2313" y="302"/>
                  <a:pt x="2314" y="301"/>
                  <a:pt x="2314" y="301"/>
                </a:cubicBezTo>
                <a:cubicBezTo>
                  <a:pt x="2309" y="299"/>
                  <a:pt x="2309" y="299"/>
                  <a:pt x="2309" y="299"/>
                </a:cubicBezTo>
                <a:cubicBezTo>
                  <a:pt x="2311" y="298"/>
                  <a:pt x="2311" y="298"/>
                  <a:pt x="2311" y="298"/>
                </a:cubicBezTo>
                <a:cubicBezTo>
                  <a:pt x="2316" y="298"/>
                  <a:pt x="2316" y="298"/>
                  <a:pt x="2316" y="298"/>
                </a:cubicBezTo>
                <a:cubicBezTo>
                  <a:pt x="2316" y="297"/>
                  <a:pt x="2316" y="297"/>
                  <a:pt x="2316" y="297"/>
                </a:cubicBezTo>
                <a:cubicBezTo>
                  <a:pt x="2316" y="297"/>
                  <a:pt x="2319" y="297"/>
                  <a:pt x="2321" y="296"/>
                </a:cubicBezTo>
                <a:cubicBezTo>
                  <a:pt x="2322" y="294"/>
                  <a:pt x="2322" y="290"/>
                  <a:pt x="2322" y="290"/>
                </a:cubicBezTo>
                <a:cubicBezTo>
                  <a:pt x="2322" y="290"/>
                  <a:pt x="2323" y="290"/>
                  <a:pt x="2325" y="290"/>
                </a:cubicBezTo>
                <a:cubicBezTo>
                  <a:pt x="2327" y="289"/>
                  <a:pt x="2327" y="286"/>
                  <a:pt x="2327" y="286"/>
                </a:cubicBezTo>
                <a:cubicBezTo>
                  <a:pt x="2327" y="286"/>
                  <a:pt x="2325" y="285"/>
                  <a:pt x="2326" y="284"/>
                </a:cubicBezTo>
                <a:cubicBezTo>
                  <a:pt x="2326" y="283"/>
                  <a:pt x="2330" y="279"/>
                  <a:pt x="2330" y="279"/>
                </a:cubicBezTo>
                <a:cubicBezTo>
                  <a:pt x="2330" y="277"/>
                  <a:pt x="2330" y="277"/>
                  <a:pt x="2330" y="277"/>
                </a:cubicBezTo>
                <a:cubicBezTo>
                  <a:pt x="2333" y="274"/>
                  <a:pt x="2333" y="274"/>
                  <a:pt x="2333" y="274"/>
                </a:cubicBezTo>
                <a:cubicBezTo>
                  <a:pt x="2331" y="272"/>
                  <a:pt x="2331" y="272"/>
                  <a:pt x="2331" y="272"/>
                </a:cubicBezTo>
                <a:cubicBezTo>
                  <a:pt x="2331" y="261"/>
                  <a:pt x="2331" y="261"/>
                  <a:pt x="2331" y="261"/>
                </a:cubicBezTo>
                <a:cubicBezTo>
                  <a:pt x="2331" y="261"/>
                  <a:pt x="2328" y="256"/>
                  <a:pt x="2331" y="255"/>
                </a:cubicBezTo>
                <a:cubicBezTo>
                  <a:pt x="2335" y="254"/>
                  <a:pt x="2335" y="260"/>
                  <a:pt x="2335" y="260"/>
                </a:cubicBezTo>
                <a:cubicBezTo>
                  <a:pt x="2335" y="260"/>
                  <a:pt x="2337" y="261"/>
                  <a:pt x="2337" y="264"/>
                </a:cubicBezTo>
                <a:cubicBezTo>
                  <a:pt x="2338" y="267"/>
                  <a:pt x="2339" y="270"/>
                  <a:pt x="2339" y="270"/>
                </a:cubicBezTo>
                <a:cubicBezTo>
                  <a:pt x="2342" y="274"/>
                  <a:pt x="2342" y="274"/>
                  <a:pt x="2342" y="274"/>
                </a:cubicBezTo>
                <a:cubicBezTo>
                  <a:pt x="2340" y="276"/>
                  <a:pt x="2340" y="276"/>
                  <a:pt x="2340" y="276"/>
                </a:cubicBezTo>
                <a:cubicBezTo>
                  <a:pt x="2340" y="276"/>
                  <a:pt x="2338" y="277"/>
                  <a:pt x="2338" y="279"/>
                </a:cubicBezTo>
                <a:cubicBezTo>
                  <a:pt x="2338" y="280"/>
                  <a:pt x="2342" y="278"/>
                  <a:pt x="2342" y="278"/>
                </a:cubicBezTo>
                <a:cubicBezTo>
                  <a:pt x="2342" y="281"/>
                  <a:pt x="2342" y="281"/>
                  <a:pt x="2342" y="281"/>
                </a:cubicBezTo>
                <a:cubicBezTo>
                  <a:pt x="2339" y="282"/>
                  <a:pt x="2339" y="282"/>
                  <a:pt x="2339" y="282"/>
                </a:cubicBezTo>
                <a:cubicBezTo>
                  <a:pt x="2339" y="282"/>
                  <a:pt x="2339" y="282"/>
                  <a:pt x="2339" y="282"/>
                </a:cubicBezTo>
                <a:close/>
                <a:moveTo>
                  <a:pt x="2727" y="377"/>
                </a:moveTo>
                <a:cubicBezTo>
                  <a:pt x="2725" y="386"/>
                  <a:pt x="2725" y="386"/>
                  <a:pt x="2725" y="386"/>
                </a:cubicBezTo>
                <a:cubicBezTo>
                  <a:pt x="2727" y="385"/>
                  <a:pt x="2727" y="385"/>
                  <a:pt x="2727" y="385"/>
                </a:cubicBezTo>
                <a:cubicBezTo>
                  <a:pt x="2730" y="379"/>
                  <a:pt x="2730" y="379"/>
                  <a:pt x="2730" y="379"/>
                </a:cubicBezTo>
                <a:cubicBezTo>
                  <a:pt x="2727" y="377"/>
                  <a:pt x="2727" y="377"/>
                  <a:pt x="2727" y="377"/>
                </a:cubicBezTo>
                <a:cubicBezTo>
                  <a:pt x="2727" y="377"/>
                  <a:pt x="2727" y="377"/>
                  <a:pt x="2727" y="377"/>
                </a:cubicBezTo>
                <a:close/>
                <a:moveTo>
                  <a:pt x="2639" y="502"/>
                </a:moveTo>
                <a:cubicBezTo>
                  <a:pt x="2643" y="509"/>
                  <a:pt x="2643" y="509"/>
                  <a:pt x="2643" y="509"/>
                </a:cubicBezTo>
                <a:cubicBezTo>
                  <a:pt x="2645" y="508"/>
                  <a:pt x="2645" y="508"/>
                  <a:pt x="2645" y="508"/>
                </a:cubicBezTo>
                <a:cubicBezTo>
                  <a:pt x="2645" y="508"/>
                  <a:pt x="2644" y="504"/>
                  <a:pt x="2645" y="505"/>
                </a:cubicBezTo>
                <a:cubicBezTo>
                  <a:pt x="2647" y="506"/>
                  <a:pt x="2649" y="510"/>
                  <a:pt x="2649" y="510"/>
                </a:cubicBezTo>
                <a:cubicBezTo>
                  <a:pt x="2649" y="515"/>
                  <a:pt x="2649" y="515"/>
                  <a:pt x="2649" y="515"/>
                </a:cubicBezTo>
                <a:cubicBezTo>
                  <a:pt x="2647" y="517"/>
                  <a:pt x="2647" y="517"/>
                  <a:pt x="2647" y="517"/>
                </a:cubicBezTo>
                <a:cubicBezTo>
                  <a:pt x="2647" y="517"/>
                  <a:pt x="2649" y="526"/>
                  <a:pt x="2651" y="527"/>
                </a:cubicBezTo>
                <a:cubicBezTo>
                  <a:pt x="2653" y="527"/>
                  <a:pt x="2653" y="520"/>
                  <a:pt x="2653" y="520"/>
                </a:cubicBezTo>
                <a:cubicBezTo>
                  <a:pt x="2657" y="522"/>
                  <a:pt x="2657" y="522"/>
                  <a:pt x="2657" y="522"/>
                </a:cubicBezTo>
                <a:cubicBezTo>
                  <a:pt x="2657" y="522"/>
                  <a:pt x="2657" y="528"/>
                  <a:pt x="2657" y="528"/>
                </a:cubicBezTo>
                <a:cubicBezTo>
                  <a:pt x="2658" y="528"/>
                  <a:pt x="2661" y="523"/>
                  <a:pt x="2661" y="523"/>
                </a:cubicBezTo>
                <a:cubicBezTo>
                  <a:pt x="2661" y="523"/>
                  <a:pt x="2659" y="515"/>
                  <a:pt x="2659" y="513"/>
                </a:cubicBezTo>
                <a:cubicBezTo>
                  <a:pt x="2659" y="510"/>
                  <a:pt x="2662" y="509"/>
                  <a:pt x="2662" y="509"/>
                </a:cubicBezTo>
                <a:cubicBezTo>
                  <a:pt x="2662" y="506"/>
                  <a:pt x="2657" y="503"/>
                  <a:pt x="2657" y="503"/>
                </a:cubicBezTo>
                <a:cubicBezTo>
                  <a:pt x="2657" y="503"/>
                  <a:pt x="2657" y="501"/>
                  <a:pt x="2656" y="500"/>
                </a:cubicBezTo>
                <a:cubicBezTo>
                  <a:pt x="2654" y="500"/>
                  <a:pt x="2653" y="500"/>
                  <a:pt x="2653" y="500"/>
                </a:cubicBezTo>
                <a:cubicBezTo>
                  <a:pt x="2653" y="500"/>
                  <a:pt x="2649" y="497"/>
                  <a:pt x="2647" y="497"/>
                </a:cubicBezTo>
                <a:cubicBezTo>
                  <a:pt x="2646" y="497"/>
                  <a:pt x="2644" y="500"/>
                  <a:pt x="2644" y="500"/>
                </a:cubicBezTo>
                <a:cubicBezTo>
                  <a:pt x="2639" y="502"/>
                  <a:pt x="2639" y="502"/>
                  <a:pt x="2639" y="502"/>
                </a:cubicBezTo>
                <a:cubicBezTo>
                  <a:pt x="2639" y="502"/>
                  <a:pt x="2639" y="502"/>
                  <a:pt x="2639" y="502"/>
                </a:cubicBezTo>
                <a:close/>
                <a:moveTo>
                  <a:pt x="2697" y="453"/>
                </a:moveTo>
                <a:cubicBezTo>
                  <a:pt x="2699" y="453"/>
                  <a:pt x="2699" y="453"/>
                  <a:pt x="2699" y="453"/>
                </a:cubicBezTo>
                <a:cubicBezTo>
                  <a:pt x="2699" y="450"/>
                  <a:pt x="2699" y="450"/>
                  <a:pt x="2699" y="450"/>
                </a:cubicBezTo>
                <a:cubicBezTo>
                  <a:pt x="2698" y="449"/>
                  <a:pt x="2698" y="449"/>
                  <a:pt x="2698" y="449"/>
                </a:cubicBezTo>
                <a:cubicBezTo>
                  <a:pt x="2696" y="446"/>
                  <a:pt x="2696" y="446"/>
                  <a:pt x="2696" y="446"/>
                </a:cubicBezTo>
                <a:cubicBezTo>
                  <a:pt x="2695" y="448"/>
                  <a:pt x="2695" y="448"/>
                  <a:pt x="2695" y="448"/>
                </a:cubicBezTo>
                <a:cubicBezTo>
                  <a:pt x="2696" y="450"/>
                  <a:pt x="2696" y="450"/>
                  <a:pt x="2696" y="450"/>
                </a:cubicBezTo>
                <a:cubicBezTo>
                  <a:pt x="2697" y="453"/>
                  <a:pt x="2697" y="453"/>
                  <a:pt x="2697" y="453"/>
                </a:cubicBezTo>
                <a:cubicBezTo>
                  <a:pt x="2697" y="453"/>
                  <a:pt x="2697" y="453"/>
                  <a:pt x="2697" y="453"/>
                </a:cubicBezTo>
                <a:close/>
                <a:moveTo>
                  <a:pt x="2647" y="575"/>
                </a:moveTo>
                <a:cubicBezTo>
                  <a:pt x="2645" y="577"/>
                  <a:pt x="2643" y="584"/>
                  <a:pt x="2643" y="584"/>
                </a:cubicBezTo>
                <a:cubicBezTo>
                  <a:pt x="2646" y="585"/>
                  <a:pt x="2646" y="585"/>
                  <a:pt x="2646" y="585"/>
                </a:cubicBezTo>
                <a:cubicBezTo>
                  <a:pt x="2646" y="585"/>
                  <a:pt x="2648" y="580"/>
                  <a:pt x="2648" y="580"/>
                </a:cubicBezTo>
                <a:cubicBezTo>
                  <a:pt x="2647" y="580"/>
                  <a:pt x="2650" y="577"/>
                  <a:pt x="2650" y="577"/>
                </a:cubicBezTo>
                <a:cubicBezTo>
                  <a:pt x="2650" y="577"/>
                  <a:pt x="2649" y="573"/>
                  <a:pt x="2647" y="575"/>
                </a:cubicBezTo>
                <a:close/>
                <a:moveTo>
                  <a:pt x="2649" y="568"/>
                </a:moveTo>
                <a:cubicBezTo>
                  <a:pt x="2649" y="570"/>
                  <a:pt x="2649" y="570"/>
                  <a:pt x="2649" y="570"/>
                </a:cubicBezTo>
                <a:cubicBezTo>
                  <a:pt x="2652" y="570"/>
                  <a:pt x="2652" y="570"/>
                  <a:pt x="2652" y="570"/>
                </a:cubicBezTo>
                <a:cubicBezTo>
                  <a:pt x="2649" y="568"/>
                  <a:pt x="2649" y="568"/>
                  <a:pt x="2649" y="568"/>
                </a:cubicBezTo>
                <a:cubicBezTo>
                  <a:pt x="2649" y="568"/>
                  <a:pt x="2649" y="568"/>
                  <a:pt x="2649" y="568"/>
                </a:cubicBezTo>
                <a:close/>
                <a:moveTo>
                  <a:pt x="2721" y="381"/>
                </a:moveTo>
                <a:cubicBezTo>
                  <a:pt x="2719" y="379"/>
                  <a:pt x="2718" y="384"/>
                  <a:pt x="2718" y="384"/>
                </a:cubicBezTo>
                <a:cubicBezTo>
                  <a:pt x="2718" y="384"/>
                  <a:pt x="2704" y="381"/>
                  <a:pt x="2701" y="379"/>
                </a:cubicBezTo>
                <a:cubicBezTo>
                  <a:pt x="2697" y="377"/>
                  <a:pt x="2682" y="364"/>
                  <a:pt x="2680" y="367"/>
                </a:cubicBezTo>
                <a:cubicBezTo>
                  <a:pt x="2678" y="369"/>
                  <a:pt x="2687" y="376"/>
                  <a:pt x="2687" y="376"/>
                </a:cubicBezTo>
                <a:cubicBezTo>
                  <a:pt x="2687" y="379"/>
                  <a:pt x="2687" y="379"/>
                  <a:pt x="2687" y="379"/>
                </a:cubicBezTo>
                <a:cubicBezTo>
                  <a:pt x="2687" y="379"/>
                  <a:pt x="2690" y="382"/>
                  <a:pt x="2690" y="383"/>
                </a:cubicBezTo>
                <a:cubicBezTo>
                  <a:pt x="2690" y="385"/>
                  <a:pt x="2689" y="387"/>
                  <a:pt x="2689" y="387"/>
                </a:cubicBezTo>
                <a:cubicBezTo>
                  <a:pt x="2689" y="387"/>
                  <a:pt x="2693" y="392"/>
                  <a:pt x="2692" y="392"/>
                </a:cubicBezTo>
                <a:cubicBezTo>
                  <a:pt x="2690" y="392"/>
                  <a:pt x="2684" y="391"/>
                  <a:pt x="2683" y="390"/>
                </a:cubicBezTo>
                <a:cubicBezTo>
                  <a:pt x="2681" y="390"/>
                  <a:pt x="2686" y="394"/>
                  <a:pt x="2686" y="394"/>
                </a:cubicBezTo>
                <a:cubicBezTo>
                  <a:pt x="2682" y="398"/>
                  <a:pt x="2682" y="398"/>
                  <a:pt x="2682" y="398"/>
                </a:cubicBezTo>
                <a:cubicBezTo>
                  <a:pt x="2682" y="398"/>
                  <a:pt x="2684" y="401"/>
                  <a:pt x="2684" y="402"/>
                </a:cubicBezTo>
                <a:cubicBezTo>
                  <a:pt x="2685" y="403"/>
                  <a:pt x="2690" y="406"/>
                  <a:pt x="2690" y="406"/>
                </a:cubicBezTo>
                <a:cubicBezTo>
                  <a:pt x="2690" y="406"/>
                  <a:pt x="2688" y="413"/>
                  <a:pt x="2693" y="413"/>
                </a:cubicBezTo>
                <a:cubicBezTo>
                  <a:pt x="2695" y="412"/>
                  <a:pt x="2692" y="409"/>
                  <a:pt x="2694" y="409"/>
                </a:cubicBezTo>
                <a:cubicBezTo>
                  <a:pt x="2697" y="409"/>
                  <a:pt x="2699" y="409"/>
                  <a:pt x="2699" y="409"/>
                </a:cubicBezTo>
                <a:cubicBezTo>
                  <a:pt x="2700" y="407"/>
                  <a:pt x="2700" y="407"/>
                  <a:pt x="2700" y="407"/>
                </a:cubicBezTo>
                <a:cubicBezTo>
                  <a:pt x="2695" y="404"/>
                  <a:pt x="2695" y="404"/>
                  <a:pt x="2695" y="404"/>
                </a:cubicBezTo>
                <a:cubicBezTo>
                  <a:pt x="2692" y="404"/>
                  <a:pt x="2692" y="404"/>
                  <a:pt x="2692" y="404"/>
                </a:cubicBezTo>
                <a:cubicBezTo>
                  <a:pt x="2692" y="404"/>
                  <a:pt x="2685" y="401"/>
                  <a:pt x="2688" y="400"/>
                </a:cubicBezTo>
                <a:cubicBezTo>
                  <a:pt x="2692" y="398"/>
                  <a:pt x="2694" y="402"/>
                  <a:pt x="2694" y="402"/>
                </a:cubicBezTo>
                <a:cubicBezTo>
                  <a:pt x="2694" y="402"/>
                  <a:pt x="2697" y="400"/>
                  <a:pt x="2699" y="399"/>
                </a:cubicBezTo>
                <a:cubicBezTo>
                  <a:pt x="2701" y="399"/>
                  <a:pt x="2716" y="407"/>
                  <a:pt x="2717" y="406"/>
                </a:cubicBezTo>
                <a:cubicBezTo>
                  <a:pt x="2718" y="405"/>
                  <a:pt x="2714" y="397"/>
                  <a:pt x="2718" y="395"/>
                </a:cubicBezTo>
                <a:cubicBezTo>
                  <a:pt x="2722" y="394"/>
                  <a:pt x="2721" y="397"/>
                  <a:pt x="2725" y="395"/>
                </a:cubicBezTo>
                <a:cubicBezTo>
                  <a:pt x="2729" y="393"/>
                  <a:pt x="2730" y="392"/>
                  <a:pt x="2730" y="392"/>
                </a:cubicBezTo>
                <a:cubicBezTo>
                  <a:pt x="2722" y="387"/>
                  <a:pt x="2722" y="387"/>
                  <a:pt x="2722" y="387"/>
                </a:cubicBezTo>
                <a:cubicBezTo>
                  <a:pt x="2722" y="387"/>
                  <a:pt x="2722" y="382"/>
                  <a:pt x="2721" y="381"/>
                </a:cubicBezTo>
                <a:close/>
                <a:moveTo>
                  <a:pt x="1804" y="932"/>
                </a:moveTo>
                <a:cubicBezTo>
                  <a:pt x="1803" y="934"/>
                  <a:pt x="1803" y="939"/>
                  <a:pt x="1806" y="939"/>
                </a:cubicBezTo>
                <a:cubicBezTo>
                  <a:pt x="1809" y="938"/>
                  <a:pt x="1806" y="930"/>
                  <a:pt x="1804" y="932"/>
                </a:cubicBezTo>
                <a:close/>
                <a:moveTo>
                  <a:pt x="1801" y="942"/>
                </a:moveTo>
                <a:cubicBezTo>
                  <a:pt x="1797" y="942"/>
                  <a:pt x="1799" y="947"/>
                  <a:pt x="1799" y="947"/>
                </a:cubicBezTo>
                <a:cubicBezTo>
                  <a:pt x="1799" y="947"/>
                  <a:pt x="1803" y="951"/>
                  <a:pt x="1805" y="951"/>
                </a:cubicBezTo>
                <a:cubicBezTo>
                  <a:pt x="1807" y="950"/>
                  <a:pt x="1803" y="946"/>
                  <a:pt x="1803" y="946"/>
                </a:cubicBezTo>
                <a:cubicBezTo>
                  <a:pt x="1803" y="946"/>
                  <a:pt x="1804" y="942"/>
                  <a:pt x="1801" y="942"/>
                </a:cubicBezTo>
                <a:close/>
                <a:moveTo>
                  <a:pt x="1911" y="1038"/>
                </a:moveTo>
                <a:cubicBezTo>
                  <a:pt x="1911" y="1038"/>
                  <a:pt x="1906" y="1028"/>
                  <a:pt x="1906" y="1027"/>
                </a:cubicBezTo>
                <a:cubicBezTo>
                  <a:pt x="1906" y="1026"/>
                  <a:pt x="1906" y="1024"/>
                  <a:pt x="1906" y="1024"/>
                </a:cubicBezTo>
                <a:cubicBezTo>
                  <a:pt x="1898" y="1015"/>
                  <a:pt x="1898" y="1015"/>
                  <a:pt x="1898" y="1015"/>
                </a:cubicBezTo>
                <a:cubicBezTo>
                  <a:pt x="1894" y="1021"/>
                  <a:pt x="1894" y="1021"/>
                  <a:pt x="1894" y="1021"/>
                </a:cubicBezTo>
                <a:cubicBezTo>
                  <a:pt x="1894" y="1021"/>
                  <a:pt x="1894" y="1025"/>
                  <a:pt x="1893" y="1028"/>
                </a:cubicBezTo>
                <a:cubicBezTo>
                  <a:pt x="1892" y="1031"/>
                  <a:pt x="1888" y="1034"/>
                  <a:pt x="1888" y="1034"/>
                </a:cubicBezTo>
                <a:cubicBezTo>
                  <a:pt x="1888" y="1034"/>
                  <a:pt x="1886" y="1032"/>
                  <a:pt x="1885" y="1034"/>
                </a:cubicBezTo>
                <a:cubicBezTo>
                  <a:pt x="1883" y="1035"/>
                  <a:pt x="1886" y="1039"/>
                  <a:pt x="1884" y="1042"/>
                </a:cubicBezTo>
                <a:cubicBezTo>
                  <a:pt x="1882" y="1044"/>
                  <a:pt x="1881" y="1044"/>
                  <a:pt x="1881" y="1044"/>
                </a:cubicBezTo>
                <a:cubicBezTo>
                  <a:pt x="1881" y="1044"/>
                  <a:pt x="1880" y="1040"/>
                  <a:pt x="1879" y="1041"/>
                </a:cubicBezTo>
                <a:cubicBezTo>
                  <a:pt x="1877" y="1042"/>
                  <a:pt x="1878" y="1048"/>
                  <a:pt x="1878" y="1048"/>
                </a:cubicBezTo>
                <a:cubicBezTo>
                  <a:pt x="1876" y="1054"/>
                  <a:pt x="1876" y="1054"/>
                  <a:pt x="1876" y="1054"/>
                </a:cubicBezTo>
                <a:cubicBezTo>
                  <a:pt x="1875" y="1051"/>
                  <a:pt x="1875" y="1051"/>
                  <a:pt x="1875" y="1051"/>
                </a:cubicBezTo>
                <a:cubicBezTo>
                  <a:pt x="1875" y="1047"/>
                  <a:pt x="1875" y="1047"/>
                  <a:pt x="1875" y="1047"/>
                </a:cubicBezTo>
                <a:cubicBezTo>
                  <a:pt x="1873" y="1051"/>
                  <a:pt x="1873" y="1051"/>
                  <a:pt x="1873" y="1051"/>
                </a:cubicBezTo>
                <a:cubicBezTo>
                  <a:pt x="1873" y="1056"/>
                  <a:pt x="1873" y="1056"/>
                  <a:pt x="1873" y="1056"/>
                </a:cubicBezTo>
                <a:cubicBezTo>
                  <a:pt x="1867" y="1055"/>
                  <a:pt x="1867" y="1055"/>
                  <a:pt x="1867" y="1055"/>
                </a:cubicBezTo>
                <a:cubicBezTo>
                  <a:pt x="1864" y="1058"/>
                  <a:pt x="1864" y="1058"/>
                  <a:pt x="1864" y="1058"/>
                </a:cubicBezTo>
                <a:cubicBezTo>
                  <a:pt x="1856" y="1057"/>
                  <a:pt x="1856" y="1057"/>
                  <a:pt x="1856" y="1057"/>
                </a:cubicBezTo>
                <a:cubicBezTo>
                  <a:pt x="1856" y="1061"/>
                  <a:pt x="1856" y="1061"/>
                  <a:pt x="1856" y="1061"/>
                </a:cubicBezTo>
                <a:cubicBezTo>
                  <a:pt x="1850" y="1060"/>
                  <a:pt x="1850" y="1060"/>
                  <a:pt x="1850" y="1060"/>
                </a:cubicBezTo>
                <a:cubicBezTo>
                  <a:pt x="1846" y="1061"/>
                  <a:pt x="1846" y="1061"/>
                  <a:pt x="1846" y="1061"/>
                </a:cubicBezTo>
                <a:cubicBezTo>
                  <a:pt x="1848" y="1065"/>
                  <a:pt x="1848" y="1065"/>
                  <a:pt x="1848" y="1065"/>
                </a:cubicBezTo>
                <a:cubicBezTo>
                  <a:pt x="1848" y="1065"/>
                  <a:pt x="1845" y="1069"/>
                  <a:pt x="1842" y="1072"/>
                </a:cubicBezTo>
                <a:cubicBezTo>
                  <a:pt x="1839" y="1074"/>
                  <a:pt x="1842" y="1084"/>
                  <a:pt x="1843" y="1088"/>
                </a:cubicBezTo>
                <a:cubicBezTo>
                  <a:pt x="1843" y="1093"/>
                  <a:pt x="1844" y="1106"/>
                  <a:pt x="1844" y="1106"/>
                </a:cubicBezTo>
                <a:cubicBezTo>
                  <a:pt x="1844" y="1106"/>
                  <a:pt x="1839" y="1110"/>
                  <a:pt x="1836" y="1114"/>
                </a:cubicBezTo>
                <a:cubicBezTo>
                  <a:pt x="1833" y="1118"/>
                  <a:pt x="1828" y="1118"/>
                  <a:pt x="1829" y="1132"/>
                </a:cubicBezTo>
                <a:cubicBezTo>
                  <a:pt x="1830" y="1145"/>
                  <a:pt x="1836" y="1153"/>
                  <a:pt x="1836" y="1153"/>
                </a:cubicBezTo>
                <a:cubicBezTo>
                  <a:pt x="1834" y="1156"/>
                  <a:pt x="1834" y="1156"/>
                  <a:pt x="1834" y="1156"/>
                </a:cubicBezTo>
                <a:cubicBezTo>
                  <a:pt x="1834" y="1156"/>
                  <a:pt x="1834" y="1159"/>
                  <a:pt x="1840" y="1165"/>
                </a:cubicBezTo>
                <a:cubicBezTo>
                  <a:pt x="1847" y="1171"/>
                  <a:pt x="1856" y="1164"/>
                  <a:pt x="1856" y="1164"/>
                </a:cubicBezTo>
                <a:cubicBezTo>
                  <a:pt x="1856" y="1164"/>
                  <a:pt x="1857" y="1165"/>
                  <a:pt x="1859" y="1164"/>
                </a:cubicBezTo>
                <a:cubicBezTo>
                  <a:pt x="1861" y="1163"/>
                  <a:pt x="1862" y="1161"/>
                  <a:pt x="1867" y="1157"/>
                </a:cubicBezTo>
                <a:cubicBezTo>
                  <a:pt x="1873" y="1152"/>
                  <a:pt x="1872" y="1143"/>
                  <a:pt x="1872" y="1143"/>
                </a:cubicBezTo>
                <a:cubicBezTo>
                  <a:pt x="1872" y="1143"/>
                  <a:pt x="1876" y="1130"/>
                  <a:pt x="1884" y="1115"/>
                </a:cubicBezTo>
                <a:cubicBezTo>
                  <a:pt x="1892" y="1101"/>
                  <a:pt x="1897" y="1085"/>
                  <a:pt x="1899" y="1080"/>
                </a:cubicBezTo>
                <a:cubicBezTo>
                  <a:pt x="1900" y="1075"/>
                  <a:pt x="1897" y="1072"/>
                  <a:pt x="1898" y="1069"/>
                </a:cubicBezTo>
                <a:cubicBezTo>
                  <a:pt x="1898" y="1066"/>
                  <a:pt x="1903" y="1061"/>
                  <a:pt x="1903" y="1061"/>
                </a:cubicBezTo>
                <a:cubicBezTo>
                  <a:pt x="1902" y="1056"/>
                  <a:pt x="1902" y="1056"/>
                  <a:pt x="1902" y="1056"/>
                </a:cubicBezTo>
                <a:cubicBezTo>
                  <a:pt x="1906" y="1055"/>
                  <a:pt x="1906" y="1055"/>
                  <a:pt x="1906" y="1055"/>
                </a:cubicBezTo>
                <a:cubicBezTo>
                  <a:pt x="1906" y="1055"/>
                  <a:pt x="1911" y="1057"/>
                  <a:pt x="1912" y="1056"/>
                </a:cubicBezTo>
                <a:cubicBezTo>
                  <a:pt x="1913" y="1055"/>
                  <a:pt x="1908" y="1045"/>
                  <a:pt x="1908" y="1045"/>
                </a:cubicBezTo>
                <a:cubicBezTo>
                  <a:pt x="1911" y="1038"/>
                  <a:pt x="1911" y="1038"/>
                  <a:pt x="1911" y="1038"/>
                </a:cubicBezTo>
                <a:cubicBezTo>
                  <a:pt x="1911" y="1038"/>
                  <a:pt x="1911" y="1038"/>
                  <a:pt x="1911" y="1038"/>
                </a:cubicBezTo>
                <a:close/>
              </a:path>
            </a:pathLst>
          </a:custGeom>
          <a:solidFill>
            <a:schemeClr val="bg1">
              <a:alpha val="10000"/>
            </a:schemeClr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endParaRPr lang="de-DE" noProof="0"/>
          </a:p>
        </p:txBody>
      </p:sp>
      <p:sp>
        <p:nvSpPr>
          <p:cNvPr id="13" name="Titel">
            <a:extLst>
              <a:ext uri="{FF2B5EF4-FFF2-40B4-BE49-F238E27FC236}">
                <a16:creationId xmlns:a16="http://schemas.microsoft.com/office/drawing/2014/main" id="{D15218BD-28B2-4DE3-A995-40C3CC49AD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404E7883-6F6D-4A3D-BE15-9778CCCAA8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5" name="Datum">
            <a:extLst>
              <a:ext uri="{FF2B5EF4-FFF2-40B4-BE49-F238E27FC236}">
                <a16:creationId xmlns:a16="http://schemas.microsoft.com/office/drawing/2014/main" id="{437DFCA6-B347-14B2-D923-DD6023A0E48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18.10.2022</a:t>
            </a:r>
            <a:endParaRPr lang="de-DE"/>
          </a:p>
        </p:txBody>
      </p:sp>
      <p:sp>
        <p:nvSpPr>
          <p:cNvPr id="6" name="Fußzeile">
            <a:extLst>
              <a:ext uri="{FF2B5EF4-FFF2-40B4-BE49-F238E27FC236}">
                <a16:creationId xmlns:a16="http://schemas.microsoft.com/office/drawing/2014/main" id="{6E00E5B7-301B-852D-F766-E8B0BFDFC9B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167050" y="6336679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CGM TURBOMED Technologie-Stack</a:t>
            </a:r>
          </a:p>
        </p:txBody>
      </p:sp>
    </p:spTree>
    <p:extLst>
      <p:ext uri="{BB962C8B-B14F-4D97-AF65-F5344CB8AC3E}">
        <p14:creationId xmlns:p14="http://schemas.microsoft.com/office/powerpoint/2010/main" val="402946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Linie">
            <a:extLst>
              <a:ext uri="{FF2B5EF4-FFF2-40B4-BE49-F238E27FC236}">
                <a16:creationId xmlns:a16="http://schemas.microsoft.com/office/drawing/2014/main" id="{ED9BA028-009A-4CAB-B0E2-D389C9960AF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6096674" y="0"/>
            <a:ext cx="0" cy="6858000"/>
          </a:xfrm>
          <a:prstGeom prst="line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5" name="Ellipse 1">
            <a:extLst>
              <a:ext uri="{FF2B5EF4-FFF2-40B4-BE49-F238E27FC236}">
                <a16:creationId xmlns:a16="http://schemas.microsoft.com/office/drawing/2014/main" id="{E5D5FBC6-32B9-4B0C-BB75-AA569CDF9F06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188999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4" name="Ellipse 2">
            <a:extLst>
              <a:ext uri="{FF2B5EF4-FFF2-40B4-BE49-F238E27FC236}">
                <a16:creationId xmlns:a16="http://schemas.microsoft.com/office/drawing/2014/main" id="{2D4D7C40-3F32-4F01-BA33-B1987A25DA2F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3462919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27" name="Ellipse 3">
            <a:extLst>
              <a:ext uri="{FF2B5EF4-FFF2-40B4-BE49-F238E27FC236}">
                <a16:creationId xmlns:a16="http://schemas.microsoft.com/office/drawing/2014/main" id="{7693EFA4-2E8F-479D-9C23-B60BBF5789F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024674" y="5035838"/>
            <a:ext cx="144000" cy="14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33" name="Inhalt 1">
            <a:extLst>
              <a:ext uri="{FF2B5EF4-FFF2-40B4-BE49-F238E27FC236}">
                <a16:creationId xmlns:a16="http://schemas.microsoft.com/office/drawing/2014/main" id="{432FB5BB-C0A6-48A9-AFEA-323F7F165439}"/>
              </a:ext>
            </a:extLst>
          </p:cNvPr>
          <p:cNvSpPr>
            <a:spLocks noGrp="1"/>
          </p:cNvSpPr>
          <p:nvPr>
            <p:ph sz="half" idx="30" hasCustomPrompt="1"/>
          </p:nvPr>
        </p:nvSpPr>
        <p:spPr bwMode="gray">
          <a:xfrm>
            <a:off x="1062925" y="151199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1" name="Inhalt 2">
            <a:extLst>
              <a:ext uri="{FF2B5EF4-FFF2-40B4-BE49-F238E27FC236}">
                <a16:creationId xmlns:a16="http://schemas.microsoft.com/office/drawing/2014/main" id="{0771D76F-6B60-4F65-9A7A-D5826C2B98F9}"/>
              </a:ext>
            </a:extLst>
          </p:cNvPr>
          <p:cNvSpPr>
            <a:spLocks noGrp="1"/>
          </p:cNvSpPr>
          <p:nvPr>
            <p:ph sz="half" idx="28" hasCustomPrompt="1"/>
          </p:nvPr>
        </p:nvSpPr>
        <p:spPr bwMode="gray">
          <a:xfrm>
            <a:off x="1062925" y="3084919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9" name="Inhalt 3">
            <a:extLst>
              <a:ext uri="{FF2B5EF4-FFF2-40B4-BE49-F238E27FC236}">
                <a16:creationId xmlns:a16="http://schemas.microsoft.com/office/drawing/2014/main" id="{6EC08D63-9BF3-469D-B60A-957DAA4BF25A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 bwMode="gray">
          <a:xfrm>
            <a:off x="1062925" y="4657838"/>
            <a:ext cx="4720461" cy="900000"/>
          </a:xfrm>
          <a:prstGeom prst="rect">
            <a:avLst/>
          </a:prstGeom>
        </p:spPr>
        <p:txBody>
          <a:bodyPr anchor="ctr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2" name="Inhalt 4">
            <a:extLst>
              <a:ext uri="{FF2B5EF4-FFF2-40B4-BE49-F238E27FC236}">
                <a16:creationId xmlns:a16="http://schemas.microsoft.com/office/drawing/2014/main" id="{E61BC949-8478-432F-BAC9-D59A65E7135D}"/>
              </a:ext>
            </a:extLst>
          </p:cNvPr>
          <p:cNvSpPr>
            <a:spLocks noGrp="1"/>
          </p:cNvSpPr>
          <p:nvPr>
            <p:ph sz="half" idx="29" hasCustomPrompt="1"/>
          </p:nvPr>
        </p:nvSpPr>
        <p:spPr bwMode="gray">
          <a:xfrm>
            <a:off x="6409961" y="151199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30" name="Inhalt 5">
            <a:extLst>
              <a:ext uri="{FF2B5EF4-FFF2-40B4-BE49-F238E27FC236}">
                <a16:creationId xmlns:a16="http://schemas.microsoft.com/office/drawing/2014/main" id="{4C6B609E-388D-48E1-800F-C0A85655CD7F}"/>
              </a:ext>
            </a:extLst>
          </p:cNvPr>
          <p:cNvSpPr>
            <a:spLocks noGrp="1"/>
          </p:cNvSpPr>
          <p:nvPr>
            <p:ph sz="half" idx="27" hasCustomPrompt="1"/>
          </p:nvPr>
        </p:nvSpPr>
        <p:spPr bwMode="gray">
          <a:xfrm>
            <a:off x="6409961" y="3084919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8" name="Inhalt 6">
            <a:extLst>
              <a:ext uri="{FF2B5EF4-FFF2-40B4-BE49-F238E27FC236}">
                <a16:creationId xmlns:a16="http://schemas.microsoft.com/office/drawing/2014/main" id="{48CB1EA9-203C-4E42-A308-04A5A08DD203}"/>
              </a:ext>
            </a:extLst>
          </p:cNvPr>
          <p:cNvSpPr>
            <a:spLocks noGrp="1"/>
          </p:cNvSpPr>
          <p:nvPr>
            <p:ph sz="half" idx="21" hasCustomPrompt="1"/>
          </p:nvPr>
        </p:nvSpPr>
        <p:spPr bwMode="gray">
          <a:xfrm>
            <a:off x="6409961" y="4657838"/>
            <a:ext cx="4326662" cy="900000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/>
            </a:lvl1pPr>
            <a:lvl2pPr marL="450000" indent="0">
              <a:buNone/>
              <a:defRPr sz="1600"/>
            </a:lvl2pPr>
            <a:lvl3pPr marL="810000" indent="0">
              <a:buNone/>
              <a:defRPr sz="1600"/>
            </a:lvl3pPr>
            <a:lvl4pPr marL="1170000" indent="0">
              <a:buNone/>
              <a:defRPr sz="1600"/>
            </a:lvl4pPr>
            <a:lvl5pPr marL="1530000" indent="0">
              <a:buNone/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5" name="Form">
            <a:extLst>
              <a:ext uri="{FF2B5EF4-FFF2-40B4-BE49-F238E27FC236}">
                <a16:creationId xmlns:a16="http://schemas.microsoft.com/office/drawing/2014/main" id="{D1F7B944-8A45-40CF-89E5-A218E37E2698}"/>
              </a:ext>
            </a:extLst>
          </p:cNvPr>
          <p:cNvSpPr/>
          <p:nvPr userDrawn="1"/>
        </p:nvSpPr>
        <p:spPr bwMode="gray">
          <a:xfrm>
            <a:off x="-17252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noProof="0"/>
          </a:p>
        </p:txBody>
      </p:sp>
      <p:sp>
        <p:nvSpPr>
          <p:cNvPr id="8" name="Foliennummer">
            <a:extLst>
              <a:ext uri="{FF2B5EF4-FFF2-40B4-BE49-F238E27FC236}">
                <a16:creationId xmlns:a16="http://schemas.microsoft.com/office/drawing/2014/main" id="{A67059BD-63F9-4DB7-B7DB-A0876C76748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Datum">
            <a:extLst>
              <a:ext uri="{FF2B5EF4-FFF2-40B4-BE49-F238E27FC236}">
                <a16:creationId xmlns:a16="http://schemas.microsoft.com/office/drawing/2014/main" id="{3BD49A20-0CA7-486B-8224-C09F98009EB9}"/>
              </a:ext>
            </a:extLst>
          </p:cNvPr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7" name="Fußzeile">
            <a:extLst>
              <a:ext uri="{FF2B5EF4-FFF2-40B4-BE49-F238E27FC236}">
                <a16:creationId xmlns:a16="http://schemas.microsoft.com/office/drawing/2014/main" id="{548B6329-BCFE-47D3-8EC0-E971B545E2E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>
          <a:xfrm>
            <a:off x="2186099" y="6300000"/>
            <a:ext cx="7526305" cy="360000"/>
          </a:xfrm>
        </p:spPr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73970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">
            <a:extLst>
              <a:ext uri="{FF2B5EF4-FFF2-40B4-BE49-F238E27FC236}">
                <a16:creationId xmlns:a16="http://schemas.microsoft.com/office/drawing/2014/main" id="{2BFD5FE5-7AC4-4DFF-B92E-51E906EA65E0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35" name="Text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5400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6" name="Text">
            <a:extLst>
              <a:ext uri="{FF2B5EF4-FFF2-40B4-BE49-F238E27FC236}">
                <a16:creationId xmlns:a16="http://schemas.microsoft.com/office/drawing/2014/main" id="{A6A55C99-A5B8-4FC7-858A-4806CC497751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 bwMode="gray">
          <a:xfrm>
            <a:off x="28404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7" name="Text">
            <a:extLst>
              <a:ext uri="{FF2B5EF4-FFF2-40B4-BE49-F238E27FC236}">
                <a16:creationId xmlns:a16="http://schemas.microsoft.com/office/drawing/2014/main" id="{047E2E09-20FB-45EA-908F-8E846C5E3DB7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51408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8" name="Text">
            <a:extLst>
              <a:ext uri="{FF2B5EF4-FFF2-40B4-BE49-F238E27FC236}">
                <a16:creationId xmlns:a16="http://schemas.microsoft.com/office/drawing/2014/main" id="{382DFAF6-1140-4DB1-BA07-D4355A5782BD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 bwMode="gray">
          <a:xfrm>
            <a:off x="74412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9" name="Text">
            <a:extLst>
              <a:ext uri="{FF2B5EF4-FFF2-40B4-BE49-F238E27FC236}">
                <a16:creationId xmlns:a16="http://schemas.microsoft.com/office/drawing/2014/main" id="{6D0835F0-C127-4EA9-8620-6BDC9F4EDB42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 bwMode="gray">
          <a:xfrm>
            <a:off x="9741600" y="3316062"/>
            <a:ext cx="1908000" cy="1908000"/>
          </a:xfrm>
          <a:prstGeom prst="rect">
            <a:avLst/>
          </a:prstGeom>
          <a:noFill/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541337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 2">
            <a:extLst>
              <a:ext uri="{FF2B5EF4-FFF2-40B4-BE49-F238E27FC236}">
                <a16:creationId xmlns:a16="http://schemas.microsoft.com/office/drawing/2014/main" id="{056585AD-BE4A-45E5-B743-D1AAD646B7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841403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 3">
            <a:extLst>
              <a:ext uri="{FF2B5EF4-FFF2-40B4-BE49-F238E27FC236}">
                <a16:creationId xmlns:a16="http://schemas.microsoft.com/office/drawing/2014/main" id="{CC65B678-D15E-4226-A0C4-8A0311FB67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5141469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 4">
            <a:extLst>
              <a:ext uri="{FF2B5EF4-FFF2-40B4-BE49-F238E27FC236}">
                <a16:creationId xmlns:a16="http://schemas.microsoft.com/office/drawing/2014/main" id="{6DC9A36B-B757-4910-AE6B-F24CC93D5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>
          <a:xfrm>
            <a:off x="7441535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 5">
            <a:extLst>
              <a:ext uri="{FF2B5EF4-FFF2-40B4-BE49-F238E27FC236}">
                <a16:creationId xmlns:a16="http://schemas.microsoft.com/office/drawing/2014/main" id="{12A4ECE6-A95E-4BEE-93A3-2D319FB5E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 bwMode="gray">
          <a:xfrm>
            <a:off x="9741600" y="4428982"/>
            <a:ext cx="1908000" cy="801424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oliennummer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Datum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3" name="Fußzeile">
            <a:extLst>
              <a:ext uri="{FF2B5EF4-FFF2-40B4-BE49-F238E27FC236}">
                <a16:creationId xmlns:a16="http://schemas.microsoft.com/office/drawing/2014/main" id="{3C1C7C95-AD6C-42C4-95B6-BA8671C37F9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 bwMode="gray">
          <a:xfrm>
            <a:off x="2186100" y="6300000"/>
            <a:ext cx="7555500" cy="360000"/>
          </a:xfrm>
        </p:spPr>
        <p:txBody>
          <a:bodyPr/>
          <a:lstStyle/>
          <a:p>
            <a:r>
              <a:rPr lang="de-DE"/>
              <a:t>Vorstellung E-Rezept KV Sachsen</a:t>
            </a:r>
          </a:p>
        </p:txBody>
      </p:sp>
    </p:spTree>
    <p:extLst>
      <p:ext uri="{BB962C8B-B14F-4D97-AF65-F5344CB8AC3E}">
        <p14:creationId xmlns:p14="http://schemas.microsoft.com/office/powerpoint/2010/main" val="354112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Zitat">
    <p:bg bwMode="lt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">
            <a:extLst>
              <a:ext uri="{FF2B5EF4-FFF2-40B4-BE49-F238E27FC236}">
                <a16:creationId xmlns:a16="http://schemas.microsoft.com/office/drawing/2014/main" id="{CA60EB77-AF1F-483A-A3D7-2A86D530FFA3}"/>
              </a:ext>
            </a:extLst>
          </p:cNvPr>
          <p:cNvSpPr>
            <a:spLocks noGrp="1"/>
          </p:cNvSpPr>
          <p:nvPr>
            <p:ph sz="quarter" idx="13"/>
          </p:nvPr>
        </p:nvSpPr>
        <p:spPr bwMode="gray">
          <a:xfrm>
            <a:off x="1392072" y="1511300"/>
            <a:ext cx="10255416" cy="429895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80000"/>
              </a:lnSpc>
              <a:buNone/>
              <a:defRPr sz="9600" b="1">
                <a:solidFill>
                  <a:schemeClr val="bg1"/>
                </a:solidFill>
              </a:defRPr>
            </a:lvl1pPr>
            <a:lvl2pPr marL="450000" indent="0" algn="l">
              <a:buNone/>
              <a:defRPr sz="9600" b="1"/>
            </a:lvl2pPr>
            <a:lvl3pPr marL="810000" indent="0" algn="l">
              <a:buNone/>
              <a:defRPr sz="9600" b="1"/>
            </a:lvl3pPr>
            <a:lvl4pPr marL="1170000" indent="0" algn="l">
              <a:buNone/>
              <a:defRPr sz="9600" b="1"/>
            </a:lvl4pPr>
            <a:lvl5pPr marL="1530000" indent="0" algn="l">
              <a:buNone/>
              <a:defRPr sz="9600" b="1"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Form">
            <a:extLst>
              <a:ext uri="{FF2B5EF4-FFF2-40B4-BE49-F238E27FC236}">
                <a16:creationId xmlns:a16="http://schemas.microsoft.com/office/drawing/2014/main" id="{270A7CFB-CCD3-4981-8A06-B30F0947B1D8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542925" y="2229324"/>
            <a:ext cx="720000" cy="541208"/>
          </a:xfrm>
          <a:custGeom>
            <a:avLst/>
            <a:gdLst>
              <a:gd name="connsiteX0" fmla="*/ 392795 w 805410"/>
              <a:gd name="connsiteY0" fmla="*/ 109911 h 605409"/>
              <a:gd name="connsiteX1" fmla="*/ 389192 w 805410"/>
              <a:gd name="connsiteY1" fmla="*/ 183785 h 605409"/>
              <a:gd name="connsiteX2" fmla="*/ 376579 w 805410"/>
              <a:gd name="connsiteY2" fmla="*/ 248650 h 605409"/>
              <a:gd name="connsiteX3" fmla="*/ 353155 w 805410"/>
              <a:gd name="connsiteY3" fmla="*/ 308110 h 605409"/>
              <a:gd name="connsiteX4" fmla="*/ 318921 w 805410"/>
              <a:gd name="connsiteY4" fmla="*/ 365768 h 605409"/>
              <a:gd name="connsiteX5" fmla="*/ 183785 w 805410"/>
              <a:gd name="connsiteY5" fmla="*/ 567571 h 605409"/>
              <a:gd name="connsiteX6" fmla="*/ 169370 w 805410"/>
              <a:gd name="connsiteY6" fmla="*/ 585589 h 605409"/>
              <a:gd name="connsiteX7" fmla="*/ 147749 w 805410"/>
              <a:gd name="connsiteY7" fmla="*/ 596400 h 605409"/>
              <a:gd name="connsiteX8" fmla="*/ 118920 w 805410"/>
              <a:gd name="connsiteY8" fmla="*/ 603607 h 605409"/>
              <a:gd name="connsiteX9" fmla="*/ 79280 w 805410"/>
              <a:gd name="connsiteY9" fmla="*/ 605409 h 605409"/>
              <a:gd name="connsiteX10" fmla="*/ 34234 w 805410"/>
              <a:gd name="connsiteY10" fmla="*/ 603607 h 605409"/>
              <a:gd name="connsiteX11" fmla="*/ 9009 w 805410"/>
              <a:gd name="connsiteY11" fmla="*/ 596400 h 605409"/>
              <a:gd name="connsiteX12" fmla="*/ 0 w 805410"/>
              <a:gd name="connsiteY12" fmla="*/ 581986 h 605409"/>
              <a:gd name="connsiteX13" fmla="*/ 5405 w 805410"/>
              <a:gd name="connsiteY13" fmla="*/ 562166 h 605409"/>
              <a:gd name="connsiteX14" fmla="*/ 129731 w 805410"/>
              <a:gd name="connsiteY14" fmla="*/ 273876 h 605409"/>
              <a:gd name="connsiteX15" fmla="*/ 129731 w 805410"/>
              <a:gd name="connsiteY15" fmla="*/ 109911 h 605409"/>
              <a:gd name="connsiteX16" fmla="*/ 136938 w 805410"/>
              <a:gd name="connsiteY16" fmla="*/ 52253 h 605409"/>
              <a:gd name="connsiteX17" fmla="*/ 160361 w 805410"/>
              <a:gd name="connsiteY17" fmla="*/ 19820 h 605409"/>
              <a:gd name="connsiteX18" fmla="*/ 201803 w 805410"/>
              <a:gd name="connsiteY18" fmla="*/ 5405 h 605409"/>
              <a:gd name="connsiteX19" fmla="*/ 263065 w 805410"/>
              <a:gd name="connsiteY19" fmla="*/ 0 h 605409"/>
              <a:gd name="connsiteX20" fmla="*/ 322524 w 805410"/>
              <a:gd name="connsiteY20" fmla="*/ 3604 h 605409"/>
              <a:gd name="connsiteX21" fmla="*/ 362164 w 805410"/>
              <a:gd name="connsiteY21" fmla="*/ 18018 h 605409"/>
              <a:gd name="connsiteX22" fmla="*/ 385588 w 805410"/>
              <a:gd name="connsiteY22" fmla="*/ 50451 h 605409"/>
              <a:gd name="connsiteX23" fmla="*/ 392795 w 805410"/>
              <a:gd name="connsiteY23" fmla="*/ 109911 h 605409"/>
              <a:gd name="connsiteX24" fmla="*/ 805410 w 805410"/>
              <a:gd name="connsiteY24" fmla="*/ 109911 h 605409"/>
              <a:gd name="connsiteX25" fmla="*/ 801807 w 805410"/>
              <a:gd name="connsiteY25" fmla="*/ 183785 h 605409"/>
              <a:gd name="connsiteX26" fmla="*/ 790996 w 805410"/>
              <a:gd name="connsiteY26" fmla="*/ 248650 h 605409"/>
              <a:gd name="connsiteX27" fmla="*/ 767572 w 805410"/>
              <a:gd name="connsiteY27" fmla="*/ 308110 h 605409"/>
              <a:gd name="connsiteX28" fmla="*/ 733338 w 805410"/>
              <a:gd name="connsiteY28" fmla="*/ 365768 h 605409"/>
              <a:gd name="connsiteX29" fmla="*/ 598202 w 805410"/>
              <a:gd name="connsiteY29" fmla="*/ 567571 h 605409"/>
              <a:gd name="connsiteX30" fmla="*/ 583787 w 805410"/>
              <a:gd name="connsiteY30" fmla="*/ 585589 h 605409"/>
              <a:gd name="connsiteX31" fmla="*/ 562166 w 805410"/>
              <a:gd name="connsiteY31" fmla="*/ 596400 h 605409"/>
              <a:gd name="connsiteX32" fmla="*/ 533337 w 805410"/>
              <a:gd name="connsiteY32" fmla="*/ 603607 h 605409"/>
              <a:gd name="connsiteX33" fmla="*/ 491895 w 805410"/>
              <a:gd name="connsiteY33" fmla="*/ 605409 h 605409"/>
              <a:gd name="connsiteX34" fmla="*/ 446850 w 805410"/>
              <a:gd name="connsiteY34" fmla="*/ 603607 h 605409"/>
              <a:gd name="connsiteX35" fmla="*/ 423426 w 805410"/>
              <a:gd name="connsiteY35" fmla="*/ 596400 h 605409"/>
              <a:gd name="connsiteX36" fmla="*/ 414417 w 805410"/>
              <a:gd name="connsiteY36" fmla="*/ 581986 h 605409"/>
              <a:gd name="connsiteX37" fmla="*/ 418021 w 805410"/>
              <a:gd name="connsiteY37" fmla="*/ 562166 h 605409"/>
              <a:gd name="connsiteX38" fmla="*/ 542346 w 805410"/>
              <a:gd name="connsiteY38" fmla="*/ 273876 h 605409"/>
              <a:gd name="connsiteX39" fmla="*/ 542346 w 805410"/>
              <a:gd name="connsiteY39" fmla="*/ 109911 h 605409"/>
              <a:gd name="connsiteX40" fmla="*/ 549553 w 805410"/>
              <a:gd name="connsiteY40" fmla="*/ 52253 h 605409"/>
              <a:gd name="connsiteX41" fmla="*/ 572976 w 805410"/>
              <a:gd name="connsiteY41" fmla="*/ 19820 h 605409"/>
              <a:gd name="connsiteX42" fmla="*/ 614418 w 805410"/>
              <a:gd name="connsiteY42" fmla="*/ 5405 h 605409"/>
              <a:gd name="connsiteX43" fmla="*/ 677482 w 805410"/>
              <a:gd name="connsiteY43" fmla="*/ 0 h 605409"/>
              <a:gd name="connsiteX44" fmla="*/ 736941 w 805410"/>
              <a:gd name="connsiteY44" fmla="*/ 3604 h 605409"/>
              <a:gd name="connsiteX45" fmla="*/ 776581 w 805410"/>
              <a:gd name="connsiteY45" fmla="*/ 18018 h 605409"/>
              <a:gd name="connsiteX46" fmla="*/ 800005 w 805410"/>
              <a:gd name="connsiteY46" fmla="*/ 50451 h 605409"/>
              <a:gd name="connsiteX47" fmla="*/ 805410 w 805410"/>
              <a:gd name="connsiteY47" fmla="*/ 109911 h 605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05410" h="605409">
                <a:moveTo>
                  <a:pt x="392795" y="109911"/>
                </a:moveTo>
                <a:cubicBezTo>
                  <a:pt x="392795" y="136938"/>
                  <a:pt x="390993" y="162163"/>
                  <a:pt x="389192" y="183785"/>
                </a:cubicBezTo>
                <a:cubicBezTo>
                  <a:pt x="387390" y="205407"/>
                  <a:pt x="381984" y="228830"/>
                  <a:pt x="376579" y="248650"/>
                </a:cubicBezTo>
                <a:cubicBezTo>
                  <a:pt x="371173" y="268470"/>
                  <a:pt x="363966" y="288290"/>
                  <a:pt x="353155" y="308110"/>
                </a:cubicBezTo>
                <a:cubicBezTo>
                  <a:pt x="342344" y="327930"/>
                  <a:pt x="333335" y="345948"/>
                  <a:pt x="318921" y="365768"/>
                </a:cubicBezTo>
                <a:lnTo>
                  <a:pt x="183785" y="567571"/>
                </a:lnTo>
                <a:cubicBezTo>
                  <a:pt x="180181" y="574778"/>
                  <a:pt x="174776" y="580184"/>
                  <a:pt x="169370" y="585589"/>
                </a:cubicBezTo>
                <a:cubicBezTo>
                  <a:pt x="163965" y="590995"/>
                  <a:pt x="156758" y="594598"/>
                  <a:pt x="147749" y="596400"/>
                </a:cubicBezTo>
                <a:cubicBezTo>
                  <a:pt x="138740" y="598202"/>
                  <a:pt x="129731" y="601806"/>
                  <a:pt x="118920" y="603607"/>
                </a:cubicBezTo>
                <a:cubicBezTo>
                  <a:pt x="108109" y="605409"/>
                  <a:pt x="95496" y="605409"/>
                  <a:pt x="79280" y="605409"/>
                </a:cubicBezTo>
                <a:cubicBezTo>
                  <a:pt x="61262" y="605409"/>
                  <a:pt x="46847" y="605409"/>
                  <a:pt x="34234" y="603607"/>
                </a:cubicBezTo>
                <a:cubicBezTo>
                  <a:pt x="21622" y="601806"/>
                  <a:pt x="14415" y="600004"/>
                  <a:pt x="9009" y="596400"/>
                </a:cubicBezTo>
                <a:cubicBezTo>
                  <a:pt x="3604" y="592797"/>
                  <a:pt x="0" y="587391"/>
                  <a:pt x="0" y="581986"/>
                </a:cubicBezTo>
                <a:cubicBezTo>
                  <a:pt x="0" y="576580"/>
                  <a:pt x="1802" y="569373"/>
                  <a:pt x="5405" y="562166"/>
                </a:cubicBezTo>
                <a:lnTo>
                  <a:pt x="129731" y="273876"/>
                </a:lnTo>
                <a:lnTo>
                  <a:pt x="129731" y="109911"/>
                </a:lnTo>
                <a:cubicBezTo>
                  <a:pt x="129731" y="86487"/>
                  <a:pt x="131532" y="66667"/>
                  <a:pt x="136938" y="52253"/>
                </a:cubicBezTo>
                <a:cubicBezTo>
                  <a:pt x="142343" y="37838"/>
                  <a:pt x="149550" y="27027"/>
                  <a:pt x="160361" y="19820"/>
                </a:cubicBezTo>
                <a:cubicBezTo>
                  <a:pt x="171172" y="12613"/>
                  <a:pt x="185587" y="7207"/>
                  <a:pt x="201803" y="5405"/>
                </a:cubicBezTo>
                <a:cubicBezTo>
                  <a:pt x="218019" y="3604"/>
                  <a:pt x="239641" y="0"/>
                  <a:pt x="263065" y="0"/>
                </a:cubicBezTo>
                <a:cubicBezTo>
                  <a:pt x="286488" y="0"/>
                  <a:pt x="306308" y="1802"/>
                  <a:pt x="322524" y="3604"/>
                </a:cubicBezTo>
                <a:cubicBezTo>
                  <a:pt x="338741" y="5405"/>
                  <a:pt x="351353" y="10811"/>
                  <a:pt x="362164" y="18018"/>
                </a:cubicBezTo>
                <a:cubicBezTo>
                  <a:pt x="372975" y="25225"/>
                  <a:pt x="380182" y="36036"/>
                  <a:pt x="385588" y="50451"/>
                </a:cubicBezTo>
                <a:cubicBezTo>
                  <a:pt x="390993" y="64865"/>
                  <a:pt x="392795" y="86487"/>
                  <a:pt x="392795" y="109911"/>
                </a:cubicBezTo>
                <a:close/>
                <a:moveTo>
                  <a:pt x="805410" y="109911"/>
                </a:moveTo>
                <a:cubicBezTo>
                  <a:pt x="805410" y="136938"/>
                  <a:pt x="803608" y="162163"/>
                  <a:pt x="801807" y="183785"/>
                </a:cubicBezTo>
                <a:cubicBezTo>
                  <a:pt x="800005" y="205407"/>
                  <a:pt x="796401" y="228830"/>
                  <a:pt x="790996" y="248650"/>
                </a:cubicBezTo>
                <a:cubicBezTo>
                  <a:pt x="785590" y="268470"/>
                  <a:pt x="776581" y="288290"/>
                  <a:pt x="767572" y="308110"/>
                </a:cubicBezTo>
                <a:cubicBezTo>
                  <a:pt x="758563" y="327930"/>
                  <a:pt x="747752" y="345948"/>
                  <a:pt x="733338" y="365768"/>
                </a:cubicBezTo>
                <a:lnTo>
                  <a:pt x="598202" y="567571"/>
                </a:lnTo>
                <a:cubicBezTo>
                  <a:pt x="592796" y="574778"/>
                  <a:pt x="587391" y="580184"/>
                  <a:pt x="583787" y="585589"/>
                </a:cubicBezTo>
                <a:cubicBezTo>
                  <a:pt x="580184" y="590995"/>
                  <a:pt x="571175" y="594598"/>
                  <a:pt x="562166" y="596400"/>
                </a:cubicBezTo>
                <a:cubicBezTo>
                  <a:pt x="553156" y="598202"/>
                  <a:pt x="544147" y="601806"/>
                  <a:pt x="533337" y="603607"/>
                </a:cubicBezTo>
                <a:cubicBezTo>
                  <a:pt x="522526" y="605409"/>
                  <a:pt x="508111" y="605409"/>
                  <a:pt x="491895" y="605409"/>
                </a:cubicBezTo>
                <a:cubicBezTo>
                  <a:pt x="473877" y="605409"/>
                  <a:pt x="459462" y="605409"/>
                  <a:pt x="446850" y="603607"/>
                </a:cubicBezTo>
                <a:cubicBezTo>
                  <a:pt x="434237" y="601806"/>
                  <a:pt x="428831" y="600004"/>
                  <a:pt x="423426" y="596400"/>
                </a:cubicBezTo>
                <a:cubicBezTo>
                  <a:pt x="418021" y="592797"/>
                  <a:pt x="414417" y="587391"/>
                  <a:pt x="414417" y="581986"/>
                </a:cubicBezTo>
                <a:cubicBezTo>
                  <a:pt x="414417" y="576580"/>
                  <a:pt x="414417" y="569373"/>
                  <a:pt x="418021" y="562166"/>
                </a:cubicBezTo>
                <a:lnTo>
                  <a:pt x="542346" y="273876"/>
                </a:lnTo>
                <a:lnTo>
                  <a:pt x="542346" y="109911"/>
                </a:lnTo>
                <a:cubicBezTo>
                  <a:pt x="542346" y="86487"/>
                  <a:pt x="544147" y="66667"/>
                  <a:pt x="549553" y="52253"/>
                </a:cubicBezTo>
                <a:cubicBezTo>
                  <a:pt x="554958" y="37838"/>
                  <a:pt x="562166" y="27027"/>
                  <a:pt x="572976" y="19820"/>
                </a:cubicBezTo>
                <a:cubicBezTo>
                  <a:pt x="583787" y="12613"/>
                  <a:pt x="598202" y="7207"/>
                  <a:pt x="614418" y="5405"/>
                </a:cubicBezTo>
                <a:cubicBezTo>
                  <a:pt x="630634" y="3604"/>
                  <a:pt x="654058" y="0"/>
                  <a:pt x="677482" y="0"/>
                </a:cubicBezTo>
                <a:cubicBezTo>
                  <a:pt x="700905" y="0"/>
                  <a:pt x="720725" y="1802"/>
                  <a:pt x="736941" y="3604"/>
                </a:cubicBezTo>
                <a:cubicBezTo>
                  <a:pt x="753158" y="7207"/>
                  <a:pt x="765770" y="10811"/>
                  <a:pt x="776581" y="18018"/>
                </a:cubicBezTo>
                <a:cubicBezTo>
                  <a:pt x="787392" y="25225"/>
                  <a:pt x="794599" y="36036"/>
                  <a:pt x="800005" y="50451"/>
                </a:cubicBezTo>
                <a:cubicBezTo>
                  <a:pt x="805410" y="64865"/>
                  <a:pt x="805410" y="86487"/>
                  <a:pt x="805410" y="109911"/>
                </a:cubicBezTo>
                <a:close/>
              </a:path>
            </a:pathLst>
          </a:custGeom>
          <a:solidFill>
            <a:schemeClr val="bg1"/>
          </a:solidFill>
          <a:ln w="178594" cap="flat">
            <a:noFill/>
            <a:prstDash val="solid"/>
            <a:miter/>
          </a:ln>
        </p:spPr>
        <p:txBody>
          <a:bodyPr lIns="0" tIns="0" rIns="0" bIns="0" rtlCol="0" anchor="ctr"/>
          <a:lstStyle/>
          <a:p>
            <a:endParaRPr lang="de-DE" noProof="0"/>
          </a:p>
        </p:txBody>
      </p:sp>
      <p:sp>
        <p:nvSpPr>
          <p:cNvPr id="12" name="Foliennummer">
            <a:extLst>
              <a:ext uri="{FF2B5EF4-FFF2-40B4-BE49-F238E27FC236}">
                <a16:creationId xmlns:a16="http://schemas.microsoft.com/office/drawing/2014/main" id="{A326A4F2-777D-4195-9351-3B9DF3F17E6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02CEFE82-39F2-4F47-8A0C-D5AB3496FA5C}" type="slidenum">
              <a:rPr lang="de-DE" noProof="0" smtClean="0"/>
              <a:pPr/>
              <a:t>‹Nr.›</a:t>
            </a:fld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1168752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442B5078-53A4-4F30-9CDA-FB2195F2B5A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0413" cy="3821202"/>
          </a:xfrm>
          <a:custGeom>
            <a:avLst/>
            <a:gdLst>
              <a:gd name="connsiteX0" fmla="*/ 0 w 12190413"/>
              <a:gd name="connsiteY0" fmla="*/ 0 h 3821202"/>
              <a:gd name="connsiteX1" fmla="*/ 12190413 w 12190413"/>
              <a:gd name="connsiteY1" fmla="*/ 0 h 3821202"/>
              <a:gd name="connsiteX2" fmla="*/ 12190413 w 12190413"/>
              <a:gd name="connsiteY2" fmla="*/ 3821202 h 3821202"/>
              <a:gd name="connsiteX3" fmla="*/ 10690162 w 12190413"/>
              <a:gd name="connsiteY3" fmla="*/ 3821202 h 3821202"/>
              <a:gd name="connsiteX4" fmla="*/ 10642943 w 12190413"/>
              <a:gd name="connsiteY4" fmla="*/ 3761233 h 3821202"/>
              <a:gd name="connsiteX5" fmla="*/ 9961809 w 12190413"/>
              <a:gd name="connsiteY5" fmla="*/ 3447111 h 3821202"/>
              <a:gd name="connsiteX6" fmla="*/ 9278328 w 12190413"/>
              <a:gd name="connsiteY6" fmla="*/ 3756478 h 3821202"/>
              <a:gd name="connsiteX7" fmla="*/ 9226686 w 12190413"/>
              <a:gd name="connsiteY7" fmla="*/ 3821202 h 3821202"/>
              <a:gd name="connsiteX8" fmla="*/ 0 w 12190413"/>
              <a:gd name="connsiteY8" fmla="*/ 3821202 h 3821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3821202">
                <a:moveTo>
                  <a:pt x="0" y="0"/>
                </a:moveTo>
                <a:lnTo>
                  <a:pt x="12190413" y="0"/>
                </a:lnTo>
                <a:lnTo>
                  <a:pt x="12190413" y="3821202"/>
                </a:lnTo>
                <a:lnTo>
                  <a:pt x="10690162" y="3821202"/>
                </a:lnTo>
                <a:lnTo>
                  <a:pt x="10642943" y="3761233"/>
                </a:lnTo>
                <a:cubicBezTo>
                  <a:pt x="10467138" y="3562880"/>
                  <a:pt x="10221310" y="3448078"/>
                  <a:pt x="9961809" y="3447111"/>
                </a:cubicBezTo>
                <a:cubicBezTo>
                  <a:pt x="9702156" y="3446144"/>
                  <a:pt x="9455451" y="3559243"/>
                  <a:pt x="9278328" y="3756478"/>
                </a:cubicBezTo>
                <a:lnTo>
                  <a:pt x="9226686" y="3821202"/>
                </a:lnTo>
                <a:lnTo>
                  <a:pt x="0" y="38212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tIns="252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Bild</a:t>
            </a:r>
          </a:p>
        </p:txBody>
      </p:sp>
      <p:pic>
        <p:nvPicPr>
          <p:cNvPr id="31" name="Bildplatzhalter 6">
            <a:extLst>
              <a:ext uri="{FF2B5EF4-FFF2-40B4-BE49-F238E27FC236}">
                <a16:creationId xmlns:a16="http://schemas.microsoft.com/office/drawing/2014/main" id="{8CE5B620-2114-4404-B93F-8C965CD4C1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59" r="59"/>
          <a:stretch>
            <a:fillRect/>
          </a:stretch>
        </p:blipFill>
        <p:spPr bwMode="gray">
          <a:xfrm>
            <a:off x="9310845" y="3718061"/>
            <a:ext cx="2329984" cy="1259376"/>
          </a:xfrm>
          <a:prstGeom prst="rect">
            <a:avLst/>
          </a:prstGeom>
        </p:spPr>
      </p:pic>
      <p:sp>
        <p:nvSpPr>
          <p:cNvPr id="40" name="Titel">
            <a:extLst>
              <a:ext uri="{FF2B5EF4-FFF2-40B4-BE49-F238E27FC236}">
                <a16:creationId xmlns:a16="http://schemas.microsoft.com/office/drawing/2014/main" id="{75ABC739-D32D-4810-88C2-2A5A75290B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540000" y="4427875"/>
            <a:ext cx="8465778" cy="1026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4000" b="1"/>
            </a:lvl1pPr>
          </a:lstStyle>
          <a:p>
            <a:r>
              <a:rPr lang="de-DE" noProof="0"/>
              <a:t>Titelmasterformat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43" name="Text 1">
            <a:extLst>
              <a:ext uri="{FF2B5EF4-FFF2-40B4-BE49-F238E27FC236}">
                <a16:creationId xmlns:a16="http://schemas.microsoft.com/office/drawing/2014/main" id="{3D6A4683-CE5B-46A5-9FDC-0498CCF1E340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40000" y="5580399"/>
            <a:ext cx="8464168" cy="323851"/>
          </a:xfrm>
        </p:spPr>
        <p:txBody>
          <a:bodyPr anchor="ctr"/>
          <a:lstStyle>
            <a:lvl1pPr marL="0" indent="0" algn="l"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0758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Bildplatzhalter 40">
            <a:extLst>
              <a:ext uri="{FF2B5EF4-FFF2-40B4-BE49-F238E27FC236}">
                <a16:creationId xmlns:a16="http://schemas.microsoft.com/office/drawing/2014/main" id="{3ADC44DB-34C5-4986-9F2E-2C3119256CF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 bwMode="gray">
          <a:xfrm>
            <a:off x="0" y="-2"/>
            <a:ext cx="12190413" cy="6090146"/>
          </a:xfrm>
          <a:custGeom>
            <a:avLst/>
            <a:gdLst>
              <a:gd name="connsiteX0" fmla="*/ 0 w 12190413"/>
              <a:gd name="connsiteY0" fmla="*/ 0 h 6090146"/>
              <a:gd name="connsiteX1" fmla="*/ 12190413 w 12190413"/>
              <a:gd name="connsiteY1" fmla="*/ 0 h 6090146"/>
              <a:gd name="connsiteX2" fmla="*/ 12190413 w 12190413"/>
              <a:gd name="connsiteY2" fmla="*/ 6090146 h 6090146"/>
              <a:gd name="connsiteX3" fmla="*/ 11205891 w 12190413"/>
              <a:gd name="connsiteY3" fmla="*/ 6090146 h 6090146"/>
              <a:gd name="connsiteX4" fmla="*/ 11165943 w 12190413"/>
              <a:gd name="connsiteY4" fmla="*/ 6041729 h 6090146"/>
              <a:gd name="connsiteX5" fmla="*/ 10780976 w 12190413"/>
              <a:gd name="connsiteY5" fmla="*/ 5882270 h 6090146"/>
              <a:gd name="connsiteX6" fmla="*/ 10396009 w 12190413"/>
              <a:gd name="connsiteY6" fmla="*/ 6041729 h 6090146"/>
              <a:gd name="connsiteX7" fmla="*/ 10356061 w 12190413"/>
              <a:gd name="connsiteY7" fmla="*/ 6090146 h 6090146"/>
              <a:gd name="connsiteX8" fmla="*/ 0 w 12190413"/>
              <a:gd name="connsiteY8" fmla="*/ 6090146 h 609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0413" h="6090146">
                <a:moveTo>
                  <a:pt x="0" y="0"/>
                </a:moveTo>
                <a:lnTo>
                  <a:pt x="12190413" y="0"/>
                </a:lnTo>
                <a:lnTo>
                  <a:pt x="12190413" y="6090146"/>
                </a:lnTo>
                <a:lnTo>
                  <a:pt x="11205891" y="6090146"/>
                </a:lnTo>
                <a:lnTo>
                  <a:pt x="11165943" y="6041729"/>
                </a:lnTo>
                <a:cubicBezTo>
                  <a:pt x="11067421" y="5943207"/>
                  <a:pt x="10931315" y="5882270"/>
                  <a:pt x="10780976" y="5882270"/>
                </a:cubicBezTo>
                <a:cubicBezTo>
                  <a:pt x="10630637" y="5882270"/>
                  <a:pt x="10494531" y="5943207"/>
                  <a:pt x="10396009" y="6041729"/>
                </a:cubicBezTo>
                <a:lnTo>
                  <a:pt x="10356061" y="6090146"/>
                </a:lnTo>
                <a:lnTo>
                  <a:pt x="0" y="60901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144000" tIns="144000" rIns="144000" bIns="144000">
            <a:noAutofit/>
          </a:bodyPr>
          <a:lstStyle>
            <a:lvl1pPr marL="0" indent="0">
              <a:buNone/>
              <a:defRPr/>
            </a:lvl1pPr>
          </a:lstStyle>
          <a:p>
            <a:r>
              <a:rPr lang="de-DE" noProof="0"/>
              <a:t>Bild</a:t>
            </a:r>
          </a:p>
        </p:txBody>
      </p:sp>
      <p:sp>
        <p:nvSpPr>
          <p:cNvPr id="35" name="Textplatzhalter 16">
            <a:extLst>
              <a:ext uri="{FF2B5EF4-FFF2-40B4-BE49-F238E27FC236}">
                <a16:creationId xmlns:a16="http://schemas.microsoft.com/office/drawing/2014/main" id="{649BD223-79E2-483D-8580-C25ACB282A4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5928" y="3316062"/>
            <a:ext cx="1914344" cy="1914344"/>
          </a:xfrm>
          <a:prstGeom prst="ellipse">
            <a:avLst/>
          </a:prstGeom>
          <a:solidFill>
            <a:schemeClr val="accent1"/>
          </a:solidFill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6" name="Textplatzhalter 16">
            <a:extLst>
              <a:ext uri="{FF2B5EF4-FFF2-40B4-BE49-F238E27FC236}">
                <a16:creationId xmlns:a16="http://schemas.microsoft.com/office/drawing/2014/main" id="{A6A55C99-A5B8-4FC7-858A-4806CC49775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831104" y="3316062"/>
            <a:ext cx="1914344" cy="1914344"/>
          </a:xfrm>
          <a:prstGeom prst="ellipse">
            <a:avLst/>
          </a:prstGeom>
          <a:solidFill>
            <a:schemeClr val="accent1"/>
          </a:solidFill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7" name="Textplatzhalter 16">
            <a:extLst>
              <a:ext uri="{FF2B5EF4-FFF2-40B4-BE49-F238E27FC236}">
                <a16:creationId xmlns:a16="http://schemas.microsoft.com/office/drawing/2014/main" id="{047E2E09-20FB-45EA-908F-8E846C5E3DB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126280" y="3316062"/>
            <a:ext cx="1914344" cy="1914344"/>
          </a:xfrm>
          <a:prstGeom prst="ellipse">
            <a:avLst/>
          </a:prstGeom>
          <a:solidFill>
            <a:schemeClr val="accent1"/>
          </a:solidFill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8" name="Textplatzhalter 16">
            <a:extLst>
              <a:ext uri="{FF2B5EF4-FFF2-40B4-BE49-F238E27FC236}">
                <a16:creationId xmlns:a16="http://schemas.microsoft.com/office/drawing/2014/main" id="{382DFAF6-1140-4DB1-BA07-D4355A5782B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421456" y="3316062"/>
            <a:ext cx="1914344" cy="1914344"/>
          </a:xfrm>
          <a:prstGeom prst="ellipse">
            <a:avLst/>
          </a:prstGeom>
          <a:solidFill>
            <a:schemeClr val="accent1"/>
          </a:solidFill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39" name="Textplatzhalter 16">
            <a:extLst>
              <a:ext uri="{FF2B5EF4-FFF2-40B4-BE49-F238E27FC236}">
                <a16:creationId xmlns:a16="http://schemas.microsoft.com/office/drawing/2014/main" id="{6D0835F0-C127-4EA9-8620-6BDC9F4EDB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716631" y="3316062"/>
            <a:ext cx="1914344" cy="1914344"/>
          </a:xfrm>
          <a:prstGeom prst="ellipse">
            <a:avLst/>
          </a:prstGeom>
          <a:solidFill>
            <a:schemeClr val="accent1"/>
          </a:solidFill>
        </p:spPr>
        <p:txBody>
          <a:bodyPr tIns="180000"/>
          <a:lstStyle>
            <a:lvl1pPr marL="0" indent="0" algn="ctr">
              <a:buNone/>
              <a:defRPr sz="4400" b="1">
                <a:solidFill>
                  <a:schemeClr val="bg2"/>
                </a:solidFill>
              </a:defRPr>
            </a:lvl1pPr>
            <a:lvl2pPr marL="450000" indent="0" algn="ctr">
              <a:buNone/>
              <a:defRPr>
                <a:solidFill>
                  <a:schemeClr val="bg2"/>
                </a:solidFill>
              </a:defRPr>
            </a:lvl2pPr>
            <a:lvl3pPr marL="810000" indent="0" algn="ctr">
              <a:buNone/>
              <a:defRPr>
                <a:solidFill>
                  <a:schemeClr val="bg2"/>
                </a:solidFill>
              </a:defRPr>
            </a:lvl3pPr>
            <a:lvl4pPr marL="1170000" indent="0" algn="ctr">
              <a:buNone/>
              <a:defRPr>
                <a:solidFill>
                  <a:schemeClr val="bg2"/>
                </a:solidFill>
              </a:defRPr>
            </a:lvl4pPr>
            <a:lvl5pPr marL="1530000" indent="0" algn="ctr">
              <a:buNone/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e-DE" err="1"/>
              <a:t>Nr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F44BC5-185B-4186-90D7-2A917264BEC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41337" y="4392070"/>
            <a:ext cx="1926000" cy="80142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CC65B678-D15E-4226-A0C4-8A0311FB67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30619" y="4392070"/>
            <a:ext cx="1926000" cy="80142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56585AD-BE4A-45E5-B743-D1AAD646B7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835978" y="4392070"/>
            <a:ext cx="1926000" cy="80142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12A4ECE6-A95E-4BEE-93A3-2D319FB5E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719900" y="4392070"/>
            <a:ext cx="1926000" cy="80142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6DC9A36B-B757-4910-AE6B-F24CC93D557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425260" y="4392070"/>
            <a:ext cx="1926000" cy="801424"/>
          </a:xfrm>
        </p:spPr>
        <p:txBody>
          <a:bodyPr/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  <a:lvl2pPr marL="271462" indent="0">
              <a:buNone/>
              <a:defRPr>
                <a:solidFill>
                  <a:schemeClr val="bg1"/>
                </a:solidFill>
              </a:defRPr>
            </a:lvl2pPr>
            <a:lvl3pPr marL="533400" indent="0">
              <a:buNone/>
              <a:defRPr>
                <a:solidFill>
                  <a:schemeClr val="bg1"/>
                </a:solidFill>
              </a:defRPr>
            </a:lvl3pPr>
            <a:lvl4pPr marL="806450" indent="0">
              <a:buNone/>
              <a:defRPr>
                <a:solidFill>
                  <a:schemeClr val="bg1"/>
                </a:solidFill>
              </a:defRPr>
            </a:lvl4pPr>
            <a:lvl5pPr marL="1077912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501632-9828-40DF-B28E-8211B9901FC4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C1C7C95-AD6C-42C4-95B6-BA8671C37F90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64F2EEE-3B3D-4990-90C6-CEA433AB2BC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112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41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dkl_bl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FCA8B40-724D-4BA2-BA56-DC873CDD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312622-8050-401C-B46A-894B0E6F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3C1F49-32DA-47D2-B466-1D055DEC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>
                <a:solidFill>
                  <a:schemeClr val="bg2"/>
                </a:solidFill>
              </a:defRPr>
            </a:lvl1pPr>
          </a:lstStyle>
          <a:p>
            <a:r>
              <a:rPr lang="de-DE" noProof="0" err="1"/>
              <a:t>Nr</a:t>
            </a:r>
            <a:endParaRPr lang="de-DE" noProof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540000" y="4634328"/>
            <a:ext cx="8464168" cy="702846"/>
          </a:xfr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CBB2050-78F8-4EEA-8C4A-D7011811A3F1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251883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blau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FCA8B40-724D-4BA2-BA56-DC873CDD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312622-8050-401C-B46A-894B0E6F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3C1F49-32DA-47D2-B466-1D055DEC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>
                <a:solidFill>
                  <a:schemeClr val="bg2"/>
                </a:solidFill>
              </a:defRPr>
            </a:lvl1pPr>
          </a:lstStyle>
          <a:p>
            <a:r>
              <a:rPr lang="de-DE" noProof="0" err="1"/>
              <a:t>Nr</a:t>
            </a:r>
            <a:endParaRPr lang="de-DE" noProof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540000" y="4634328"/>
            <a:ext cx="8464168" cy="702846"/>
          </a:xfr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CBB2050-78F8-4EEA-8C4A-D7011811A3F1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1787726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grü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FCA8B40-724D-4BA2-BA56-DC873CDD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312622-8050-401C-B46A-894B0E6F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3C1F49-32DA-47D2-B466-1D055DEC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>
                <a:solidFill>
                  <a:schemeClr val="bg2"/>
                </a:solidFill>
              </a:defRPr>
            </a:lvl1pPr>
          </a:lstStyle>
          <a:p>
            <a:r>
              <a:rPr lang="de-DE" noProof="0" err="1"/>
              <a:t>Nr</a:t>
            </a:r>
            <a:endParaRPr lang="de-DE" noProof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540000" y="4634328"/>
            <a:ext cx="8464168" cy="702846"/>
          </a:xfr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CBB2050-78F8-4EEA-8C4A-D7011811A3F1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1999542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gel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FCA8B40-724D-4BA2-BA56-DC873CDD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312622-8050-401C-B46A-894B0E6F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3C1F49-32DA-47D2-B466-1D055DEC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>
                <a:solidFill>
                  <a:schemeClr val="bg2"/>
                </a:solidFill>
              </a:defRPr>
            </a:lvl1pPr>
          </a:lstStyle>
          <a:p>
            <a:r>
              <a:rPr lang="de-DE" noProof="0" err="1"/>
              <a:t>Nr</a:t>
            </a:r>
            <a:endParaRPr lang="de-DE" noProof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540000" y="4634328"/>
            <a:ext cx="8464168" cy="702846"/>
          </a:xfr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CBB2050-78F8-4EEA-8C4A-D7011811A3F1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3601902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orang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FCA8B40-724D-4BA2-BA56-DC873CDD987B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312622-8050-401C-B46A-894B0E6F0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Vorstellung E-Rezept KV Sachs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73C1F49-32DA-47D2-B466-1D055DECB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itel">
            <a:extLst>
              <a:ext uri="{FF2B5EF4-FFF2-40B4-BE49-F238E27FC236}">
                <a16:creationId xmlns:a16="http://schemas.microsoft.com/office/drawing/2014/main" id="{D630BB1F-A3F8-4DF0-B393-207CB9F0A7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invGray">
          <a:xfrm>
            <a:off x="540000" y="3343083"/>
            <a:ext cx="8465778" cy="10266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8000" b="1">
                <a:solidFill>
                  <a:schemeClr val="bg2"/>
                </a:solidFill>
              </a:defRPr>
            </a:lvl1pPr>
          </a:lstStyle>
          <a:p>
            <a:r>
              <a:rPr lang="de-DE" noProof="0" err="1"/>
              <a:t>Nr</a:t>
            </a:r>
            <a:endParaRPr lang="de-DE" noProof="0"/>
          </a:p>
        </p:txBody>
      </p:sp>
      <p:sp>
        <p:nvSpPr>
          <p:cNvPr id="7" name="Text 1">
            <a:extLst>
              <a:ext uri="{FF2B5EF4-FFF2-40B4-BE49-F238E27FC236}">
                <a16:creationId xmlns:a16="http://schemas.microsoft.com/office/drawing/2014/main" id="{585C637C-B03B-4AFF-B446-65CE38C5F6B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 bwMode="invGray">
          <a:xfrm>
            <a:off x="540000" y="4634328"/>
            <a:ext cx="8464168" cy="702846"/>
          </a:xfrm>
        </p:spPr>
        <p:txBody>
          <a:bodyPr anchor="t"/>
          <a:lstStyle>
            <a:lvl1pPr marL="0" indent="0" algn="l">
              <a:buFontTx/>
              <a:buNone/>
              <a:defRPr sz="28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  <a:br>
              <a:rPr lang="de-DE" noProof="0"/>
            </a:br>
            <a:r>
              <a:rPr lang="de-DE" noProof="0"/>
              <a:t>zweizeili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8CBB2050-78F8-4EEA-8C4A-D7011811A3F1}"/>
              </a:ext>
            </a:extLst>
          </p:cNvPr>
          <p:cNvSpPr/>
          <p:nvPr userDrawn="1"/>
        </p:nvSpPr>
        <p:spPr bwMode="gray">
          <a:xfrm>
            <a:off x="0" y="6220047"/>
            <a:ext cx="10037135" cy="6379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</p:spTree>
    <p:extLst>
      <p:ext uri="{BB962C8B-B14F-4D97-AF65-F5344CB8AC3E}">
        <p14:creationId xmlns:p14="http://schemas.microsoft.com/office/powerpoint/2010/main" val="3399786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bu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9EB65F8-3908-4752-955D-7387714D5475}"/>
              </a:ext>
            </a:extLst>
          </p:cNvPr>
          <p:cNvSpPr/>
          <p:nvPr userDrawn="1"/>
        </p:nvSpPr>
        <p:spPr>
          <a:xfrm>
            <a:off x="0" y="3624963"/>
            <a:ext cx="6096000" cy="32330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D8486A1-AE9C-427D-A155-2FE2A35A5C29}"/>
              </a:ext>
            </a:extLst>
          </p:cNvPr>
          <p:cNvSpPr/>
          <p:nvPr userDrawn="1"/>
        </p:nvSpPr>
        <p:spPr>
          <a:xfrm>
            <a:off x="0" y="0"/>
            <a:ext cx="6096000" cy="36249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6C90040-CACD-441C-B9B9-6216224CC73D}"/>
              </a:ext>
            </a:extLst>
          </p:cNvPr>
          <p:cNvSpPr/>
          <p:nvPr userDrawn="1"/>
        </p:nvSpPr>
        <p:spPr>
          <a:xfrm>
            <a:off x="6093600" y="0"/>
            <a:ext cx="6096000" cy="3624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8DE2B69-93B5-4779-A0F8-43064CE39E6E}"/>
              </a:ext>
            </a:extLst>
          </p:cNvPr>
          <p:cNvSpPr/>
          <p:nvPr userDrawn="1"/>
        </p:nvSpPr>
        <p:spPr>
          <a:xfrm>
            <a:off x="6093600" y="3624963"/>
            <a:ext cx="6096000" cy="3233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5265377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535824" y="1812481"/>
            <a:ext cx="3114587" cy="1094374"/>
          </a:xfr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535824" y="4396941"/>
            <a:ext cx="3114587" cy="1094374"/>
          </a:xfr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188" y="1812481"/>
            <a:ext cx="3114587" cy="1094374"/>
          </a:xfr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188" y="4396941"/>
            <a:ext cx="3114587" cy="1094374"/>
          </a:xfr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680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ntergrund_bun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CF4EC63E-0745-4E08-BA72-F62B8050042D}"/>
              </a:ext>
            </a:extLst>
          </p:cNvPr>
          <p:cNvSpPr/>
          <p:nvPr userDrawn="1"/>
        </p:nvSpPr>
        <p:spPr>
          <a:xfrm>
            <a:off x="-17253" y="5882268"/>
            <a:ext cx="12207665" cy="207876"/>
          </a:xfrm>
          <a:custGeom>
            <a:avLst/>
            <a:gdLst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975085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975085 h 975085"/>
              <a:gd name="connsiteX7" fmla="*/ 0 w 12207665"/>
              <a:gd name="connsiteY7" fmla="*/ 207876 h 975085"/>
              <a:gd name="connsiteX8" fmla="*/ 10373313 w 12207665"/>
              <a:gd name="connsiteY8" fmla="*/ 207876 h 975085"/>
              <a:gd name="connsiteX9" fmla="*/ 10413261 w 12207665"/>
              <a:gd name="connsiteY9" fmla="*/ 159459 h 975085"/>
              <a:gd name="connsiteX10" fmla="*/ 10798228 w 12207665"/>
              <a:gd name="connsiteY10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6683867 w 12207665"/>
              <a:gd name="connsiteY5" fmla="*/ 972761 h 975085"/>
              <a:gd name="connsiteX6" fmla="*/ 0 w 12207665"/>
              <a:gd name="connsiteY6" fmla="*/ 207876 h 975085"/>
              <a:gd name="connsiteX7" fmla="*/ 10373313 w 12207665"/>
              <a:gd name="connsiteY7" fmla="*/ 207876 h 975085"/>
              <a:gd name="connsiteX8" fmla="*/ 10413261 w 12207665"/>
              <a:gd name="connsiteY8" fmla="*/ 159459 h 975085"/>
              <a:gd name="connsiteX9" fmla="*/ 10798228 w 12207665"/>
              <a:gd name="connsiteY9" fmla="*/ 0 h 975085"/>
              <a:gd name="connsiteX0" fmla="*/ 10798228 w 12207665"/>
              <a:gd name="connsiteY0" fmla="*/ 0 h 975085"/>
              <a:gd name="connsiteX1" fmla="*/ 11183195 w 12207665"/>
              <a:gd name="connsiteY1" fmla="*/ 159459 h 975085"/>
              <a:gd name="connsiteX2" fmla="*/ 11223143 w 12207665"/>
              <a:gd name="connsiteY2" fmla="*/ 207876 h 975085"/>
              <a:gd name="connsiteX3" fmla="*/ 12207665 w 12207665"/>
              <a:gd name="connsiteY3" fmla="*/ 207876 h 975085"/>
              <a:gd name="connsiteX4" fmla="*/ 12207665 w 12207665"/>
              <a:gd name="connsiteY4" fmla="*/ 975085 h 975085"/>
              <a:gd name="connsiteX5" fmla="*/ 0 w 12207665"/>
              <a:gd name="connsiteY5" fmla="*/ 207876 h 975085"/>
              <a:gd name="connsiteX6" fmla="*/ 10373313 w 12207665"/>
              <a:gd name="connsiteY6" fmla="*/ 207876 h 975085"/>
              <a:gd name="connsiteX7" fmla="*/ 10413261 w 12207665"/>
              <a:gd name="connsiteY7" fmla="*/ 159459 h 975085"/>
              <a:gd name="connsiteX8" fmla="*/ 10798228 w 12207665"/>
              <a:gd name="connsiteY8" fmla="*/ 0 h 975085"/>
              <a:gd name="connsiteX0" fmla="*/ 12207665 w 12299105"/>
              <a:gd name="connsiteY0" fmla="*/ 975085 h 1066525"/>
              <a:gd name="connsiteX1" fmla="*/ 0 w 12299105"/>
              <a:gd name="connsiteY1" fmla="*/ 207876 h 1066525"/>
              <a:gd name="connsiteX2" fmla="*/ 10373313 w 12299105"/>
              <a:gd name="connsiteY2" fmla="*/ 207876 h 1066525"/>
              <a:gd name="connsiteX3" fmla="*/ 10413261 w 12299105"/>
              <a:gd name="connsiteY3" fmla="*/ 159459 h 1066525"/>
              <a:gd name="connsiteX4" fmla="*/ 10798228 w 12299105"/>
              <a:gd name="connsiteY4" fmla="*/ 0 h 1066525"/>
              <a:gd name="connsiteX5" fmla="*/ 11183195 w 12299105"/>
              <a:gd name="connsiteY5" fmla="*/ 159459 h 1066525"/>
              <a:gd name="connsiteX6" fmla="*/ 11223143 w 12299105"/>
              <a:gd name="connsiteY6" fmla="*/ 207876 h 1066525"/>
              <a:gd name="connsiteX7" fmla="*/ 12207665 w 12299105"/>
              <a:gd name="connsiteY7" fmla="*/ 207876 h 1066525"/>
              <a:gd name="connsiteX8" fmla="*/ 12299105 w 12299105"/>
              <a:gd name="connsiteY8" fmla="*/ 1066525 h 1066525"/>
              <a:gd name="connsiteX0" fmla="*/ 0 w 12299105"/>
              <a:gd name="connsiteY0" fmla="*/ 207876 h 1066525"/>
              <a:gd name="connsiteX1" fmla="*/ 10373313 w 12299105"/>
              <a:gd name="connsiteY1" fmla="*/ 207876 h 1066525"/>
              <a:gd name="connsiteX2" fmla="*/ 10413261 w 12299105"/>
              <a:gd name="connsiteY2" fmla="*/ 159459 h 1066525"/>
              <a:gd name="connsiteX3" fmla="*/ 10798228 w 12299105"/>
              <a:gd name="connsiteY3" fmla="*/ 0 h 1066525"/>
              <a:gd name="connsiteX4" fmla="*/ 11183195 w 12299105"/>
              <a:gd name="connsiteY4" fmla="*/ 159459 h 1066525"/>
              <a:gd name="connsiteX5" fmla="*/ 11223143 w 12299105"/>
              <a:gd name="connsiteY5" fmla="*/ 207876 h 1066525"/>
              <a:gd name="connsiteX6" fmla="*/ 12207665 w 12299105"/>
              <a:gd name="connsiteY6" fmla="*/ 207876 h 1066525"/>
              <a:gd name="connsiteX7" fmla="*/ 12299105 w 12299105"/>
              <a:gd name="connsiteY7" fmla="*/ 1066525 h 1066525"/>
              <a:gd name="connsiteX0" fmla="*/ 0 w 12207665"/>
              <a:gd name="connsiteY0" fmla="*/ 207876 h 207876"/>
              <a:gd name="connsiteX1" fmla="*/ 10373313 w 12207665"/>
              <a:gd name="connsiteY1" fmla="*/ 207876 h 207876"/>
              <a:gd name="connsiteX2" fmla="*/ 10413261 w 12207665"/>
              <a:gd name="connsiteY2" fmla="*/ 159459 h 207876"/>
              <a:gd name="connsiteX3" fmla="*/ 10798228 w 12207665"/>
              <a:gd name="connsiteY3" fmla="*/ 0 h 207876"/>
              <a:gd name="connsiteX4" fmla="*/ 11183195 w 12207665"/>
              <a:gd name="connsiteY4" fmla="*/ 159459 h 207876"/>
              <a:gd name="connsiteX5" fmla="*/ 11223143 w 12207665"/>
              <a:gd name="connsiteY5" fmla="*/ 207876 h 207876"/>
              <a:gd name="connsiteX6" fmla="*/ 12207665 w 12207665"/>
              <a:gd name="connsiteY6" fmla="*/ 207876 h 207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07665" h="207876">
                <a:moveTo>
                  <a:pt x="0" y="207876"/>
                </a:moveTo>
                <a:lnTo>
                  <a:pt x="10373313" y="207876"/>
                </a:lnTo>
                <a:lnTo>
                  <a:pt x="10413261" y="159459"/>
                </a:lnTo>
                <a:cubicBezTo>
                  <a:pt x="10511783" y="60937"/>
                  <a:pt x="10647889" y="0"/>
                  <a:pt x="10798228" y="0"/>
                </a:cubicBezTo>
                <a:cubicBezTo>
                  <a:pt x="10948567" y="0"/>
                  <a:pt x="11084673" y="60937"/>
                  <a:pt x="11183195" y="159459"/>
                </a:cubicBezTo>
                <a:lnTo>
                  <a:pt x="11223143" y="207876"/>
                </a:lnTo>
                <a:lnTo>
                  <a:pt x="12207665" y="207876"/>
                </a:lnTo>
              </a:path>
            </a:pathLst>
          </a:custGeom>
          <a:noFill/>
          <a:ln w="6350">
            <a:solidFill>
              <a:schemeClr val="bg2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9EB65F8-3908-4752-955D-7387714D5475}"/>
              </a:ext>
            </a:extLst>
          </p:cNvPr>
          <p:cNvSpPr/>
          <p:nvPr userDrawn="1"/>
        </p:nvSpPr>
        <p:spPr>
          <a:xfrm>
            <a:off x="0" y="3624963"/>
            <a:ext cx="6096000" cy="32330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D8486A1-AE9C-427D-A155-2FE2A35A5C29}"/>
              </a:ext>
            </a:extLst>
          </p:cNvPr>
          <p:cNvSpPr/>
          <p:nvPr userDrawn="1"/>
        </p:nvSpPr>
        <p:spPr>
          <a:xfrm>
            <a:off x="0" y="0"/>
            <a:ext cx="6096000" cy="36249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6C90040-CACD-441C-B9B9-6216224CC73D}"/>
              </a:ext>
            </a:extLst>
          </p:cNvPr>
          <p:cNvSpPr/>
          <p:nvPr userDrawn="1"/>
        </p:nvSpPr>
        <p:spPr>
          <a:xfrm>
            <a:off x="6093600" y="0"/>
            <a:ext cx="6096000" cy="362496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8DE2B69-93B5-4779-A0F8-43064CE39E6E}"/>
              </a:ext>
            </a:extLst>
          </p:cNvPr>
          <p:cNvSpPr/>
          <p:nvPr userDrawn="1"/>
        </p:nvSpPr>
        <p:spPr>
          <a:xfrm>
            <a:off x="6093600" y="3624963"/>
            <a:ext cx="6096000" cy="323303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0A92721E-5958-44F7-9016-24D635C557A1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40000" y="432000"/>
            <a:ext cx="5265377" cy="108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C4C849FB-401B-499E-B5DD-446FA1292F0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535824" y="1812481"/>
            <a:ext cx="3114587" cy="1094374"/>
          </a:xfr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A5AF6E24-D7BB-44C9-9906-3EAFA4E9256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535824" y="4396941"/>
            <a:ext cx="3114587" cy="1094374"/>
          </a:xfrm>
        </p:spPr>
        <p:txBody>
          <a:bodyPr lIns="360000" anchor="ctr"/>
          <a:lstStyle>
            <a:lvl1pPr marL="0" indent="0" algn="l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989C76BC-25F1-4BC7-833A-42FD6313A2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39188" y="1812481"/>
            <a:ext cx="3114587" cy="1094374"/>
          </a:xfr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D7A9A7B3-BE93-49A0-BE46-175C10F45B3D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9188" y="4396941"/>
            <a:ext cx="3114587" cy="1094374"/>
          </a:xfrm>
        </p:spPr>
        <p:txBody>
          <a:bodyPr lIns="0" rIns="360000" anchor="ctr"/>
          <a:lstStyle>
            <a:lvl1pPr marL="0" indent="0" algn="r">
              <a:buNone/>
              <a:defRPr lang="de-DE" sz="14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2pPr>
            <a:lvl3pPr marL="81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3pPr>
            <a:lvl4pPr marL="1170000" indent="0" algn="ctr">
              <a:buNone/>
              <a:defRPr lang="de-DE" sz="1400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4pPr>
            <a:lvl5pPr marL="1530000" indent="0" algn="ctr">
              <a:buNone/>
              <a:defRPr lang="de-DE" sz="1400" kern="1200" dirty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Bildplatzhalter 2">
            <a:extLst>
              <a:ext uri="{FF2B5EF4-FFF2-40B4-BE49-F238E27FC236}">
                <a16:creationId xmlns:a16="http://schemas.microsoft.com/office/drawing/2014/main" id="{DD082F3B-4945-4EC2-930E-39872DDDAEB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325937" y="1850191"/>
            <a:ext cx="3551137" cy="3549543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/>
            </a:solidFill>
          </a:ln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2926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26" Type="http://schemas.openxmlformats.org/officeDocument/2006/relationships/slideLayout" Target="../slideLayouts/slideLayout146.xml"/><Relationship Id="rId39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41.xml"/><Relationship Id="rId34" Type="http://schemas.openxmlformats.org/officeDocument/2006/relationships/slideLayout" Target="../slideLayouts/slideLayout154.xml"/><Relationship Id="rId42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2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29" Type="http://schemas.openxmlformats.org/officeDocument/2006/relationships/slideLayout" Target="../slideLayouts/slideLayout149.xml"/><Relationship Id="rId41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24" Type="http://schemas.openxmlformats.org/officeDocument/2006/relationships/slideLayout" Target="../slideLayouts/slideLayout144.xml"/><Relationship Id="rId32" Type="http://schemas.openxmlformats.org/officeDocument/2006/relationships/slideLayout" Target="../slideLayouts/slideLayout152.xml"/><Relationship Id="rId37" Type="http://schemas.openxmlformats.org/officeDocument/2006/relationships/slideLayout" Target="../slideLayouts/slideLayout157.xml"/><Relationship Id="rId40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23" Type="http://schemas.openxmlformats.org/officeDocument/2006/relationships/slideLayout" Target="../slideLayouts/slideLayout143.xml"/><Relationship Id="rId28" Type="http://schemas.openxmlformats.org/officeDocument/2006/relationships/slideLayout" Target="../slideLayouts/slideLayout148.xml"/><Relationship Id="rId36" Type="http://schemas.openxmlformats.org/officeDocument/2006/relationships/slideLayout" Target="../slideLayouts/slideLayout156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31" Type="http://schemas.openxmlformats.org/officeDocument/2006/relationships/slideLayout" Target="../slideLayouts/slideLayout151.xml"/><Relationship Id="rId44" Type="http://schemas.openxmlformats.org/officeDocument/2006/relationships/image" Target="../media/image1.pn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142.xml"/><Relationship Id="rId27" Type="http://schemas.openxmlformats.org/officeDocument/2006/relationships/slideLayout" Target="../slideLayouts/slideLayout147.xml"/><Relationship Id="rId30" Type="http://schemas.openxmlformats.org/officeDocument/2006/relationships/slideLayout" Target="../slideLayouts/slideLayout150.xml"/><Relationship Id="rId35" Type="http://schemas.openxmlformats.org/officeDocument/2006/relationships/slideLayout" Target="../slideLayouts/slideLayout155.xml"/><Relationship Id="rId43" Type="http://schemas.openxmlformats.org/officeDocument/2006/relationships/theme" Target="../theme/theme5.xml"/><Relationship Id="rId8" Type="http://schemas.openxmlformats.org/officeDocument/2006/relationships/slideLayout" Target="../slideLayouts/slideLayout128.xml"/><Relationship Id="rId3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5" Type="http://schemas.openxmlformats.org/officeDocument/2006/relationships/slideLayout" Target="../slideLayouts/slideLayout145.xml"/><Relationship Id="rId33" Type="http://schemas.openxmlformats.org/officeDocument/2006/relationships/slideLayout" Target="../slideLayouts/slideLayout153.xml"/><Relationship Id="rId38" Type="http://schemas.openxmlformats.org/officeDocument/2006/relationships/slideLayout" Target="../slideLayouts/slideLayout1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">
            <a:extLst>
              <a:ext uri="{FF2B5EF4-FFF2-40B4-BE49-F238E27FC236}">
                <a16:creationId xmlns:a16="http://schemas.microsoft.com/office/drawing/2014/main" id="{B13F9F76-D39E-42EB-97C6-8462D1165F75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2" name="Titel"/>
          <p:cNvSpPr>
            <a:spLocks noGrp="1"/>
          </p:cNvSpPr>
          <p:nvPr userDrawn="1">
            <p:ph type="title"/>
          </p:nvPr>
        </p:nvSpPr>
        <p:spPr bwMode="gray">
          <a:xfrm>
            <a:off x="539999" y="431800"/>
            <a:ext cx="11109601" cy="1080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7488" cy="429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oliennummer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00" y="6300000"/>
            <a:ext cx="3744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i="0">
                <a:solidFill>
                  <a:schemeClr val="accent1"/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"/>
          <p:cNvSpPr>
            <a:spLocks noGrp="1"/>
          </p:cNvSpPr>
          <p:nvPr userDrawn="1">
            <p:ph type="dt" sz="half" idx="2"/>
          </p:nvPr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186100" y="6300000"/>
            <a:ext cx="152865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Vorstellung E-Rezept KV Sachsen</a:t>
            </a:r>
          </a:p>
        </p:txBody>
      </p:sp>
      <p:grpSp>
        <p:nvGrpSpPr>
          <p:cNvPr id="26" name="Hilfslinien"/>
          <p:cNvGrpSpPr/>
          <p:nvPr userDrawn="1"/>
        </p:nvGrpSpPr>
        <p:grpSpPr bwMode="gray">
          <a:xfrm>
            <a:off x="-737252" y="-737252"/>
            <a:ext cx="12386853" cy="7087502"/>
            <a:chOff x="-737252" y="-737252"/>
            <a:chExt cx="12386853" cy="708750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250"/>
              <a:ext cx="737252" cy="540000"/>
              <a:chOff x="-737252" y="5810250"/>
              <a:chExt cx="737252" cy="540000"/>
            </a:xfrm>
          </p:grpSpPr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25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  <p:cxnSp>
            <p:nvCxnSpPr>
              <p:cNvPr id="16" name="Line"/>
              <p:cNvCxnSpPr>
                <a:cxnSpLocks/>
              </p:cNvCxnSpPr>
              <p:nvPr userDrawn="1"/>
            </p:nvCxnSpPr>
            <p:spPr bwMode="gray">
              <a:xfrm>
                <a:off x="-737252" y="581025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3BD72A50-349B-4466-A9A2-3B9BFC127EC7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cxnSp>
        <p:nvCxnSpPr>
          <p:cNvPr id="27" name="Linie 1">
            <a:extLst>
              <a:ext uri="{FF2B5EF4-FFF2-40B4-BE49-F238E27FC236}">
                <a16:creationId xmlns:a16="http://schemas.microsoft.com/office/drawing/2014/main" id="{B9CDF4DD-A695-419D-8F93-9F3F4BEEAB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ie 2">
            <a:extLst>
              <a:ext uri="{FF2B5EF4-FFF2-40B4-BE49-F238E27FC236}">
                <a16:creationId xmlns:a16="http://schemas.microsoft.com/office/drawing/2014/main" id="{57BA4973-2B1B-44A3-9817-93BF5DD119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7" r:id="rId2"/>
    <p:sldLayoutId id="2147483919" r:id="rId3"/>
    <p:sldLayoutId id="2147483936" r:id="rId4"/>
    <p:sldLayoutId id="2147483937" r:id="rId5"/>
    <p:sldLayoutId id="2147483938" r:id="rId6"/>
    <p:sldLayoutId id="2147483939" r:id="rId7"/>
    <p:sldLayoutId id="2147483960" r:id="rId8"/>
    <p:sldLayoutId id="2147483920" r:id="rId9"/>
    <p:sldLayoutId id="2147483946" r:id="rId10"/>
    <p:sldLayoutId id="2147483940" r:id="rId11"/>
    <p:sldLayoutId id="2147483964" r:id="rId12"/>
    <p:sldLayoutId id="2147483891" r:id="rId13"/>
    <p:sldLayoutId id="2147483921" r:id="rId14"/>
    <p:sldLayoutId id="2147483942" r:id="rId15"/>
    <p:sldLayoutId id="2147483954" r:id="rId16"/>
    <p:sldLayoutId id="2147483958" r:id="rId17"/>
    <p:sldLayoutId id="2147483922" r:id="rId18"/>
    <p:sldLayoutId id="2147484016" r:id="rId19"/>
    <p:sldLayoutId id="2147483949" r:id="rId20"/>
    <p:sldLayoutId id="2147483851" r:id="rId21"/>
    <p:sldLayoutId id="2147483961" r:id="rId22"/>
    <p:sldLayoutId id="2147483956" r:id="rId23"/>
    <p:sldLayoutId id="2147483943" r:id="rId24"/>
    <p:sldLayoutId id="2147483953" r:id="rId25"/>
    <p:sldLayoutId id="2147483849" r:id="rId26"/>
    <p:sldLayoutId id="2147483929" r:id="rId27"/>
    <p:sldLayoutId id="2147483930" r:id="rId28"/>
    <p:sldLayoutId id="2147483932" r:id="rId29"/>
    <p:sldLayoutId id="2147483945" r:id="rId30"/>
    <p:sldLayoutId id="2147483933" r:id="rId31"/>
    <p:sldLayoutId id="2147483925" r:id="rId32"/>
    <p:sldLayoutId id="2147483924" r:id="rId33"/>
    <p:sldLayoutId id="2147483926" r:id="rId34"/>
    <p:sldLayoutId id="2147483927" r:id="rId35"/>
    <p:sldLayoutId id="2147483928" r:id="rId36"/>
    <p:sldLayoutId id="2147483951" r:id="rId37"/>
    <p:sldLayoutId id="2147483948" r:id="rId38"/>
    <p:sldLayoutId id="2147483918" r:id="rId39"/>
    <p:sldLayoutId id="2147483944" r:id="rId40"/>
    <p:sldLayoutId id="2147483959" r:id="rId41"/>
    <p:sldLayoutId id="2147484110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2">
            <a:lumMod val="75000"/>
          </a:schemeClr>
        </a:buClr>
        <a:buFont typeface="Calibri" pitchFamily="2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951" userDrawn="1">
          <p15:clr>
            <a:srgbClr val="F26B43"/>
          </p15:clr>
        </p15:guide>
        <p15:guide id="3" orient="horz" pos="272" userDrawn="1">
          <p15:clr>
            <a:srgbClr val="F26B43"/>
          </p15:clr>
        </p15:guide>
        <p15:guide id="4" pos="341" userDrawn="1">
          <p15:clr>
            <a:srgbClr val="F26B43"/>
          </p15:clr>
        </p15:guide>
        <p15:guide id="5" pos="7337" userDrawn="1">
          <p15:clr>
            <a:srgbClr val="F26B43"/>
          </p15:clr>
        </p15:guide>
        <p15:guide id="6" orient="horz" pos="36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3837" userDrawn="1">
          <p15:clr>
            <a:srgbClr val="F26B43"/>
          </p15:clr>
        </p15:guide>
        <p15:guide id="9" orient="horz" pos="5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">
            <a:extLst>
              <a:ext uri="{FF2B5EF4-FFF2-40B4-BE49-F238E27FC236}">
                <a16:creationId xmlns:a16="http://schemas.microsoft.com/office/drawing/2014/main" id="{B13F9F76-D39E-42EB-97C6-8462D1165F75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2" name="Titel"/>
          <p:cNvSpPr>
            <a:spLocks noGrp="1"/>
          </p:cNvSpPr>
          <p:nvPr userDrawn="1">
            <p:ph type="title"/>
          </p:nvPr>
        </p:nvSpPr>
        <p:spPr bwMode="gray">
          <a:xfrm>
            <a:off x="539999" y="431800"/>
            <a:ext cx="11109601" cy="1080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7488" cy="429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oliennummer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00" y="6300000"/>
            <a:ext cx="3744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i="0">
                <a:solidFill>
                  <a:schemeClr val="accent1"/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"/>
          <p:cNvSpPr>
            <a:spLocks noGrp="1"/>
          </p:cNvSpPr>
          <p:nvPr userDrawn="1">
            <p:ph type="dt" sz="half" idx="2"/>
          </p:nvPr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176686" y="6350250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Vorstellung E-Rezept KV Sachsen</a:t>
            </a:r>
          </a:p>
        </p:txBody>
      </p:sp>
      <p:grpSp>
        <p:nvGrpSpPr>
          <p:cNvPr id="26" name="Hilfslinien"/>
          <p:cNvGrpSpPr/>
          <p:nvPr userDrawn="1"/>
        </p:nvGrpSpPr>
        <p:grpSpPr bwMode="gray">
          <a:xfrm>
            <a:off x="-737252" y="-737252"/>
            <a:ext cx="12386853" cy="7087502"/>
            <a:chOff x="-737252" y="-737252"/>
            <a:chExt cx="12386853" cy="708750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250"/>
              <a:ext cx="737252" cy="540000"/>
              <a:chOff x="-737252" y="5810250"/>
              <a:chExt cx="737252" cy="540000"/>
            </a:xfrm>
          </p:grpSpPr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25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  <p:cxnSp>
            <p:nvCxnSpPr>
              <p:cNvPr id="16" name="Line"/>
              <p:cNvCxnSpPr>
                <a:cxnSpLocks/>
              </p:cNvCxnSpPr>
              <p:nvPr userDrawn="1"/>
            </p:nvCxnSpPr>
            <p:spPr bwMode="gray">
              <a:xfrm>
                <a:off x="-737252" y="581025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3BD72A50-349B-4466-A9A2-3B9BFC127EC7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cxnSp>
        <p:nvCxnSpPr>
          <p:cNvPr id="27" name="Linie 1">
            <a:extLst>
              <a:ext uri="{FF2B5EF4-FFF2-40B4-BE49-F238E27FC236}">
                <a16:creationId xmlns:a16="http://schemas.microsoft.com/office/drawing/2014/main" id="{B9CDF4DD-A695-419D-8F93-9F3F4BEEAB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ie 2">
            <a:extLst>
              <a:ext uri="{FF2B5EF4-FFF2-40B4-BE49-F238E27FC236}">
                <a16:creationId xmlns:a16="http://schemas.microsoft.com/office/drawing/2014/main" id="{57BA4973-2B1B-44A3-9817-93BF5DD119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4109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  <p:sldLayoutId id="2147483989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2">
            <a:lumMod val="75000"/>
          </a:schemeClr>
        </a:buClr>
        <a:buFont typeface="Calibri" pitchFamily="2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951" userDrawn="1">
          <p15:clr>
            <a:srgbClr val="F26B43"/>
          </p15:clr>
        </p15:guide>
        <p15:guide id="3" orient="horz" pos="272" userDrawn="1">
          <p15:clr>
            <a:srgbClr val="F26B43"/>
          </p15:clr>
        </p15:guide>
        <p15:guide id="4" pos="341" userDrawn="1">
          <p15:clr>
            <a:srgbClr val="F26B43"/>
          </p15:clr>
        </p15:guide>
        <p15:guide id="5" pos="7337" userDrawn="1">
          <p15:clr>
            <a:srgbClr val="F26B43"/>
          </p15:clr>
        </p15:guide>
        <p15:guide id="6" orient="horz" pos="36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3837" userDrawn="1">
          <p15:clr>
            <a:srgbClr val="F26B43"/>
          </p15:clr>
        </p15:guide>
        <p15:guide id="9" orient="horz" pos="5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">
            <a:extLst>
              <a:ext uri="{FF2B5EF4-FFF2-40B4-BE49-F238E27FC236}">
                <a16:creationId xmlns:a16="http://schemas.microsoft.com/office/drawing/2014/main" id="{B13F9F76-D39E-42EB-97C6-8462D1165F75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2" name="Titel"/>
          <p:cNvSpPr>
            <a:spLocks noGrp="1"/>
          </p:cNvSpPr>
          <p:nvPr userDrawn="1">
            <p:ph type="title"/>
          </p:nvPr>
        </p:nvSpPr>
        <p:spPr bwMode="gray">
          <a:xfrm>
            <a:off x="539999" y="431800"/>
            <a:ext cx="11109601" cy="1080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7488" cy="429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oliennummer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00" y="6300000"/>
            <a:ext cx="3744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i="0">
                <a:solidFill>
                  <a:schemeClr val="accent1"/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"/>
          <p:cNvSpPr>
            <a:spLocks noGrp="1"/>
          </p:cNvSpPr>
          <p:nvPr userDrawn="1">
            <p:ph type="dt" sz="half" idx="2"/>
          </p:nvPr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176686" y="6350250"/>
            <a:ext cx="2671650" cy="28664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Vorstellung E-Rezept KV Sachsen</a:t>
            </a:r>
          </a:p>
        </p:txBody>
      </p:sp>
      <p:grpSp>
        <p:nvGrpSpPr>
          <p:cNvPr id="26" name="Hilfslinien"/>
          <p:cNvGrpSpPr/>
          <p:nvPr userDrawn="1"/>
        </p:nvGrpSpPr>
        <p:grpSpPr bwMode="gray">
          <a:xfrm>
            <a:off x="-737252" y="-737252"/>
            <a:ext cx="12386853" cy="7087502"/>
            <a:chOff x="-737252" y="-737252"/>
            <a:chExt cx="12386853" cy="708750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250"/>
              <a:ext cx="737252" cy="540000"/>
              <a:chOff x="-737252" y="5810250"/>
              <a:chExt cx="737252" cy="540000"/>
            </a:xfrm>
          </p:grpSpPr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25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  <p:cxnSp>
            <p:nvCxnSpPr>
              <p:cNvPr id="16" name="Line"/>
              <p:cNvCxnSpPr>
                <a:cxnSpLocks/>
              </p:cNvCxnSpPr>
              <p:nvPr userDrawn="1"/>
            </p:nvCxnSpPr>
            <p:spPr bwMode="gray">
              <a:xfrm>
                <a:off x="-737252" y="581025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3BD72A50-349B-4466-A9A2-3B9BFC127EC7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cxnSp>
        <p:nvCxnSpPr>
          <p:cNvPr id="27" name="Linie 1">
            <a:extLst>
              <a:ext uri="{FF2B5EF4-FFF2-40B4-BE49-F238E27FC236}">
                <a16:creationId xmlns:a16="http://schemas.microsoft.com/office/drawing/2014/main" id="{B9CDF4DD-A695-419D-8F93-9F3F4BEEAB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ie 2">
            <a:extLst>
              <a:ext uri="{FF2B5EF4-FFF2-40B4-BE49-F238E27FC236}">
                <a16:creationId xmlns:a16="http://schemas.microsoft.com/office/drawing/2014/main" id="{57BA4973-2B1B-44A3-9817-93BF5DD119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9" r:id="rId8"/>
    <p:sldLayoutId id="2147484000" r:id="rId9"/>
    <p:sldLayoutId id="2147484001" r:id="rId10"/>
    <p:sldLayoutId id="2147484002" r:id="rId11"/>
    <p:sldLayoutId id="2147484003" r:id="rId12"/>
    <p:sldLayoutId id="2147484004" r:id="rId13"/>
    <p:sldLayoutId id="2147483998" r:id="rId14"/>
    <p:sldLayoutId id="2147484006" r:id="rId15"/>
    <p:sldLayoutId id="2147484007" r:id="rId16"/>
    <p:sldLayoutId id="2147484008" r:id="rId17"/>
    <p:sldLayoutId id="2147484005" r:id="rId18"/>
    <p:sldLayoutId id="2147484009" r:id="rId19"/>
    <p:sldLayoutId id="2147484011" r:id="rId20"/>
    <p:sldLayoutId id="2147484012" r:id="rId21"/>
    <p:sldLayoutId id="2147484013" r:id="rId22"/>
    <p:sldLayoutId id="2147484010" r:id="rId23"/>
    <p:sldLayoutId id="2147484014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2">
            <a:lumMod val="75000"/>
          </a:schemeClr>
        </a:buClr>
        <a:buFont typeface="Calibri" pitchFamily="2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951" userDrawn="1">
          <p15:clr>
            <a:srgbClr val="F26B43"/>
          </p15:clr>
        </p15:guide>
        <p15:guide id="3" orient="horz" pos="272" userDrawn="1">
          <p15:clr>
            <a:srgbClr val="F26B43"/>
          </p15:clr>
        </p15:guide>
        <p15:guide id="4" pos="341" userDrawn="1">
          <p15:clr>
            <a:srgbClr val="F26B43"/>
          </p15:clr>
        </p15:guide>
        <p15:guide id="5" pos="7337" userDrawn="1">
          <p15:clr>
            <a:srgbClr val="F26B43"/>
          </p15:clr>
        </p15:guide>
        <p15:guide id="6" orient="horz" pos="36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3837" userDrawn="1">
          <p15:clr>
            <a:srgbClr val="F26B43"/>
          </p15:clr>
        </p15:guide>
        <p15:guide id="9" orient="horz" pos="5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38A64ED7-5EA1-4E69-AF33-B0F55AC619C5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err="1"/>
          </a:p>
        </p:txBody>
      </p:sp>
      <p:sp>
        <p:nvSpPr>
          <p:cNvPr id="2" name="Titel"/>
          <p:cNvSpPr>
            <a:spLocks noGrp="1"/>
          </p:cNvSpPr>
          <p:nvPr userDrawn="1">
            <p:ph type="title"/>
          </p:nvPr>
        </p:nvSpPr>
        <p:spPr bwMode="gray">
          <a:xfrm>
            <a:off x="539999" y="431800"/>
            <a:ext cx="11109601" cy="1080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 userDrawn="1">
            <p:ph type="body" idx="1"/>
          </p:nvPr>
        </p:nvSpPr>
        <p:spPr bwMode="gray">
          <a:xfrm>
            <a:off x="540000" y="1512000"/>
            <a:ext cx="11107488" cy="429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Datum"/>
          <p:cNvSpPr>
            <a:spLocks noGrp="1"/>
          </p:cNvSpPr>
          <p:nvPr userDrawn="1">
            <p:ph type="dt" sz="half" idx="2"/>
          </p:nvPr>
        </p:nvSpPr>
        <p:spPr bwMode="gray">
          <a:xfrm>
            <a:off x="1075972" y="6298637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186100" y="6298637"/>
            <a:ext cx="152865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Vorstellung E-Rezept KV Sachsen</a:t>
            </a:r>
          </a:p>
        </p:txBody>
      </p:sp>
      <p:sp>
        <p:nvSpPr>
          <p:cNvPr id="6" name="Foliennummer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00" y="6298637"/>
            <a:ext cx="3744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i="0">
                <a:solidFill>
                  <a:schemeClr val="accent1"/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grpSp>
        <p:nvGrpSpPr>
          <p:cNvPr id="26" name="Hilfslinien"/>
          <p:cNvGrpSpPr/>
          <p:nvPr userDrawn="1"/>
        </p:nvGrpSpPr>
        <p:grpSpPr bwMode="gray">
          <a:xfrm>
            <a:off x="-737252" y="-737252"/>
            <a:ext cx="12386853" cy="7087652"/>
            <a:chOff x="-737252" y="-737252"/>
            <a:chExt cx="12386853" cy="708765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400"/>
              <a:ext cx="737252" cy="540000"/>
              <a:chOff x="-737252" y="5810400"/>
              <a:chExt cx="737252" cy="540000"/>
            </a:xfrm>
          </p:grpSpPr>
          <p:cxnSp>
            <p:nvCxnSpPr>
              <p:cNvPr id="16" name="Line"/>
              <p:cNvCxnSpPr/>
              <p:nvPr userDrawn="1"/>
            </p:nvCxnSpPr>
            <p:spPr bwMode="gray">
              <a:xfrm>
                <a:off x="-737252" y="58104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4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</p:grpSp>
      </p:grp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84B91B8-7328-4A40-B514-90E6E575D365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7342F30-491A-4364-9451-2D0480CBDE49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Grafik 36">
            <a:extLst>
              <a:ext uri="{FF2B5EF4-FFF2-40B4-BE49-F238E27FC236}">
                <a16:creationId xmlns:a16="http://schemas.microsoft.com/office/drawing/2014/main" id="{3BD72A50-349B-4466-A9A2-3B9BFC127EC7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4AD86621-9583-CAAC-4D53-7EC0324C43D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691950" y="6720840"/>
            <a:ext cx="8318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3935" r:id="rId11"/>
    <p:sldLayoutId id="2147483941" r:id="rId12"/>
    <p:sldLayoutId id="2147484026" r:id="rId13"/>
    <p:sldLayoutId id="2147484027" r:id="rId14"/>
    <p:sldLayoutId id="2147484028" r:id="rId15"/>
    <p:sldLayoutId id="2147484029" r:id="rId16"/>
    <p:sldLayoutId id="2147484030" r:id="rId17"/>
    <p:sldLayoutId id="2147484031" r:id="rId18"/>
    <p:sldLayoutId id="2147484032" r:id="rId19"/>
    <p:sldLayoutId id="2147484033" r:id="rId20"/>
    <p:sldLayoutId id="2147484034" r:id="rId21"/>
    <p:sldLayoutId id="2147484035" r:id="rId22"/>
    <p:sldLayoutId id="2147483931" r:id="rId23"/>
    <p:sldLayoutId id="2147484036" r:id="rId24"/>
    <p:sldLayoutId id="2147483654" r:id="rId25"/>
    <p:sldLayoutId id="2147484037" r:id="rId26"/>
    <p:sldLayoutId id="2147484038" r:id="rId27"/>
    <p:sldLayoutId id="2147484039" r:id="rId28"/>
    <p:sldLayoutId id="2147484040" r:id="rId29"/>
    <p:sldLayoutId id="2147484041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2">
            <a:lumMod val="75000"/>
          </a:schemeClr>
        </a:buClr>
        <a:buFont typeface="Calibri" pitchFamily="2" charset="0"/>
        <a:buChar char="–"/>
        <a:defRPr sz="2200" kern="1200">
          <a:solidFill>
            <a:schemeClr val="tx2">
              <a:lumMod val="75000"/>
            </a:schemeClr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2000" kern="1200">
          <a:solidFill>
            <a:schemeClr val="tx2">
              <a:lumMod val="75000"/>
            </a:schemeClr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800" kern="1200">
          <a:solidFill>
            <a:schemeClr val="tx2">
              <a:lumMod val="75000"/>
            </a:schemeClr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2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660" userDrawn="1">
          <p15:clr>
            <a:srgbClr val="F26B43"/>
          </p15:clr>
        </p15:guide>
        <p15:guide id="2" orient="horz" pos="951" userDrawn="1">
          <p15:clr>
            <a:srgbClr val="F26B43"/>
          </p15:clr>
        </p15:guide>
        <p15:guide id="3" orient="horz" pos="272" userDrawn="1">
          <p15:clr>
            <a:srgbClr val="F26B43"/>
          </p15:clr>
        </p15:guide>
        <p15:guide id="4" pos="341" userDrawn="1">
          <p15:clr>
            <a:srgbClr val="F26B43"/>
          </p15:clr>
        </p15:guide>
        <p15:guide id="5" pos="733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">
            <a:extLst>
              <a:ext uri="{FF2B5EF4-FFF2-40B4-BE49-F238E27FC236}">
                <a16:creationId xmlns:a16="http://schemas.microsoft.com/office/drawing/2014/main" id="{B13F9F76-D39E-42EB-97C6-8462D1165F75}"/>
              </a:ext>
            </a:extLst>
          </p:cNvPr>
          <p:cNvSpPr/>
          <p:nvPr userDrawn="1"/>
        </p:nvSpPr>
        <p:spPr bwMode="gray">
          <a:xfrm>
            <a:off x="0" y="5882268"/>
            <a:ext cx="12190413" cy="975085"/>
          </a:xfrm>
          <a:custGeom>
            <a:avLst/>
            <a:gdLst>
              <a:gd name="connsiteX0" fmla="*/ 10780976 w 12190413"/>
              <a:gd name="connsiteY0" fmla="*/ 0 h 975085"/>
              <a:gd name="connsiteX1" fmla="*/ 11165943 w 12190413"/>
              <a:gd name="connsiteY1" fmla="*/ 159459 h 975085"/>
              <a:gd name="connsiteX2" fmla="*/ 11205891 w 12190413"/>
              <a:gd name="connsiteY2" fmla="*/ 207876 h 975085"/>
              <a:gd name="connsiteX3" fmla="*/ 12190413 w 12190413"/>
              <a:gd name="connsiteY3" fmla="*/ 207876 h 975085"/>
              <a:gd name="connsiteX4" fmla="*/ 12190413 w 12190413"/>
              <a:gd name="connsiteY4" fmla="*/ 975085 h 975085"/>
              <a:gd name="connsiteX5" fmla="*/ 0 w 12190413"/>
              <a:gd name="connsiteY5" fmla="*/ 975085 h 975085"/>
              <a:gd name="connsiteX6" fmla="*/ 0 w 12190413"/>
              <a:gd name="connsiteY6" fmla="*/ 207876 h 975085"/>
              <a:gd name="connsiteX7" fmla="*/ 10356061 w 12190413"/>
              <a:gd name="connsiteY7" fmla="*/ 207876 h 975085"/>
              <a:gd name="connsiteX8" fmla="*/ 10396009 w 12190413"/>
              <a:gd name="connsiteY8" fmla="*/ 159459 h 975085"/>
              <a:gd name="connsiteX9" fmla="*/ 10780976 w 12190413"/>
              <a:gd name="connsiteY9" fmla="*/ 0 h 975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3" h="975085">
                <a:moveTo>
                  <a:pt x="10780976" y="0"/>
                </a:moveTo>
                <a:cubicBezTo>
                  <a:pt x="10931315" y="0"/>
                  <a:pt x="11067421" y="60937"/>
                  <a:pt x="11165943" y="159459"/>
                </a:cubicBezTo>
                <a:lnTo>
                  <a:pt x="11205891" y="207876"/>
                </a:lnTo>
                <a:lnTo>
                  <a:pt x="12190413" y="207876"/>
                </a:lnTo>
                <a:lnTo>
                  <a:pt x="12190413" y="975085"/>
                </a:lnTo>
                <a:lnTo>
                  <a:pt x="0" y="975085"/>
                </a:lnTo>
                <a:lnTo>
                  <a:pt x="0" y="207876"/>
                </a:lnTo>
                <a:lnTo>
                  <a:pt x="10356061" y="207876"/>
                </a:lnTo>
                <a:lnTo>
                  <a:pt x="10396009" y="159459"/>
                </a:lnTo>
                <a:cubicBezTo>
                  <a:pt x="10494531" y="60937"/>
                  <a:pt x="10630637" y="0"/>
                  <a:pt x="10780976" y="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/>
          </a:p>
        </p:txBody>
      </p:sp>
      <p:sp>
        <p:nvSpPr>
          <p:cNvPr id="2" name="Titel"/>
          <p:cNvSpPr>
            <a:spLocks noGrp="1"/>
          </p:cNvSpPr>
          <p:nvPr userDrawn="1">
            <p:ph type="title"/>
          </p:nvPr>
        </p:nvSpPr>
        <p:spPr bwMode="gray">
          <a:xfrm>
            <a:off x="539999" y="431800"/>
            <a:ext cx="11109601" cy="1080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3" name="Inhalt"/>
          <p:cNvSpPr>
            <a:spLocks noGrp="1"/>
          </p:cNvSpPr>
          <p:nvPr>
            <p:ph type="body" idx="1"/>
          </p:nvPr>
        </p:nvSpPr>
        <p:spPr bwMode="gray">
          <a:xfrm>
            <a:off x="540000" y="1512000"/>
            <a:ext cx="11107488" cy="42982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oliennummer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540000" y="6300000"/>
            <a:ext cx="37440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1" i="0">
                <a:solidFill>
                  <a:schemeClr val="accent1"/>
                </a:solidFill>
              </a:defRPr>
            </a:lvl1pPr>
          </a:lstStyle>
          <a:p>
            <a:fld id="{02CEFE82-39F2-4F47-8A0C-D5AB3496FA5C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Datum"/>
          <p:cNvSpPr>
            <a:spLocks noGrp="1"/>
          </p:cNvSpPr>
          <p:nvPr userDrawn="1">
            <p:ph type="dt" sz="half" idx="2"/>
          </p:nvPr>
        </p:nvSpPr>
        <p:spPr bwMode="gray">
          <a:xfrm>
            <a:off x="1075972" y="6300000"/>
            <a:ext cx="834256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01.12.2023</a:t>
            </a:r>
            <a:endParaRPr lang="de-DE"/>
          </a:p>
        </p:txBody>
      </p:sp>
      <p:sp>
        <p:nvSpPr>
          <p:cNvPr id="5" name="Fußzeile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2186100" y="6300000"/>
            <a:ext cx="1528650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Vorstellung E-Rezept KV Sachsen</a:t>
            </a:r>
          </a:p>
        </p:txBody>
      </p:sp>
      <p:grpSp>
        <p:nvGrpSpPr>
          <p:cNvPr id="26" name="Hilfslinien"/>
          <p:cNvGrpSpPr/>
          <p:nvPr userDrawn="1"/>
        </p:nvGrpSpPr>
        <p:grpSpPr bwMode="gray">
          <a:xfrm>
            <a:off x="-737252" y="-737252"/>
            <a:ext cx="12386853" cy="7087502"/>
            <a:chOff x="-737252" y="-737252"/>
            <a:chExt cx="12386853" cy="7087502"/>
          </a:xfrm>
        </p:grpSpPr>
        <p:grpSp>
          <p:nvGrpSpPr>
            <p:cNvPr id="11" name="Hilfslinie"/>
            <p:cNvGrpSpPr/>
            <p:nvPr userDrawn="1"/>
          </p:nvGrpSpPr>
          <p:grpSpPr bwMode="gray">
            <a:xfrm>
              <a:off x="540001" y="-737252"/>
              <a:ext cx="900000" cy="720000"/>
              <a:chOff x="540001" y="-737252"/>
              <a:chExt cx="900000" cy="720000"/>
            </a:xfrm>
          </p:grpSpPr>
          <p:cxnSp>
            <p:nvCxnSpPr>
              <p:cNvPr id="24" name="Line"/>
              <p:cNvCxnSpPr/>
              <p:nvPr userDrawn="1"/>
            </p:nvCxnSpPr>
            <p:spPr bwMode="gray">
              <a:xfrm flipV="1">
                <a:off x="540002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Text"/>
              <p:cNvSpPr txBox="1"/>
              <p:nvPr userDrawn="1"/>
            </p:nvSpPr>
            <p:spPr bwMode="gray">
              <a:xfrm>
                <a:off x="5400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72000" tIns="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15,42</a:t>
                </a:r>
              </a:p>
            </p:txBody>
          </p:sp>
        </p:grpSp>
        <p:grpSp>
          <p:nvGrpSpPr>
            <p:cNvPr id="12" name="Hilfslinie"/>
            <p:cNvGrpSpPr/>
            <p:nvPr userDrawn="1"/>
          </p:nvGrpSpPr>
          <p:grpSpPr bwMode="gray">
            <a:xfrm>
              <a:off x="10749601" y="-737252"/>
              <a:ext cx="900000" cy="720000"/>
              <a:chOff x="10749601" y="-737252"/>
              <a:chExt cx="900000" cy="720000"/>
            </a:xfrm>
          </p:grpSpPr>
          <p:cxnSp>
            <p:nvCxnSpPr>
              <p:cNvPr id="22" name="Line"/>
              <p:cNvCxnSpPr/>
              <p:nvPr userDrawn="1"/>
            </p:nvCxnSpPr>
            <p:spPr bwMode="gray">
              <a:xfrm flipV="1">
                <a:off x="11649601" y="-737252"/>
                <a:ext cx="0" cy="72000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" name="Text"/>
              <p:cNvSpPr txBox="1"/>
              <p:nvPr userDrawn="1"/>
            </p:nvSpPr>
            <p:spPr bwMode="gray">
              <a:xfrm>
                <a:off x="10749601" y="-720000"/>
                <a:ext cx="900000" cy="540000"/>
              </a:xfrm>
              <a:prstGeom prst="rect">
                <a:avLst/>
              </a:prstGeom>
              <a:noFill/>
            </p:spPr>
            <p:txBody>
              <a:bodyPr wrap="square" lIns="0" tIns="0" rIns="72000" bIns="0" rtlCol="0">
                <a:noAutofit/>
              </a:bodyPr>
              <a:lstStyle/>
              <a:p>
                <a:pPr algn="r"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 15,42</a:t>
                </a:r>
              </a:p>
            </p:txBody>
          </p:sp>
        </p:grpSp>
        <p:grpSp>
          <p:nvGrpSpPr>
            <p:cNvPr id="13" name="Hilfslinie"/>
            <p:cNvGrpSpPr/>
            <p:nvPr userDrawn="1"/>
          </p:nvGrpSpPr>
          <p:grpSpPr bwMode="gray">
            <a:xfrm>
              <a:off x="-737252" y="432000"/>
              <a:ext cx="737252" cy="540000"/>
              <a:chOff x="-737252" y="432000"/>
              <a:chExt cx="737252" cy="540000"/>
            </a:xfrm>
          </p:grpSpPr>
          <p:cxnSp>
            <p:nvCxnSpPr>
              <p:cNvPr id="20" name="Line"/>
              <p:cNvCxnSpPr/>
              <p:nvPr/>
            </p:nvCxnSpPr>
            <p:spPr bwMode="gray">
              <a:xfrm>
                <a:off x="-737252" y="43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Text"/>
              <p:cNvSpPr txBox="1"/>
              <p:nvPr userDrawn="1"/>
            </p:nvSpPr>
            <p:spPr bwMode="gray">
              <a:xfrm>
                <a:off x="-720000" y="43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8,32</a:t>
                </a:r>
              </a:p>
            </p:txBody>
          </p:sp>
        </p:grpSp>
        <p:grpSp>
          <p:nvGrpSpPr>
            <p:cNvPr id="14" name="Hilfslinie"/>
            <p:cNvGrpSpPr/>
            <p:nvPr userDrawn="1"/>
          </p:nvGrpSpPr>
          <p:grpSpPr bwMode="gray">
            <a:xfrm>
              <a:off x="-737252" y="1512000"/>
              <a:ext cx="737252" cy="540000"/>
              <a:chOff x="-737252" y="1512000"/>
              <a:chExt cx="737252" cy="540000"/>
            </a:xfrm>
          </p:grpSpPr>
          <p:cxnSp>
            <p:nvCxnSpPr>
              <p:cNvPr id="18" name="Line"/>
              <p:cNvCxnSpPr/>
              <p:nvPr userDrawn="1"/>
            </p:nvCxnSpPr>
            <p:spPr bwMode="gray">
              <a:xfrm>
                <a:off x="-737252" y="151200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Text"/>
              <p:cNvSpPr txBox="1"/>
              <p:nvPr userDrawn="1"/>
            </p:nvSpPr>
            <p:spPr bwMode="gray">
              <a:xfrm>
                <a:off x="-720000" y="151200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5,33</a:t>
                </a:r>
              </a:p>
            </p:txBody>
          </p:sp>
        </p:grpSp>
        <p:grpSp>
          <p:nvGrpSpPr>
            <p:cNvPr id="15" name="Hilfslinie"/>
            <p:cNvGrpSpPr/>
            <p:nvPr userDrawn="1"/>
          </p:nvGrpSpPr>
          <p:grpSpPr bwMode="gray">
            <a:xfrm>
              <a:off x="-737252" y="5810250"/>
              <a:ext cx="737252" cy="540000"/>
              <a:chOff x="-737252" y="5810250"/>
              <a:chExt cx="737252" cy="540000"/>
            </a:xfrm>
          </p:grpSpPr>
          <p:sp>
            <p:nvSpPr>
              <p:cNvPr id="17" name="Text"/>
              <p:cNvSpPr txBox="1"/>
              <p:nvPr userDrawn="1"/>
            </p:nvSpPr>
            <p:spPr bwMode="gray">
              <a:xfrm>
                <a:off x="-720000" y="5810250"/>
                <a:ext cx="720000" cy="540000"/>
              </a:xfrm>
              <a:prstGeom prst="rect">
                <a:avLst/>
              </a:prstGeom>
              <a:noFill/>
            </p:spPr>
            <p:txBody>
              <a:bodyPr wrap="square" lIns="0" tIns="72000" rIns="0" bIns="0" rtlCol="0">
                <a:noAutofit/>
              </a:bodyPr>
              <a:lstStyle/>
              <a:p>
                <a:pPr>
                  <a:lnSpc>
                    <a:spcPct val="90000"/>
                  </a:lnSpc>
                  <a:spcAft>
                    <a:spcPts val="1000"/>
                  </a:spcAft>
                </a:pPr>
                <a:r>
                  <a:rPr lang="de-DE" sz="1200" noProof="0"/>
                  <a:t>Position Hilfslinie</a:t>
                </a:r>
                <a:br>
                  <a:rPr lang="de-DE" sz="1200" noProof="0"/>
                </a:br>
                <a:r>
                  <a:rPr lang="de-DE" sz="1200" noProof="0"/>
                  <a:t>6,61</a:t>
                </a:r>
              </a:p>
            </p:txBody>
          </p:sp>
          <p:cxnSp>
            <p:nvCxnSpPr>
              <p:cNvPr id="16" name="Line"/>
              <p:cNvCxnSpPr>
                <a:cxnSpLocks/>
              </p:cNvCxnSpPr>
              <p:nvPr userDrawn="1"/>
            </p:nvCxnSpPr>
            <p:spPr bwMode="gray">
              <a:xfrm>
                <a:off x="-737252" y="5810250"/>
                <a:ext cx="720000" cy="0"/>
              </a:xfrm>
              <a:prstGeom prst="line">
                <a:avLst/>
              </a:prstGeom>
              <a:ln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7" name="Grafik 36">
            <a:extLst>
              <a:ext uri="{FF2B5EF4-FFF2-40B4-BE49-F238E27FC236}">
                <a16:creationId xmlns:a16="http://schemas.microsoft.com/office/drawing/2014/main" id="{3BD72A50-349B-4466-A9A2-3B9BFC127EC7}"/>
              </a:ext>
            </a:extLst>
          </p:cNvPr>
          <p:cNvPicPr>
            <a:picLocks noChangeAspect="1"/>
          </p:cNvPicPr>
          <p:nvPr userDrawn="1"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58094" y="6070615"/>
            <a:ext cx="1171033" cy="633691"/>
          </a:xfrm>
          <a:prstGeom prst="rect">
            <a:avLst/>
          </a:prstGeom>
        </p:spPr>
      </p:pic>
      <p:cxnSp>
        <p:nvCxnSpPr>
          <p:cNvPr id="27" name="Linie 1">
            <a:extLst>
              <a:ext uri="{FF2B5EF4-FFF2-40B4-BE49-F238E27FC236}">
                <a16:creationId xmlns:a16="http://schemas.microsoft.com/office/drawing/2014/main" id="{B9CDF4DD-A695-419D-8F93-9F3F4BEEAB6F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2048164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ie 2">
            <a:extLst>
              <a:ext uri="{FF2B5EF4-FFF2-40B4-BE49-F238E27FC236}">
                <a16:creationId xmlns:a16="http://schemas.microsoft.com/office/drawing/2014/main" id="{57BA4973-2B1B-44A3-9817-93BF5DD119EA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934588" y="6377559"/>
            <a:ext cx="0" cy="209083"/>
          </a:xfrm>
          <a:prstGeom prst="line">
            <a:avLst/>
          </a:prstGeom>
          <a:ln w="6350" cap="rnd">
            <a:solidFill>
              <a:schemeClr val="bg2">
                <a:lumMod val="8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92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88" r:id="rId21"/>
    <p:sldLayoutId id="2147484089" r:id="rId22"/>
    <p:sldLayoutId id="2147484090" r:id="rId23"/>
    <p:sldLayoutId id="2147484091" r:id="rId24"/>
    <p:sldLayoutId id="2147484092" r:id="rId25"/>
    <p:sldLayoutId id="2147484093" r:id="rId26"/>
    <p:sldLayoutId id="2147484094" r:id="rId27"/>
    <p:sldLayoutId id="2147484095" r:id="rId28"/>
    <p:sldLayoutId id="2147484096" r:id="rId29"/>
    <p:sldLayoutId id="2147484097" r:id="rId30"/>
    <p:sldLayoutId id="2147484098" r:id="rId31"/>
    <p:sldLayoutId id="2147484099" r:id="rId32"/>
    <p:sldLayoutId id="2147484100" r:id="rId33"/>
    <p:sldLayoutId id="2147484101" r:id="rId34"/>
    <p:sldLayoutId id="2147484102" r:id="rId35"/>
    <p:sldLayoutId id="2147484103" r:id="rId36"/>
    <p:sldLayoutId id="2147484104" r:id="rId37"/>
    <p:sldLayoutId id="2147484105" r:id="rId38"/>
    <p:sldLayoutId id="2147484106" r:id="rId39"/>
    <p:sldLayoutId id="2147484107" r:id="rId40"/>
    <p:sldLayoutId id="2147484108" r:id="rId41"/>
    <p:sldLayoutId id="2147483971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Clr>
          <a:schemeClr val="tx2">
            <a:lumMod val="75000"/>
          </a:schemeClr>
        </a:buClr>
        <a:buFont typeface="Calibri" pitchFamily="2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2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8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44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0" indent="-270000" algn="l" defTabSz="914400" rtl="0" eaLnBrk="1" latinLnBrk="0" hangingPunct="1">
        <a:lnSpc>
          <a:spcPct val="9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951" userDrawn="1">
          <p15:clr>
            <a:srgbClr val="F26B43"/>
          </p15:clr>
        </p15:guide>
        <p15:guide id="3" orient="horz" pos="272" userDrawn="1">
          <p15:clr>
            <a:srgbClr val="F26B43"/>
          </p15:clr>
        </p15:guide>
        <p15:guide id="4" pos="341" userDrawn="1">
          <p15:clr>
            <a:srgbClr val="F26B43"/>
          </p15:clr>
        </p15:guide>
        <p15:guide id="5" pos="7337" userDrawn="1">
          <p15:clr>
            <a:srgbClr val="F26B43"/>
          </p15:clr>
        </p15:guide>
        <p15:guide id="6" orient="horz" pos="3660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orient="horz" pos="3837" userDrawn="1">
          <p15:clr>
            <a:srgbClr val="F26B43"/>
          </p15:clr>
        </p15:guide>
        <p15:guide id="9" orient="horz" pos="50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de/turbomedlve" TargetMode="External"/><Relationship Id="rId2" Type="http://schemas.openxmlformats.org/officeDocument/2006/relationships/hyperlink" Target="https://www.cgm.com/turbomed-termine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image" Target="../media/image16.jpg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">
            <a:extLst>
              <a:ext uri="{FF2B5EF4-FFF2-40B4-BE49-F238E27FC236}">
                <a16:creationId xmlns:a16="http://schemas.microsoft.com/office/drawing/2014/main" id="{F08FDB3D-51CC-425C-985E-38BFE10FDAC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413" cy="3821202"/>
          </a:xfrm>
        </p:spPr>
      </p:pic>
      <p:sp>
        <p:nvSpPr>
          <p:cNvPr id="3" name="Titel">
            <a:extLst>
              <a:ext uri="{FF2B5EF4-FFF2-40B4-BE49-F238E27FC236}">
                <a16:creationId xmlns:a16="http://schemas.microsoft.com/office/drawing/2014/main" id="{BDF48218-49E6-446C-A17A-318D39443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orstellung E-Rezept</a:t>
            </a:r>
            <a:br>
              <a:rPr lang="de-DE" dirty="0"/>
            </a:br>
            <a:r>
              <a:rPr lang="de-DE" dirty="0"/>
              <a:t>CGM TURBOMED</a:t>
            </a:r>
          </a:p>
        </p:txBody>
      </p:sp>
      <p:sp>
        <p:nvSpPr>
          <p:cNvPr id="4" name="Untertitel">
            <a:extLst>
              <a:ext uri="{FF2B5EF4-FFF2-40B4-BE49-F238E27FC236}">
                <a16:creationId xmlns:a16="http://schemas.microsoft.com/office/drawing/2014/main" id="{8C8612DF-C6B5-4ADE-8301-865CF106ABF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39999" y="5615595"/>
            <a:ext cx="9706564" cy="798453"/>
          </a:xfrm>
        </p:spPr>
        <p:txBody>
          <a:bodyPr/>
          <a:lstStyle/>
          <a:p>
            <a:r>
              <a:rPr lang="de-DE" dirty="0"/>
              <a:t>01.Dezember 2023</a:t>
            </a:r>
          </a:p>
          <a:p>
            <a:r>
              <a:rPr lang="de-DE" dirty="0"/>
              <a:t>André Schmeling</a:t>
            </a:r>
            <a:endParaRPr lang="de-DE" dirty="0">
              <a:cs typeface="Calibri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D258FFA-E716-4D9C-8E37-2650DEA6C3C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1095" y="5612713"/>
            <a:ext cx="2346393" cy="478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42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FB929238-B252-48F1-BB0B-56513AD58E2C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6F9A8EBE-5EFE-49E7-A8DF-7B074AB2F36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/>
        <p:txBody>
          <a:bodyPr/>
          <a:lstStyle/>
          <a:p>
            <a:r>
              <a:rPr lang="de-DE" dirty="0"/>
              <a:t>FRAGEN &amp; ANTWORT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02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45A21396-99CA-4344-94B5-7FB9F6FB72A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Fragen &amp; Antworten</a:t>
            </a:r>
          </a:p>
        </p:txBody>
      </p:sp>
      <p:sp>
        <p:nvSpPr>
          <p:cNvPr id="24" name="Inhalt 2">
            <a:extLst>
              <a:ext uri="{FF2B5EF4-FFF2-40B4-BE49-F238E27FC236}">
                <a16:creationId xmlns:a16="http://schemas.microsoft.com/office/drawing/2014/main" id="{5927EDCE-71C2-477D-BE9C-CC7714DFF059}"/>
              </a:ext>
            </a:extLst>
          </p:cNvPr>
          <p:cNvSpPr>
            <a:spLocks noGrp="1"/>
          </p:cNvSpPr>
          <p:nvPr>
            <p:ph sz="half" idx="19"/>
          </p:nvPr>
        </p:nvSpPr>
        <p:spPr bwMode="gray"/>
        <p:txBody>
          <a:bodyPr/>
          <a:lstStyle/>
          <a:p>
            <a:r>
              <a:rPr lang="de-DE" dirty="0"/>
              <a:t>Können Rezepte vorbereitet werden ohne bereits eingelesene eGK?</a:t>
            </a:r>
          </a:p>
        </p:txBody>
      </p:sp>
      <p:sp>
        <p:nvSpPr>
          <p:cNvPr id="22" name="Inhalt 3">
            <a:extLst>
              <a:ext uri="{FF2B5EF4-FFF2-40B4-BE49-F238E27FC236}">
                <a16:creationId xmlns:a16="http://schemas.microsoft.com/office/drawing/2014/main" id="{D0CE146F-883E-440E-8DB9-50ADA95282D9}"/>
              </a:ext>
            </a:extLst>
          </p:cNvPr>
          <p:cNvSpPr>
            <a:spLocks noGrp="1"/>
          </p:cNvSpPr>
          <p:nvPr>
            <p:ph sz="half" idx="14"/>
          </p:nvPr>
        </p:nvSpPr>
        <p:spPr bwMode="gray">
          <a:xfrm>
            <a:off x="4393430" y="3821373"/>
            <a:ext cx="1701776" cy="1988878"/>
          </a:xfrm>
        </p:spPr>
        <p:txBody>
          <a:bodyPr/>
          <a:lstStyle/>
          <a:p>
            <a:pPr lvl="0"/>
            <a:r>
              <a:rPr lang="de-DE" dirty="0"/>
              <a:t>Muss der Patient trotzdem kommen, um 1x die Versicherten Karte einzulesen, sodass man einen Versicherungsnachweis hat?</a:t>
            </a:r>
          </a:p>
        </p:txBody>
      </p:sp>
      <p:sp>
        <p:nvSpPr>
          <p:cNvPr id="20" name="Inhalt 4">
            <a:extLst>
              <a:ext uri="{FF2B5EF4-FFF2-40B4-BE49-F238E27FC236}">
                <a16:creationId xmlns:a16="http://schemas.microsoft.com/office/drawing/2014/main" id="{1F7FD1F9-0EB8-486F-A180-4315C12A9068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320144" y="3821373"/>
            <a:ext cx="1701776" cy="198887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Kann man mehrere Medikamente auf ein E-REZEPT schreiben</a:t>
            </a:r>
            <a:r>
              <a:rPr lang="de-DE"/>
              <a:t> </a:t>
            </a:r>
            <a:endParaRPr lang="de-DE">
              <a:cs typeface="Calibri"/>
            </a:endParaRPr>
          </a:p>
        </p:txBody>
      </p:sp>
      <p:sp>
        <p:nvSpPr>
          <p:cNvPr id="23" name="Inhalt 5">
            <a:extLst>
              <a:ext uri="{FF2B5EF4-FFF2-40B4-BE49-F238E27FC236}">
                <a16:creationId xmlns:a16="http://schemas.microsoft.com/office/drawing/2014/main" id="{AE330E71-690F-4663-B163-4D972E0F3B5E}"/>
              </a:ext>
            </a:extLst>
          </p:cNvPr>
          <p:cNvSpPr>
            <a:spLocks noGrp="1"/>
          </p:cNvSpPr>
          <p:nvPr>
            <p:ph sz="half" idx="18"/>
          </p:nvPr>
        </p:nvSpPr>
        <p:spPr bwMode="gray"/>
        <p:txBody>
          <a:bodyPr/>
          <a:lstStyle/>
          <a:p>
            <a:pPr lvl="0"/>
            <a:r>
              <a:rPr lang="de-DE" dirty="0"/>
              <a:t>Reicht die Aktivierung des </a:t>
            </a:r>
            <a:br>
              <a:rPr lang="de-DE" dirty="0"/>
            </a:br>
            <a:r>
              <a:rPr lang="de-DE" dirty="0"/>
              <a:t>E-REZEPTES an einem Arbeitsplatz oder muss sie an allen Arbeitsplätzen aktiviert werden?</a:t>
            </a:r>
          </a:p>
        </p:txBody>
      </p:sp>
      <p:sp>
        <p:nvSpPr>
          <p:cNvPr id="25" name="Inhalt 6">
            <a:extLst>
              <a:ext uri="{FF2B5EF4-FFF2-40B4-BE49-F238E27FC236}">
                <a16:creationId xmlns:a16="http://schemas.microsoft.com/office/drawing/2014/main" id="{BD565852-5EFA-42D8-967C-CBE2CDF33CE8}"/>
              </a:ext>
            </a:extLst>
          </p:cNvPr>
          <p:cNvSpPr>
            <a:spLocks noGrp="1"/>
          </p:cNvSpPr>
          <p:nvPr>
            <p:ph sz="half" idx="20"/>
          </p:nvPr>
        </p:nvSpPr>
        <p:spPr bwMode="gray"/>
        <p:txBody>
          <a:bodyPr/>
          <a:lstStyle/>
          <a:p>
            <a:pPr lvl="0"/>
            <a:r>
              <a:rPr lang="de-DE" dirty="0"/>
              <a:t>Woran erkenne ich, ob ich den </a:t>
            </a:r>
            <a:r>
              <a:rPr lang="de-DE" dirty="0" err="1"/>
              <a:t>eHBA</a:t>
            </a:r>
            <a:r>
              <a:rPr lang="de-DE" dirty="0"/>
              <a:t> der 2. Generation habe?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F685F2F3-E5DD-4565-8D58-018A80A1672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 dirty="0"/>
          </a:p>
        </p:txBody>
      </p:sp>
      <p:sp>
        <p:nvSpPr>
          <p:cNvPr id="17" name="Fußzeile">
            <a:extLst>
              <a:ext uri="{FF2B5EF4-FFF2-40B4-BE49-F238E27FC236}">
                <a16:creationId xmlns:a16="http://schemas.microsoft.com/office/drawing/2014/main" id="{9448A163-4C55-4BDF-9EDB-E3D7079652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  <a:endParaRPr lang="de-DE" noProof="0" dirty="0"/>
          </a:p>
        </p:txBody>
      </p:sp>
      <p:sp>
        <p:nvSpPr>
          <p:cNvPr id="6" name="Inhalt 3">
            <a:extLst>
              <a:ext uri="{FF2B5EF4-FFF2-40B4-BE49-F238E27FC236}">
                <a16:creationId xmlns:a16="http://schemas.microsoft.com/office/drawing/2014/main" id="{128F3138-FEFA-AA8F-A615-7EB10DD7AADF}"/>
              </a:ext>
            </a:extLst>
          </p:cNvPr>
          <p:cNvSpPr txBox="1">
            <a:spLocks/>
          </p:cNvSpPr>
          <p:nvPr/>
        </p:nvSpPr>
        <p:spPr bwMode="gray">
          <a:xfrm>
            <a:off x="539998" y="3829100"/>
            <a:ext cx="1460264" cy="19888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nötige ich für jeden Arzt ein Kartenlesegerät? </a:t>
            </a:r>
          </a:p>
          <a:p>
            <a:endParaRPr lang="de-DE" dirty="0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850C20E0-6066-6768-A0F4-828147E07DE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0641" y="2602928"/>
            <a:ext cx="898977" cy="898977"/>
            <a:chOff x="9614378" y="2470969"/>
            <a:chExt cx="898977" cy="898977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3A9478B2-045D-240F-978B-DE93140073E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00D1F13D-E915-F7F9-8833-DA823C452F9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136FE732-4624-6218-F5C1-2C2A29ECD5D8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8C681285-46DC-5D69-E587-621DB285A47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F8200492-B690-5DB7-6A0A-2669C3B2C2B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47357" y="2602927"/>
            <a:ext cx="898977" cy="898977"/>
            <a:chOff x="9614377" y="2496460"/>
            <a:chExt cx="898977" cy="898977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31BC3C30-5936-4EA6-70DB-AF23EBB34DC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7" y="2496460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894E9C1B-9490-8EE8-27E7-FBABAE9CE2C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A9B6C08-C9A5-144D-0A94-32AB7C779BBD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01E63025-E21D-BB4B-A5C9-C83D71553DC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80158BB-529D-A211-9218-45C8BA7DDE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674073" y="2602927"/>
            <a:ext cx="898977" cy="898977"/>
            <a:chOff x="9614378" y="2470969"/>
            <a:chExt cx="898977" cy="89897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2361BFBF-E37F-4704-5D67-85D0CEF635E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F3269D17-A529-37CC-9703-80AD36ADE1B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19A266AD-8E6F-D39A-BA01-336B83E4AF3C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2BF8D071-F42B-ECBB-ABCB-0568FA9E2A4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0EC1517-F400-84AB-9D59-AEFA89C7C7B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96167" y="2602927"/>
            <a:ext cx="898977" cy="898977"/>
            <a:chOff x="9614378" y="2470969"/>
            <a:chExt cx="898977" cy="898977"/>
          </a:xfrm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F4D5160A-6301-3EAE-2791-0CB4557D9BD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0731875B-2752-AC2F-2FF7-4E5A0558040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42E1293-493D-2F0D-4989-5F8A823508DC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690E6B83-75BA-2C76-262E-30648C62E31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32E0866-6D09-6B0D-499F-EB9D9918EE9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518261" y="2602927"/>
            <a:ext cx="898977" cy="898977"/>
            <a:chOff x="9614378" y="2470969"/>
            <a:chExt cx="898977" cy="898977"/>
          </a:xfrm>
        </p:grpSpPr>
        <p:sp>
          <p:nvSpPr>
            <p:cNvPr id="54" name="Ellipse 53">
              <a:extLst>
                <a:ext uri="{FF2B5EF4-FFF2-40B4-BE49-F238E27FC236}">
                  <a16:creationId xmlns:a16="http://schemas.microsoft.com/office/drawing/2014/main" id="{FDBF6B4B-7696-24FA-188B-67132167AA1E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55" name="Gruppieren 54">
              <a:extLst>
                <a:ext uri="{FF2B5EF4-FFF2-40B4-BE49-F238E27FC236}">
                  <a16:creationId xmlns:a16="http://schemas.microsoft.com/office/drawing/2014/main" id="{2C6B8237-23CC-105D-1BD7-E94D1B592D3E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3F8A42B9-3333-A76C-50AB-03CB1FEFB777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57" name="Freihandform: Form 56">
                <a:extLst>
                  <a:ext uri="{FF2B5EF4-FFF2-40B4-BE49-F238E27FC236}">
                    <a16:creationId xmlns:a16="http://schemas.microsoft.com/office/drawing/2014/main" id="{ACFF4A4D-8735-572C-52FE-B59A4B9696D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170EF628-0434-A27C-1937-D9EA1C9F63A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435919" y="2602927"/>
            <a:ext cx="898977" cy="898977"/>
            <a:chOff x="9614378" y="2470969"/>
            <a:chExt cx="898977" cy="898977"/>
          </a:xfrm>
        </p:grpSpPr>
        <p:sp>
          <p:nvSpPr>
            <p:cNvPr id="59" name="Ellipse 58">
              <a:extLst>
                <a:ext uri="{FF2B5EF4-FFF2-40B4-BE49-F238E27FC236}">
                  <a16:creationId xmlns:a16="http://schemas.microsoft.com/office/drawing/2014/main" id="{765D31B4-163D-0E23-D938-123D691E477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60" name="Gruppieren 59">
              <a:extLst>
                <a:ext uri="{FF2B5EF4-FFF2-40B4-BE49-F238E27FC236}">
                  <a16:creationId xmlns:a16="http://schemas.microsoft.com/office/drawing/2014/main" id="{D6A0852C-BB3F-F288-7A51-583D28AA7F0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61" name="Freihandform: Form 60">
                <a:extLst>
                  <a:ext uri="{FF2B5EF4-FFF2-40B4-BE49-F238E27FC236}">
                    <a16:creationId xmlns:a16="http://schemas.microsoft.com/office/drawing/2014/main" id="{BC261948-DCF6-61C7-3C71-B5008706AB6D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62" name="Freihandform: Form 61">
                <a:extLst>
                  <a:ext uri="{FF2B5EF4-FFF2-40B4-BE49-F238E27FC236}">
                    <a16:creationId xmlns:a16="http://schemas.microsoft.com/office/drawing/2014/main" id="{42329260-4EBB-CA44-8942-5476E84F4E7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8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/>
      <p:bldP spid="22" grpId="0" build="p"/>
      <p:bldP spid="20" grpId="0" build="p"/>
      <p:bldP spid="23" grpId="0" build="p"/>
      <p:bldP spid="25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45A21396-99CA-4344-94B5-7FB9F6FB72A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Fragen &amp; Antworten</a:t>
            </a:r>
          </a:p>
        </p:txBody>
      </p:sp>
      <p:sp>
        <p:nvSpPr>
          <p:cNvPr id="24" name="Inhalt 2">
            <a:extLst>
              <a:ext uri="{FF2B5EF4-FFF2-40B4-BE49-F238E27FC236}">
                <a16:creationId xmlns:a16="http://schemas.microsoft.com/office/drawing/2014/main" id="{5927EDCE-71C2-477D-BE9C-CC7714DFF059}"/>
              </a:ext>
            </a:extLst>
          </p:cNvPr>
          <p:cNvSpPr>
            <a:spLocks noGrp="1"/>
          </p:cNvSpPr>
          <p:nvPr>
            <p:ph sz="half" idx="19"/>
          </p:nvPr>
        </p:nvSpPr>
        <p:spPr bwMode="gray"/>
        <p:txBody>
          <a:bodyPr/>
          <a:lstStyle/>
          <a:p>
            <a:pPr lvl="0"/>
            <a:r>
              <a:rPr lang="de-DE" dirty="0"/>
              <a:t>Wie kommt das </a:t>
            </a:r>
            <a:br>
              <a:rPr lang="de-DE" dirty="0"/>
            </a:br>
            <a:r>
              <a:rPr lang="de-DE" dirty="0"/>
              <a:t>E-REZEPT auf die Versicherten Karte des Patienten?</a:t>
            </a:r>
          </a:p>
        </p:txBody>
      </p:sp>
      <p:sp>
        <p:nvSpPr>
          <p:cNvPr id="22" name="Inhalt 3">
            <a:extLst>
              <a:ext uri="{FF2B5EF4-FFF2-40B4-BE49-F238E27FC236}">
                <a16:creationId xmlns:a16="http://schemas.microsoft.com/office/drawing/2014/main" id="{D0CE146F-883E-440E-8DB9-50ADA95282D9}"/>
              </a:ext>
            </a:extLst>
          </p:cNvPr>
          <p:cNvSpPr>
            <a:spLocks noGrp="1"/>
          </p:cNvSpPr>
          <p:nvPr>
            <p:ph sz="half" idx="14"/>
          </p:nvPr>
        </p:nvSpPr>
        <p:spPr bwMode="gray">
          <a:xfrm>
            <a:off x="4393430" y="3821373"/>
            <a:ext cx="1701776" cy="1988878"/>
          </a:xfrm>
        </p:spPr>
        <p:txBody>
          <a:bodyPr/>
          <a:lstStyle/>
          <a:p>
            <a:pPr lvl="0"/>
            <a:r>
              <a:rPr lang="de-DE" dirty="0"/>
              <a:t>Sieht man auch, ob  das E-REZEPT eingelöst wurde? </a:t>
            </a:r>
          </a:p>
        </p:txBody>
      </p:sp>
      <p:sp>
        <p:nvSpPr>
          <p:cNvPr id="20" name="Inhalt 4">
            <a:extLst>
              <a:ext uri="{FF2B5EF4-FFF2-40B4-BE49-F238E27FC236}">
                <a16:creationId xmlns:a16="http://schemas.microsoft.com/office/drawing/2014/main" id="{1F7FD1F9-0EB8-486F-A180-4315C12A9068}"/>
              </a:ext>
            </a:extLst>
          </p:cNvPr>
          <p:cNvSpPr>
            <a:spLocks noGrp="1"/>
          </p:cNvSpPr>
          <p:nvPr>
            <p:ph sz="half" idx="2"/>
          </p:nvPr>
        </p:nvSpPr>
        <p:spPr bwMode="gray">
          <a:xfrm>
            <a:off x="6320144" y="3821373"/>
            <a:ext cx="1701776" cy="198887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uss der Patient für Folgerezepte in die Praxis kommen?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F685F2F3-E5DD-4565-8D58-018A80A1672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 dirty="0"/>
          </a:p>
        </p:txBody>
      </p:sp>
      <p:sp>
        <p:nvSpPr>
          <p:cNvPr id="17" name="Fußzeile">
            <a:extLst>
              <a:ext uri="{FF2B5EF4-FFF2-40B4-BE49-F238E27FC236}">
                <a16:creationId xmlns:a16="http://schemas.microsoft.com/office/drawing/2014/main" id="{9448A163-4C55-4BDF-9EDB-E3D7079652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  <a:endParaRPr lang="de-DE" noProof="0" dirty="0"/>
          </a:p>
        </p:txBody>
      </p:sp>
      <p:sp>
        <p:nvSpPr>
          <p:cNvPr id="6" name="Inhalt 3">
            <a:extLst>
              <a:ext uri="{FF2B5EF4-FFF2-40B4-BE49-F238E27FC236}">
                <a16:creationId xmlns:a16="http://schemas.microsoft.com/office/drawing/2014/main" id="{128F3138-FEFA-AA8F-A615-7EB10DD7AADF}"/>
              </a:ext>
            </a:extLst>
          </p:cNvPr>
          <p:cNvSpPr txBox="1">
            <a:spLocks/>
          </p:cNvSpPr>
          <p:nvPr/>
        </p:nvSpPr>
        <p:spPr bwMode="gray">
          <a:xfrm>
            <a:off x="539998" y="3829100"/>
            <a:ext cx="1460264" cy="19888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7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30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dirty="0"/>
              <a:t>Was ist der Unterschied zwischen der Komfort Signatur und der Stapel Signatur?</a:t>
            </a:r>
          </a:p>
          <a:p>
            <a:endParaRPr lang="de-DE" dirty="0"/>
          </a:p>
        </p:txBody>
      </p:sp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850C20E0-6066-6768-A0F4-828147E07DE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0641" y="2602928"/>
            <a:ext cx="898977" cy="898977"/>
            <a:chOff x="9614378" y="2470969"/>
            <a:chExt cx="898977" cy="898977"/>
          </a:xfrm>
        </p:grpSpPr>
        <p:sp>
          <p:nvSpPr>
            <p:cNvPr id="33" name="Ellipse 32">
              <a:extLst>
                <a:ext uri="{FF2B5EF4-FFF2-40B4-BE49-F238E27FC236}">
                  <a16:creationId xmlns:a16="http://schemas.microsoft.com/office/drawing/2014/main" id="{3A9478B2-045D-240F-978B-DE93140073E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00D1F13D-E915-F7F9-8833-DA823C452F9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136FE732-4624-6218-F5C1-2C2A29ECD5D8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8C681285-46DC-5D69-E587-621DB285A47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F8200492-B690-5DB7-6A0A-2669C3B2C2B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2747357" y="2602927"/>
            <a:ext cx="898977" cy="898977"/>
            <a:chOff x="9614377" y="2496460"/>
            <a:chExt cx="898977" cy="898977"/>
          </a:xfrm>
        </p:grpSpPr>
        <p:sp>
          <p:nvSpPr>
            <p:cNvPr id="38" name="Ellipse 37">
              <a:extLst>
                <a:ext uri="{FF2B5EF4-FFF2-40B4-BE49-F238E27FC236}">
                  <a16:creationId xmlns:a16="http://schemas.microsoft.com/office/drawing/2014/main" id="{31BC3C30-5936-4EA6-70DB-AF23EBB34DCF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7" y="2496460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894E9C1B-9490-8EE8-27E7-FBABAE9CE2C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EA9B6C08-C9A5-144D-0A94-32AB7C779BBD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01E63025-E21D-BB4B-A5C9-C83D71553DC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D80158BB-529D-A211-9218-45C8BA7DDE8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4674073" y="2602927"/>
            <a:ext cx="898977" cy="898977"/>
            <a:chOff x="9614378" y="2470969"/>
            <a:chExt cx="898977" cy="898977"/>
          </a:xfrm>
        </p:grpSpPr>
        <p:sp>
          <p:nvSpPr>
            <p:cNvPr id="43" name="Ellipse 42">
              <a:extLst>
                <a:ext uri="{FF2B5EF4-FFF2-40B4-BE49-F238E27FC236}">
                  <a16:creationId xmlns:a16="http://schemas.microsoft.com/office/drawing/2014/main" id="{2361BFBF-E37F-4704-5D67-85D0CEF635E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F3269D17-A529-37CC-9703-80AD36ADE1B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19A266AD-8E6F-D39A-BA01-336B83E4AF3C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2BF8D071-F42B-ECBB-ABCB-0568FA9E2A4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B0EC1517-F400-84AB-9D59-AEFA89C7C7B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596167" y="2602927"/>
            <a:ext cx="898977" cy="898977"/>
            <a:chOff x="9614378" y="2470969"/>
            <a:chExt cx="898977" cy="898977"/>
          </a:xfrm>
        </p:grpSpPr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F4D5160A-6301-3EAE-2791-0CB4557D9BD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614378" y="2470969"/>
              <a:ext cx="898977" cy="898977"/>
            </a:xfrm>
            <a:prstGeom prst="ellipse">
              <a:avLst/>
            </a:prstGeom>
            <a:noFill/>
            <a:ln w="190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/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0731875B-2752-AC2F-2FF7-4E5A05580402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9972426" y="2763661"/>
              <a:ext cx="182880" cy="313592"/>
              <a:chOff x="68336600" y="11035894"/>
              <a:chExt cx="1828800" cy="3135916"/>
            </a:xfrm>
          </p:grpSpPr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742E1293-493D-2F0D-4989-5F8A823508DC}"/>
                  </a:ext>
                </a:extLst>
              </p:cNvPr>
              <p:cNvSpPr/>
              <p:nvPr/>
            </p:nvSpPr>
            <p:spPr bwMode="gray">
              <a:xfrm>
                <a:off x="68336600" y="11035894"/>
                <a:ext cx="1828800" cy="2286111"/>
              </a:xfrm>
              <a:custGeom>
                <a:avLst/>
                <a:gdLst>
                  <a:gd name="connsiteX0" fmla="*/ 0 w 1828800"/>
                  <a:gd name="connsiteY0" fmla="*/ 762112 h 2286111"/>
                  <a:gd name="connsiteX1" fmla="*/ 319468 w 1828800"/>
                  <a:gd name="connsiteY1" fmla="*/ 195755 h 2286111"/>
                  <a:gd name="connsiteX2" fmla="*/ 914400 w 1828800"/>
                  <a:gd name="connsiteY2" fmla="*/ 112 h 2286111"/>
                  <a:gd name="connsiteX3" fmla="*/ 1347597 w 1828800"/>
                  <a:gd name="connsiteY3" fmla="*/ 74597 h 2286111"/>
                  <a:gd name="connsiteX4" fmla="*/ 1828800 w 1828800"/>
                  <a:gd name="connsiteY4" fmla="*/ 762112 h 2286111"/>
                  <a:gd name="connsiteX5" fmla="*/ 1234916 w 1828800"/>
                  <a:gd name="connsiteY5" fmla="*/ 1611551 h 2286111"/>
                  <a:gd name="connsiteX6" fmla="*/ 838200 w 1828800"/>
                  <a:gd name="connsiteY6" fmla="*/ 2286112 h 2286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828800" h="2286111">
                    <a:moveTo>
                      <a:pt x="0" y="762112"/>
                    </a:moveTo>
                    <a:cubicBezTo>
                      <a:pt x="0" y="762112"/>
                      <a:pt x="13716" y="447787"/>
                      <a:pt x="319468" y="195755"/>
                    </a:cubicBezTo>
                    <a:cubicBezTo>
                      <a:pt x="501015" y="46118"/>
                      <a:pt x="719042" y="2779"/>
                      <a:pt x="914400" y="112"/>
                    </a:cubicBezTo>
                    <a:cubicBezTo>
                      <a:pt x="1092803" y="-2079"/>
                      <a:pt x="1252252" y="28115"/>
                      <a:pt x="1347597" y="74597"/>
                    </a:cubicBezTo>
                    <a:cubicBezTo>
                      <a:pt x="1510570" y="154417"/>
                      <a:pt x="1828800" y="348727"/>
                      <a:pt x="1828800" y="762112"/>
                    </a:cubicBezTo>
                    <a:cubicBezTo>
                      <a:pt x="1828800" y="1197119"/>
                      <a:pt x="1550861" y="1394286"/>
                      <a:pt x="1234916" y="1611551"/>
                    </a:cubicBezTo>
                    <a:cubicBezTo>
                      <a:pt x="918972" y="1828817"/>
                      <a:pt x="838200" y="2041891"/>
                      <a:pt x="838200" y="2286112"/>
                    </a:cubicBezTo>
                  </a:path>
                </a:pathLst>
              </a:custGeom>
              <a:noFill/>
              <a:ln w="19050" cap="rnd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690E6B83-75BA-2C76-262E-30648C62E31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9048800" y="13919810"/>
                <a:ext cx="252000" cy="252000"/>
              </a:xfrm>
              <a:custGeom>
                <a:avLst/>
                <a:gdLst>
                  <a:gd name="connsiteX0" fmla="*/ 457200 w 457200"/>
                  <a:gd name="connsiteY0" fmla="*/ 228600 h 457200"/>
                  <a:gd name="connsiteX1" fmla="*/ 228600 w 457200"/>
                  <a:gd name="connsiteY1" fmla="*/ 457200 h 457200"/>
                  <a:gd name="connsiteX2" fmla="*/ 0 w 457200"/>
                  <a:gd name="connsiteY2" fmla="*/ 228600 h 457200"/>
                  <a:gd name="connsiteX3" fmla="*/ 228600 w 457200"/>
                  <a:gd name="connsiteY3" fmla="*/ 0 h 457200"/>
                  <a:gd name="connsiteX4" fmla="*/ 457200 w 457200"/>
                  <a:gd name="connsiteY4" fmla="*/ 22860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7200" h="457200">
                    <a:moveTo>
                      <a:pt x="457200" y="228600"/>
                    </a:moveTo>
                    <a:cubicBezTo>
                      <a:pt x="457200" y="354852"/>
                      <a:pt x="354852" y="457200"/>
                      <a:pt x="228600" y="457200"/>
                    </a:cubicBezTo>
                    <a:cubicBezTo>
                      <a:pt x="102348" y="457200"/>
                      <a:pt x="0" y="354852"/>
                      <a:pt x="0" y="228600"/>
                    </a:cubicBezTo>
                    <a:cubicBezTo>
                      <a:pt x="0" y="102348"/>
                      <a:pt x="102348" y="0"/>
                      <a:pt x="228600" y="0"/>
                    </a:cubicBezTo>
                    <a:cubicBezTo>
                      <a:pt x="354852" y="0"/>
                      <a:pt x="457200" y="102348"/>
                      <a:pt x="457200" y="228600"/>
                    </a:cubicBezTo>
                    <a:close/>
                  </a:path>
                </a:pathLst>
              </a:custGeom>
              <a:noFill/>
              <a:ln w="19050" cap="flat">
                <a:solidFill>
                  <a:schemeClr val="accent3"/>
                </a:solidFill>
                <a:prstDash val="solid"/>
                <a:miter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893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uild="p"/>
      <p:bldP spid="22" grpId="0" build="p"/>
      <p:bldP spid="20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45A21396-99CA-4344-94B5-7FB9F6FB72A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Infomaterial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F685F2F3-E5DD-4565-8D58-018A80A1672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 dirty="0"/>
          </a:p>
        </p:txBody>
      </p:sp>
      <p:sp>
        <p:nvSpPr>
          <p:cNvPr id="17" name="Fußzeile">
            <a:extLst>
              <a:ext uri="{FF2B5EF4-FFF2-40B4-BE49-F238E27FC236}">
                <a16:creationId xmlns:a16="http://schemas.microsoft.com/office/drawing/2014/main" id="{9448A163-4C55-4BDF-9EDB-E3D7079652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  <a:endParaRPr lang="de-DE" noProof="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2972ACBA-13AA-0295-279B-375D9ABE9154}"/>
              </a:ext>
            </a:extLst>
          </p:cNvPr>
          <p:cNvSpPr txBox="1"/>
          <p:nvPr/>
        </p:nvSpPr>
        <p:spPr>
          <a:xfrm>
            <a:off x="539999" y="1521671"/>
            <a:ext cx="10501746" cy="380814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CGM TURBOMED Veranstaltungen:</a:t>
            </a:r>
          </a:p>
          <a:p>
            <a:pPr marL="285750" indent="-285750" algn="l">
              <a:lnSpc>
                <a:spcPct val="9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>
                    <a:lumMod val="75000"/>
                  </a:schemeClr>
                </a:solidFill>
                <a:hlinkClick r:id="rId2"/>
              </a:rPr>
              <a:t>https://www.cgm.com/turbomed-termine</a:t>
            </a:r>
            <a:endParaRPr lang="de-DE" sz="1600" dirty="0">
              <a:solidFill>
                <a:schemeClr val="tx2">
                  <a:lumMod val="75000"/>
                </a:schemeClr>
              </a:solidFill>
            </a:endParaRPr>
          </a:p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600" dirty="0">
              <a:solidFill>
                <a:schemeClr val="tx2">
                  <a:lumMod val="75000"/>
                </a:schemeClr>
              </a:solidFill>
            </a:endParaRPr>
          </a:p>
          <a:p>
            <a:pPr algn="l">
              <a:lnSpc>
                <a:spcPct val="90000"/>
              </a:lnSpc>
              <a:spcAft>
                <a:spcPts val="1000"/>
              </a:spcAft>
            </a:pPr>
            <a:r>
              <a:rPr lang="de-DE" b="1" dirty="0">
                <a:solidFill>
                  <a:schemeClr val="tx2">
                    <a:lumMod val="75000"/>
                  </a:schemeClr>
                </a:solidFill>
              </a:rPr>
              <a:t>YouTube:</a:t>
            </a:r>
          </a:p>
          <a:p>
            <a:pPr marL="285750" indent="-285750" algn="l">
              <a:lnSpc>
                <a:spcPct val="90000"/>
              </a:lnSpc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2">
                    <a:lumMod val="75000"/>
                  </a:schemeClr>
                </a:solidFill>
                <a:hlinkClick r:id="rId3"/>
              </a:rPr>
              <a:t>https://www.youtube.de/turbomedlve</a:t>
            </a:r>
            <a:endParaRPr lang="de-DE" sz="1600" dirty="0">
              <a:solidFill>
                <a:schemeClr val="tx2">
                  <a:lumMod val="75000"/>
                </a:schemeClr>
              </a:solidFill>
            </a:endParaRPr>
          </a:p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600" dirty="0">
              <a:solidFill>
                <a:schemeClr val="tx2">
                  <a:lumMod val="75000"/>
                </a:schemeClr>
              </a:solidFill>
            </a:endParaRPr>
          </a:p>
          <a:p>
            <a:pPr algn="l">
              <a:lnSpc>
                <a:spcPct val="90000"/>
              </a:lnSpc>
              <a:spcAft>
                <a:spcPts val="1000"/>
              </a:spcAft>
            </a:pPr>
            <a:endParaRPr lang="de-DE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193C013-9811-48EA-E4C2-16347DB86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999" y="3308082"/>
            <a:ext cx="8543925" cy="2619375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DC3573E6-EF68-A55F-070E-2CF15D616DD1}"/>
              </a:ext>
            </a:extLst>
          </p:cNvPr>
          <p:cNvSpPr/>
          <p:nvPr/>
        </p:nvSpPr>
        <p:spPr>
          <a:xfrm>
            <a:off x="4830618" y="5346000"/>
            <a:ext cx="2078182" cy="565273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151218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E7C0B4B3-6A21-44E3-AB3B-93E7ED9F764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04</a:t>
            </a:r>
            <a:br>
              <a:rPr lang="de-DE" dirty="0"/>
            </a:br>
            <a:endParaRPr lang="de-DE" dirty="0"/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8DF1B5E8-E7B9-4E88-B1E0-7B47657106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40724" y="4634171"/>
            <a:ext cx="9951213" cy="702754"/>
          </a:xfrm>
        </p:spPr>
        <p:txBody>
          <a:bodyPr/>
          <a:lstStyle/>
          <a:p>
            <a:r>
              <a:rPr lang="de-DE" dirty="0"/>
              <a:t>E-REZEPT IN </a:t>
            </a:r>
            <a:r>
              <a:rPr lang="de-DE" b="1" dirty="0"/>
              <a:t>CGM TURBOMED</a:t>
            </a:r>
          </a:p>
        </p:txBody>
      </p:sp>
    </p:spTree>
    <p:extLst>
      <p:ext uri="{BB962C8B-B14F-4D97-AF65-F5344CB8AC3E}">
        <p14:creationId xmlns:p14="http://schemas.microsoft.com/office/powerpoint/2010/main" val="178274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">
            <a:extLst>
              <a:ext uri="{FF2B5EF4-FFF2-40B4-BE49-F238E27FC236}">
                <a16:creationId xmlns:a16="http://schemas.microsoft.com/office/drawing/2014/main" id="{F08FDB3D-51CC-425C-985E-38BFE10FDAC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itel">
            <a:extLst>
              <a:ext uri="{FF2B5EF4-FFF2-40B4-BE49-F238E27FC236}">
                <a16:creationId xmlns:a16="http://schemas.microsoft.com/office/drawing/2014/main" id="{BDF48218-49E6-446C-A17A-318D39443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VIELEN DANK FÜR IHRE</a:t>
            </a:r>
            <a:br>
              <a:rPr lang="de-DE" dirty="0"/>
            </a:br>
            <a:r>
              <a:rPr lang="de-DE" dirty="0"/>
              <a:t>AUFMERKSAMKEIT!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3B01E9D-5790-645B-DA1A-0A21C7945E86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0397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platzhalter 23" descr="Doktor zeigt auf Röntgenscan">
            <a:extLst>
              <a:ext uri="{FF2B5EF4-FFF2-40B4-BE49-F238E27FC236}">
                <a16:creationId xmlns:a16="http://schemas.microsoft.com/office/drawing/2014/main" id="{8C8E5F61-B8F6-E468-0261-6C036452A1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9958" r="9958"/>
          <a:stretch>
            <a:fillRect/>
          </a:stretch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2A1624-5D2A-EBFC-9F04-A30B92683C4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94505" y="1328707"/>
            <a:ext cx="648000" cy="647916"/>
          </a:xfrm>
        </p:spPr>
        <p:txBody>
          <a:bodyPr/>
          <a:lstStyle/>
          <a:p>
            <a:r>
              <a:rPr lang="de-DE"/>
              <a:t>1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01DABBB-5D07-14B4-16FD-F45745CE8D1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94505" y="2209912"/>
            <a:ext cx="648000" cy="647916"/>
          </a:xfrm>
        </p:spPr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06C57C8-941E-29BE-1494-AE19A26899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60105" y="1328707"/>
            <a:ext cx="2718000" cy="647916"/>
          </a:xfrm>
        </p:spPr>
        <p:txBody>
          <a:bodyPr/>
          <a:lstStyle/>
          <a:p>
            <a:r>
              <a:rPr lang="de-DE" b="1" dirty="0"/>
              <a:t>Voraussetzungen </a:t>
            </a:r>
            <a:r>
              <a:rPr lang="de-DE" dirty="0"/>
              <a:t>E-Rezept</a:t>
            </a:r>
            <a:endParaRPr lang="de-DE" b="1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5F625B00-1E91-AD80-5A32-262C068987E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660105" y="4749441"/>
            <a:ext cx="2718000" cy="647916"/>
          </a:xfrm>
        </p:spPr>
        <p:txBody>
          <a:bodyPr/>
          <a:lstStyle/>
          <a:p>
            <a:r>
              <a:rPr lang="de-DE" dirty="0"/>
              <a:t>E-Rezept in </a:t>
            </a:r>
            <a:r>
              <a:rPr lang="de-DE" b="1" dirty="0"/>
              <a:t>CGM TURBOMED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2F655EB-7A3F-2F30-14C7-7AC43766D8EF}"/>
              </a:ext>
            </a:extLst>
          </p:cNvPr>
          <p:cNvSpPr txBox="1"/>
          <p:nvPr/>
        </p:nvSpPr>
        <p:spPr>
          <a:xfrm>
            <a:off x="4097036" y="4851712"/>
            <a:ext cx="202138" cy="13317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r>
              <a:rPr lang="de-DE" sz="1000" dirty="0">
                <a:solidFill>
                  <a:srgbClr val="C00000"/>
                </a:solidFill>
              </a:rPr>
              <a:t>live</a:t>
            </a:r>
          </a:p>
        </p:txBody>
      </p:sp>
      <p:sp>
        <p:nvSpPr>
          <p:cNvPr id="37" name="Textplatzhalter 7">
            <a:extLst>
              <a:ext uri="{FF2B5EF4-FFF2-40B4-BE49-F238E27FC236}">
                <a16:creationId xmlns:a16="http://schemas.microsoft.com/office/drawing/2014/main" id="{8EFD557F-CB4F-20C0-AC2E-C650FCEA1BCD}"/>
              </a:ext>
            </a:extLst>
          </p:cNvPr>
          <p:cNvSpPr txBox="1">
            <a:spLocks/>
          </p:cNvSpPr>
          <p:nvPr/>
        </p:nvSpPr>
        <p:spPr bwMode="gray">
          <a:xfrm>
            <a:off x="594505" y="4754885"/>
            <a:ext cx="648000" cy="64791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3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1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7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3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5</a:t>
            </a:r>
          </a:p>
        </p:txBody>
      </p:sp>
      <p:sp>
        <p:nvSpPr>
          <p:cNvPr id="38" name="Textplatzhalter 12">
            <a:extLst>
              <a:ext uri="{FF2B5EF4-FFF2-40B4-BE49-F238E27FC236}">
                <a16:creationId xmlns:a16="http://schemas.microsoft.com/office/drawing/2014/main" id="{7676FBD3-5826-4DF3-EC66-52D1EE058DB1}"/>
              </a:ext>
            </a:extLst>
          </p:cNvPr>
          <p:cNvSpPr txBox="1">
            <a:spLocks/>
          </p:cNvSpPr>
          <p:nvPr/>
        </p:nvSpPr>
        <p:spPr bwMode="gray">
          <a:xfrm>
            <a:off x="1660105" y="2209912"/>
            <a:ext cx="2143246" cy="6479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7146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3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645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7791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b="1" dirty="0"/>
              <a:t>Aktivierung</a:t>
            </a:r>
            <a:r>
              <a:rPr lang="de-DE" dirty="0"/>
              <a:t> E-Rezept in CGM TURBOMED</a:t>
            </a:r>
          </a:p>
        </p:txBody>
      </p:sp>
      <p:sp>
        <p:nvSpPr>
          <p:cNvPr id="39" name="Textplatzhalter 7">
            <a:extLst>
              <a:ext uri="{FF2B5EF4-FFF2-40B4-BE49-F238E27FC236}">
                <a16:creationId xmlns:a16="http://schemas.microsoft.com/office/drawing/2014/main" id="{CBF51595-9E16-2BE0-EB2A-B84092413B7E}"/>
              </a:ext>
            </a:extLst>
          </p:cNvPr>
          <p:cNvSpPr txBox="1">
            <a:spLocks/>
          </p:cNvSpPr>
          <p:nvPr/>
        </p:nvSpPr>
        <p:spPr bwMode="gray">
          <a:xfrm>
            <a:off x="594505" y="3052081"/>
            <a:ext cx="648000" cy="64791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3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1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7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3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3</a:t>
            </a:r>
          </a:p>
        </p:txBody>
      </p:sp>
      <p:sp>
        <p:nvSpPr>
          <p:cNvPr id="40" name="Textplatzhalter 12">
            <a:extLst>
              <a:ext uri="{FF2B5EF4-FFF2-40B4-BE49-F238E27FC236}">
                <a16:creationId xmlns:a16="http://schemas.microsoft.com/office/drawing/2014/main" id="{730D027B-3BD1-A345-5B61-3AEB33BEA7C2}"/>
              </a:ext>
            </a:extLst>
          </p:cNvPr>
          <p:cNvSpPr txBox="1">
            <a:spLocks/>
          </p:cNvSpPr>
          <p:nvPr/>
        </p:nvSpPr>
        <p:spPr bwMode="gray">
          <a:xfrm>
            <a:off x="1660105" y="3052081"/>
            <a:ext cx="2143246" cy="6479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7146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3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645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7791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chaubild E-Reze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79EF83E-1C35-6E10-F3D3-6E531CD0EDC8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 noProof="0"/>
              <a:t>01.12.2023</a:t>
            </a:r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F451DE6-610A-8C13-4F62-A4899EDB9DC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de-DE" noProof="0"/>
              <a:t>Vorstellung E-Rezept KV Sachsen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6FDF2C9F-12BA-BDFE-3DB0-4F93C7ED4317}"/>
              </a:ext>
            </a:extLst>
          </p:cNvPr>
          <p:cNvSpPr txBox="1">
            <a:spLocks/>
          </p:cNvSpPr>
          <p:nvPr/>
        </p:nvSpPr>
        <p:spPr bwMode="gray">
          <a:xfrm>
            <a:off x="594505" y="3894250"/>
            <a:ext cx="648000" cy="64791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3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32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81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17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530000" indent="0" algn="ctr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4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63CE9D2A-DFA1-B19C-DC55-17CD3FED90DC}"/>
              </a:ext>
            </a:extLst>
          </p:cNvPr>
          <p:cNvSpPr txBox="1">
            <a:spLocks/>
          </p:cNvSpPr>
          <p:nvPr/>
        </p:nvSpPr>
        <p:spPr bwMode="gray">
          <a:xfrm>
            <a:off x="1660105" y="3894250"/>
            <a:ext cx="2143246" cy="64791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>
                <a:schemeClr val="tx2">
                  <a:lumMod val="75000"/>
                </a:schemeClr>
              </a:buClr>
              <a:buFont typeface="Calibri" pitchFamily="2" charset="0"/>
              <a:buNone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27146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334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0645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77912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ragen &amp; Antworten</a:t>
            </a:r>
          </a:p>
        </p:txBody>
      </p:sp>
    </p:spTree>
    <p:extLst>
      <p:ext uri="{BB962C8B-B14F-4D97-AF65-F5344CB8AC3E}">
        <p14:creationId xmlns:p14="http://schemas.microsoft.com/office/powerpoint/2010/main" val="2590168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E7C0B4B3-6A21-44E3-AB3B-93E7ED9F764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01</a:t>
            </a:r>
            <a:br>
              <a:rPr lang="de-DE" dirty="0"/>
            </a:br>
            <a:endParaRPr lang="de-DE" dirty="0"/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8DF1B5E8-E7B9-4E88-B1E0-7B47657106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>
          <a:xfrm>
            <a:off x="540724" y="4634171"/>
            <a:ext cx="9951213" cy="702754"/>
          </a:xfrm>
        </p:spPr>
        <p:txBody>
          <a:bodyPr/>
          <a:lstStyle/>
          <a:p>
            <a:pPr lvl="0"/>
            <a:r>
              <a:rPr lang="de-DE" dirty="0">
                <a:solidFill>
                  <a:schemeClr val="bg1"/>
                </a:solidFill>
              </a:rPr>
              <a:t>E-REZEPT VORAUSSETZUN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667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">
            <a:extLst>
              <a:ext uri="{FF2B5EF4-FFF2-40B4-BE49-F238E27FC236}">
                <a16:creationId xmlns:a16="http://schemas.microsoft.com/office/drawing/2014/main" id="{765F4482-AFF9-48B8-BC33-B65012C8CA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6130" y="430070"/>
            <a:ext cx="7987210" cy="1079859"/>
          </a:xfrm>
        </p:spPr>
        <p:txBody>
          <a:bodyPr/>
          <a:lstStyle/>
          <a:p>
            <a:r>
              <a:rPr lang="de-DE" dirty="0"/>
              <a:t>VORAUSSETZUNGEN E-Rezept</a:t>
            </a:r>
          </a:p>
        </p:txBody>
      </p:sp>
      <p:sp>
        <p:nvSpPr>
          <p:cNvPr id="21" name="Inhalt 1">
            <a:extLst>
              <a:ext uri="{FF2B5EF4-FFF2-40B4-BE49-F238E27FC236}">
                <a16:creationId xmlns:a16="http://schemas.microsoft.com/office/drawing/2014/main" id="{CA8229A1-A9AF-4939-8C5A-1A1461811DA3}"/>
              </a:ext>
            </a:extLst>
          </p:cNvPr>
          <p:cNvSpPr>
            <a:spLocks noGrp="1"/>
          </p:cNvSpPr>
          <p:nvPr>
            <p:ph sz="half" idx="21"/>
          </p:nvPr>
        </p:nvSpPr>
        <p:spPr bwMode="gray">
          <a:xfrm>
            <a:off x="226132" y="1509930"/>
            <a:ext cx="8006366" cy="3641179"/>
          </a:xfrm>
        </p:spPr>
        <p:txBody>
          <a:bodyPr/>
          <a:lstStyle/>
          <a:p>
            <a:pPr>
              <a:spcAft>
                <a:spcPts val="2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Mindestens CGM TURBOMED </a:t>
            </a:r>
            <a:r>
              <a:rPr lang="de-DE" sz="2000" b="1" u="sng" dirty="0">
                <a:solidFill>
                  <a:srgbClr val="003366"/>
                </a:solidFill>
              </a:rPr>
              <a:t>Version 22.2.1 </a:t>
            </a:r>
            <a:r>
              <a:rPr lang="de-DE" sz="2000" dirty="0">
                <a:solidFill>
                  <a:srgbClr val="003366"/>
                </a:solidFill>
              </a:rPr>
              <a:t>(Q2 2022)</a:t>
            </a:r>
          </a:p>
          <a:p>
            <a:pPr>
              <a:spcAft>
                <a:spcPts val="2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Vorhandener Anschluss der Praxis an die Telematikinfrastruktur</a:t>
            </a:r>
          </a:p>
          <a:p>
            <a:pPr>
              <a:spcAft>
                <a:spcPts val="2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Signierende Arzt verfügt über einen </a:t>
            </a:r>
            <a:r>
              <a:rPr lang="de-DE" sz="2000" b="1" u="sng" dirty="0">
                <a:solidFill>
                  <a:srgbClr val="003366"/>
                </a:solidFill>
              </a:rPr>
              <a:t>eHBA Generation 2</a:t>
            </a:r>
            <a:r>
              <a:rPr lang="de-DE" sz="2000" dirty="0">
                <a:solidFill>
                  <a:srgbClr val="003366"/>
                </a:solidFill>
              </a:rPr>
              <a:t> (ACHTUNG: Anders als bei der eAU, Signierung via SMC-B nicht möglich)</a:t>
            </a:r>
          </a:p>
          <a:p>
            <a:pPr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TI-Station benötigt ein zugeordnetes Kartenterminal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003366"/>
                </a:solidFill>
              </a:rPr>
              <a:t>Für die Authentisierung der Praxis mittels SMC-B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003366"/>
                </a:solidFill>
              </a:rPr>
              <a:t>Für die Signierung des E-Rezepts mittels eHBA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800" dirty="0">
              <a:solidFill>
                <a:srgbClr val="003366"/>
              </a:solidFill>
            </a:endParaRPr>
          </a:p>
          <a:p>
            <a:pPr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Komfortsignatur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003366"/>
                </a:solidFill>
              </a:rPr>
              <a:t>Anbindung AIS an den Konnektor </a:t>
            </a:r>
            <a:r>
              <a:rPr lang="de-DE" sz="1800" b="1" u="sng" dirty="0">
                <a:solidFill>
                  <a:srgbClr val="003366"/>
                </a:solidFill>
              </a:rPr>
              <a:t>mit aktivierter </a:t>
            </a:r>
            <a:r>
              <a:rPr lang="de-DE" sz="1800" dirty="0">
                <a:solidFill>
                  <a:srgbClr val="003366"/>
                </a:solidFill>
              </a:rPr>
              <a:t>TLS-Verschlüsselung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003366"/>
                </a:solidFill>
              </a:rPr>
              <a:t>Aktivierung der Komfortsignatur in der Konfiguration des Konnektors</a:t>
            </a:r>
          </a:p>
          <a:p>
            <a:pPr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2000" dirty="0">
              <a:solidFill>
                <a:srgbClr val="003366"/>
              </a:solidFill>
            </a:endParaRPr>
          </a:p>
          <a:p>
            <a:pPr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Drucker mit min. 300dpi für den Patientenausdruck (Optional)</a:t>
            </a: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E67542B5-406D-49F8-98E7-46AFBA46F071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360CE102-1765-43F5-AEA8-482FAA6C14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609" y="6370258"/>
            <a:ext cx="3299870" cy="218690"/>
          </a:xfrm>
        </p:spPr>
        <p:txBody>
          <a:bodyPr/>
          <a:lstStyle/>
          <a:p>
            <a:r>
              <a:rPr lang="de-DE"/>
              <a:t>Vorstellung E-Rezept KV Sachsen</a:t>
            </a:r>
          </a:p>
        </p:txBody>
      </p:sp>
      <p:pic>
        <p:nvPicPr>
          <p:cNvPr id="14" name="Bildplatzhalter 8" descr="Zahnräder Silhouette">
            <a:extLst>
              <a:ext uri="{FF2B5EF4-FFF2-40B4-BE49-F238E27FC236}">
                <a16:creationId xmlns:a16="http://schemas.microsoft.com/office/drawing/2014/main" id="{87AA0267-32B7-E2A3-4D14-E4DD83EA428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7505" r="17505"/>
          <a:stretch>
            <a:fillRect/>
          </a:stretch>
        </p:blipFill>
        <p:spPr>
          <a:xfrm>
            <a:off x="8232497" y="446"/>
            <a:ext cx="3957123" cy="6089351"/>
          </a:xfrm>
        </p:spPr>
      </p:pic>
    </p:spTree>
    <p:extLst>
      <p:ext uri="{BB962C8B-B14F-4D97-AF65-F5344CB8AC3E}">
        <p14:creationId xmlns:p14="http://schemas.microsoft.com/office/powerpoint/2010/main" val="1066534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E7C0B4B3-6A21-44E3-AB3B-93E7ED9F764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8DF1B5E8-E7B9-4E88-B1E0-7B47657106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/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de-DE" b="1" dirty="0"/>
              <a:t>AKTIVIERUNG</a:t>
            </a:r>
            <a:r>
              <a:rPr lang="de-DE" dirty="0"/>
              <a:t> E-REZEPT IN CGM TURBOMED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de-DE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06118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">
            <a:extLst>
              <a:ext uri="{FF2B5EF4-FFF2-40B4-BE49-F238E27FC236}">
                <a16:creationId xmlns:a16="http://schemas.microsoft.com/office/drawing/2014/main" id="{765F4482-AFF9-48B8-BC33-B65012C8CA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369" y="199191"/>
            <a:ext cx="10791924" cy="1079859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de-DE" b="1" dirty="0"/>
              <a:t>Aktivierung</a:t>
            </a:r>
            <a:r>
              <a:rPr lang="de-DE" dirty="0"/>
              <a:t> E-Rezept in CGM TURBOMED</a:t>
            </a:r>
          </a:p>
        </p:txBody>
      </p:sp>
      <p:sp>
        <p:nvSpPr>
          <p:cNvPr id="21" name="Inhalt 1">
            <a:extLst>
              <a:ext uri="{FF2B5EF4-FFF2-40B4-BE49-F238E27FC236}">
                <a16:creationId xmlns:a16="http://schemas.microsoft.com/office/drawing/2014/main" id="{CA8229A1-A9AF-4939-8C5A-1A1461811DA3}"/>
              </a:ext>
            </a:extLst>
          </p:cNvPr>
          <p:cNvSpPr>
            <a:spLocks noGrp="1"/>
          </p:cNvSpPr>
          <p:nvPr>
            <p:ph sz="half" idx="21"/>
          </p:nvPr>
        </p:nvSpPr>
        <p:spPr bwMode="gray">
          <a:xfrm>
            <a:off x="245287" y="1417094"/>
            <a:ext cx="3712630" cy="4216317"/>
          </a:xfrm>
        </p:spPr>
        <p:txBody>
          <a:bodyPr/>
          <a:lstStyle/>
          <a:p>
            <a:pPr>
              <a:spcAft>
                <a:spcPts val="20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Keine Modulfreischaltung erforderlich</a:t>
            </a:r>
          </a:p>
          <a:p>
            <a:pPr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000" dirty="0">
                <a:solidFill>
                  <a:srgbClr val="003366"/>
                </a:solidFill>
              </a:rPr>
              <a:t>Bei der erstmaligen Nutzung müssen folgende Schritte durchgeführt werden</a:t>
            </a:r>
          </a:p>
          <a:p>
            <a:pPr lvl="1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003366"/>
                </a:solidFill>
              </a:rPr>
              <a:t>Bestätigung der Einwilligungserklärung</a:t>
            </a:r>
          </a:p>
          <a:p>
            <a:pPr lvl="1"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rgbClr val="003366"/>
                </a:solidFill>
              </a:rPr>
              <a:t>Setzen der Route zum Fachdienst der gematik</a:t>
            </a:r>
          </a:p>
          <a:p>
            <a:pPr lvl="1"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1800" dirty="0">
              <a:solidFill>
                <a:srgbClr val="003366"/>
              </a:solidFill>
            </a:endParaRPr>
          </a:p>
          <a:p>
            <a:pPr marL="449955" lvl="1" indent="0">
              <a:spcAft>
                <a:spcPts val="0"/>
              </a:spcAft>
              <a:buClr>
                <a:schemeClr val="tx1"/>
              </a:buClr>
              <a:buNone/>
            </a:pPr>
            <a:endParaRPr lang="de-DE" sz="1800" dirty="0">
              <a:solidFill>
                <a:srgbClr val="003366"/>
              </a:solidFill>
            </a:endParaRPr>
          </a:p>
          <a:p>
            <a:pPr marL="0" indent="0">
              <a:buNone/>
            </a:pPr>
            <a:endParaRPr lang="de-DE" dirty="0"/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E67542B5-406D-49F8-98E7-46AFBA46F071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360CE102-1765-43F5-AEA8-482FAA6C14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609" y="6370258"/>
            <a:ext cx="3299870" cy="218690"/>
          </a:xfrm>
        </p:spPr>
        <p:txBody>
          <a:bodyPr/>
          <a:lstStyle/>
          <a:p>
            <a:r>
              <a:rPr lang="de-DE"/>
              <a:t>Vorstellung E-Rezept KV Sachsen</a:t>
            </a:r>
          </a:p>
        </p:txBody>
      </p:sp>
      <p:pic>
        <p:nvPicPr>
          <p:cNvPr id="13" name="Picture 2" descr="Verschiedene Technologiegeräte und -icons in blau, die über einer Hand schweben">
            <a:extLst>
              <a:ext uri="{FF2B5EF4-FFF2-40B4-BE49-F238E27FC236}">
                <a16:creationId xmlns:a16="http://schemas.microsoft.com/office/drawing/2014/main" id="{5776A479-7411-42C2-E247-A5AFB71D5FC8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9" r="25629"/>
          <a:stretch/>
        </p:blipFill>
        <p:spPr bwMode="auto">
          <a:xfrm>
            <a:off x="8232497" y="447"/>
            <a:ext cx="3957123" cy="6088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1C421357-1C40-00F4-8023-16CCFBB784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9239" y="1404754"/>
            <a:ext cx="3771935" cy="3971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872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">
            <a:extLst>
              <a:ext uri="{FF2B5EF4-FFF2-40B4-BE49-F238E27FC236}">
                <a16:creationId xmlns:a16="http://schemas.microsoft.com/office/drawing/2014/main" id="{765F4482-AFF9-48B8-BC33-B65012C8CA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227369" y="199191"/>
            <a:ext cx="10791924" cy="1079859"/>
          </a:xfrm>
        </p:spPr>
        <p:txBody>
          <a:bodyPr/>
          <a:lstStyle/>
          <a:p>
            <a:r>
              <a:rPr lang="de-DE" b="1" dirty="0"/>
              <a:t>Aktivierung</a:t>
            </a:r>
            <a:r>
              <a:rPr lang="de-DE" dirty="0"/>
              <a:t> E-Rezept in CGM TURBOMED</a:t>
            </a:r>
          </a:p>
        </p:txBody>
      </p:sp>
      <p:sp>
        <p:nvSpPr>
          <p:cNvPr id="3" name="Datum">
            <a:extLst>
              <a:ext uri="{FF2B5EF4-FFF2-40B4-BE49-F238E27FC236}">
                <a16:creationId xmlns:a16="http://schemas.microsoft.com/office/drawing/2014/main" id="{E67542B5-406D-49F8-98E7-46AFBA46F071}"/>
              </a:ext>
            </a:extLst>
          </p:cNvPr>
          <p:cNvSpPr>
            <a:spLocks noGrp="1"/>
          </p:cNvSpPr>
          <p:nvPr>
            <p:ph type="dt" sz="half" idx="16"/>
          </p:nvPr>
        </p:nvSpPr>
        <p:spPr bwMode="gray"/>
        <p:txBody>
          <a:bodyPr/>
          <a:lstStyle/>
          <a:p>
            <a:r>
              <a:rPr lang="en-US"/>
              <a:t>01.12.2023</a:t>
            </a:r>
            <a:endParaRPr lang="de-DE"/>
          </a:p>
        </p:txBody>
      </p:sp>
      <p:sp>
        <p:nvSpPr>
          <p:cNvPr id="4" name="Fußzeile">
            <a:extLst>
              <a:ext uri="{FF2B5EF4-FFF2-40B4-BE49-F238E27FC236}">
                <a16:creationId xmlns:a16="http://schemas.microsoft.com/office/drawing/2014/main" id="{360CE102-1765-43F5-AEA8-482FAA6C14F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>
          <a:xfrm>
            <a:off x="2186609" y="6370258"/>
            <a:ext cx="3299870" cy="218690"/>
          </a:xfrm>
        </p:spPr>
        <p:txBody>
          <a:bodyPr/>
          <a:lstStyle/>
          <a:p>
            <a:r>
              <a:rPr lang="de-DE"/>
              <a:t>Vorstellung E-Rezept KV Sachsen</a:t>
            </a:r>
          </a:p>
        </p:txBody>
      </p:sp>
      <p:pic>
        <p:nvPicPr>
          <p:cNvPr id="13" name="Picture 2" descr="Verschiedene Technologiegeräte und -icons in blau, die über einer Hand schweben">
            <a:extLst>
              <a:ext uri="{FF2B5EF4-FFF2-40B4-BE49-F238E27FC236}">
                <a16:creationId xmlns:a16="http://schemas.microsoft.com/office/drawing/2014/main" id="{5776A479-7411-42C2-E247-A5AFB71D5FC8}"/>
              </a:ext>
            </a:extLst>
          </p:cNvPr>
          <p:cNvPicPr>
            <a:picLocks noGrp="1" noChangeAspect="1" noChangeArrowheads="1"/>
          </p:cNvPicPr>
          <p:nvPr>
            <p:ph type="pic" sz="quarter" idx="1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9" r="25629"/>
          <a:stretch/>
        </p:blipFill>
        <p:spPr bwMode="auto">
          <a:xfrm>
            <a:off x="8232497" y="447"/>
            <a:ext cx="3957123" cy="6088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A3BD33C-3F5D-78AC-7571-7882EF5BF5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7369" y="1279052"/>
            <a:ext cx="5862820" cy="4453433"/>
          </a:xfrm>
          <a:prstGeom prst="rect">
            <a:avLst/>
          </a:prstGeom>
        </p:spPr>
      </p:pic>
      <p:pic>
        <p:nvPicPr>
          <p:cNvPr id="10" name="Inhaltsplatzhalter 6">
            <a:extLst>
              <a:ext uri="{FF2B5EF4-FFF2-40B4-BE49-F238E27FC236}">
                <a16:creationId xmlns:a16="http://schemas.microsoft.com/office/drawing/2014/main" id="{B25E1867-F92A-C47D-2D6E-10C27F94250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2067" y="1279050"/>
            <a:ext cx="7280430" cy="4174251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F771A05E-BBF2-A2A7-CB21-8B6669F3C0CF}"/>
              </a:ext>
            </a:extLst>
          </p:cNvPr>
          <p:cNvSpPr/>
          <p:nvPr/>
        </p:nvSpPr>
        <p:spPr>
          <a:xfrm>
            <a:off x="4112250" y="5100031"/>
            <a:ext cx="1090395" cy="265436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5" tIns="35995" rIns="35995" bIns="35995" rtlCol="0" anchor="ctr"/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de-DE" dirty="0" err="1"/>
          </a:p>
        </p:txBody>
      </p:sp>
    </p:spTree>
    <p:extLst>
      <p:ext uri="{BB962C8B-B14F-4D97-AF65-F5344CB8AC3E}">
        <p14:creationId xmlns:p14="http://schemas.microsoft.com/office/powerpoint/2010/main" val="2769681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">
            <a:extLst>
              <a:ext uri="{FF2B5EF4-FFF2-40B4-BE49-F238E27FC236}">
                <a16:creationId xmlns:a16="http://schemas.microsoft.com/office/drawing/2014/main" id="{E7C0B4B3-6A21-44E3-AB3B-93E7ED9F764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6" name="Untertitel">
            <a:extLst>
              <a:ext uri="{FF2B5EF4-FFF2-40B4-BE49-F238E27FC236}">
                <a16:creationId xmlns:a16="http://schemas.microsoft.com/office/drawing/2014/main" id="{8DF1B5E8-E7B9-4E88-B1E0-7B476571060B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 bwMode="gray"/>
        <p:txBody>
          <a:bodyPr/>
          <a:lstStyle/>
          <a:p>
            <a:r>
              <a:rPr lang="de-DE" dirty="0"/>
              <a:t>SCHAUBILD E-REZEPT</a:t>
            </a:r>
          </a:p>
        </p:txBody>
      </p:sp>
    </p:spTree>
    <p:extLst>
      <p:ext uri="{BB962C8B-B14F-4D97-AF65-F5344CB8AC3E}">
        <p14:creationId xmlns:p14="http://schemas.microsoft.com/office/powerpoint/2010/main" val="708689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5675C0A-141E-DD5A-3590-A9D4FAE587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7" imgH="348" progId="TCLayout.ActiveDocument.1">
                  <p:embed/>
                </p:oleObj>
              </mc:Choice>
              <mc:Fallback>
                <p:oleObj name="think-cell Folie" r:id="rId3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5675C0A-141E-DD5A-3590-A9D4FAE58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6" name="Grafik 345" descr="Ein Bild, das Person, Im Haus, Geschirr, Tisch enthält.&#10;&#10;Automatisch generierte Beschreibung">
            <a:extLst>
              <a:ext uri="{FF2B5EF4-FFF2-40B4-BE49-F238E27FC236}">
                <a16:creationId xmlns:a16="http://schemas.microsoft.com/office/drawing/2014/main" id="{51F1A542-07E3-33DF-BACE-6999CF183C31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0000"/>
          </a:blip>
          <a:stretch>
            <a:fillRect/>
          </a:stretch>
        </p:blipFill>
        <p:spPr>
          <a:xfrm>
            <a:off x="-92365" y="-4371"/>
            <a:ext cx="12282777" cy="6858000"/>
          </a:xfrm>
          <a:prstGeom prst="rect">
            <a:avLst/>
          </a:prstGeom>
        </p:spPr>
      </p:pic>
      <p:sp>
        <p:nvSpPr>
          <p:cNvPr id="8" name="Title">
            <a:extLst>
              <a:ext uri="{FF2B5EF4-FFF2-40B4-BE49-F238E27FC236}">
                <a16:creationId xmlns:a16="http://schemas.microsoft.com/office/drawing/2014/main" id="{45A21396-99CA-4344-94B5-7FB9F6FB72A8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Funktionsweise</a:t>
            </a:r>
          </a:p>
        </p:txBody>
      </p:sp>
      <p:sp>
        <p:nvSpPr>
          <p:cNvPr id="4" name="Datum">
            <a:extLst>
              <a:ext uri="{FF2B5EF4-FFF2-40B4-BE49-F238E27FC236}">
                <a16:creationId xmlns:a16="http://schemas.microsoft.com/office/drawing/2014/main" id="{F685F2F3-E5DD-4565-8D58-018A80A16720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r>
              <a:rPr lang="en-US" noProof="0"/>
              <a:t>01.12.2023</a:t>
            </a:r>
            <a:endParaRPr lang="de-DE" noProof="0" dirty="0"/>
          </a:p>
        </p:txBody>
      </p:sp>
      <p:sp>
        <p:nvSpPr>
          <p:cNvPr id="17" name="Fußzeile">
            <a:extLst>
              <a:ext uri="{FF2B5EF4-FFF2-40B4-BE49-F238E27FC236}">
                <a16:creationId xmlns:a16="http://schemas.microsoft.com/office/drawing/2014/main" id="{9448A163-4C55-4BDF-9EDB-E3D70796527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 noProof="0"/>
              <a:t>Vorstellung E-Rezept KV Sachsen</a:t>
            </a:r>
            <a:endParaRPr lang="de-DE" noProof="0" dirty="0"/>
          </a:p>
        </p:txBody>
      </p:sp>
      <p:grpSp>
        <p:nvGrpSpPr>
          <p:cNvPr id="342" name="Gruppieren 341">
            <a:extLst>
              <a:ext uri="{FF2B5EF4-FFF2-40B4-BE49-F238E27FC236}">
                <a16:creationId xmlns:a16="http://schemas.microsoft.com/office/drawing/2014/main" id="{4CB7317A-912C-6E0B-8318-5E0C88F4C90E}"/>
              </a:ext>
            </a:extLst>
          </p:cNvPr>
          <p:cNvGrpSpPr/>
          <p:nvPr/>
        </p:nvGrpSpPr>
        <p:grpSpPr>
          <a:xfrm>
            <a:off x="727200" y="1261691"/>
            <a:ext cx="10173077" cy="4334618"/>
            <a:chOff x="727200" y="1512000"/>
            <a:chExt cx="10173077" cy="4334618"/>
          </a:xfrm>
        </p:grpSpPr>
        <p:sp>
          <p:nvSpPr>
            <p:cNvPr id="329" name="Rechteck: abgerundete Ecken 328">
              <a:extLst>
                <a:ext uri="{FF2B5EF4-FFF2-40B4-BE49-F238E27FC236}">
                  <a16:creationId xmlns:a16="http://schemas.microsoft.com/office/drawing/2014/main" id="{35FCA1FD-A06F-EA54-983D-85E437AC2F7F}"/>
                </a:ext>
              </a:extLst>
            </p:cNvPr>
            <p:cNvSpPr/>
            <p:nvPr/>
          </p:nvSpPr>
          <p:spPr>
            <a:xfrm>
              <a:off x="8596305" y="1802558"/>
              <a:ext cx="2303972" cy="4044060"/>
            </a:xfrm>
            <a:custGeom>
              <a:avLst/>
              <a:gdLst>
                <a:gd name="connsiteX0" fmla="*/ 0 w 2303972"/>
                <a:gd name="connsiteY0" fmla="*/ 384003 h 4044060"/>
                <a:gd name="connsiteX1" fmla="*/ 384003 w 2303972"/>
                <a:gd name="connsiteY1" fmla="*/ 0 h 4044060"/>
                <a:gd name="connsiteX2" fmla="*/ 911351 w 2303972"/>
                <a:gd name="connsiteY2" fmla="*/ 0 h 4044060"/>
                <a:gd name="connsiteX3" fmla="*/ 1392621 w 2303972"/>
                <a:gd name="connsiteY3" fmla="*/ 0 h 4044060"/>
                <a:gd name="connsiteX4" fmla="*/ 1919969 w 2303972"/>
                <a:gd name="connsiteY4" fmla="*/ 0 h 4044060"/>
                <a:gd name="connsiteX5" fmla="*/ 2303972 w 2303972"/>
                <a:gd name="connsiteY5" fmla="*/ 384003 h 4044060"/>
                <a:gd name="connsiteX6" fmla="*/ 2303972 w 2303972"/>
                <a:gd name="connsiteY6" fmla="*/ 864491 h 4044060"/>
                <a:gd name="connsiteX7" fmla="*/ 2303972 w 2303972"/>
                <a:gd name="connsiteY7" fmla="*/ 1410500 h 4044060"/>
                <a:gd name="connsiteX8" fmla="*/ 2303972 w 2303972"/>
                <a:gd name="connsiteY8" fmla="*/ 1858227 h 4044060"/>
                <a:gd name="connsiteX9" fmla="*/ 2303972 w 2303972"/>
                <a:gd name="connsiteY9" fmla="*/ 2469757 h 4044060"/>
                <a:gd name="connsiteX10" fmla="*/ 2303972 w 2303972"/>
                <a:gd name="connsiteY10" fmla="*/ 2950245 h 4044060"/>
                <a:gd name="connsiteX11" fmla="*/ 2303972 w 2303972"/>
                <a:gd name="connsiteY11" fmla="*/ 3660057 h 4044060"/>
                <a:gd name="connsiteX12" fmla="*/ 1919969 w 2303972"/>
                <a:gd name="connsiteY12" fmla="*/ 4044060 h 4044060"/>
                <a:gd name="connsiteX13" fmla="*/ 1392621 w 2303972"/>
                <a:gd name="connsiteY13" fmla="*/ 4044060 h 4044060"/>
                <a:gd name="connsiteX14" fmla="*/ 849913 w 2303972"/>
                <a:gd name="connsiteY14" fmla="*/ 4044060 h 4044060"/>
                <a:gd name="connsiteX15" fmla="*/ 384003 w 2303972"/>
                <a:gd name="connsiteY15" fmla="*/ 4044060 h 4044060"/>
                <a:gd name="connsiteX16" fmla="*/ 0 w 2303972"/>
                <a:gd name="connsiteY16" fmla="*/ 3660057 h 4044060"/>
                <a:gd name="connsiteX17" fmla="*/ 0 w 2303972"/>
                <a:gd name="connsiteY17" fmla="*/ 3048527 h 4044060"/>
                <a:gd name="connsiteX18" fmla="*/ 0 w 2303972"/>
                <a:gd name="connsiteY18" fmla="*/ 2600800 h 4044060"/>
                <a:gd name="connsiteX19" fmla="*/ 0 w 2303972"/>
                <a:gd name="connsiteY19" fmla="*/ 2054791 h 4044060"/>
                <a:gd name="connsiteX20" fmla="*/ 0 w 2303972"/>
                <a:gd name="connsiteY20" fmla="*/ 1443260 h 4044060"/>
                <a:gd name="connsiteX21" fmla="*/ 0 w 2303972"/>
                <a:gd name="connsiteY21" fmla="*/ 864491 h 4044060"/>
                <a:gd name="connsiteX22" fmla="*/ 0 w 2303972"/>
                <a:gd name="connsiteY22" fmla="*/ 384003 h 404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303972" h="4044060" extrusionOk="0">
                  <a:moveTo>
                    <a:pt x="0" y="384003"/>
                  </a:moveTo>
                  <a:cubicBezTo>
                    <a:pt x="5843" y="185642"/>
                    <a:pt x="174111" y="4077"/>
                    <a:pt x="384003" y="0"/>
                  </a:cubicBezTo>
                  <a:cubicBezTo>
                    <a:pt x="630947" y="-27850"/>
                    <a:pt x="778109" y="25158"/>
                    <a:pt x="911351" y="0"/>
                  </a:cubicBezTo>
                  <a:cubicBezTo>
                    <a:pt x="1044593" y="-25158"/>
                    <a:pt x="1263943" y="33250"/>
                    <a:pt x="1392621" y="0"/>
                  </a:cubicBezTo>
                  <a:cubicBezTo>
                    <a:pt x="1521299" y="-33250"/>
                    <a:pt x="1665274" y="1583"/>
                    <a:pt x="1919969" y="0"/>
                  </a:cubicBezTo>
                  <a:cubicBezTo>
                    <a:pt x="2168317" y="11925"/>
                    <a:pt x="2263530" y="140673"/>
                    <a:pt x="2303972" y="384003"/>
                  </a:cubicBezTo>
                  <a:cubicBezTo>
                    <a:pt x="2350803" y="533569"/>
                    <a:pt x="2291535" y="627099"/>
                    <a:pt x="2303972" y="864491"/>
                  </a:cubicBezTo>
                  <a:cubicBezTo>
                    <a:pt x="2316409" y="1101883"/>
                    <a:pt x="2260263" y="1281317"/>
                    <a:pt x="2303972" y="1410500"/>
                  </a:cubicBezTo>
                  <a:cubicBezTo>
                    <a:pt x="2347681" y="1539683"/>
                    <a:pt x="2297478" y="1688122"/>
                    <a:pt x="2303972" y="1858227"/>
                  </a:cubicBezTo>
                  <a:cubicBezTo>
                    <a:pt x="2310466" y="2028332"/>
                    <a:pt x="2282006" y="2345666"/>
                    <a:pt x="2303972" y="2469757"/>
                  </a:cubicBezTo>
                  <a:cubicBezTo>
                    <a:pt x="2325938" y="2593848"/>
                    <a:pt x="2253500" y="2848814"/>
                    <a:pt x="2303972" y="2950245"/>
                  </a:cubicBezTo>
                  <a:cubicBezTo>
                    <a:pt x="2354444" y="3051676"/>
                    <a:pt x="2243142" y="3440478"/>
                    <a:pt x="2303972" y="3660057"/>
                  </a:cubicBezTo>
                  <a:cubicBezTo>
                    <a:pt x="2330760" y="3862515"/>
                    <a:pt x="2091905" y="4054057"/>
                    <a:pt x="1919969" y="4044060"/>
                  </a:cubicBezTo>
                  <a:cubicBezTo>
                    <a:pt x="1727919" y="4054666"/>
                    <a:pt x="1526651" y="4024031"/>
                    <a:pt x="1392621" y="4044060"/>
                  </a:cubicBezTo>
                  <a:cubicBezTo>
                    <a:pt x="1258591" y="4064089"/>
                    <a:pt x="998860" y="3999837"/>
                    <a:pt x="849913" y="4044060"/>
                  </a:cubicBezTo>
                  <a:cubicBezTo>
                    <a:pt x="700966" y="4088283"/>
                    <a:pt x="608291" y="4040579"/>
                    <a:pt x="384003" y="4044060"/>
                  </a:cubicBezTo>
                  <a:cubicBezTo>
                    <a:pt x="173602" y="4026419"/>
                    <a:pt x="24520" y="3890488"/>
                    <a:pt x="0" y="3660057"/>
                  </a:cubicBezTo>
                  <a:cubicBezTo>
                    <a:pt x="-2731" y="3369665"/>
                    <a:pt x="11102" y="3259713"/>
                    <a:pt x="0" y="3048527"/>
                  </a:cubicBezTo>
                  <a:cubicBezTo>
                    <a:pt x="-11102" y="2837341"/>
                    <a:pt x="44695" y="2695151"/>
                    <a:pt x="0" y="2600800"/>
                  </a:cubicBezTo>
                  <a:cubicBezTo>
                    <a:pt x="-44695" y="2506449"/>
                    <a:pt x="22991" y="2232577"/>
                    <a:pt x="0" y="2054791"/>
                  </a:cubicBezTo>
                  <a:cubicBezTo>
                    <a:pt x="-22991" y="1877005"/>
                    <a:pt x="22186" y="1713559"/>
                    <a:pt x="0" y="1443260"/>
                  </a:cubicBezTo>
                  <a:cubicBezTo>
                    <a:pt x="-22186" y="1172961"/>
                    <a:pt x="63003" y="1059162"/>
                    <a:pt x="0" y="864491"/>
                  </a:cubicBezTo>
                  <a:cubicBezTo>
                    <a:pt x="-63003" y="669820"/>
                    <a:pt x="46191" y="534542"/>
                    <a:pt x="0" y="384003"/>
                  </a:cubicBezTo>
                  <a:close/>
                </a:path>
              </a:pathLst>
            </a:custGeom>
            <a:noFill/>
            <a:ln w="3175">
              <a:solidFill>
                <a:srgbClr val="EF7D14"/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2561626728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 err="1"/>
            </a:p>
          </p:txBody>
        </p:sp>
        <p:sp>
          <p:nvSpPr>
            <p:cNvPr id="328" name="Rechteck: abgerundete Ecken 327">
              <a:extLst>
                <a:ext uri="{FF2B5EF4-FFF2-40B4-BE49-F238E27FC236}">
                  <a16:creationId xmlns:a16="http://schemas.microsoft.com/office/drawing/2014/main" id="{A96DB46A-9E55-A5CB-72C7-E8C2EDECA6D1}"/>
                </a:ext>
              </a:extLst>
            </p:cNvPr>
            <p:cNvSpPr/>
            <p:nvPr/>
          </p:nvSpPr>
          <p:spPr>
            <a:xfrm>
              <a:off x="6255284" y="1804887"/>
              <a:ext cx="1935045" cy="4041731"/>
            </a:xfrm>
            <a:custGeom>
              <a:avLst/>
              <a:gdLst>
                <a:gd name="connsiteX0" fmla="*/ 0 w 1935045"/>
                <a:gd name="connsiteY0" fmla="*/ 322514 h 4041731"/>
                <a:gd name="connsiteX1" fmla="*/ 322514 w 1935045"/>
                <a:gd name="connsiteY1" fmla="*/ 0 h 4041731"/>
                <a:gd name="connsiteX2" fmla="*/ 765420 w 1935045"/>
                <a:gd name="connsiteY2" fmla="*/ 0 h 4041731"/>
                <a:gd name="connsiteX3" fmla="*/ 1169625 w 1935045"/>
                <a:gd name="connsiteY3" fmla="*/ 0 h 4041731"/>
                <a:gd name="connsiteX4" fmla="*/ 1612531 w 1935045"/>
                <a:gd name="connsiteY4" fmla="*/ 0 h 4041731"/>
                <a:gd name="connsiteX5" fmla="*/ 1935045 w 1935045"/>
                <a:gd name="connsiteY5" fmla="*/ 322514 h 4041731"/>
                <a:gd name="connsiteX6" fmla="*/ 1935045 w 1935045"/>
                <a:gd name="connsiteY6" fmla="*/ 820697 h 4041731"/>
                <a:gd name="connsiteX7" fmla="*/ 1935045 w 1935045"/>
                <a:gd name="connsiteY7" fmla="*/ 1386814 h 4041731"/>
                <a:gd name="connsiteX8" fmla="*/ 1935045 w 1935045"/>
                <a:gd name="connsiteY8" fmla="*/ 1851030 h 4041731"/>
                <a:gd name="connsiteX9" fmla="*/ 1935045 w 1935045"/>
                <a:gd name="connsiteY9" fmla="*/ 2485082 h 4041731"/>
                <a:gd name="connsiteX10" fmla="*/ 1935045 w 1935045"/>
                <a:gd name="connsiteY10" fmla="*/ 2983265 h 4041731"/>
                <a:gd name="connsiteX11" fmla="*/ 1935045 w 1935045"/>
                <a:gd name="connsiteY11" fmla="*/ 3719217 h 4041731"/>
                <a:gd name="connsiteX12" fmla="*/ 1612531 w 1935045"/>
                <a:gd name="connsiteY12" fmla="*/ 4041731 h 4041731"/>
                <a:gd name="connsiteX13" fmla="*/ 1169625 w 1935045"/>
                <a:gd name="connsiteY13" fmla="*/ 4041731 h 4041731"/>
                <a:gd name="connsiteX14" fmla="*/ 713819 w 1935045"/>
                <a:gd name="connsiteY14" fmla="*/ 4041731 h 4041731"/>
                <a:gd name="connsiteX15" fmla="*/ 322514 w 1935045"/>
                <a:gd name="connsiteY15" fmla="*/ 4041731 h 4041731"/>
                <a:gd name="connsiteX16" fmla="*/ 0 w 1935045"/>
                <a:gd name="connsiteY16" fmla="*/ 3719217 h 4041731"/>
                <a:gd name="connsiteX17" fmla="*/ 0 w 1935045"/>
                <a:gd name="connsiteY17" fmla="*/ 3085166 h 4041731"/>
                <a:gd name="connsiteX18" fmla="*/ 0 w 1935045"/>
                <a:gd name="connsiteY18" fmla="*/ 2620950 h 4041731"/>
                <a:gd name="connsiteX19" fmla="*/ 0 w 1935045"/>
                <a:gd name="connsiteY19" fmla="*/ 2054833 h 4041731"/>
                <a:gd name="connsiteX20" fmla="*/ 0 w 1935045"/>
                <a:gd name="connsiteY20" fmla="*/ 1420781 h 4041731"/>
                <a:gd name="connsiteX21" fmla="*/ 0 w 1935045"/>
                <a:gd name="connsiteY21" fmla="*/ 820697 h 4041731"/>
                <a:gd name="connsiteX22" fmla="*/ 0 w 1935045"/>
                <a:gd name="connsiteY22" fmla="*/ 322514 h 404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935045" h="4041731" extrusionOk="0">
                  <a:moveTo>
                    <a:pt x="0" y="322514"/>
                  </a:moveTo>
                  <a:cubicBezTo>
                    <a:pt x="2063" y="149237"/>
                    <a:pt x="154535" y="18906"/>
                    <a:pt x="322514" y="0"/>
                  </a:cubicBezTo>
                  <a:cubicBezTo>
                    <a:pt x="418117" y="-24451"/>
                    <a:pt x="630451" y="13147"/>
                    <a:pt x="765420" y="0"/>
                  </a:cubicBezTo>
                  <a:cubicBezTo>
                    <a:pt x="900389" y="-13147"/>
                    <a:pt x="1084002" y="29961"/>
                    <a:pt x="1169625" y="0"/>
                  </a:cubicBezTo>
                  <a:cubicBezTo>
                    <a:pt x="1255249" y="-29961"/>
                    <a:pt x="1495755" y="6909"/>
                    <a:pt x="1612531" y="0"/>
                  </a:cubicBezTo>
                  <a:cubicBezTo>
                    <a:pt x="1804787" y="4648"/>
                    <a:pt x="1908653" y="124000"/>
                    <a:pt x="1935045" y="322514"/>
                  </a:cubicBezTo>
                  <a:cubicBezTo>
                    <a:pt x="1970005" y="518817"/>
                    <a:pt x="1877592" y="677652"/>
                    <a:pt x="1935045" y="820697"/>
                  </a:cubicBezTo>
                  <a:cubicBezTo>
                    <a:pt x="1992498" y="963742"/>
                    <a:pt x="1909821" y="1272177"/>
                    <a:pt x="1935045" y="1386814"/>
                  </a:cubicBezTo>
                  <a:cubicBezTo>
                    <a:pt x="1960269" y="1501451"/>
                    <a:pt x="1882222" y="1712350"/>
                    <a:pt x="1935045" y="1851030"/>
                  </a:cubicBezTo>
                  <a:cubicBezTo>
                    <a:pt x="1987868" y="1989710"/>
                    <a:pt x="1873854" y="2206579"/>
                    <a:pt x="1935045" y="2485082"/>
                  </a:cubicBezTo>
                  <a:cubicBezTo>
                    <a:pt x="1996236" y="2763585"/>
                    <a:pt x="1904300" y="2748364"/>
                    <a:pt x="1935045" y="2983265"/>
                  </a:cubicBezTo>
                  <a:cubicBezTo>
                    <a:pt x="1965790" y="3218166"/>
                    <a:pt x="1895041" y="3409681"/>
                    <a:pt x="1935045" y="3719217"/>
                  </a:cubicBezTo>
                  <a:cubicBezTo>
                    <a:pt x="1950105" y="3891928"/>
                    <a:pt x="1765570" y="4047977"/>
                    <a:pt x="1612531" y="4041731"/>
                  </a:cubicBezTo>
                  <a:cubicBezTo>
                    <a:pt x="1424661" y="4059564"/>
                    <a:pt x="1269787" y="3992878"/>
                    <a:pt x="1169625" y="4041731"/>
                  </a:cubicBezTo>
                  <a:cubicBezTo>
                    <a:pt x="1069463" y="4090584"/>
                    <a:pt x="810524" y="4012707"/>
                    <a:pt x="713819" y="4041731"/>
                  </a:cubicBezTo>
                  <a:cubicBezTo>
                    <a:pt x="617114" y="4070755"/>
                    <a:pt x="507943" y="4011439"/>
                    <a:pt x="322514" y="4041731"/>
                  </a:cubicBezTo>
                  <a:cubicBezTo>
                    <a:pt x="146356" y="4021098"/>
                    <a:pt x="28423" y="3918610"/>
                    <a:pt x="0" y="3719217"/>
                  </a:cubicBezTo>
                  <a:cubicBezTo>
                    <a:pt x="-61169" y="3433934"/>
                    <a:pt x="16412" y="3282344"/>
                    <a:pt x="0" y="3085166"/>
                  </a:cubicBezTo>
                  <a:cubicBezTo>
                    <a:pt x="-16412" y="2887988"/>
                    <a:pt x="38745" y="2829782"/>
                    <a:pt x="0" y="2620950"/>
                  </a:cubicBezTo>
                  <a:cubicBezTo>
                    <a:pt x="-38745" y="2412118"/>
                    <a:pt x="14815" y="2284823"/>
                    <a:pt x="0" y="2054833"/>
                  </a:cubicBezTo>
                  <a:cubicBezTo>
                    <a:pt x="-14815" y="1824843"/>
                    <a:pt x="28740" y="1609592"/>
                    <a:pt x="0" y="1420781"/>
                  </a:cubicBezTo>
                  <a:cubicBezTo>
                    <a:pt x="-28740" y="1231970"/>
                    <a:pt x="34680" y="945225"/>
                    <a:pt x="0" y="820697"/>
                  </a:cubicBezTo>
                  <a:cubicBezTo>
                    <a:pt x="-34680" y="696169"/>
                    <a:pt x="32574" y="533240"/>
                    <a:pt x="0" y="322514"/>
                  </a:cubicBezTo>
                  <a:close/>
                </a:path>
              </a:pathLst>
            </a:custGeom>
            <a:noFill/>
            <a:ln w="3175">
              <a:solidFill>
                <a:srgbClr val="00B050"/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2561626728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 err="1"/>
            </a:p>
          </p:txBody>
        </p:sp>
        <p:sp>
          <p:nvSpPr>
            <p:cNvPr id="326" name="Rechteck: abgerundete Ecken 325">
              <a:extLst>
                <a:ext uri="{FF2B5EF4-FFF2-40B4-BE49-F238E27FC236}">
                  <a16:creationId xmlns:a16="http://schemas.microsoft.com/office/drawing/2014/main" id="{38847F9C-F332-22B1-DF3E-F4873B8052BF}"/>
                </a:ext>
              </a:extLst>
            </p:cNvPr>
            <p:cNvSpPr/>
            <p:nvPr/>
          </p:nvSpPr>
          <p:spPr>
            <a:xfrm>
              <a:off x="727200" y="1810443"/>
              <a:ext cx="5119939" cy="4036175"/>
            </a:xfrm>
            <a:custGeom>
              <a:avLst/>
              <a:gdLst>
                <a:gd name="connsiteX0" fmla="*/ 0 w 5119939"/>
                <a:gd name="connsiteY0" fmla="*/ 672709 h 4036175"/>
                <a:gd name="connsiteX1" fmla="*/ 672709 w 5119939"/>
                <a:gd name="connsiteY1" fmla="*/ 0 h 4036175"/>
                <a:gd name="connsiteX2" fmla="*/ 1249671 w 5119939"/>
                <a:gd name="connsiteY2" fmla="*/ 0 h 4036175"/>
                <a:gd name="connsiteX3" fmla="*/ 1713398 w 5119939"/>
                <a:gd name="connsiteY3" fmla="*/ 0 h 4036175"/>
                <a:gd name="connsiteX4" fmla="*/ 2328106 w 5119939"/>
                <a:gd name="connsiteY4" fmla="*/ 0 h 4036175"/>
                <a:gd name="connsiteX5" fmla="*/ 2867323 w 5119939"/>
                <a:gd name="connsiteY5" fmla="*/ 0 h 4036175"/>
                <a:gd name="connsiteX6" fmla="*/ 3444286 w 5119939"/>
                <a:gd name="connsiteY6" fmla="*/ 0 h 4036175"/>
                <a:gd name="connsiteX7" fmla="*/ 4447230 w 5119939"/>
                <a:gd name="connsiteY7" fmla="*/ 0 h 4036175"/>
                <a:gd name="connsiteX8" fmla="*/ 5119939 w 5119939"/>
                <a:gd name="connsiteY8" fmla="*/ 672709 h 4036175"/>
                <a:gd name="connsiteX9" fmla="*/ 5119939 w 5119939"/>
                <a:gd name="connsiteY9" fmla="*/ 1237768 h 4036175"/>
                <a:gd name="connsiteX10" fmla="*/ 5119939 w 5119939"/>
                <a:gd name="connsiteY10" fmla="*/ 1722104 h 4036175"/>
                <a:gd name="connsiteX11" fmla="*/ 5119939 w 5119939"/>
                <a:gd name="connsiteY11" fmla="*/ 2314071 h 4036175"/>
                <a:gd name="connsiteX12" fmla="*/ 5119939 w 5119939"/>
                <a:gd name="connsiteY12" fmla="*/ 2879130 h 4036175"/>
                <a:gd name="connsiteX13" fmla="*/ 5119939 w 5119939"/>
                <a:gd name="connsiteY13" fmla="*/ 3363466 h 4036175"/>
                <a:gd name="connsiteX14" fmla="*/ 4447230 w 5119939"/>
                <a:gd name="connsiteY14" fmla="*/ 4036175 h 4036175"/>
                <a:gd name="connsiteX15" fmla="*/ 3908013 w 5119939"/>
                <a:gd name="connsiteY15" fmla="*/ 4036175 h 4036175"/>
                <a:gd name="connsiteX16" fmla="*/ 3368795 w 5119939"/>
                <a:gd name="connsiteY16" fmla="*/ 4036175 h 4036175"/>
                <a:gd name="connsiteX17" fmla="*/ 2942814 w 5119939"/>
                <a:gd name="connsiteY17" fmla="*/ 4036175 h 4036175"/>
                <a:gd name="connsiteX18" fmla="*/ 2479087 w 5119939"/>
                <a:gd name="connsiteY18" fmla="*/ 4036175 h 4036175"/>
                <a:gd name="connsiteX19" fmla="*/ 2053105 w 5119939"/>
                <a:gd name="connsiteY19" fmla="*/ 4036175 h 4036175"/>
                <a:gd name="connsiteX20" fmla="*/ 1513888 w 5119939"/>
                <a:gd name="connsiteY20" fmla="*/ 4036175 h 4036175"/>
                <a:gd name="connsiteX21" fmla="*/ 672709 w 5119939"/>
                <a:gd name="connsiteY21" fmla="*/ 4036175 h 4036175"/>
                <a:gd name="connsiteX22" fmla="*/ 0 w 5119939"/>
                <a:gd name="connsiteY22" fmla="*/ 3363466 h 4036175"/>
                <a:gd name="connsiteX23" fmla="*/ 0 w 5119939"/>
                <a:gd name="connsiteY23" fmla="*/ 2906037 h 4036175"/>
                <a:gd name="connsiteX24" fmla="*/ 0 w 5119939"/>
                <a:gd name="connsiteY24" fmla="*/ 2314071 h 4036175"/>
                <a:gd name="connsiteX25" fmla="*/ 0 w 5119939"/>
                <a:gd name="connsiteY25" fmla="*/ 1829735 h 4036175"/>
                <a:gd name="connsiteX26" fmla="*/ 0 w 5119939"/>
                <a:gd name="connsiteY26" fmla="*/ 1291583 h 4036175"/>
                <a:gd name="connsiteX27" fmla="*/ 0 w 5119939"/>
                <a:gd name="connsiteY27" fmla="*/ 672709 h 4036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119939" h="4036175" extrusionOk="0">
                  <a:moveTo>
                    <a:pt x="0" y="672709"/>
                  </a:moveTo>
                  <a:cubicBezTo>
                    <a:pt x="29823" y="371198"/>
                    <a:pt x="327500" y="49068"/>
                    <a:pt x="672709" y="0"/>
                  </a:cubicBezTo>
                  <a:cubicBezTo>
                    <a:pt x="852063" y="-32504"/>
                    <a:pt x="1024462" y="36774"/>
                    <a:pt x="1249671" y="0"/>
                  </a:cubicBezTo>
                  <a:cubicBezTo>
                    <a:pt x="1474880" y="-36774"/>
                    <a:pt x="1482848" y="8220"/>
                    <a:pt x="1713398" y="0"/>
                  </a:cubicBezTo>
                  <a:cubicBezTo>
                    <a:pt x="1943948" y="-8220"/>
                    <a:pt x="2167910" y="52937"/>
                    <a:pt x="2328106" y="0"/>
                  </a:cubicBezTo>
                  <a:cubicBezTo>
                    <a:pt x="2488302" y="-52937"/>
                    <a:pt x="2629523" y="62564"/>
                    <a:pt x="2867323" y="0"/>
                  </a:cubicBezTo>
                  <a:cubicBezTo>
                    <a:pt x="3105123" y="-62564"/>
                    <a:pt x="3218377" y="30573"/>
                    <a:pt x="3444286" y="0"/>
                  </a:cubicBezTo>
                  <a:cubicBezTo>
                    <a:pt x="3670195" y="-30573"/>
                    <a:pt x="4160040" y="74050"/>
                    <a:pt x="4447230" y="0"/>
                  </a:cubicBezTo>
                  <a:cubicBezTo>
                    <a:pt x="4802661" y="324"/>
                    <a:pt x="5142133" y="307146"/>
                    <a:pt x="5119939" y="672709"/>
                  </a:cubicBezTo>
                  <a:cubicBezTo>
                    <a:pt x="5152031" y="880244"/>
                    <a:pt x="5088942" y="1024847"/>
                    <a:pt x="5119939" y="1237768"/>
                  </a:cubicBezTo>
                  <a:cubicBezTo>
                    <a:pt x="5150936" y="1450689"/>
                    <a:pt x="5092758" y="1487119"/>
                    <a:pt x="5119939" y="1722104"/>
                  </a:cubicBezTo>
                  <a:cubicBezTo>
                    <a:pt x="5147120" y="1957089"/>
                    <a:pt x="5051893" y="2105094"/>
                    <a:pt x="5119939" y="2314071"/>
                  </a:cubicBezTo>
                  <a:cubicBezTo>
                    <a:pt x="5187985" y="2523048"/>
                    <a:pt x="5066571" y="2658399"/>
                    <a:pt x="5119939" y="2879130"/>
                  </a:cubicBezTo>
                  <a:cubicBezTo>
                    <a:pt x="5173307" y="3099861"/>
                    <a:pt x="5076833" y="3212064"/>
                    <a:pt x="5119939" y="3363466"/>
                  </a:cubicBezTo>
                  <a:cubicBezTo>
                    <a:pt x="5098528" y="3788378"/>
                    <a:pt x="4803664" y="4143514"/>
                    <a:pt x="4447230" y="4036175"/>
                  </a:cubicBezTo>
                  <a:cubicBezTo>
                    <a:pt x="4253940" y="4082133"/>
                    <a:pt x="4112033" y="3982740"/>
                    <a:pt x="3908013" y="4036175"/>
                  </a:cubicBezTo>
                  <a:cubicBezTo>
                    <a:pt x="3703993" y="4089610"/>
                    <a:pt x="3608494" y="4013356"/>
                    <a:pt x="3368795" y="4036175"/>
                  </a:cubicBezTo>
                  <a:cubicBezTo>
                    <a:pt x="3129096" y="4058994"/>
                    <a:pt x="3030469" y="4004240"/>
                    <a:pt x="2942814" y="4036175"/>
                  </a:cubicBezTo>
                  <a:cubicBezTo>
                    <a:pt x="2855159" y="4068110"/>
                    <a:pt x="2682180" y="3996923"/>
                    <a:pt x="2479087" y="4036175"/>
                  </a:cubicBezTo>
                  <a:cubicBezTo>
                    <a:pt x="2275994" y="4075427"/>
                    <a:pt x="2259802" y="4021465"/>
                    <a:pt x="2053105" y="4036175"/>
                  </a:cubicBezTo>
                  <a:cubicBezTo>
                    <a:pt x="1846408" y="4050885"/>
                    <a:pt x="1630199" y="3976777"/>
                    <a:pt x="1513888" y="4036175"/>
                  </a:cubicBezTo>
                  <a:cubicBezTo>
                    <a:pt x="1397577" y="4095573"/>
                    <a:pt x="1051802" y="4002018"/>
                    <a:pt x="672709" y="4036175"/>
                  </a:cubicBezTo>
                  <a:cubicBezTo>
                    <a:pt x="341827" y="4033663"/>
                    <a:pt x="20331" y="3736964"/>
                    <a:pt x="0" y="3363466"/>
                  </a:cubicBezTo>
                  <a:cubicBezTo>
                    <a:pt x="-4995" y="3225474"/>
                    <a:pt x="48920" y="3053382"/>
                    <a:pt x="0" y="2906037"/>
                  </a:cubicBezTo>
                  <a:cubicBezTo>
                    <a:pt x="-48920" y="2758692"/>
                    <a:pt x="65967" y="2598814"/>
                    <a:pt x="0" y="2314071"/>
                  </a:cubicBezTo>
                  <a:cubicBezTo>
                    <a:pt x="-65967" y="2029328"/>
                    <a:pt x="27376" y="1944916"/>
                    <a:pt x="0" y="1829735"/>
                  </a:cubicBezTo>
                  <a:cubicBezTo>
                    <a:pt x="-27376" y="1714554"/>
                    <a:pt x="57881" y="1410466"/>
                    <a:pt x="0" y="1291583"/>
                  </a:cubicBezTo>
                  <a:cubicBezTo>
                    <a:pt x="-57881" y="1172700"/>
                    <a:pt x="36026" y="832757"/>
                    <a:pt x="0" y="672709"/>
                  </a:cubicBezTo>
                  <a:close/>
                </a:path>
              </a:pathLst>
            </a:custGeom>
            <a:noFill/>
            <a:ln w="3175">
              <a:solidFill>
                <a:srgbClr val="0074BC"/>
              </a:solidFill>
              <a:prstDash val="lgDash"/>
              <a:extLst>
                <a:ext uri="{C807C97D-BFC1-408E-A445-0C87EB9F89A2}">
                  <ask:lineSketchStyleProps xmlns:ask="http://schemas.microsoft.com/office/drawing/2018/sketchyshapes" sd="2561626728">
                    <a:prstGeom prst="roundRect">
                      <a:avLst/>
                    </a:prstGeom>
                    <ask:type>
                      <ask:lineSketchScribble/>
                    </ask:type>
                  </ask:lineSketchStyleProps>
                </a:ext>
              </a:extLst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 err="1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3B9CCE51-A8E5-0BE6-4FD4-EB886EA32F1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14385" y="3325532"/>
              <a:ext cx="792000" cy="792000"/>
              <a:chOff x="10748511" y="3624273"/>
              <a:chExt cx="898977" cy="898977"/>
            </a:xfrm>
            <a:solidFill>
              <a:schemeClr val="bg1"/>
            </a:solidFill>
          </p:grpSpPr>
          <p:sp>
            <p:nvSpPr>
              <p:cNvPr id="33" name="Ellipse 32">
                <a:extLst>
                  <a:ext uri="{FF2B5EF4-FFF2-40B4-BE49-F238E27FC236}">
                    <a16:creationId xmlns:a16="http://schemas.microsoft.com/office/drawing/2014/main" id="{28143D10-BF15-7202-DE89-1BE5BCF32D3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748511" y="3624273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de-DE" dirty="0"/>
              </a:p>
            </p:txBody>
          </p:sp>
          <p:grpSp>
            <p:nvGrpSpPr>
              <p:cNvPr id="34" name="Grafik 2071">
                <a:extLst>
                  <a:ext uri="{FF2B5EF4-FFF2-40B4-BE49-F238E27FC236}">
                    <a16:creationId xmlns:a16="http://schemas.microsoft.com/office/drawing/2014/main" id="{2DE20CE1-8641-56F2-EC80-955A6792313C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10954159" y="3829921"/>
                <a:ext cx="487680" cy="487680"/>
                <a:chOff x="13962856" y="990600"/>
                <a:chExt cx="4876800" cy="4876800"/>
              </a:xfrm>
              <a:grpFill/>
            </p:grpSpPr>
            <p:sp>
              <p:nvSpPr>
                <p:cNvPr id="35" name="Freihandform: Form 34">
                  <a:extLst>
                    <a:ext uri="{FF2B5EF4-FFF2-40B4-BE49-F238E27FC236}">
                      <a16:creationId xmlns:a16="http://schemas.microsoft.com/office/drawing/2014/main" id="{1EC4003A-2644-CA58-C555-DCFC1529DABC}"/>
                    </a:ext>
                  </a:extLst>
                </p:cNvPr>
                <p:cNvSpPr/>
                <p:nvPr/>
              </p:nvSpPr>
              <p:spPr bwMode="gray">
                <a:xfrm>
                  <a:off x="15486856" y="2362200"/>
                  <a:ext cx="2743200" cy="2133600"/>
                </a:xfrm>
                <a:custGeom>
                  <a:avLst/>
                  <a:gdLst>
                    <a:gd name="connsiteX0" fmla="*/ 0 w 2743200"/>
                    <a:gd name="connsiteY0" fmla="*/ 0 h 2133600"/>
                    <a:gd name="connsiteX1" fmla="*/ 2743200 w 2743200"/>
                    <a:gd name="connsiteY1" fmla="*/ 0 h 2133600"/>
                    <a:gd name="connsiteX2" fmla="*/ 0 w 2743200"/>
                    <a:gd name="connsiteY2" fmla="*/ 1066800 h 2133600"/>
                    <a:gd name="connsiteX3" fmla="*/ 2743200 w 2743200"/>
                    <a:gd name="connsiteY3" fmla="*/ 1066800 h 2133600"/>
                    <a:gd name="connsiteX4" fmla="*/ 0 w 2743200"/>
                    <a:gd name="connsiteY4" fmla="*/ 2133600 h 2133600"/>
                    <a:gd name="connsiteX5" fmla="*/ 2743200 w 2743200"/>
                    <a:gd name="connsiteY5" fmla="*/ 2133600 h 2133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743200" h="2133600">
                      <a:moveTo>
                        <a:pt x="0" y="0"/>
                      </a:moveTo>
                      <a:lnTo>
                        <a:pt x="2743200" y="0"/>
                      </a:lnTo>
                      <a:moveTo>
                        <a:pt x="0" y="1066800"/>
                      </a:moveTo>
                      <a:lnTo>
                        <a:pt x="2743200" y="1066800"/>
                      </a:lnTo>
                      <a:moveTo>
                        <a:pt x="0" y="2133600"/>
                      </a:moveTo>
                      <a:lnTo>
                        <a:pt x="2743200" y="2133600"/>
                      </a:ln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endParaRPr lang="de-DE" dirty="0"/>
                </a:p>
              </p:txBody>
            </p:sp>
            <p:sp>
              <p:nvSpPr>
                <p:cNvPr id="36" name="Freihandform: Form 35">
                  <a:extLst>
                    <a:ext uri="{FF2B5EF4-FFF2-40B4-BE49-F238E27FC236}">
                      <a16:creationId xmlns:a16="http://schemas.microsoft.com/office/drawing/2014/main" id="{EE1D13EB-87E5-2249-0219-649363E59926}"/>
                    </a:ext>
                  </a:extLst>
                </p:cNvPr>
                <p:cNvSpPr/>
                <p:nvPr/>
              </p:nvSpPr>
              <p:spPr bwMode="gray">
                <a:xfrm>
                  <a:off x="14572456" y="2209800"/>
                  <a:ext cx="304800" cy="304800"/>
                </a:xfrm>
                <a:custGeom>
                  <a:avLst/>
                  <a:gdLst>
                    <a:gd name="connsiteX0" fmla="*/ 304800 w 304800"/>
                    <a:gd name="connsiteY0" fmla="*/ 152400 h 304800"/>
                    <a:gd name="connsiteX1" fmla="*/ 152400 w 304800"/>
                    <a:gd name="connsiteY1" fmla="*/ 304800 h 304800"/>
                    <a:gd name="connsiteX2" fmla="*/ 0 w 304800"/>
                    <a:gd name="connsiteY2" fmla="*/ 152400 h 304800"/>
                    <a:gd name="connsiteX3" fmla="*/ 152400 w 304800"/>
                    <a:gd name="connsiteY3" fmla="*/ 0 h 304800"/>
                    <a:gd name="connsiteX4" fmla="*/ 304800 w 304800"/>
                    <a:gd name="connsiteY4" fmla="*/ 152400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4800" h="304800">
                      <a:moveTo>
                        <a:pt x="304800" y="152400"/>
                      </a:moveTo>
                      <a:cubicBezTo>
                        <a:pt x="304800" y="236568"/>
                        <a:pt x="236568" y="304800"/>
                        <a:pt x="152400" y="304800"/>
                      </a:cubicBezTo>
                      <a:cubicBezTo>
                        <a:pt x="68232" y="304800"/>
                        <a:pt x="0" y="236568"/>
                        <a:pt x="0" y="152400"/>
                      </a:cubicBezTo>
                      <a:cubicBezTo>
                        <a:pt x="0" y="68232"/>
                        <a:pt x="68232" y="0"/>
                        <a:pt x="152400" y="0"/>
                      </a:cubicBezTo>
                      <a:cubicBezTo>
                        <a:pt x="236568" y="0"/>
                        <a:pt x="304800" y="68232"/>
                        <a:pt x="304800" y="152400"/>
                      </a:cubicBezTo>
                      <a:close/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endParaRPr lang="de-DE" dirty="0"/>
                </a:p>
              </p:txBody>
            </p:sp>
            <p:sp>
              <p:nvSpPr>
                <p:cNvPr id="37" name="Freihandform: Form 36">
                  <a:extLst>
                    <a:ext uri="{FF2B5EF4-FFF2-40B4-BE49-F238E27FC236}">
                      <a16:creationId xmlns:a16="http://schemas.microsoft.com/office/drawing/2014/main" id="{AA8F66E6-FD0D-AAF5-A271-E666DDE3CD4A}"/>
                    </a:ext>
                  </a:extLst>
                </p:cNvPr>
                <p:cNvSpPr/>
                <p:nvPr/>
              </p:nvSpPr>
              <p:spPr bwMode="gray">
                <a:xfrm>
                  <a:off x="14572456" y="3276600"/>
                  <a:ext cx="304800" cy="304800"/>
                </a:xfrm>
                <a:custGeom>
                  <a:avLst/>
                  <a:gdLst>
                    <a:gd name="connsiteX0" fmla="*/ 304800 w 304800"/>
                    <a:gd name="connsiteY0" fmla="*/ 152400 h 304800"/>
                    <a:gd name="connsiteX1" fmla="*/ 152400 w 304800"/>
                    <a:gd name="connsiteY1" fmla="*/ 304800 h 304800"/>
                    <a:gd name="connsiteX2" fmla="*/ 0 w 304800"/>
                    <a:gd name="connsiteY2" fmla="*/ 152400 h 304800"/>
                    <a:gd name="connsiteX3" fmla="*/ 152400 w 304800"/>
                    <a:gd name="connsiteY3" fmla="*/ 0 h 304800"/>
                    <a:gd name="connsiteX4" fmla="*/ 304800 w 304800"/>
                    <a:gd name="connsiteY4" fmla="*/ 152400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4800" h="304800">
                      <a:moveTo>
                        <a:pt x="304800" y="152400"/>
                      </a:moveTo>
                      <a:cubicBezTo>
                        <a:pt x="304800" y="236568"/>
                        <a:pt x="236568" y="304800"/>
                        <a:pt x="152400" y="304800"/>
                      </a:cubicBezTo>
                      <a:cubicBezTo>
                        <a:pt x="68232" y="304800"/>
                        <a:pt x="0" y="236568"/>
                        <a:pt x="0" y="152400"/>
                      </a:cubicBezTo>
                      <a:cubicBezTo>
                        <a:pt x="0" y="68232"/>
                        <a:pt x="68232" y="0"/>
                        <a:pt x="152400" y="0"/>
                      </a:cubicBezTo>
                      <a:cubicBezTo>
                        <a:pt x="236568" y="0"/>
                        <a:pt x="304800" y="68232"/>
                        <a:pt x="304800" y="152400"/>
                      </a:cubicBezTo>
                      <a:close/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endParaRPr lang="de-DE" dirty="0"/>
                </a:p>
              </p:txBody>
            </p:sp>
            <p:sp>
              <p:nvSpPr>
                <p:cNvPr id="38" name="Freihandform: Form 37">
                  <a:extLst>
                    <a:ext uri="{FF2B5EF4-FFF2-40B4-BE49-F238E27FC236}">
                      <a16:creationId xmlns:a16="http://schemas.microsoft.com/office/drawing/2014/main" id="{B4E630EB-A296-7CB1-8561-ABE1FAEB2550}"/>
                    </a:ext>
                  </a:extLst>
                </p:cNvPr>
                <p:cNvSpPr/>
                <p:nvPr/>
              </p:nvSpPr>
              <p:spPr bwMode="gray">
                <a:xfrm>
                  <a:off x="14572456" y="4343400"/>
                  <a:ext cx="304800" cy="304800"/>
                </a:xfrm>
                <a:custGeom>
                  <a:avLst/>
                  <a:gdLst>
                    <a:gd name="connsiteX0" fmla="*/ 304800 w 304800"/>
                    <a:gd name="connsiteY0" fmla="*/ 152400 h 304800"/>
                    <a:gd name="connsiteX1" fmla="*/ 152400 w 304800"/>
                    <a:gd name="connsiteY1" fmla="*/ 304800 h 304800"/>
                    <a:gd name="connsiteX2" fmla="*/ 0 w 304800"/>
                    <a:gd name="connsiteY2" fmla="*/ 152400 h 304800"/>
                    <a:gd name="connsiteX3" fmla="*/ 152400 w 304800"/>
                    <a:gd name="connsiteY3" fmla="*/ 0 h 304800"/>
                    <a:gd name="connsiteX4" fmla="*/ 304800 w 304800"/>
                    <a:gd name="connsiteY4" fmla="*/ 152400 h 304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04800" h="304800">
                      <a:moveTo>
                        <a:pt x="304800" y="152400"/>
                      </a:moveTo>
                      <a:cubicBezTo>
                        <a:pt x="304800" y="236568"/>
                        <a:pt x="236568" y="304800"/>
                        <a:pt x="152400" y="304800"/>
                      </a:cubicBezTo>
                      <a:cubicBezTo>
                        <a:pt x="68232" y="304800"/>
                        <a:pt x="0" y="236568"/>
                        <a:pt x="0" y="152400"/>
                      </a:cubicBezTo>
                      <a:cubicBezTo>
                        <a:pt x="0" y="68232"/>
                        <a:pt x="68232" y="0"/>
                        <a:pt x="152400" y="0"/>
                      </a:cubicBezTo>
                      <a:cubicBezTo>
                        <a:pt x="236568" y="0"/>
                        <a:pt x="304800" y="68232"/>
                        <a:pt x="304800" y="152400"/>
                      </a:cubicBezTo>
                      <a:close/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endParaRPr lang="de-DE" dirty="0"/>
                </a:p>
              </p:txBody>
            </p:sp>
          </p:grpSp>
        </p:grpSp>
        <p:grpSp>
          <p:nvGrpSpPr>
            <p:cNvPr id="39" name="Gruppieren 38">
              <a:extLst>
                <a:ext uri="{FF2B5EF4-FFF2-40B4-BE49-F238E27FC236}">
                  <a16:creationId xmlns:a16="http://schemas.microsoft.com/office/drawing/2014/main" id="{FEF75903-7CEF-AB1A-8EBD-0D8D3017290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2271531" y="3326572"/>
              <a:ext cx="792000" cy="792000"/>
              <a:chOff x="8480248" y="1322201"/>
              <a:chExt cx="898977" cy="898977"/>
            </a:xfrm>
            <a:solidFill>
              <a:schemeClr val="bg1"/>
            </a:solidFill>
          </p:grpSpPr>
          <p:sp>
            <p:nvSpPr>
              <p:cNvPr id="40" name="Ellipse 39">
                <a:extLst>
                  <a:ext uri="{FF2B5EF4-FFF2-40B4-BE49-F238E27FC236}">
                    <a16:creationId xmlns:a16="http://schemas.microsoft.com/office/drawing/2014/main" id="{337B7D78-67BA-2262-6279-36DE442377B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8480248" y="1322201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 dirty="0">
                  <a:solidFill>
                    <a:prstClr val="white"/>
                  </a:solidFill>
                  <a:highlight>
                    <a:srgbClr val="C0C0C0"/>
                  </a:highlight>
                  <a:latin typeface="Calibri"/>
                </a:endParaRPr>
              </a:p>
            </p:txBody>
          </p:sp>
          <p:grpSp>
            <p:nvGrpSpPr>
              <p:cNvPr id="41" name="Gruppieren 40">
                <a:extLst>
                  <a:ext uri="{FF2B5EF4-FFF2-40B4-BE49-F238E27FC236}">
                    <a16:creationId xmlns:a16="http://schemas.microsoft.com/office/drawing/2014/main" id="{B3764518-0BE6-8768-B95A-6BE816A76071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8713109" y="1479716"/>
                <a:ext cx="416616" cy="544700"/>
                <a:chOff x="7442148" y="11510382"/>
                <a:chExt cx="554829" cy="725407"/>
              </a:xfrm>
              <a:grpFill/>
            </p:grpSpPr>
            <p:sp>
              <p:nvSpPr>
                <p:cNvPr id="42" name="Freihandform: Form 41">
                  <a:extLst>
                    <a:ext uri="{FF2B5EF4-FFF2-40B4-BE49-F238E27FC236}">
                      <a16:creationId xmlns:a16="http://schemas.microsoft.com/office/drawing/2014/main" id="{C3EF2716-866A-0661-B17E-3ADF9BEC37C7}"/>
                    </a:ext>
                  </a:extLst>
                </p:cNvPr>
                <p:cNvSpPr/>
                <p:nvPr/>
              </p:nvSpPr>
              <p:spPr bwMode="gray">
                <a:xfrm>
                  <a:off x="7787148" y="11713016"/>
                  <a:ext cx="209829" cy="521574"/>
                </a:xfrm>
                <a:custGeom>
                  <a:avLst/>
                  <a:gdLst>
                    <a:gd name="connsiteX0" fmla="*/ 116109 w 209828"/>
                    <a:gd name="connsiteY0" fmla="*/ 513031 h 521574"/>
                    <a:gd name="connsiteX1" fmla="*/ 168866 w 209828"/>
                    <a:gd name="connsiteY1" fmla="*/ 513031 h 521574"/>
                    <a:gd name="connsiteX2" fmla="*/ 204238 w 209828"/>
                    <a:gd name="connsiteY2" fmla="*/ 472864 h 521574"/>
                    <a:gd name="connsiteX3" fmla="*/ 188050 w 209828"/>
                    <a:gd name="connsiteY3" fmla="*/ 338574 h 521574"/>
                    <a:gd name="connsiteX4" fmla="*/ 152080 w 209828"/>
                    <a:gd name="connsiteY4" fmla="*/ 278023 h 521574"/>
                    <a:gd name="connsiteX5" fmla="*/ 116708 w 209828"/>
                    <a:gd name="connsiteY5" fmla="*/ 259438 h 521574"/>
                    <a:gd name="connsiteX6" fmla="*/ 25583 w 209828"/>
                    <a:gd name="connsiteY6" fmla="*/ 233060 h 521574"/>
                    <a:gd name="connsiteX7" fmla="*/ 20187 w 209828"/>
                    <a:gd name="connsiteY7" fmla="*/ 230662 h 521574"/>
                    <a:gd name="connsiteX8" fmla="*/ 11794 w 209828"/>
                    <a:gd name="connsiteY8" fmla="*/ 216274 h 521574"/>
                    <a:gd name="connsiteX9" fmla="*/ 11794 w 209828"/>
                    <a:gd name="connsiteY9" fmla="*/ 216274 h 521574"/>
                    <a:gd name="connsiteX10" fmla="*/ 27981 w 209828"/>
                    <a:gd name="connsiteY10" fmla="*/ 160519 h 521574"/>
                    <a:gd name="connsiteX11" fmla="*/ 60954 w 209828"/>
                    <a:gd name="connsiteY11" fmla="*/ 95772 h 521574"/>
                    <a:gd name="connsiteX12" fmla="*/ 89730 w 209828"/>
                    <a:gd name="connsiteY12" fmla="*/ 53207 h 521574"/>
                    <a:gd name="connsiteX13" fmla="*/ 64551 w 209828"/>
                    <a:gd name="connsiteY13" fmla="*/ 11241 h 521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09828" h="521574">
                      <a:moveTo>
                        <a:pt x="116109" y="513031"/>
                      </a:moveTo>
                      <a:lnTo>
                        <a:pt x="168866" y="513031"/>
                      </a:lnTo>
                      <a:cubicBezTo>
                        <a:pt x="190448" y="513031"/>
                        <a:pt x="206635" y="494447"/>
                        <a:pt x="204238" y="472864"/>
                      </a:cubicBezTo>
                      <a:lnTo>
                        <a:pt x="188050" y="338574"/>
                      </a:lnTo>
                      <a:cubicBezTo>
                        <a:pt x="183255" y="315193"/>
                        <a:pt x="170664" y="293611"/>
                        <a:pt x="152080" y="278023"/>
                      </a:cubicBezTo>
                      <a:cubicBezTo>
                        <a:pt x="140089" y="268431"/>
                        <a:pt x="128099" y="261836"/>
                        <a:pt x="116708" y="259438"/>
                      </a:cubicBezTo>
                      <a:lnTo>
                        <a:pt x="25583" y="233060"/>
                      </a:lnTo>
                      <a:cubicBezTo>
                        <a:pt x="23784" y="232460"/>
                        <a:pt x="21986" y="231861"/>
                        <a:pt x="20187" y="230662"/>
                      </a:cubicBezTo>
                      <a:cubicBezTo>
                        <a:pt x="15392" y="227664"/>
                        <a:pt x="12394" y="222269"/>
                        <a:pt x="11794" y="216274"/>
                      </a:cubicBezTo>
                      <a:lnTo>
                        <a:pt x="11794" y="216274"/>
                      </a:lnTo>
                      <a:cubicBezTo>
                        <a:pt x="9397" y="196490"/>
                        <a:pt x="14792" y="175507"/>
                        <a:pt x="27981" y="160519"/>
                      </a:cubicBezTo>
                      <a:cubicBezTo>
                        <a:pt x="42969" y="142534"/>
                        <a:pt x="54360" y="120352"/>
                        <a:pt x="60954" y="95772"/>
                      </a:cubicBezTo>
                      <a:cubicBezTo>
                        <a:pt x="77141" y="94573"/>
                        <a:pt x="89730" y="75988"/>
                        <a:pt x="89730" y="53207"/>
                      </a:cubicBezTo>
                      <a:cubicBezTo>
                        <a:pt x="89730" y="32224"/>
                        <a:pt x="78940" y="14838"/>
                        <a:pt x="64551" y="11241"/>
                      </a:cubicBez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43" name="Freihandform: Form 42">
                  <a:extLst>
                    <a:ext uri="{FF2B5EF4-FFF2-40B4-BE49-F238E27FC236}">
                      <a16:creationId xmlns:a16="http://schemas.microsoft.com/office/drawing/2014/main" id="{9DEC873A-977B-2DA5-0D75-7994F7AA02EB}"/>
                    </a:ext>
                  </a:extLst>
                </p:cNvPr>
                <p:cNvSpPr/>
                <p:nvPr/>
              </p:nvSpPr>
              <p:spPr bwMode="gray">
                <a:xfrm>
                  <a:off x="7442148" y="11714215"/>
                  <a:ext cx="215824" cy="521574"/>
                </a:xfrm>
                <a:custGeom>
                  <a:avLst/>
                  <a:gdLst>
                    <a:gd name="connsiteX0" fmla="*/ 151163 w 215823"/>
                    <a:gd name="connsiteY0" fmla="*/ 11241 h 521574"/>
                    <a:gd name="connsiteX1" fmla="*/ 126583 w 215823"/>
                    <a:gd name="connsiteY1" fmla="*/ 52607 h 521574"/>
                    <a:gd name="connsiteX2" fmla="*/ 155359 w 215823"/>
                    <a:gd name="connsiteY2" fmla="*/ 95172 h 521574"/>
                    <a:gd name="connsiteX3" fmla="*/ 188332 w 215823"/>
                    <a:gd name="connsiteY3" fmla="*/ 159919 h 521574"/>
                    <a:gd name="connsiteX4" fmla="*/ 204519 w 215823"/>
                    <a:gd name="connsiteY4" fmla="*/ 215674 h 521574"/>
                    <a:gd name="connsiteX5" fmla="*/ 204519 w 215823"/>
                    <a:gd name="connsiteY5" fmla="*/ 215674 h 521574"/>
                    <a:gd name="connsiteX6" fmla="*/ 196126 w 215823"/>
                    <a:gd name="connsiteY6" fmla="*/ 230062 h 521574"/>
                    <a:gd name="connsiteX7" fmla="*/ 190730 w 215823"/>
                    <a:gd name="connsiteY7" fmla="*/ 232460 h 521574"/>
                    <a:gd name="connsiteX8" fmla="*/ 99605 w 215823"/>
                    <a:gd name="connsiteY8" fmla="*/ 258839 h 521574"/>
                    <a:gd name="connsiteX9" fmla="*/ 63634 w 215823"/>
                    <a:gd name="connsiteY9" fmla="*/ 277424 h 521574"/>
                    <a:gd name="connsiteX10" fmla="*/ 27664 w 215823"/>
                    <a:gd name="connsiteY10" fmla="*/ 337974 h 521574"/>
                    <a:gd name="connsiteX11" fmla="*/ 11477 w 215823"/>
                    <a:gd name="connsiteY11" fmla="*/ 472265 h 521574"/>
                    <a:gd name="connsiteX12" fmla="*/ 46848 w 215823"/>
                    <a:gd name="connsiteY12" fmla="*/ 512432 h 521574"/>
                    <a:gd name="connsiteX13" fmla="*/ 151163 w 215823"/>
                    <a:gd name="connsiteY13" fmla="*/ 512432 h 521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15823" h="521574">
                      <a:moveTo>
                        <a:pt x="151163" y="11241"/>
                      </a:moveTo>
                      <a:cubicBezTo>
                        <a:pt x="136774" y="15437"/>
                        <a:pt x="126583" y="32224"/>
                        <a:pt x="126583" y="52607"/>
                      </a:cubicBezTo>
                      <a:cubicBezTo>
                        <a:pt x="126583" y="75389"/>
                        <a:pt x="139173" y="93374"/>
                        <a:pt x="155359" y="95172"/>
                      </a:cubicBezTo>
                      <a:cubicBezTo>
                        <a:pt x="161954" y="119752"/>
                        <a:pt x="173344" y="141934"/>
                        <a:pt x="188332" y="159919"/>
                      </a:cubicBezTo>
                      <a:cubicBezTo>
                        <a:pt x="201522" y="175507"/>
                        <a:pt x="206917" y="195890"/>
                        <a:pt x="204519" y="215674"/>
                      </a:cubicBezTo>
                      <a:lnTo>
                        <a:pt x="204519" y="215674"/>
                      </a:lnTo>
                      <a:cubicBezTo>
                        <a:pt x="203919" y="221669"/>
                        <a:pt x="200922" y="226465"/>
                        <a:pt x="196126" y="230062"/>
                      </a:cubicBezTo>
                      <a:cubicBezTo>
                        <a:pt x="194327" y="231261"/>
                        <a:pt x="192529" y="231861"/>
                        <a:pt x="190730" y="232460"/>
                      </a:cubicBezTo>
                      <a:lnTo>
                        <a:pt x="99605" y="258839"/>
                      </a:lnTo>
                      <a:cubicBezTo>
                        <a:pt x="87615" y="261237"/>
                        <a:pt x="75625" y="267831"/>
                        <a:pt x="63634" y="277424"/>
                      </a:cubicBezTo>
                      <a:cubicBezTo>
                        <a:pt x="45049" y="293011"/>
                        <a:pt x="31860" y="313994"/>
                        <a:pt x="27664" y="337974"/>
                      </a:cubicBezTo>
                      <a:lnTo>
                        <a:pt x="11477" y="472265"/>
                      </a:lnTo>
                      <a:cubicBezTo>
                        <a:pt x="9078" y="493248"/>
                        <a:pt x="25266" y="512432"/>
                        <a:pt x="46848" y="512432"/>
                      </a:cubicBezTo>
                      <a:lnTo>
                        <a:pt x="151163" y="512432"/>
                      </a:ln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44" name="Freihandform: Form 43">
                  <a:extLst>
                    <a:ext uri="{FF2B5EF4-FFF2-40B4-BE49-F238E27FC236}">
                      <a16:creationId xmlns:a16="http://schemas.microsoft.com/office/drawing/2014/main" id="{73C638CC-24BE-1BC8-2C37-91B781C9448C}"/>
                    </a:ext>
                  </a:extLst>
                </p:cNvPr>
                <p:cNvSpPr/>
                <p:nvPr/>
              </p:nvSpPr>
              <p:spPr bwMode="gray">
                <a:xfrm>
                  <a:off x="7582030" y="11648869"/>
                  <a:ext cx="29976" cy="83931"/>
                </a:xfrm>
                <a:custGeom>
                  <a:avLst/>
                  <a:gdLst>
                    <a:gd name="connsiteX0" fmla="*/ 20873 w 29975"/>
                    <a:gd name="connsiteY0" fmla="*/ 11241 h 83931"/>
                    <a:gd name="connsiteX1" fmla="*/ 11280 w 29975"/>
                    <a:gd name="connsiteY1" fmla="*/ 75988 h 83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975" h="83931">
                      <a:moveTo>
                        <a:pt x="20873" y="11241"/>
                      </a:moveTo>
                      <a:cubicBezTo>
                        <a:pt x="10081" y="45413"/>
                        <a:pt x="11280" y="75988"/>
                        <a:pt x="11280" y="75988"/>
                      </a:cubicBez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45" name="Freihandform: Form 44">
                  <a:extLst>
                    <a:ext uri="{FF2B5EF4-FFF2-40B4-BE49-F238E27FC236}">
                      <a16:creationId xmlns:a16="http://schemas.microsoft.com/office/drawing/2014/main" id="{AB6FCDCE-C5AC-D659-11DB-28BCA6EFAC35}"/>
                    </a:ext>
                  </a:extLst>
                </p:cNvPr>
                <p:cNvSpPr/>
                <p:nvPr/>
              </p:nvSpPr>
              <p:spPr bwMode="gray">
                <a:xfrm>
                  <a:off x="7830267" y="11648269"/>
                  <a:ext cx="29976" cy="83931"/>
                </a:xfrm>
                <a:custGeom>
                  <a:avLst/>
                  <a:gdLst>
                    <a:gd name="connsiteX0" fmla="*/ 20833 w 29975"/>
                    <a:gd name="connsiteY0" fmla="*/ 76588 h 83931"/>
                    <a:gd name="connsiteX1" fmla="*/ 11241 w 29975"/>
                    <a:gd name="connsiteY1" fmla="*/ 11241 h 83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9975" h="83931">
                      <a:moveTo>
                        <a:pt x="20833" y="76588"/>
                      </a:moveTo>
                      <a:cubicBezTo>
                        <a:pt x="20833" y="76588"/>
                        <a:pt x="22631" y="45413"/>
                        <a:pt x="11241" y="11241"/>
                      </a:cubicBez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47" name="Freihandform: Form 46">
                  <a:extLst>
                    <a:ext uri="{FF2B5EF4-FFF2-40B4-BE49-F238E27FC236}">
                      <a16:creationId xmlns:a16="http://schemas.microsoft.com/office/drawing/2014/main" id="{F435C1F0-FFF0-47F7-765B-DC80E5EDA011}"/>
                    </a:ext>
                  </a:extLst>
                </p:cNvPr>
                <p:cNvSpPr/>
                <p:nvPr/>
              </p:nvSpPr>
              <p:spPr bwMode="gray">
                <a:xfrm>
                  <a:off x="7591662" y="11622134"/>
                  <a:ext cx="257790" cy="59951"/>
                </a:xfrm>
                <a:custGeom>
                  <a:avLst/>
                  <a:gdLst>
                    <a:gd name="connsiteX0" fmla="*/ 249846 w 257789"/>
                    <a:gd name="connsiteY0" fmla="*/ 37376 h 59951"/>
                    <a:gd name="connsiteX1" fmla="*/ 172509 w 257789"/>
                    <a:gd name="connsiteY1" fmla="*/ 49966 h 59951"/>
                    <a:gd name="connsiteX2" fmla="*/ 95172 w 257789"/>
                    <a:gd name="connsiteY2" fmla="*/ 21190 h 59951"/>
                    <a:gd name="connsiteX3" fmla="*/ 38219 w 257789"/>
                    <a:gd name="connsiteY3" fmla="*/ 14595 h 59951"/>
                    <a:gd name="connsiteX4" fmla="*/ 11241 w 257789"/>
                    <a:gd name="connsiteY4" fmla="*/ 37976 h 599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57789" h="59951">
                      <a:moveTo>
                        <a:pt x="249846" y="37376"/>
                      </a:moveTo>
                      <a:cubicBezTo>
                        <a:pt x="225266" y="49966"/>
                        <a:pt x="200087" y="52964"/>
                        <a:pt x="172509" y="49966"/>
                      </a:cubicBezTo>
                      <a:cubicBezTo>
                        <a:pt x="143733" y="46968"/>
                        <a:pt x="120952" y="33180"/>
                        <a:pt x="95172" y="21190"/>
                      </a:cubicBezTo>
                      <a:cubicBezTo>
                        <a:pt x="77187" y="12797"/>
                        <a:pt x="56803" y="7401"/>
                        <a:pt x="38219" y="14595"/>
                      </a:cubicBezTo>
                      <a:cubicBezTo>
                        <a:pt x="26828" y="18792"/>
                        <a:pt x="16637" y="27185"/>
                        <a:pt x="11241" y="37976"/>
                      </a:cubicBez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48" name="Freihandform: Form 47">
                  <a:extLst>
                    <a:ext uri="{FF2B5EF4-FFF2-40B4-BE49-F238E27FC236}">
                      <a16:creationId xmlns:a16="http://schemas.microsoft.com/office/drawing/2014/main" id="{37DA1833-F3C2-FA9C-07EA-EDA9CA5F76E3}"/>
                    </a:ext>
                  </a:extLst>
                </p:cNvPr>
                <p:cNvSpPr/>
                <p:nvPr/>
              </p:nvSpPr>
              <p:spPr bwMode="gray">
                <a:xfrm>
                  <a:off x="7636625" y="11909656"/>
                  <a:ext cx="167863" cy="47961"/>
                </a:xfrm>
                <a:custGeom>
                  <a:avLst/>
                  <a:gdLst>
                    <a:gd name="connsiteX0" fmla="*/ 160519 w 167862"/>
                    <a:gd name="connsiteY0" fmla="*/ 11241 h 47960"/>
                    <a:gd name="connsiteX1" fmla="*/ 160519 w 167862"/>
                    <a:gd name="connsiteY1" fmla="*/ 11241 h 47960"/>
                    <a:gd name="connsiteX2" fmla="*/ 11241 w 167862"/>
                    <a:gd name="connsiteY2" fmla="*/ 11241 h 47960"/>
                    <a:gd name="connsiteX3" fmla="*/ 11241 w 167862"/>
                    <a:gd name="connsiteY3" fmla="*/ 11241 h 479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67862" h="47960">
                      <a:moveTo>
                        <a:pt x="160519" y="11241"/>
                      </a:moveTo>
                      <a:lnTo>
                        <a:pt x="160519" y="11241"/>
                      </a:lnTo>
                      <a:cubicBezTo>
                        <a:pt x="117954" y="49010"/>
                        <a:pt x="53806" y="49010"/>
                        <a:pt x="11241" y="11241"/>
                      </a:cubicBezTo>
                      <a:lnTo>
                        <a:pt x="11241" y="11241"/>
                      </a:ln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49" name="Freihandform: Form 48">
                  <a:extLst>
                    <a:ext uri="{FF2B5EF4-FFF2-40B4-BE49-F238E27FC236}">
                      <a16:creationId xmlns:a16="http://schemas.microsoft.com/office/drawing/2014/main" id="{ADE772CA-C3D0-3D8D-2DE9-32E48BB87B25}"/>
                    </a:ext>
                  </a:extLst>
                </p:cNvPr>
                <p:cNvSpPr/>
                <p:nvPr/>
              </p:nvSpPr>
              <p:spPr bwMode="gray">
                <a:xfrm>
                  <a:off x="7589264" y="11510382"/>
                  <a:ext cx="263785" cy="167863"/>
                </a:xfrm>
                <a:custGeom>
                  <a:avLst/>
                  <a:gdLst>
                    <a:gd name="connsiteX0" fmla="*/ 11241 w 263784"/>
                    <a:gd name="connsiteY0" fmla="*/ 157522 h 167862"/>
                    <a:gd name="connsiteX1" fmla="*/ 11241 w 263784"/>
                    <a:gd name="connsiteY1" fmla="*/ 51408 h 167862"/>
                    <a:gd name="connsiteX2" fmla="*/ 51408 w 263784"/>
                    <a:gd name="connsiteY2" fmla="*/ 11241 h 167862"/>
                    <a:gd name="connsiteX3" fmla="*/ 212676 w 263784"/>
                    <a:gd name="connsiteY3" fmla="*/ 11241 h 167862"/>
                    <a:gd name="connsiteX4" fmla="*/ 252844 w 263784"/>
                    <a:gd name="connsiteY4" fmla="*/ 51408 h 167862"/>
                    <a:gd name="connsiteX5" fmla="*/ 252844 w 263784"/>
                    <a:gd name="connsiteY5" fmla="*/ 149128 h 1678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63784" h="167862">
                      <a:moveTo>
                        <a:pt x="11241" y="157522"/>
                      </a:moveTo>
                      <a:lnTo>
                        <a:pt x="11241" y="51408"/>
                      </a:lnTo>
                      <a:cubicBezTo>
                        <a:pt x="11241" y="29226"/>
                        <a:pt x="29226" y="11241"/>
                        <a:pt x="51408" y="11241"/>
                      </a:cubicBezTo>
                      <a:lnTo>
                        <a:pt x="212676" y="11241"/>
                      </a:lnTo>
                      <a:cubicBezTo>
                        <a:pt x="234859" y="11241"/>
                        <a:pt x="252844" y="29226"/>
                        <a:pt x="252844" y="51408"/>
                      </a:cubicBezTo>
                      <a:lnTo>
                        <a:pt x="252844" y="149128"/>
                      </a:ln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50" name="Freihandform: Form 49">
                  <a:extLst>
                    <a:ext uri="{FF2B5EF4-FFF2-40B4-BE49-F238E27FC236}">
                      <a16:creationId xmlns:a16="http://schemas.microsoft.com/office/drawing/2014/main" id="{D24C9B92-E6C9-75CA-BECF-78D2BD95567B}"/>
                    </a:ext>
                  </a:extLst>
                </p:cNvPr>
                <p:cNvSpPr/>
                <p:nvPr/>
              </p:nvSpPr>
              <p:spPr bwMode="gray">
                <a:xfrm>
                  <a:off x="7709765" y="11546952"/>
                  <a:ext cx="17985" cy="77936"/>
                </a:xfrm>
                <a:custGeom>
                  <a:avLst/>
                  <a:gdLst>
                    <a:gd name="connsiteX0" fmla="*/ 11241 w 17985"/>
                    <a:gd name="connsiteY0" fmla="*/ 66995 h 77936"/>
                    <a:gd name="connsiteX1" fmla="*/ 11241 w 17985"/>
                    <a:gd name="connsiteY1" fmla="*/ 11241 h 779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7985" h="77936">
                      <a:moveTo>
                        <a:pt x="11241" y="66995"/>
                      </a:moveTo>
                      <a:lnTo>
                        <a:pt x="11241" y="11241"/>
                      </a:ln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51" name="Freihandform: Form 50">
                  <a:extLst>
                    <a:ext uri="{FF2B5EF4-FFF2-40B4-BE49-F238E27FC236}">
                      <a16:creationId xmlns:a16="http://schemas.microsoft.com/office/drawing/2014/main" id="{CB87BF9E-B7C2-CD91-E04C-7ECCEFEBB46A}"/>
                    </a:ext>
                  </a:extLst>
                </p:cNvPr>
                <p:cNvSpPr/>
                <p:nvPr/>
              </p:nvSpPr>
              <p:spPr bwMode="gray">
                <a:xfrm>
                  <a:off x="7682188" y="11575129"/>
                  <a:ext cx="77936" cy="17985"/>
                </a:xfrm>
                <a:custGeom>
                  <a:avLst/>
                  <a:gdLst>
                    <a:gd name="connsiteX0" fmla="*/ 11241 w 77936"/>
                    <a:gd name="connsiteY0" fmla="*/ 11241 h 17985"/>
                    <a:gd name="connsiteX1" fmla="*/ 66995 w 77936"/>
                    <a:gd name="connsiteY1" fmla="*/ 11241 h 179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7936" h="17985">
                      <a:moveTo>
                        <a:pt x="11241" y="11241"/>
                      </a:moveTo>
                      <a:lnTo>
                        <a:pt x="66995" y="11241"/>
                      </a:ln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52" name="Freihandform: Form 51">
                  <a:extLst>
                    <a:ext uri="{FF2B5EF4-FFF2-40B4-BE49-F238E27FC236}">
                      <a16:creationId xmlns:a16="http://schemas.microsoft.com/office/drawing/2014/main" id="{5C8FD819-3D2B-386F-247D-1EE155E830B2}"/>
                    </a:ext>
                  </a:extLst>
                </p:cNvPr>
                <p:cNvSpPr/>
                <p:nvPr/>
              </p:nvSpPr>
              <p:spPr bwMode="gray">
                <a:xfrm>
                  <a:off x="7710965" y="11757980"/>
                  <a:ext cx="197838" cy="341721"/>
                </a:xfrm>
                <a:custGeom>
                  <a:avLst/>
                  <a:gdLst>
                    <a:gd name="connsiteX0" fmla="*/ 168312 w 197838"/>
                    <a:gd name="connsiteY0" fmla="*/ 11241 h 341721"/>
                    <a:gd name="connsiteX1" fmla="*/ 180902 w 197838"/>
                    <a:gd name="connsiteY1" fmla="*/ 96371 h 341721"/>
                    <a:gd name="connsiteX2" fmla="*/ 11241 w 197838"/>
                    <a:gd name="connsiteY2" fmla="*/ 330780 h 3417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97838" h="341721">
                      <a:moveTo>
                        <a:pt x="168312" y="11241"/>
                      </a:moveTo>
                      <a:cubicBezTo>
                        <a:pt x="193492" y="14838"/>
                        <a:pt x="201285" y="35221"/>
                        <a:pt x="180902" y="96371"/>
                      </a:cubicBezTo>
                      <a:cubicBezTo>
                        <a:pt x="147329" y="197689"/>
                        <a:pt x="93373" y="330780"/>
                        <a:pt x="11241" y="330780"/>
                      </a:cubicBez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53" name="Freihandform: Form 52">
                  <a:extLst>
                    <a:ext uri="{FF2B5EF4-FFF2-40B4-BE49-F238E27FC236}">
                      <a16:creationId xmlns:a16="http://schemas.microsoft.com/office/drawing/2014/main" id="{6793846D-3D81-CFDF-3AB7-3955FE2986C5}"/>
                    </a:ext>
                  </a:extLst>
                </p:cNvPr>
                <p:cNvSpPr/>
                <p:nvPr/>
              </p:nvSpPr>
              <p:spPr bwMode="gray">
                <a:xfrm>
                  <a:off x="7530271" y="11757980"/>
                  <a:ext cx="197838" cy="341721"/>
                </a:xfrm>
                <a:custGeom>
                  <a:avLst/>
                  <a:gdLst>
                    <a:gd name="connsiteX0" fmla="*/ 35462 w 197838"/>
                    <a:gd name="connsiteY0" fmla="*/ 11241 h 341721"/>
                    <a:gd name="connsiteX1" fmla="*/ 22872 w 197838"/>
                    <a:gd name="connsiteY1" fmla="*/ 96371 h 341721"/>
                    <a:gd name="connsiteX2" fmla="*/ 192534 w 197838"/>
                    <a:gd name="connsiteY2" fmla="*/ 330780 h 3417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97838" h="341721">
                      <a:moveTo>
                        <a:pt x="35462" y="11241"/>
                      </a:moveTo>
                      <a:cubicBezTo>
                        <a:pt x="10282" y="14838"/>
                        <a:pt x="2489" y="35221"/>
                        <a:pt x="22872" y="96371"/>
                      </a:cubicBezTo>
                      <a:cubicBezTo>
                        <a:pt x="56445" y="197689"/>
                        <a:pt x="110401" y="330780"/>
                        <a:pt x="192534" y="330780"/>
                      </a:cubicBez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54" name="Freihandform: Form 53">
                  <a:extLst>
                    <a:ext uri="{FF2B5EF4-FFF2-40B4-BE49-F238E27FC236}">
                      <a16:creationId xmlns:a16="http://schemas.microsoft.com/office/drawing/2014/main" id="{08808013-4A99-C89D-E72F-E3DA6A05BCB7}"/>
                    </a:ext>
                  </a:extLst>
                </p:cNvPr>
                <p:cNvSpPr/>
                <p:nvPr/>
              </p:nvSpPr>
              <p:spPr bwMode="gray">
                <a:xfrm>
                  <a:off x="7835063" y="12070325"/>
                  <a:ext cx="89927" cy="89927"/>
                </a:xfrm>
                <a:custGeom>
                  <a:avLst/>
                  <a:gdLst>
                    <a:gd name="connsiteX0" fmla="*/ 80784 w 89926"/>
                    <a:gd name="connsiteY0" fmla="*/ 46013 h 89926"/>
                    <a:gd name="connsiteX1" fmla="*/ 46012 w 89926"/>
                    <a:gd name="connsiteY1" fmla="*/ 80784 h 89926"/>
                    <a:gd name="connsiteX2" fmla="*/ 11240 w 89926"/>
                    <a:gd name="connsiteY2" fmla="*/ 46013 h 89926"/>
                    <a:gd name="connsiteX3" fmla="*/ 46012 w 89926"/>
                    <a:gd name="connsiteY3" fmla="*/ 11241 h 89926"/>
                    <a:gd name="connsiteX4" fmla="*/ 80784 w 89926"/>
                    <a:gd name="connsiteY4" fmla="*/ 46013 h 899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9926" h="89926">
                      <a:moveTo>
                        <a:pt x="80784" y="46013"/>
                      </a:moveTo>
                      <a:cubicBezTo>
                        <a:pt x="80784" y="65216"/>
                        <a:pt x="65216" y="80784"/>
                        <a:pt x="46012" y="80784"/>
                      </a:cubicBezTo>
                      <a:cubicBezTo>
                        <a:pt x="26808" y="80784"/>
                        <a:pt x="11240" y="65216"/>
                        <a:pt x="11240" y="46013"/>
                      </a:cubicBezTo>
                      <a:cubicBezTo>
                        <a:pt x="11240" y="26809"/>
                        <a:pt x="26808" y="11241"/>
                        <a:pt x="46012" y="11241"/>
                      </a:cubicBezTo>
                      <a:cubicBezTo>
                        <a:pt x="65216" y="11241"/>
                        <a:pt x="80784" y="26809"/>
                        <a:pt x="80784" y="46013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  <p:sp>
              <p:nvSpPr>
                <p:cNvPr id="55" name="Freihandform: Form 54">
                  <a:extLst>
                    <a:ext uri="{FF2B5EF4-FFF2-40B4-BE49-F238E27FC236}">
                      <a16:creationId xmlns:a16="http://schemas.microsoft.com/office/drawing/2014/main" id="{C9538974-9B67-E009-67B2-AC08848CDE17}"/>
                    </a:ext>
                  </a:extLst>
                </p:cNvPr>
                <p:cNvSpPr/>
                <p:nvPr/>
              </p:nvSpPr>
              <p:spPr bwMode="gray">
                <a:xfrm>
                  <a:off x="7711564" y="12077519"/>
                  <a:ext cx="179853" cy="155873"/>
                </a:xfrm>
                <a:custGeom>
                  <a:avLst/>
                  <a:gdLst>
                    <a:gd name="connsiteX0" fmla="*/ 11241 w 179853"/>
                    <a:gd name="connsiteY0" fmla="*/ 11241 h 155872"/>
                    <a:gd name="connsiteX1" fmla="*/ 11241 w 179853"/>
                    <a:gd name="connsiteY1" fmla="*/ 73590 h 155872"/>
                    <a:gd name="connsiteX2" fmla="*/ 86180 w 179853"/>
                    <a:gd name="connsiteY2" fmla="*/ 148529 h 155872"/>
                    <a:gd name="connsiteX3" fmla="*/ 95172 w 179853"/>
                    <a:gd name="connsiteY3" fmla="*/ 148529 h 155872"/>
                    <a:gd name="connsiteX4" fmla="*/ 170111 w 179853"/>
                    <a:gd name="connsiteY4" fmla="*/ 73590 h 155872"/>
                    <a:gd name="connsiteX5" fmla="*/ 170111 w 179853"/>
                    <a:gd name="connsiteY5" fmla="*/ 73590 h 1558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9853" h="155872">
                      <a:moveTo>
                        <a:pt x="11241" y="11241"/>
                      </a:moveTo>
                      <a:lnTo>
                        <a:pt x="11241" y="73590"/>
                      </a:lnTo>
                      <a:cubicBezTo>
                        <a:pt x="11241" y="114956"/>
                        <a:pt x="44813" y="148529"/>
                        <a:pt x="86180" y="148529"/>
                      </a:cubicBezTo>
                      <a:lnTo>
                        <a:pt x="95172" y="148529"/>
                      </a:lnTo>
                      <a:cubicBezTo>
                        <a:pt x="136539" y="148529"/>
                        <a:pt x="170111" y="114956"/>
                        <a:pt x="170111" y="73590"/>
                      </a:cubicBezTo>
                      <a:lnTo>
                        <a:pt x="170111" y="73590"/>
                      </a:ln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highlight>
                      <a:srgbClr val="C0C0C0"/>
                    </a:highlight>
                    <a:latin typeface="Calibri"/>
                  </a:endParaRPr>
                </a:p>
              </p:txBody>
            </p:sp>
          </p:grpSp>
        </p:grpSp>
        <p:grpSp>
          <p:nvGrpSpPr>
            <p:cNvPr id="56" name="Gruppieren 55">
              <a:extLst>
                <a:ext uri="{FF2B5EF4-FFF2-40B4-BE49-F238E27FC236}">
                  <a16:creationId xmlns:a16="http://schemas.microsoft.com/office/drawing/2014/main" id="{AA0E4227-52C9-F3AC-E110-1A9BD5A29E2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529911" y="3324966"/>
              <a:ext cx="792000" cy="792000"/>
              <a:chOff x="9614378" y="2470969"/>
              <a:chExt cx="898977" cy="898977"/>
            </a:xfrm>
            <a:solidFill>
              <a:schemeClr val="bg1"/>
            </a:solidFill>
          </p:grpSpPr>
          <p:sp>
            <p:nvSpPr>
              <p:cNvPr id="57" name="Ellipse 56">
                <a:extLst>
                  <a:ext uri="{FF2B5EF4-FFF2-40B4-BE49-F238E27FC236}">
                    <a16:creationId xmlns:a16="http://schemas.microsoft.com/office/drawing/2014/main" id="{07D5B0DD-E814-A624-FF7E-2702680D0A6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9614378" y="2470969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58" name="Gruppieren 57">
                <a:extLst>
                  <a:ext uri="{FF2B5EF4-FFF2-40B4-BE49-F238E27FC236}">
                    <a16:creationId xmlns:a16="http://schemas.microsoft.com/office/drawing/2014/main" id="{DEDB975A-FEDE-D625-2A2F-21A816FD2F5E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9861393" y="2746216"/>
                <a:ext cx="404946" cy="348482"/>
                <a:chOff x="10441104" y="3405948"/>
                <a:chExt cx="404946" cy="348482"/>
              </a:xfrm>
              <a:grpFill/>
            </p:grpSpPr>
            <p:sp>
              <p:nvSpPr>
                <p:cNvPr id="59" name="Freihandform: Form 58">
                  <a:extLst>
                    <a:ext uri="{FF2B5EF4-FFF2-40B4-BE49-F238E27FC236}">
                      <a16:creationId xmlns:a16="http://schemas.microsoft.com/office/drawing/2014/main" id="{B8ACAD1E-9C37-B970-1B49-3402F0948722}"/>
                    </a:ext>
                  </a:extLst>
                </p:cNvPr>
                <p:cNvSpPr/>
                <p:nvPr/>
              </p:nvSpPr>
              <p:spPr bwMode="gray">
                <a:xfrm>
                  <a:off x="10441104" y="3513095"/>
                  <a:ext cx="356035" cy="241335"/>
                </a:xfrm>
                <a:custGeom>
                  <a:avLst/>
                  <a:gdLst>
                    <a:gd name="connsiteX0" fmla="*/ 3560350 w 3560349"/>
                    <a:gd name="connsiteY0" fmla="*/ 114300 h 2413349"/>
                    <a:gd name="connsiteX1" fmla="*/ 3560350 w 3560349"/>
                    <a:gd name="connsiteY1" fmla="*/ 2413349 h 2413349"/>
                    <a:gd name="connsiteX2" fmla="*/ 0 w 3560349"/>
                    <a:gd name="connsiteY2" fmla="*/ 2413349 h 2413349"/>
                    <a:gd name="connsiteX3" fmla="*/ 0 w 3560349"/>
                    <a:gd name="connsiteY3" fmla="*/ 0 h 2413349"/>
                    <a:gd name="connsiteX4" fmla="*/ 2343436 w 3560349"/>
                    <a:gd name="connsiteY4" fmla="*/ 0 h 24133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560349" h="2413349">
                      <a:moveTo>
                        <a:pt x="3560350" y="114300"/>
                      </a:moveTo>
                      <a:lnTo>
                        <a:pt x="3560350" y="2413349"/>
                      </a:lnTo>
                      <a:lnTo>
                        <a:pt x="0" y="2413349"/>
                      </a:lnTo>
                      <a:lnTo>
                        <a:pt x="0" y="0"/>
                      </a:lnTo>
                      <a:lnTo>
                        <a:pt x="2343436" y="0"/>
                      </a:ln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0" name="Freihandform: Form 59">
                  <a:extLst>
                    <a:ext uri="{FF2B5EF4-FFF2-40B4-BE49-F238E27FC236}">
                      <a16:creationId xmlns:a16="http://schemas.microsoft.com/office/drawing/2014/main" id="{3D19CB1A-93DC-2C5B-2720-283F6B81F73B}"/>
                    </a:ext>
                  </a:extLst>
                </p:cNvPr>
                <p:cNvSpPr/>
                <p:nvPr/>
              </p:nvSpPr>
              <p:spPr bwMode="gray">
                <a:xfrm>
                  <a:off x="10675448" y="3405948"/>
                  <a:ext cx="170602" cy="170593"/>
                </a:xfrm>
                <a:custGeom>
                  <a:avLst/>
                  <a:gdLst>
                    <a:gd name="connsiteX0" fmla="*/ 1442085 w 1706022"/>
                    <a:gd name="connsiteY0" fmla="*/ 938594 h 1705927"/>
                    <a:gd name="connsiteX1" fmla="*/ 674751 w 1706022"/>
                    <a:gd name="connsiteY1" fmla="*/ 1705928 h 1705927"/>
                    <a:gd name="connsiteX2" fmla="*/ 0 w 1706022"/>
                    <a:gd name="connsiteY2" fmla="*/ 1031177 h 1705927"/>
                    <a:gd name="connsiteX3" fmla="*/ 1031272 w 1706022"/>
                    <a:gd name="connsiteY3" fmla="*/ 0 h 1705927"/>
                    <a:gd name="connsiteX4" fmla="*/ 1706023 w 1706022"/>
                    <a:gd name="connsiteY4" fmla="*/ 674751 h 1705927"/>
                    <a:gd name="connsiteX5" fmla="*/ 1706023 w 1706022"/>
                    <a:gd name="connsiteY5" fmla="*/ 674751 h 1705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706022" h="1705927">
                      <a:moveTo>
                        <a:pt x="1442085" y="938594"/>
                      </a:moveTo>
                      <a:lnTo>
                        <a:pt x="674751" y="1705928"/>
                      </a:lnTo>
                      <a:lnTo>
                        <a:pt x="0" y="1031177"/>
                      </a:lnTo>
                      <a:lnTo>
                        <a:pt x="1031272" y="0"/>
                      </a:lnTo>
                      <a:lnTo>
                        <a:pt x="1706023" y="674751"/>
                      </a:lnTo>
                      <a:lnTo>
                        <a:pt x="1706023" y="674751"/>
                      </a:lnTo>
                    </a:path>
                  </a:pathLst>
                </a:custGeom>
                <a:no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1" name="Freihandform: Form 60">
                  <a:extLst>
                    <a:ext uri="{FF2B5EF4-FFF2-40B4-BE49-F238E27FC236}">
                      <a16:creationId xmlns:a16="http://schemas.microsoft.com/office/drawing/2014/main" id="{05B487DF-9D26-5E8A-8654-BAFB00F60D1C}"/>
                    </a:ext>
                  </a:extLst>
                </p:cNvPr>
                <p:cNvSpPr/>
                <p:nvPr/>
              </p:nvSpPr>
              <p:spPr bwMode="gray">
                <a:xfrm>
                  <a:off x="10650197" y="3510333"/>
                  <a:ext cx="91231" cy="91316"/>
                </a:xfrm>
                <a:custGeom>
                  <a:avLst/>
                  <a:gdLst>
                    <a:gd name="connsiteX0" fmla="*/ 242983 w 912304"/>
                    <a:gd name="connsiteY0" fmla="*/ 0 h 913161"/>
                    <a:gd name="connsiteX1" fmla="*/ 0 w 912304"/>
                    <a:gd name="connsiteY1" fmla="*/ 913162 h 913161"/>
                    <a:gd name="connsiteX2" fmla="*/ 912304 w 912304"/>
                    <a:gd name="connsiteY2" fmla="*/ 666941 h 9131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912304" h="913161">
                      <a:moveTo>
                        <a:pt x="242983" y="0"/>
                      </a:moveTo>
                      <a:lnTo>
                        <a:pt x="0" y="913162"/>
                      </a:lnTo>
                      <a:lnTo>
                        <a:pt x="912304" y="666941"/>
                      </a:lnTo>
                      <a:close/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2" name="Freihandform: Form 61">
                  <a:extLst>
                    <a:ext uri="{FF2B5EF4-FFF2-40B4-BE49-F238E27FC236}">
                      <a16:creationId xmlns:a16="http://schemas.microsoft.com/office/drawing/2014/main" id="{6B75123E-04EB-3D93-5DF7-2225DFE86094}"/>
                    </a:ext>
                  </a:extLst>
                </p:cNvPr>
                <p:cNvSpPr/>
                <p:nvPr/>
              </p:nvSpPr>
              <p:spPr bwMode="gray">
                <a:xfrm>
                  <a:off x="10662570" y="3555167"/>
                  <a:ext cx="31385" cy="31652"/>
                </a:xfrm>
                <a:custGeom>
                  <a:avLst/>
                  <a:gdLst>
                    <a:gd name="connsiteX0" fmla="*/ 0 w 313848"/>
                    <a:gd name="connsiteY0" fmla="*/ 0 h 316515"/>
                    <a:gd name="connsiteX1" fmla="*/ 313849 w 313848"/>
                    <a:gd name="connsiteY1" fmla="*/ 316516 h 3165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13848" h="316515">
                      <a:moveTo>
                        <a:pt x="0" y="0"/>
                      </a:moveTo>
                      <a:cubicBezTo>
                        <a:pt x="140399" y="21336"/>
                        <a:pt x="294513" y="132397"/>
                        <a:pt x="313849" y="316516"/>
                      </a:cubicBez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3" name="Freihandform: Form 62">
                  <a:extLst>
                    <a:ext uri="{FF2B5EF4-FFF2-40B4-BE49-F238E27FC236}">
                      <a16:creationId xmlns:a16="http://schemas.microsoft.com/office/drawing/2014/main" id="{B7D510A4-1288-4ED5-A2BF-0F5393992878}"/>
                    </a:ext>
                  </a:extLst>
                </p:cNvPr>
                <p:cNvSpPr/>
                <p:nvPr/>
              </p:nvSpPr>
              <p:spPr bwMode="gray">
                <a:xfrm>
                  <a:off x="10482281" y="3559634"/>
                  <a:ext cx="116605" cy="96879"/>
                </a:xfrm>
                <a:custGeom>
                  <a:avLst/>
                  <a:gdLst>
                    <a:gd name="connsiteX0" fmla="*/ 0 w 1166050"/>
                    <a:gd name="connsiteY0" fmla="*/ 0 h 968787"/>
                    <a:gd name="connsiteX1" fmla="*/ 1166051 w 1166050"/>
                    <a:gd name="connsiteY1" fmla="*/ 0 h 968787"/>
                    <a:gd name="connsiteX2" fmla="*/ 1166051 w 1166050"/>
                    <a:gd name="connsiteY2" fmla="*/ 968788 h 968787"/>
                    <a:gd name="connsiteX3" fmla="*/ 0 w 1166050"/>
                    <a:gd name="connsiteY3" fmla="*/ 968788 h 9687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6050" h="968787">
                      <a:moveTo>
                        <a:pt x="0" y="0"/>
                      </a:moveTo>
                      <a:lnTo>
                        <a:pt x="1166051" y="0"/>
                      </a:lnTo>
                      <a:lnTo>
                        <a:pt x="1166051" y="968788"/>
                      </a:lnTo>
                      <a:lnTo>
                        <a:pt x="0" y="968788"/>
                      </a:lnTo>
                      <a:close/>
                    </a:path>
                  </a:pathLst>
                </a:custGeom>
                <a:noFill/>
                <a:ln w="19050" cap="rnd">
                  <a:noFill/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4" name="Freihandform: Form 63">
                  <a:extLst>
                    <a:ext uri="{FF2B5EF4-FFF2-40B4-BE49-F238E27FC236}">
                      <a16:creationId xmlns:a16="http://schemas.microsoft.com/office/drawing/2014/main" id="{36296C9D-1498-FEC1-39FC-767B8CEF5E55}"/>
                    </a:ext>
                  </a:extLst>
                </p:cNvPr>
                <p:cNvSpPr/>
                <p:nvPr/>
              </p:nvSpPr>
              <p:spPr bwMode="gray">
                <a:xfrm>
                  <a:off x="10547098" y="3629119"/>
                  <a:ext cx="24089" cy="33518"/>
                </a:xfrm>
                <a:custGeom>
                  <a:avLst/>
                  <a:gdLst>
                    <a:gd name="connsiteX0" fmla="*/ 40292 w 240888"/>
                    <a:gd name="connsiteY0" fmla="*/ 335185 h 335184"/>
                    <a:gd name="connsiteX1" fmla="*/ 240889 w 240888"/>
                    <a:gd name="connsiteY1" fmla="*/ 0 h 335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888" h="335184">
                      <a:moveTo>
                        <a:pt x="40292" y="335185"/>
                      </a:moveTo>
                      <a:cubicBezTo>
                        <a:pt x="-35908" y="196786"/>
                        <a:pt x="-22001" y="0"/>
                        <a:pt x="240889" y="0"/>
                      </a:cubicBezTo>
                    </a:path>
                  </a:pathLst>
                </a:custGeom>
                <a:grpFill/>
                <a:ln w="19050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65" name="Freihandform: Form 64">
                  <a:extLst>
                    <a:ext uri="{FF2B5EF4-FFF2-40B4-BE49-F238E27FC236}">
                      <a16:creationId xmlns:a16="http://schemas.microsoft.com/office/drawing/2014/main" id="{2213889B-BB7C-9F0D-BD88-DDC5D3BCCECB}"/>
                    </a:ext>
                  </a:extLst>
                </p:cNvPr>
                <p:cNvSpPr/>
                <p:nvPr/>
              </p:nvSpPr>
              <p:spPr bwMode="gray">
                <a:xfrm>
                  <a:off x="10512684" y="3629119"/>
                  <a:ext cx="24098" cy="33518"/>
                </a:xfrm>
                <a:custGeom>
                  <a:avLst/>
                  <a:gdLst>
                    <a:gd name="connsiteX0" fmla="*/ 200692 w 240980"/>
                    <a:gd name="connsiteY0" fmla="*/ 335185 h 335184"/>
                    <a:gd name="connsiteX1" fmla="*/ 0 w 240980"/>
                    <a:gd name="connsiteY1" fmla="*/ 0 h 3351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40980" h="335184">
                      <a:moveTo>
                        <a:pt x="200692" y="335185"/>
                      </a:moveTo>
                      <a:cubicBezTo>
                        <a:pt x="276892" y="196786"/>
                        <a:pt x="262985" y="0"/>
                        <a:pt x="0" y="0"/>
                      </a:cubicBezTo>
                    </a:path>
                  </a:pathLst>
                </a:custGeom>
                <a:grpFill/>
                <a:ln w="19050" cap="flat">
                  <a:noFill/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grpSp>
              <p:nvGrpSpPr>
                <p:cNvPr id="67" name="Gruppieren 66">
                  <a:extLst>
                    <a:ext uri="{FF2B5EF4-FFF2-40B4-BE49-F238E27FC236}">
                      <a16:creationId xmlns:a16="http://schemas.microsoft.com/office/drawing/2014/main" id="{BD8CE876-74A0-5081-0AC6-CD92856D7DC4}"/>
                    </a:ext>
                  </a:extLst>
                </p:cNvPr>
                <p:cNvGrpSpPr/>
                <p:nvPr/>
              </p:nvGrpSpPr>
              <p:grpSpPr bwMode="gray">
                <a:xfrm>
                  <a:off x="10479484" y="3606849"/>
                  <a:ext cx="108000" cy="53826"/>
                  <a:chOff x="9927579" y="3547662"/>
                  <a:chExt cx="108000" cy="53826"/>
                </a:xfrm>
                <a:grpFill/>
              </p:grpSpPr>
              <p:cxnSp>
                <p:nvCxnSpPr>
                  <p:cNvPr id="68" name="Gerader Verbinder 67">
                    <a:extLst>
                      <a:ext uri="{FF2B5EF4-FFF2-40B4-BE49-F238E27FC236}">
                        <a16:creationId xmlns:a16="http://schemas.microsoft.com/office/drawing/2014/main" id="{F71EE17D-D7BF-6CB2-5C58-25523A2FBD37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10008579" y="3547662"/>
                    <a:ext cx="27000" cy="0"/>
                  </a:xfrm>
                  <a:prstGeom prst="line">
                    <a:avLst/>
                  </a:prstGeom>
                  <a:grpFill/>
                  <a:ln w="19050" cap="rnd">
                    <a:solidFill>
                      <a:schemeClr val="accent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69" name="Gerader Verbinder 68">
                    <a:extLst>
                      <a:ext uri="{FF2B5EF4-FFF2-40B4-BE49-F238E27FC236}">
                        <a16:creationId xmlns:a16="http://schemas.microsoft.com/office/drawing/2014/main" id="{5ABA2D15-6DAE-B626-9460-05BA77E8D142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9972579" y="3574488"/>
                    <a:ext cx="18000" cy="0"/>
                  </a:xfrm>
                  <a:prstGeom prst="line">
                    <a:avLst/>
                  </a:prstGeom>
                  <a:grpFill/>
                  <a:ln w="19050" cap="rnd">
                    <a:solidFill>
                      <a:schemeClr val="accent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70" name="Gerader Verbinder 69">
                    <a:extLst>
                      <a:ext uri="{FF2B5EF4-FFF2-40B4-BE49-F238E27FC236}">
                        <a16:creationId xmlns:a16="http://schemas.microsoft.com/office/drawing/2014/main" id="{D5B95207-CE17-0C1B-3349-30573B5D7D6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>
                    <a:off x="9927579" y="3547662"/>
                    <a:ext cx="27000" cy="0"/>
                  </a:xfrm>
                  <a:prstGeom prst="line">
                    <a:avLst/>
                  </a:prstGeom>
                  <a:grpFill/>
                  <a:ln w="19050" cap="rnd">
                    <a:solidFill>
                      <a:schemeClr val="accent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71" name="Gerader Verbinder 70">
                    <a:extLst>
                      <a:ext uri="{FF2B5EF4-FFF2-40B4-BE49-F238E27FC236}">
                        <a16:creationId xmlns:a16="http://schemas.microsoft.com/office/drawing/2014/main" id="{953A207B-511E-3EC0-471C-DF59D911EB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>
                    <a:off x="10008579" y="3601488"/>
                    <a:ext cx="27000" cy="0"/>
                  </a:xfrm>
                  <a:prstGeom prst="line">
                    <a:avLst/>
                  </a:prstGeom>
                  <a:grpFill/>
                  <a:ln w="19050" cap="rnd">
                    <a:solidFill>
                      <a:schemeClr val="accent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72" name="Gerader Verbinder 71">
                    <a:extLst>
                      <a:ext uri="{FF2B5EF4-FFF2-40B4-BE49-F238E27FC236}">
                        <a16:creationId xmlns:a16="http://schemas.microsoft.com/office/drawing/2014/main" id="{E0BF7A30-CA14-EBEC-171A-AA4598618D3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>
                    <a:off x="9927579" y="3601488"/>
                    <a:ext cx="27000" cy="0"/>
                  </a:xfrm>
                  <a:prstGeom prst="line">
                    <a:avLst/>
                  </a:prstGeom>
                  <a:grpFill/>
                  <a:ln w="19050" cap="rnd">
                    <a:solidFill>
                      <a:schemeClr val="accent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</p:grpSp>
        <p:grpSp>
          <p:nvGrpSpPr>
            <p:cNvPr id="73" name="Gruppieren 72">
              <a:extLst>
                <a:ext uri="{FF2B5EF4-FFF2-40B4-BE49-F238E27FC236}">
                  <a16:creationId xmlns:a16="http://schemas.microsoft.com/office/drawing/2014/main" id="{C0F7D63C-C6A2-1AFC-940A-745C1D8B46D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3021766" y="2852702"/>
              <a:ext cx="540000" cy="540000"/>
              <a:chOff x="3943728" y="4768506"/>
              <a:chExt cx="898977" cy="898977"/>
            </a:xfrm>
            <a:solidFill>
              <a:schemeClr val="bg1"/>
            </a:solidFill>
          </p:grpSpPr>
          <p:sp>
            <p:nvSpPr>
              <p:cNvPr id="75" name="Ellipse 74">
                <a:extLst>
                  <a:ext uri="{FF2B5EF4-FFF2-40B4-BE49-F238E27FC236}">
                    <a16:creationId xmlns:a16="http://schemas.microsoft.com/office/drawing/2014/main" id="{6ECA566D-0136-906A-DA2A-812513C5715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943728" y="4768506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 dirty="0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76" name="Gruppieren 75">
                <a:extLst>
                  <a:ext uri="{FF2B5EF4-FFF2-40B4-BE49-F238E27FC236}">
                    <a16:creationId xmlns:a16="http://schemas.microsoft.com/office/drawing/2014/main" id="{F79A1582-A645-D250-C3FB-8B06DEEF6819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218540" y="4950371"/>
                <a:ext cx="413632" cy="555343"/>
                <a:chOff x="10439210" y="1602867"/>
                <a:chExt cx="580668" cy="779605"/>
              </a:xfrm>
              <a:grpFill/>
            </p:grpSpPr>
            <p:sp>
              <p:nvSpPr>
                <p:cNvPr id="77" name="Freihandform: Form 76">
                  <a:extLst>
                    <a:ext uri="{FF2B5EF4-FFF2-40B4-BE49-F238E27FC236}">
                      <a16:creationId xmlns:a16="http://schemas.microsoft.com/office/drawing/2014/main" id="{45715A41-76AC-A9A1-99B5-A6660A96866F}"/>
                    </a:ext>
                  </a:extLst>
                </p:cNvPr>
                <p:cNvSpPr/>
                <p:nvPr/>
              </p:nvSpPr>
              <p:spPr bwMode="gray">
                <a:xfrm>
                  <a:off x="10439210" y="1638044"/>
                  <a:ext cx="327342" cy="625457"/>
                </a:xfrm>
                <a:custGeom>
                  <a:avLst/>
                  <a:gdLst>
                    <a:gd name="connsiteX0" fmla="*/ 320541 w 328519"/>
                    <a:gd name="connsiteY0" fmla="*/ 616508 h 627706"/>
                    <a:gd name="connsiteX1" fmla="*/ 13199 w 328519"/>
                    <a:gd name="connsiteY1" fmla="*/ 616508 h 627706"/>
                    <a:gd name="connsiteX2" fmla="*/ 13199 w 328519"/>
                    <a:gd name="connsiteY2" fmla="*/ 13199 h 627706"/>
                    <a:gd name="connsiteX3" fmla="*/ 159801 w 328519"/>
                    <a:gd name="connsiteY3" fmla="*/ 13199 h 627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8519" h="627706">
                      <a:moveTo>
                        <a:pt x="320541" y="616508"/>
                      </a:moveTo>
                      <a:lnTo>
                        <a:pt x="13199" y="616508"/>
                      </a:lnTo>
                      <a:lnTo>
                        <a:pt x="13199" y="13199"/>
                      </a:lnTo>
                      <a:lnTo>
                        <a:pt x="159801" y="13199"/>
                      </a:lnTo>
                    </a:path>
                  </a:pathLst>
                </a:custGeom>
                <a:no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78" name="Freihandform: Form 77">
                  <a:extLst>
                    <a:ext uri="{FF2B5EF4-FFF2-40B4-BE49-F238E27FC236}">
                      <a16:creationId xmlns:a16="http://schemas.microsoft.com/office/drawing/2014/main" id="{B2C205AC-1F06-8A67-1898-947AA97C24CA}"/>
                    </a:ext>
                  </a:extLst>
                </p:cNvPr>
                <p:cNvSpPr/>
                <p:nvPr/>
              </p:nvSpPr>
              <p:spPr bwMode="gray">
                <a:xfrm>
                  <a:off x="10730543" y="1638044"/>
                  <a:ext cx="169516" cy="491013"/>
                </a:xfrm>
                <a:custGeom>
                  <a:avLst/>
                  <a:gdLst>
                    <a:gd name="connsiteX0" fmla="*/ 13199 w 170126"/>
                    <a:gd name="connsiteY0" fmla="*/ 13199 h 492778"/>
                    <a:gd name="connsiteX1" fmla="*/ 159801 w 170126"/>
                    <a:gd name="connsiteY1" fmla="*/ 13199 h 492778"/>
                    <a:gd name="connsiteX2" fmla="*/ 159801 w 170126"/>
                    <a:gd name="connsiteY2" fmla="*/ 484830 h 49277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70126" h="492778">
                      <a:moveTo>
                        <a:pt x="13199" y="13199"/>
                      </a:moveTo>
                      <a:lnTo>
                        <a:pt x="159801" y="13199"/>
                      </a:lnTo>
                      <a:lnTo>
                        <a:pt x="159801" y="484830"/>
                      </a:lnTo>
                    </a:path>
                  </a:pathLst>
                </a:custGeom>
                <a:no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79" name="Freihandform: Form 78">
                  <a:extLst>
                    <a:ext uri="{FF2B5EF4-FFF2-40B4-BE49-F238E27FC236}">
                      <a16:creationId xmlns:a16="http://schemas.microsoft.com/office/drawing/2014/main" id="{F64FB281-8EB0-7532-6DE5-DF60AB61DF4F}"/>
                    </a:ext>
                  </a:extLst>
                </p:cNvPr>
                <p:cNvSpPr/>
                <p:nvPr/>
              </p:nvSpPr>
              <p:spPr bwMode="gray">
                <a:xfrm>
                  <a:off x="10538172" y="1814482"/>
                  <a:ext cx="263043" cy="23382"/>
                </a:xfrm>
                <a:custGeom>
                  <a:avLst/>
                  <a:gdLst>
                    <a:gd name="connsiteX0" fmla="*/ 13199 w 263988"/>
                    <a:gd name="connsiteY0" fmla="*/ 13199 h 23465"/>
                    <a:gd name="connsiteX1" fmla="*/ 253547 w 263988"/>
                    <a:gd name="connsiteY1" fmla="*/ 13199 h 23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3988" h="23465">
                      <a:moveTo>
                        <a:pt x="13199" y="13199"/>
                      </a:moveTo>
                      <a:lnTo>
                        <a:pt x="253547" y="13199"/>
                      </a:lnTo>
                    </a:path>
                  </a:pathLst>
                </a:custGeom>
                <a:grp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80" name="Freihandform: Form 79">
                  <a:extLst>
                    <a:ext uri="{FF2B5EF4-FFF2-40B4-BE49-F238E27FC236}">
                      <a16:creationId xmlns:a16="http://schemas.microsoft.com/office/drawing/2014/main" id="{48899C28-B613-AD3F-1E1F-374DECDBCB95}"/>
                    </a:ext>
                  </a:extLst>
                </p:cNvPr>
                <p:cNvSpPr/>
                <p:nvPr/>
              </p:nvSpPr>
              <p:spPr bwMode="gray">
                <a:xfrm>
                  <a:off x="10538172" y="1897239"/>
                  <a:ext cx="263043" cy="23382"/>
                </a:xfrm>
                <a:custGeom>
                  <a:avLst/>
                  <a:gdLst>
                    <a:gd name="connsiteX0" fmla="*/ 13199 w 263988"/>
                    <a:gd name="connsiteY0" fmla="*/ 13199 h 23465"/>
                    <a:gd name="connsiteX1" fmla="*/ 253547 w 263988"/>
                    <a:gd name="connsiteY1" fmla="*/ 13199 h 23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3988" h="23465">
                      <a:moveTo>
                        <a:pt x="13199" y="13199"/>
                      </a:moveTo>
                      <a:lnTo>
                        <a:pt x="253547" y="13199"/>
                      </a:lnTo>
                    </a:path>
                  </a:pathLst>
                </a:custGeom>
                <a:grp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81" name="Freihandform: Form 80">
                  <a:extLst>
                    <a:ext uri="{FF2B5EF4-FFF2-40B4-BE49-F238E27FC236}">
                      <a16:creationId xmlns:a16="http://schemas.microsoft.com/office/drawing/2014/main" id="{79D1033F-FB73-6AE6-73C1-6929B7C9AD42}"/>
                    </a:ext>
                  </a:extLst>
                </p:cNvPr>
                <p:cNvSpPr/>
                <p:nvPr/>
              </p:nvSpPr>
              <p:spPr bwMode="gray">
                <a:xfrm>
                  <a:off x="10538172" y="1979996"/>
                  <a:ext cx="263043" cy="23382"/>
                </a:xfrm>
                <a:custGeom>
                  <a:avLst/>
                  <a:gdLst>
                    <a:gd name="connsiteX0" fmla="*/ 13199 w 263988"/>
                    <a:gd name="connsiteY0" fmla="*/ 13199 h 23465"/>
                    <a:gd name="connsiteX1" fmla="*/ 253547 w 263988"/>
                    <a:gd name="connsiteY1" fmla="*/ 13199 h 23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3988" h="23465">
                      <a:moveTo>
                        <a:pt x="13199" y="13199"/>
                      </a:moveTo>
                      <a:lnTo>
                        <a:pt x="253547" y="13199"/>
                      </a:lnTo>
                    </a:path>
                  </a:pathLst>
                </a:custGeom>
                <a:grp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82" name="Freihandform: Form 81">
                  <a:extLst>
                    <a:ext uri="{FF2B5EF4-FFF2-40B4-BE49-F238E27FC236}">
                      <a16:creationId xmlns:a16="http://schemas.microsoft.com/office/drawing/2014/main" id="{B0B97870-AE95-F73B-C7CA-DFA23E6CA15F}"/>
                    </a:ext>
                  </a:extLst>
                </p:cNvPr>
                <p:cNvSpPr/>
                <p:nvPr/>
              </p:nvSpPr>
              <p:spPr bwMode="gray">
                <a:xfrm>
                  <a:off x="10538172" y="2062754"/>
                  <a:ext cx="263043" cy="23382"/>
                </a:xfrm>
                <a:custGeom>
                  <a:avLst/>
                  <a:gdLst>
                    <a:gd name="connsiteX0" fmla="*/ 13199 w 263988"/>
                    <a:gd name="connsiteY0" fmla="*/ 13199 h 23465"/>
                    <a:gd name="connsiteX1" fmla="*/ 253547 w 263988"/>
                    <a:gd name="connsiteY1" fmla="*/ 13199 h 234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63988" h="23465">
                      <a:moveTo>
                        <a:pt x="13199" y="13199"/>
                      </a:moveTo>
                      <a:lnTo>
                        <a:pt x="253547" y="13199"/>
                      </a:lnTo>
                    </a:path>
                  </a:pathLst>
                </a:custGeom>
                <a:grp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83" name="Freihandform: Form 82">
                  <a:extLst>
                    <a:ext uri="{FF2B5EF4-FFF2-40B4-BE49-F238E27FC236}">
                      <a16:creationId xmlns:a16="http://schemas.microsoft.com/office/drawing/2014/main" id="{3F9C977F-4AD2-041B-5EF3-6678FC2CD78C}"/>
                    </a:ext>
                  </a:extLst>
                </p:cNvPr>
                <p:cNvSpPr/>
                <p:nvPr/>
              </p:nvSpPr>
              <p:spPr bwMode="gray">
                <a:xfrm>
                  <a:off x="10585280" y="1602867"/>
                  <a:ext cx="169516" cy="122754"/>
                </a:xfrm>
                <a:custGeom>
                  <a:avLst/>
                  <a:gdLst>
                    <a:gd name="connsiteX0" fmla="*/ 13199 w 170126"/>
                    <a:gd name="connsiteY0" fmla="*/ 23115 h 123194"/>
                    <a:gd name="connsiteX1" fmla="*/ 13199 w 170126"/>
                    <a:gd name="connsiteY1" fmla="*/ 98129 h 123194"/>
                    <a:gd name="connsiteX2" fmla="*/ 26035 w 170126"/>
                    <a:gd name="connsiteY2" fmla="*/ 110963 h 123194"/>
                    <a:gd name="connsiteX3" fmla="*/ 26035 w 170126"/>
                    <a:gd name="connsiteY3" fmla="*/ 110963 h 123194"/>
                    <a:gd name="connsiteX4" fmla="*/ 31180 w 170126"/>
                    <a:gd name="connsiteY4" fmla="*/ 110963 h 123194"/>
                    <a:gd name="connsiteX5" fmla="*/ 43910 w 170126"/>
                    <a:gd name="connsiteY5" fmla="*/ 99790 h 123194"/>
                    <a:gd name="connsiteX6" fmla="*/ 44115 w 170126"/>
                    <a:gd name="connsiteY6" fmla="*/ 98197 h 123194"/>
                    <a:gd name="connsiteX7" fmla="*/ 88665 w 170126"/>
                    <a:gd name="connsiteY7" fmla="*/ 59081 h 123194"/>
                    <a:gd name="connsiteX8" fmla="*/ 88665 w 170126"/>
                    <a:gd name="connsiteY8" fmla="*/ 59081 h 123194"/>
                    <a:gd name="connsiteX9" fmla="*/ 133220 w 170126"/>
                    <a:gd name="connsiteY9" fmla="*/ 98198 h 123194"/>
                    <a:gd name="connsiteX10" fmla="*/ 133426 w 170126"/>
                    <a:gd name="connsiteY10" fmla="*/ 99788 h 123194"/>
                    <a:gd name="connsiteX11" fmla="*/ 146156 w 170126"/>
                    <a:gd name="connsiteY11" fmla="*/ 110963 h 123194"/>
                    <a:gd name="connsiteX12" fmla="*/ 146156 w 170126"/>
                    <a:gd name="connsiteY12" fmla="*/ 110963 h 123194"/>
                    <a:gd name="connsiteX13" fmla="*/ 158985 w 170126"/>
                    <a:gd name="connsiteY13" fmla="*/ 98130 h 123194"/>
                    <a:gd name="connsiteX14" fmla="*/ 158985 w 170126"/>
                    <a:gd name="connsiteY14" fmla="*/ 98129 h 123194"/>
                    <a:gd name="connsiteX15" fmla="*/ 158985 w 170126"/>
                    <a:gd name="connsiteY15" fmla="*/ 23115 h 123194"/>
                    <a:gd name="connsiteX16" fmla="*/ 149072 w 170126"/>
                    <a:gd name="connsiteY16" fmla="*/ 13199 h 123194"/>
                    <a:gd name="connsiteX17" fmla="*/ 23114 w 170126"/>
                    <a:gd name="connsiteY17" fmla="*/ 13199 h 123194"/>
                    <a:gd name="connsiteX18" fmla="*/ 13199 w 170126"/>
                    <a:gd name="connsiteY18" fmla="*/ 23115 h 1231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170126" h="123194">
                      <a:moveTo>
                        <a:pt x="13199" y="23115"/>
                      </a:moveTo>
                      <a:lnTo>
                        <a:pt x="13199" y="98129"/>
                      </a:lnTo>
                      <a:cubicBezTo>
                        <a:pt x="13199" y="105218"/>
                        <a:pt x="18948" y="110964"/>
                        <a:pt x="26035" y="110963"/>
                      </a:cubicBezTo>
                      <a:cubicBezTo>
                        <a:pt x="26035" y="110963"/>
                        <a:pt x="26035" y="110963"/>
                        <a:pt x="26035" y="110963"/>
                      </a:cubicBezTo>
                      <a:lnTo>
                        <a:pt x="31180" y="110963"/>
                      </a:lnTo>
                      <a:cubicBezTo>
                        <a:pt x="37627" y="110964"/>
                        <a:pt x="43071" y="106182"/>
                        <a:pt x="43910" y="99790"/>
                      </a:cubicBezTo>
                      <a:lnTo>
                        <a:pt x="44115" y="98197"/>
                      </a:lnTo>
                      <a:cubicBezTo>
                        <a:pt x="47037" y="75820"/>
                        <a:pt x="66103" y="59081"/>
                        <a:pt x="88665" y="59081"/>
                      </a:cubicBezTo>
                      <a:lnTo>
                        <a:pt x="88665" y="59081"/>
                      </a:lnTo>
                      <a:cubicBezTo>
                        <a:pt x="111233" y="59081"/>
                        <a:pt x="130299" y="75821"/>
                        <a:pt x="133220" y="98198"/>
                      </a:cubicBezTo>
                      <a:lnTo>
                        <a:pt x="133426" y="99788"/>
                      </a:lnTo>
                      <a:cubicBezTo>
                        <a:pt x="134259" y="106182"/>
                        <a:pt x="139709" y="110964"/>
                        <a:pt x="146156" y="110963"/>
                      </a:cubicBezTo>
                      <a:lnTo>
                        <a:pt x="146156" y="110963"/>
                      </a:lnTo>
                      <a:cubicBezTo>
                        <a:pt x="153243" y="110964"/>
                        <a:pt x="158985" y="105218"/>
                        <a:pt x="158985" y="98130"/>
                      </a:cubicBezTo>
                      <a:cubicBezTo>
                        <a:pt x="158985" y="98130"/>
                        <a:pt x="158985" y="98129"/>
                        <a:pt x="158985" y="98129"/>
                      </a:cubicBezTo>
                      <a:lnTo>
                        <a:pt x="158985" y="23115"/>
                      </a:lnTo>
                      <a:cubicBezTo>
                        <a:pt x="158985" y="17639"/>
                        <a:pt x="154551" y="13200"/>
                        <a:pt x="149072" y="13199"/>
                      </a:cubicBezTo>
                      <a:lnTo>
                        <a:pt x="23114" y="13199"/>
                      </a:lnTo>
                      <a:cubicBezTo>
                        <a:pt x="17640" y="13200"/>
                        <a:pt x="13199" y="17639"/>
                        <a:pt x="13199" y="23115"/>
                      </a:cubicBezTo>
                      <a:close/>
                    </a:path>
                  </a:pathLst>
                </a:custGeom>
                <a:grp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84" name="Freihandform: Form 83">
                  <a:extLst>
                    <a:ext uri="{FF2B5EF4-FFF2-40B4-BE49-F238E27FC236}">
                      <a16:creationId xmlns:a16="http://schemas.microsoft.com/office/drawing/2014/main" id="{5E30886C-FF5C-681E-D88E-DC2D14471898}"/>
                    </a:ext>
                  </a:extLst>
                </p:cNvPr>
                <p:cNvSpPr/>
                <p:nvPr/>
              </p:nvSpPr>
              <p:spPr bwMode="gray">
                <a:xfrm>
                  <a:off x="10692536" y="2055130"/>
                  <a:ext cx="327342" cy="327342"/>
                </a:xfrm>
                <a:custGeom>
                  <a:avLst/>
                  <a:gdLst>
                    <a:gd name="connsiteX0" fmla="*/ 232773 w 328519"/>
                    <a:gd name="connsiteY0" fmla="*/ 85318 h 328519"/>
                    <a:gd name="connsiteX1" fmla="*/ 246759 w 328519"/>
                    <a:gd name="connsiteY1" fmla="*/ 232773 h 328519"/>
                    <a:gd name="connsiteX2" fmla="*/ 99304 w 328519"/>
                    <a:gd name="connsiteY2" fmla="*/ 246759 h 328519"/>
                    <a:gd name="connsiteX3" fmla="*/ 85318 w 328519"/>
                    <a:gd name="connsiteY3" fmla="*/ 99304 h 328519"/>
                    <a:gd name="connsiteX4" fmla="*/ 232773 w 328519"/>
                    <a:gd name="connsiteY4" fmla="*/ 85318 h 3285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28519" h="328519">
                      <a:moveTo>
                        <a:pt x="232773" y="85318"/>
                      </a:moveTo>
                      <a:cubicBezTo>
                        <a:pt x="277353" y="122174"/>
                        <a:pt x="283615" y="188192"/>
                        <a:pt x="246759" y="232773"/>
                      </a:cubicBezTo>
                      <a:cubicBezTo>
                        <a:pt x="209902" y="277354"/>
                        <a:pt x="143885" y="283615"/>
                        <a:pt x="99304" y="246759"/>
                      </a:cubicBezTo>
                      <a:cubicBezTo>
                        <a:pt x="54723" y="209903"/>
                        <a:pt x="48461" y="143885"/>
                        <a:pt x="85318" y="99304"/>
                      </a:cubicBezTo>
                      <a:cubicBezTo>
                        <a:pt x="122174" y="54723"/>
                        <a:pt x="188192" y="48461"/>
                        <a:pt x="232773" y="85318"/>
                      </a:cubicBezTo>
                      <a:close/>
                    </a:path>
                  </a:pathLst>
                </a:custGeom>
                <a:grpFill/>
                <a:ln w="19050" cap="flat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85" name="Freihandform: Form 84">
                  <a:extLst>
                    <a:ext uri="{FF2B5EF4-FFF2-40B4-BE49-F238E27FC236}">
                      <a16:creationId xmlns:a16="http://schemas.microsoft.com/office/drawing/2014/main" id="{0300BB32-9941-31F0-6942-C27E2AC3A4E4}"/>
                    </a:ext>
                  </a:extLst>
                </p:cNvPr>
                <p:cNvSpPr/>
                <p:nvPr/>
              </p:nvSpPr>
              <p:spPr bwMode="gray">
                <a:xfrm>
                  <a:off x="10799227" y="2170221"/>
                  <a:ext cx="128598" cy="99372"/>
                </a:xfrm>
                <a:custGeom>
                  <a:avLst/>
                  <a:gdLst>
                    <a:gd name="connsiteX0" fmla="*/ 13199 w 129061"/>
                    <a:gd name="connsiteY0" fmla="*/ 50087 h 99729"/>
                    <a:gd name="connsiteX1" fmla="*/ 55496 w 129061"/>
                    <a:gd name="connsiteY1" fmla="*/ 87826 h 99729"/>
                    <a:gd name="connsiteX2" fmla="*/ 116507 w 129061"/>
                    <a:gd name="connsiteY2" fmla="*/ 13199 h 997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29061" h="99729">
                      <a:moveTo>
                        <a:pt x="13199" y="50087"/>
                      </a:moveTo>
                      <a:lnTo>
                        <a:pt x="55496" y="87826"/>
                      </a:lnTo>
                      <a:lnTo>
                        <a:pt x="116507" y="13199"/>
                      </a:lnTo>
                    </a:path>
                  </a:pathLst>
                </a:custGeom>
                <a:grpFill/>
                <a:ln w="19050" cap="rnd">
                  <a:solidFill>
                    <a:schemeClr val="accent3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86" name="Gruppieren 85">
              <a:extLst>
                <a:ext uri="{FF2B5EF4-FFF2-40B4-BE49-F238E27FC236}">
                  <a16:creationId xmlns:a16="http://schemas.microsoft.com/office/drawing/2014/main" id="{61D75659-9A00-C5F3-887E-01004869E3F6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786675" y="3317667"/>
              <a:ext cx="809238" cy="809238"/>
              <a:chOff x="1675468" y="1317908"/>
              <a:chExt cx="898977" cy="898977"/>
            </a:xfrm>
            <a:solidFill>
              <a:schemeClr val="bg1"/>
            </a:solidFill>
          </p:grpSpPr>
          <p:sp>
            <p:nvSpPr>
              <p:cNvPr id="87" name="Ellipse 86">
                <a:extLst>
                  <a:ext uri="{FF2B5EF4-FFF2-40B4-BE49-F238E27FC236}">
                    <a16:creationId xmlns:a16="http://schemas.microsoft.com/office/drawing/2014/main" id="{5F862A17-310A-5AA8-9DF3-12BA40A9579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675468" y="1317908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rgbClr val="7F7F7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sp>
            <p:nvSpPr>
              <p:cNvPr id="88" name="Grafik 2941">
                <a:extLst>
                  <a:ext uri="{FF2B5EF4-FFF2-40B4-BE49-F238E27FC236}">
                    <a16:creationId xmlns:a16="http://schemas.microsoft.com/office/drawing/2014/main" id="{2342C1F5-41F0-1733-6DD1-61F3BBE22BC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972556" y="1573569"/>
                <a:ext cx="304800" cy="396240"/>
              </a:xfrm>
              <a:custGeom>
                <a:avLst/>
                <a:gdLst>
                  <a:gd name="connsiteX0" fmla="*/ 2286000 w 3048000"/>
                  <a:gd name="connsiteY0" fmla="*/ 1371600 h 3962400"/>
                  <a:gd name="connsiteX1" fmla="*/ 2667000 w 3048000"/>
                  <a:gd name="connsiteY1" fmla="*/ 1371600 h 3962400"/>
                  <a:gd name="connsiteX2" fmla="*/ 3048000 w 3048000"/>
                  <a:gd name="connsiteY2" fmla="*/ 1752600 h 3962400"/>
                  <a:gd name="connsiteX3" fmla="*/ 3048000 w 3048000"/>
                  <a:gd name="connsiteY3" fmla="*/ 3581400 h 3962400"/>
                  <a:gd name="connsiteX4" fmla="*/ 2667000 w 3048000"/>
                  <a:gd name="connsiteY4" fmla="*/ 3962400 h 3962400"/>
                  <a:gd name="connsiteX5" fmla="*/ 381000 w 3048000"/>
                  <a:gd name="connsiteY5" fmla="*/ 3962400 h 3962400"/>
                  <a:gd name="connsiteX6" fmla="*/ 0 w 3048000"/>
                  <a:gd name="connsiteY6" fmla="*/ 3581400 h 3962400"/>
                  <a:gd name="connsiteX7" fmla="*/ 0 w 3048000"/>
                  <a:gd name="connsiteY7" fmla="*/ 1752600 h 3962400"/>
                  <a:gd name="connsiteX8" fmla="*/ 381000 w 3048000"/>
                  <a:gd name="connsiteY8" fmla="*/ 1371600 h 3962400"/>
                  <a:gd name="connsiteX9" fmla="*/ 762000 w 3048000"/>
                  <a:gd name="connsiteY9" fmla="*/ 1371600 h 3962400"/>
                  <a:gd name="connsiteX10" fmla="*/ 2286000 w 3048000"/>
                  <a:gd name="connsiteY10" fmla="*/ 762000 h 3962400"/>
                  <a:gd name="connsiteX11" fmla="*/ 1524000 w 3048000"/>
                  <a:gd name="connsiteY11" fmla="*/ 0 h 3962400"/>
                  <a:gd name="connsiteX12" fmla="*/ 762000 w 3048000"/>
                  <a:gd name="connsiteY12" fmla="*/ 762000 h 3962400"/>
                  <a:gd name="connsiteX13" fmla="*/ 1524000 w 3048000"/>
                  <a:gd name="connsiteY13" fmla="*/ 2600325 h 3962400"/>
                  <a:gd name="connsiteX14" fmla="*/ 1524000 w 3048000"/>
                  <a:gd name="connsiteY14" fmla="*/ 0 h 396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3048000" h="3962400">
                    <a:moveTo>
                      <a:pt x="2286000" y="1371600"/>
                    </a:moveTo>
                    <a:lnTo>
                      <a:pt x="2667000" y="1371600"/>
                    </a:lnTo>
                    <a:cubicBezTo>
                      <a:pt x="2877421" y="1371600"/>
                      <a:pt x="3048000" y="1542180"/>
                      <a:pt x="3048000" y="1752600"/>
                    </a:cubicBezTo>
                    <a:lnTo>
                      <a:pt x="3048000" y="3581400"/>
                    </a:lnTo>
                    <a:cubicBezTo>
                      <a:pt x="3048000" y="3791821"/>
                      <a:pt x="2877421" y="3962400"/>
                      <a:pt x="2667000" y="3962400"/>
                    </a:cubicBezTo>
                    <a:lnTo>
                      <a:pt x="381000" y="3962400"/>
                    </a:lnTo>
                    <a:cubicBezTo>
                      <a:pt x="170579" y="3962400"/>
                      <a:pt x="0" y="3791821"/>
                      <a:pt x="0" y="3581400"/>
                    </a:cubicBezTo>
                    <a:lnTo>
                      <a:pt x="0" y="1752600"/>
                    </a:lnTo>
                    <a:cubicBezTo>
                      <a:pt x="0" y="1542180"/>
                      <a:pt x="170579" y="1371600"/>
                      <a:pt x="381000" y="1371600"/>
                    </a:cubicBezTo>
                    <a:lnTo>
                      <a:pt x="762000" y="1371600"/>
                    </a:lnTo>
                    <a:moveTo>
                      <a:pt x="2286000" y="762000"/>
                    </a:moveTo>
                    <a:lnTo>
                      <a:pt x="1524000" y="0"/>
                    </a:lnTo>
                    <a:lnTo>
                      <a:pt x="762000" y="762000"/>
                    </a:lnTo>
                    <a:moveTo>
                      <a:pt x="1524000" y="2600325"/>
                    </a:moveTo>
                    <a:lnTo>
                      <a:pt x="1524000" y="0"/>
                    </a:lnTo>
                  </a:path>
                </a:pathLst>
              </a:custGeom>
              <a:noFill/>
              <a:ln w="19050" cap="rnd">
                <a:solidFill>
                  <a:srgbClr val="7F7F7F"/>
                </a:solidFill>
                <a:prstDash val="solid"/>
                <a:round/>
              </a:ln>
            </p:spPr>
            <p:txBody>
              <a:bodyPr lIns="0" tIns="0" rIns="0" bIns="0" rtlCol="0" anchor="ctr"/>
              <a:lstStyle/>
              <a:p>
                <a:pPr defTabSz="855980"/>
                <a:endParaRPr lang="de-DE" sz="1991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08" name="Gruppieren 107">
              <a:extLst>
                <a:ext uri="{FF2B5EF4-FFF2-40B4-BE49-F238E27FC236}">
                  <a16:creationId xmlns:a16="http://schemas.microsoft.com/office/drawing/2014/main" id="{D8C014BE-84C5-DDC0-E7FA-FC42123A420C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774151" y="4668975"/>
              <a:ext cx="809238" cy="809238"/>
              <a:chOff x="10748511" y="2463034"/>
              <a:chExt cx="898977" cy="898977"/>
            </a:xfrm>
            <a:solidFill>
              <a:schemeClr val="bg1"/>
            </a:solidFill>
          </p:grpSpPr>
          <p:sp>
            <p:nvSpPr>
              <p:cNvPr id="109" name="Ellipse 108">
                <a:extLst>
                  <a:ext uri="{FF2B5EF4-FFF2-40B4-BE49-F238E27FC236}">
                    <a16:creationId xmlns:a16="http://schemas.microsoft.com/office/drawing/2014/main" id="{48327A43-6968-E73D-D4D5-622EE7F9558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748511" y="2463034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110" name="Grafik 1130">
                <a:extLst>
                  <a:ext uri="{FF2B5EF4-FFF2-40B4-BE49-F238E27FC236}">
                    <a16:creationId xmlns:a16="http://schemas.microsoft.com/office/drawing/2014/main" id="{E5C8E590-2619-6558-6DF0-657A43A9C60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10954159" y="2676617"/>
                <a:ext cx="487680" cy="487680"/>
                <a:chOff x="13962856" y="990600"/>
                <a:chExt cx="4876800" cy="4876800"/>
              </a:xfrm>
              <a:grpFill/>
            </p:grpSpPr>
            <p:sp>
              <p:nvSpPr>
                <p:cNvPr id="111" name="Freihandform: Form 110">
                  <a:extLst>
                    <a:ext uri="{FF2B5EF4-FFF2-40B4-BE49-F238E27FC236}">
                      <a16:creationId xmlns:a16="http://schemas.microsoft.com/office/drawing/2014/main" id="{F5EC8AE8-4D29-EC90-C884-3D58DD83A258}"/>
                    </a:ext>
                  </a:extLst>
                </p:cNvPr>
                <p:cNvSpPr/>
                <p:nvPr/>
              </p:nvSpPr>
              <p:spPr bwMode="gray">
                <a:xfrm>
                  <a:off x="14420056" y="1905000"/>
                  <a:ext cx="3962400" cy="3048000"/>
                </a:xfrm>
                <a:custGeom>
                  <a:avLst/>
                  <a:gdLst>
                    <a:gd name="connsiteX0" fmla="*/ 3429000 w 3962400"/>
                    <a:gd name="connsiteY0" fmla="*/ 0 h 3048000"/>
                    <a:gd name="connsiteX1" fmla="*/ 3962400 w 3962400"/>
                    <a:gd name="connsiteY1" fmla="*/ 533400 h 3048000"/>
                    <a:gd name="connsiteX2" fmla="*/ 3962400 w 3962400"/>
                    <a:gd name="connsiteY2" fmla="*/ 2514600 h 3048000"/>
                    <a:gd name="connsiteX3" fmla="*/ 3429000 w 3962400"/>
                    <a:gd name="connsiteY3" fmla="*/ 3048000 h 3048000"/>
                    <a:gd name="connsiteX4" fmla="*/ 533400 w 3962400"/>
                    <a:gd name="connsiteY4" fmla="*/ 3048000 h 3048000"/>
                    <a:gd name="connsiteX5" fmla="*/ 0 w 3962400"/>
                    <a:gd name="connsiteY5" fmla="*/ 2514600 h 3048000"/>
                    <a:gd name="connsiteX6" fmla="*/ 0 w 3962400"/>
                    <a:gd name="connsiteY6" fmla="*/ 533400 h 3048000"/>
                    <a:gd name="connsiteX7" fmla="*/ 533400 w 3962400"/>
                    <a:gd name="connsiteY7" fmla="*/ 0 h 3048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962400" h="3048000">
                      <a:moveTo>
                        <a:pt x="3429000" y="0"/>
                      </a:moveTo>
                      <a:cubicBezTo>
                        <a:pt x="3723589" y="0"/>
                        <a:pt x="3962400" y="238811"/>
                        <a:pt x="3962400" y="533400"/>
                      </a:cubicBezTo>
                      <a:lnTo>
                        <a:pt x="3962400" y="2514600"/>
                      </a:lnTo>
                      <a:cubicBezTo>
                        <a:pt x="3962400" y="2809189"/>
                        <a:pt x="3723589" y="3048000"/>
                        <a:pt x="3429000" y="3048000"/>
                      </a:cubicBezTo>
                      <a:lnTo>
                        <a:pt x="533400" y="3048000"/>
                      </a:lnTo>
                      <a:cubicBezTo>
                        <a:pt x="238811" y="3048000"/>
                        <a:pt x="0" y="2809189"/>
                        <a:pt x="0" y="2514600"/>
                      </a:cubicBezTo>
                      <a:lnTo>
                        <a:pt x="0" y="533400"/>
                      </a:lnTo>
                      <a:cubicBezTo>
                        <a:pt x="0" y="238811"/>
                        <a:pt x="238811" y="0"/>
                        <a:pt x="533400" y="0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00B050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12" name="Freihandform: Form 111">
                  <a:extLst>
                    <a:ext uri="{FF2B5EF4-FFF2-40B4-BE49-F238E27FC236}">
                      <a16:creationId xmlns:a16="http://schemas.microsoft.com/office/drawing/2014/main" id="{FB241114-1972-52E0-4D41-4121C2CF383A}"/>
                    </a:ext>
                  </a:extLst>
                </p:cNvPr>
                <p:cNvSpPr/>
                <p:nvPr/>
              </p:nvSpPr>
              <p:spPr bwMode="gray">
                <a:xfrm>
                  <a:off x="14420056" y="2819400"/>
                  <a:ext cx="3962400" cy="1219200"/>
                </a:xfrm>
                <a:custGeom>
                  <a:avLst/>
                  <a:gdLst>
                    <a:gd name="connsiteX0" fmla="*/ 0 w 3962400"/>
                    <a:gd name="connsiteY0" fmla="*/ 0 h 1219200"/>
                    <a:gd name="connsiteX1" fmla="*/ 3962400 w 3962400"/>
                    <a:gd name="connsiteY1" fmla="*/ 0 h 1219200"/>
                    <a:gd name="connsiteX2" fmla="*/ 762000 w 3962400"/>
                    <a:gd name="connsiteY2" fmla="*/ 1028700 h 1219200"/>
                    <a:gd name="connsiteX3" fmla="*/ 1219200 w 3962400"/>
                    <a:gd name="connsiteY3" fmla="*/ 1028700 h 1219200"/>
                    <a:gd name="connsiteX4" fmla="*/ 1219200 w 3962400"/>
                    <a:gd name="connsiteY4" fmla="*/ 1219200 h 1219200"/>
                    <a:gd name="connsiteX5" fmla="*/ 762000 w 3962400"/>
                    <a:gd name="connsiteY5" fmla="*/ 1219200 h 1219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962400" h="1219200">
                      <a:moveTo>
                        <a:pt x="0" y="0"/>
                      </a:moveTo>
                      <a:lnTo>
                        <a:pt x="3962400" y="0"/>
                      </a:lnTo>
                      <a:moveTo>
                        <a:pt x="762000" y="1028700"/>
                      </a:moveTo>
                      <a:lnTo>
                        <a:pt x="1219200" y="1028700"/>
                      </a:lnTo>
                      <a:lnTo>
                        <a:pt x="1219200" y="1219200"/>
                      </a:lnTo>
                      <a:lnTo>
                        <a:pt x="762000" y="1219200"/>
                      </a:lnTo>
                      <a:close/>
                    </a:path>
                  </a:pathLst>
                </a:custGeom>
                <a:grpFill/>
                <a:ln w="19050" cap="flat">
                  <a:solidFill>
                    <a:srgbClr val="00B050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14" name="Gruppieren 113">
              <a:extLst>
                <a:ext uri="{FF2B5EF4-FFF2-40B4-BE49-F238E27FC236}">
                  <a16:creationId xmlns:a16="http://schemas.microsoft.com/office/drawing/2014/main" id="{6720A0BD-3504-B17F-FFD8-37BFD7BAE73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918913" y="2406585"/>
              <a:ext cx="540000" cy="540000"/>
              <a:chOff x="5077858" y="2463034"/>
              <a:chExt cx="898977" cy="898977"/>
            </a:xfrm>
            <a:solidFill>
              <a:schemeClr val="bg1"/>
            </a:solidFill>
          </p:grpSpPr>
          <p:sp>
            <p:nvSpPr>
              <p:cNvPr id="115" name="Ellipse 114">
                <a:extLst>
                  <a:ext uri="{FF2B5EF4-FFF2-40B4-BE49-F238E27FC236}">
                    <a16:creationId xmlns:a16="http://schemas.microsoft.com/office/drawing/2014/main" id="{108F424C-2C72-8877-7483-47E8D57D9A2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077858" y="2463034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rgbClr val="0074B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116" name="Gruppieren 115">
                <a:extLst>
                  <a:ext uri="{FF2B5EF4-FFF2-40B4-BE49-F238E27FC236}">
                    <a16:creationId xmlns:a16="http://schemas.microsoft.com/office/drawing/2014/main" id="{ECB31167-1CA7-536E-5CB0-BF320AE07646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344466" y="2737577"/>
                <a:ext cx="365760" cy="365760"/>
                <a:chOff x="73295302" y="9493628"/>
                <a:chExt cx="3657600" cy="3657600"/>
              </a:xfrm>
              <a:grpFill/>
            </p:grpSpPr>
            <p:sp>
              <p:nvSpPr>
                <p:cNvPr id="117" name="Freihandform: Form 116">
                  <a:extLst>
                    <a:ext uri="{FF2B5EF4-FFF2-40B4-BE49-F238E27FC236}">
                      <a16:creationId xmlns:a16="http://schemas.microsoft.com/office/drawing/2014/main" id="{94A4A523-7A2C-0CA7-DEFF-5255880E0242}"/>
                    </a:ext>
                  </a:extLst>
                </p:cNvPr>
                <p:cNvSpPr/>
                <p:nvPr/>
              </p:nvSpPr>
              <p:spPr bwMode="gray">
                <a:xfrm>
                  <a:off x="73295302" y="10103228"/>
                  <a:ext cx="3657600" cy="2286000"/>
                </a:xfrm>
                <a:custGeom>
                  <a:avLst/>
                  <a:gdLst>
                    <a:gd name="connsiteX0" fmla="*/ 3048000 w 3657600"/>
                    <a:gd name="connsiteY0" fmla="*/ 2286000 h 2286000"/>
                    <a:gd name="connsiteX1" fmla="*/ 3276600 w 3657600"/>
                    <a:gd name="connsiteY1" fmla="*/ 2286000 h 2286000"/>
                    <a:gd name="connsiteX2" fmla="*/ 3657600 w 3657600"/>
                    <a:gd name="connsiteY2" fmla="*/ 1905000 h 2286000"/>
                    <a:gd name="connsiteX3" fmla="*/ 3657600 w 3657600"/>
                    <a:gd name="connsiteY3" fmla="*/ 381000 h 2286000"/>
                    <a:gd name="connsiteX4" fmla="*/ 3276600 w 3657600"/>
                    <a:gd name="connsiteY4" fmla="*/ 0 h 2286000"/>
                    <a:gd name="connsiteX5" fmla="*/ 381000 w 3657600"/>
                    <a:gd name="connsiteY5" fmla="*/ 0 h 2286000"/>
                    <a:gd name="connsiteX6" fmla="*/ 0 w 3657600"/>
                    <a:gd name="connsiteY6" fmla="*/ 381000 h 2286000"/>
                    <a:gd name="connsiteX7" fmla="*/ 0 w 3657600"/>
                    <a:gd name="connsiteY7" fmla="*/ 1905000 h 2286000"/>
                    <a:gd name="connsiteX8" fmla="*/ 381000 w 3657600"/>
                    <a:gd name="connsiteY8" fmla="*/ 2286000 h 2286000"/>
                    <a:gd name="connsiteX9" fmla="*/ 609600 w 3657600"/>
                    <a:gd name="connsiteY9" fmla="*/ 2286000 h 2286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57600" h="2286000">
                      <a:moveTo>
                        <a:pt x="3048000" y="2286000"/>
                      </a:moveTo>
                      <a:lnTo>
                        <a:pt x="3276600" y="2286000"/>
                      </a:lnTo>
                      <a:cubicBezTo>
                        <a:pt x="3486760" y="2285373"/>
                        <a:pt x="3656973" y="2115160"/>
                        <a:pt x="3657600" y="1905000"/>
                      </a:cubicBezTo>
                      <a:lnTo>
                        <a:pt x="3657600" y="381000"/>
                      </a:lnTo>
                      <a:cubicBezTo>
                        <a:pt x="3656973" y="170840"/>
                        <a:pt x="3486760" y="628"/>
                        <a:pt x="3276600" y="0"/>
                      </a:cubicBezTo>
                      <a:lnTo>
                        <a:pt x="381000" y="0"/>
                      </a:lnTo>
                      <a:cubicBezTo>
                        <a:pt x="170840" y="628"/>
                        <a:pt x="628" y="170840"/>
                        <a:pt x="0" y="381000"/>
                      </a:cubicBezTo>
                      <a:lnTo>
                        <a:pt x="0" y="1905000"/>
                      </a:lnTo>
                      <a:cubicBezTo>
                        <a:pt x="628" y="2115160"/>
                        <a:pt x="170840" y="2285373"/>
                        <a:pt x="381000" y="2286000"/>
                      </a:cubicBezTo>
                      <a:lnTo>
                        <a:pt x="609600" y="2286000"/>
                      </a:lnTo>
                    </a:path>
                  </a:pathLst>
                </a:custGeom>
                <a:noFill/>
                <a:ln w="19050" cap="flat">
                  <a:solidFill>
                    <a:srgbClr val="0074BC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82DD39A4-ABB8-2AB1-0E11-6D6C10003FAE}"/>
                    </a:ext>
                  </a:extLst>
                </p:cNvPr>
                <p:cNvSpPr/>
                <p:nvPr/>
              </p:nvSpPr>
              <p:spPr bwMode="gray">
                <a:xfrm>
                  <a:off x="73904902" y="11170028"/>
                  <a:ext cx="2438400" cy="1981200"/>
                </a:xfrm>
                <a:custGeom>
                  <a:avLst/>
                  <a:gdLst>
                    <a:gd name="connsiteX0" fmla="*/ 2206752 w 2438400"/>
                    <a:gd name="connsiteY0" fmla="*/ 0 h 1981200"/>
                    <a:gd name="connsiteX1" fmla="*/ 2438400 w 2438400"/>
                    <a:gd name="connsiteY1" fmla="*/ 231648 h 1981200"/>
                    <a:gd name="connsiteX2" fmla="*/ 2438400 w 2438400"/>
                    <a:gd name="connsiteY2" fmla="*/ 1749552 h 1981200"/>
                    <a:gd name="connsiteX3" fmla="*/ 2206752 w 2438400"/>
                    <a:gd name="connsiteY3" fmla="*/ 1981200 h 1981200"/>
                    <a:gd name="connsiteX4" fmla="*/ 231648 w 2438400"/>
                    <a:gd name="connsiteY4" fmla="*/ 1981200 h 1981200"/>
                    <a:gd name="connsiteX5" fmla="*/ 0 w 2438400"/>
                    <a:gd name="connsiteY5" fmla="*/ 1749552 h 1981200"/>
                    <a:gd name="connsiteX6" fmla="*/ 0 w 2438400"/>
                    <a:gd name="connsiteY6" fmla="*/ 231648 h 1981200"/>
                    <a:gd name="connsiteX7" fmla="*/ 231648 w 2438400"/>
                    <a:gd name="connsiteY7" fmla="*/ 0 h 1981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38400" h="1981200">
                      <a:moveTo>
                        <a:pt x="2206752" y="0"/>
                      </a:moveTo>
                      <a:cubicBezTo>
                        <a:pt x="2334688" y="0"/>
                        <a:pt x="2438400" y="103712"/>
                        <a:pt x="2438400" y="231648"/>
                      </a:cubicBezTo>
                      <a:lnTo>
                        <a:pt x="2438400" y="1749552"/>
                      </a:lnTo>
                      <a:cubicBezTo>
                        <a:pt x="2438400" y="1877488"/>
                        <a:pt x="2334688" y="1981200"/>
                        <a:pt x="2206752" y="1981200"/>
                      </a:cubicBezTo>
                      <a:lnTo>
                        <a:pt x="231648" y="1981200"/>
                      </a:lnTo>
                      <a:cubicBezTo>
                        <a:pt x="103712" y="1981200"/>
                        <a:pt x="0" y="1877488"/>
                        <a:pt x="0" y="1749552"/>
                      </a:cubicBezTo>
                      <a:lnTo>
                        <a:pt x="0" y="231648"/>
                      </a:lnTo>
                      <a:cubicBezTo>
                        <a:pt x="0" y="103712"/>
                        <a:pt x="103712" y="0"/>
                        <a:pt x="231648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0074BC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19" name="Freihandform: Form 118">
                  <a:extLst>
                    <a:ext uri="{FF2B5EF4-FFF2-40B4-BE49-F238E27FC236}">
                      <a16:creationId xmlns:a16="http://schemas.microsoft.com/office/drawing/2014/main" id="{691D0912-A800-CAFA-55E8-0F44C085651C}"/>
                    </a:ext>
                  </a:extLst>
                </p:cNvPr>
                <p:cNvSpPr/>
                <p:nvPr/>
              </p:nvSpPr>
              <p:spPr bwMode="gray">
                <a:xfrm>
                  <a:off x="73904902" y="9493628"/>
                  <a:ext cx="2438400" cy="609600"/>
                </a:xfrm>
                <a:custGeom>
                  <a:avLst/>
                  <a:gdLst>
                    <a:gd name="connsiteX0" fmla="*/ 2438400 w 2438400"/>
                    <a:gd name="connsiteY0" fmla="*/ 609600 h 609600"/>
                    <a:gd name="connsiteX1" fmla="*/ 2438400 w 2438400"/>
                    <a:gd name="connsiteY1" fmla="*/ 381000 h 609600"/>
                    <a:gd name="connsiteX2" fmla="*/ 2057400 w 2438400"/>
                    <a:gd name="connsiteY2" fmla="*/ 0 h 609600"/>
                    <a:gd name="connsiteX3" fmla="*/ 381000 w 2438400"/>
                    <a:gd name="connsiteY3" fmla="*/ 0 h 609600"/>
                    <a:gd name="connsiteX4" fmla="*/ 0 w 2438400"/>
                    <a:gd name="connsiteY4" fmla="*/ 381000 h 609600"/>
                    <a:gd name="connsiteX5" fmla="*/ 0 w 2438400"/>
                    <a:gd name="connsiteY5" fmla="*/ 6096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38400" h="609600">
                      <a:moveTo>
                        <a:pt x="2438400" y="609600"/>
                      </a:moveTo>
                      <a:lnTo>
                        <a:pt x="2438400" y="381000"/>
                      </a:lnTo>
                      <a:cubicBezTo>
                        <a:pt x="2437773" y="170840"/>
                        <a:pt x="2267560" y="628"/>
                        <a:pt x="2057400" y="0"/>
                      </a:cubicBezTo>
                      <a:lnTo>
                        <a:pt x="381000" y="0"/>
                      </a:lnTo>
                      <a:cubicBezTo>
                        <a:pt x="170840" y="628"/>
                        <a:pt x="628" y="170840"/>
                        <a:pt x="0" y="381000"/>
                      </a:cubicBezTo>
                      <a:lnTo>
                        <a:pt x="0" y="609600"/>
                      </a:lnTo>
                    </a:path>
                  </a:pathLst>
                </a:custGeom>
                <a:noFill/>
                <a:ln w="19050" cap="flat">
                  <a:solidFill>
                    <a:srgbClr val="0074BC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20" name="Freihandform: Form 119">
                  <a:extLst>
                    <a:ext uri="{FF2B5EF4-FFF2-40B4-BE49-F238E27FC236}">
                      <a16:creationId xmlns:a16="http://schemas.microsoft.com/office/drawing/2014/main" id="{C250F4C8-0DCB-92CF-7EE1-F09129A12615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76329502" y="10546628"/>
                  <a:ext cx="180000" cy="180000"/>
                </a:xfrm>
                <a:custGeom>
                  <a:avLst/>
                  <a:gdLst>
                    <a:gd name="connsiteX0" fmla="*/ 609600 w 609600"/>
                    <a:gd name="connsiteY0" fmla="*/ 304800 h 609600"/>
                    <a:gd name="connsiteX1" fmla="*/ 304800 w 609600"/>
                    <a:gd name="connsiteY1" fmla="*/ 609600 h 609600"/>
                    <a:gd name="connsiteX2" fmla="*/ 0 w 609600"/>
                    <a:gd name="connsiteY2" fmla="*/ 304800 h 609600"/>
                    <a:gd name="connsiteX3" fmla="*/ 304800 w 609600"/>
                    <a:gd name="connsiteY3" fmla="*/ 0 h 609600"/>
                    <a:gd name="connsiteX4" fmla="*/ 609600 w 609600"/>
                    <a:gd name="connsiteY4" fmla="*/ 30480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09600" h="609600">
                      <a:moveTo>
                        <a:pt x="609600" y="304800"/>
                      </a:moveTo>
                      <a:cubicBezTo>
                        <a:pt x="609600" y="473137"/>
                        <a:pt x="473137" y="609600"/>
                        <a:pt x="304800" y="609600"/>
                      </a:cubicBezTo>
                      <a:cubicBezTo>
                        <a:pt x="136464" y="609600"/>
                        <a:pt x="0" y="473137"/>
                        <a:pt x="0" y="304800"/>
                      </a:cubicBezTo>
                      <a:cubicBezTo>
                        <a:pt x="0" y="136464"/>
                        <a:pt x="136464" y="0"/>
                        <a:pt x="304800" y="0"/>
                      </a:cubicBezTo>
                      <a:cubicBezTo>
                        <a:pt x="473137" y="0"/>
                        <a:pt x="609600" y="136464"/>
                        <a:pt x="609600" y="304800"/>
                      </a:cubicBezTo>
                      <a:close/>
                    </a:path>
                  </a:pathLst>
                </a:custGeom>
                <a:grpFill/>
                <a:ln w="19050" cap="flat">
                  <a:solidFill>
                    <a:srgbClr val="0074BC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21" name="Gruppieren 120">
              <a:extLst>
                <a:ext uri="{FF2B5EF4-FFF2-40B4-BE49-F238E27FC236}">
                  <a16:creationId xmlns:a16="http://schemas.microsoft.com/office/drawing/2014/main" id="{F9AA3476-E4FB-B46F-F8C7-5191F6302954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774151" y="3316056"/>
              <a:ext cx="809238" cy="809238"/>
              <a:chOff x="541338" y="2470969"/>
              <a:chExt cx="898977" cy="898977"/>
            </a:xfrm>
            <a:solidFill>
              <a:schemeClr val="bg1"/>
            </a:solidFill>
          </p:grpSpPr>
          <p:sp>
            <p:nvSpPr>
              <p:cNvPr id="122" name="Ellipse 121">
                <a:extLst>
                  <a:ext uri="{FF2B5EF4-FFF2-40B4-BE49-F238E27FC236}">
                    <a16:creationId xmlns:a16="http://schemas.microsoft.com/office/drawing/2014/main" id="{8EDF6CF9-0AFC-84DC-0811-F23A68C68D0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41338" y="2470969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123" name="Grafik 2563">
                <a:extLst>
                  <a:ext uri="{FF2B5EF4-FFF2-40B4-BE49-F238E27FC236}">
                    <a16:creationId xmlns:a16="http://schemas.microsoft.com/office/drawing/2014/main" id="{ED6DF2D9-B748-81A0-E8AF-68A5590308BA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746986" y="2676617"/>
                <a:ext cx="487680" cy="487680"/>
                <a:chOff x="13962856" y="990600"/>
                <a:chExt cx="4876800" cy="4876800"/>
              </a:xfrm>
              <a:grpFill/>
            </p:grpSpPr>
            <p:sp>
              <p:nvSpPr>
                <p:cNvPr id="124" name="Freihandform: Form 123">
                  <a:extLst>
                    <a:ext uri="{FF2B5EF4-FFF2-40B4-BE49-F238E27FC236}">
                      <a16:creationId xmlns:a16="http://schemas.microsoft.com/office/drawing/2014/main" id="{4145E883-EA57-4DA1-8E49-DE6B734A557C}"/>
                    </a:ext>
                  </a:extLst>
                </p:cNvPr>
                <p:cNvSpPr/>
                <p:nvPr/>
              </p:nvSpPr>
              <p:spPr bwMode="gray">
                <a:xfrm>
                  <a:off x="15182056" y="1143000"/>
                  <a:ext cx="2438400" cy="4572000"/>
                </a:xfrm>
                <a:custGeom>
                  <a:avLst/>
                  <a:gdLst>
                    <a:gd name="connsiteX0" fmla="*/ 1981200 w 2438400"/>
                    <a:gd name="connsiteY0" fmla="*/ 0 h 4572000"/>
                    <a:gd name="connsiteX1" fmla="*/ 2438400 w 2438400"/>
                    <a:gd name="connsiteY1" fmla="*/ 457200 h 4572000"/>
                    <a:gd name="connsiteX2" fmla="*/ 2438400 w 2438400"/>
                    <a:gd name="connsiteY2" fmla="*/ 4114800 h 4572000"/>
                    <a:gd name="connsiteX3" fmla="*/ 1981200 w 2438400"/>
                    <a:gd name="connsiteY3" fmla="*/ 4572000 h 4572000"/>
                    <a:gd name="connsiteX4" fmla="*/ 457200 w 2438400"/>
                    <a:gd name="connsiteY4" fmla="*/ 4572000 h 4572000"/>
                    <a:gd name="connsiteX5" fmla="*/ 0 w 2438400"/>
                    <a:gd name="connsiteY5" fmla="*/ 4114800 h 4572000"/>
                    <a:gd name="connsiteX6" fmla="*/ 0 w 2438400"/>
                    <a:gd name="connsiteY6" fmla="*/ 457200 h 4572000"/>
                    <a:gd name="connsiteX7" fmla="*/ 457200 w 2438400"/>
                    <a:gd name="connsiteY7" fmla="*/ 0 h 457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38400" h="4572000">
                      <a:moveTo>
                        <a:pt x="1981200" y="0"/>
                      </a:moveTo>
                      <a:cubicBezTo>
                        <a:pt x="2233705" y="0"/>
                        <a:pt x="2438400" y="204695"/>
                        <a:pt x="2438400" y="457200"/>
                      </a:cubicBezTo>
                      <a:lnTo>
                        <a:pt x="2438400" y="4114800"/>
                      </a:lnTo>
                      <a:cubicBezTo>
                        <a:pt x="2438400" y="4367305"/>
                        <a:pt x="2233705" y="4572000"/>
                        <a:pt x="1981200" y="4572000"/>
                      </a:cubicBezTo>
                      <a:lnTo>
                        <a:pt x="457200" y="4572000"/>
                      </a:lnTo>
                      <a:cubicBezTo>
                        <a:pt x="204695" y="4572000"/>
                        <a:pt x="0" y="4367305"/>
                        <a:pt x="0" y="4114800"/>
                      </a:cubicBezTo>
                      <a:lnTo>
                        <a:pt x="0" y="457200"/>
                      </a:lnTo>
                      <a:cubicBezTo>
                        <a:pt x="0" y="204695"/>
                        <a:pt x="204695" y="0"/>
                        <a:pt x="457200" y="0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00B050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25" name="Freihandform: Form 124">
                  <a:extLst>
                    <a:ext uri="{FF2B5EF4-FFF2-40B4-BE49-F238E27FC236}">
                      <a16:creationId xmlns:a16="http://schemas.microsoft.com/office/drawing/2014/main" id="{88BD1236-254D-F95A-3668-23B6C7F0716A}"/>
                    </a:ext>
                  </a:extLst>
                </p:cNvPr>
                <p:cNvSpPr/>
                <p:nvPr/>
              </p:nvSpPr>
              <p:spPr bwMode="gray">
                <a:xfrm>
                  <a:off x="15639256" y="1143000"/>
                  <a:ext cx="1524000" cy="228600"/>
                </a:xfrm>
                <a:custGeom>
                  <a:avLst/>
                  <a:gdLst>
                    <a:gd name="connsiteX0" fmla="*/ 0 w 1524000"/>
                    <a:gd name="connsiteY0" fmla="*/ 0 h 228600"/>
                    <a:gd name="connsiteX1" fmla="*/ 228600 w 1524000"/>
                    <a:gd name="connsiteY1" fmla="*/ 0 h 228600"/>
                    <a:gd name="connsiteX2" fmla="*/ 304800 w 1524000"/>
                    <a:gd name="connsiteY2" fmla="*/ 76200 h 228600"/>
                    <a:gd name="connsiteX3" fmla="*/ 304800 w 1524000"/>
                    <a:gd name="connsiteY3" fmla="*/ 76200 h 228600"/>
                    <a:gd name="connsiteX4" fmla="*/ 457200 w 1524000"/>
                    <a:gd name="connsiteY4" fmla="*/ 228600 h 228600"/>
                    <a:gd name="connsiteX5" fmla="*/ 1066800 w 1524000"/>
                    <a:gd name="connsiteY5" fmla="*/ 228600 h 228600"/>
                    <a:gd name="connsiteX6" fmla="*/ 1219200 w 1524000"/>
                    <a:gd name="connsiteY6" fmla="*/ 76200 h 228600"/>
                    <a:gd name="connsiteX7" fmla="*/ 1219200 w 1524000"/>
                    <a:gd name="connsiteY7" fmla="*/ 76200 h 228600"/>
                    <a:gd name="connsiteX8" fmla="*/ 1295400 w 1524000"/>
                    <a:gd name="connsiteY8" fmla="*/ 0 h 228600"/>
                    <a:gd name="connsiteX9" fmla="*/ 1524000 w 1524000"/>
                    <a:gd name="connsiteY9" fmla="*/ 0 h 228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24000" h="228600">
                      <a:moveTo>
                        <a:pt x="0" y="0"/>
                      </a:moveTo>
                      <a:lnTo>
                        <a:pt x="228600" y="0"/>
                      </a:lnTo>
                      <a:cubicBezTo>
                        <a:pt x="270684" y="0"/>
                        <a:pt x="304800" y="34116"/>
                        <a:pt x="304800" y="76200"/>
                      </a:cubicBezTo>
                      <a:lnTo>
                        <a:pt x="304800" y="76200"/>
                      </a:lnTo>
                      <a:cubicBezTo>
                        <a:pt x="304800" y="160368"/>
                        <a:pt x="373032" y="228600"/>
                        <a:pt x="457200" y="228600"/>
                      </a:cubicBezTo>
                      <a:lnTo>
                        <a:pt x="1066800" y="228600"/>
                      </a:lnTo>
                      <a:cubicBezTo>
                        <a:pt x="1150968" y="228600"/>
                        <a:pt x="1219200" y="160368"/>
                        <a:pt x="1219200" y="76200"/>
                      </a:cubicBezTo>
                      <a:lnTo>
                        <a:pt x="1219200" y="76200"/>
                      </a:lnTo>
                      <a:cubicBezTo>
                        <a:pt x="1219200" y="34116"/>
                        <a:pt x="1253316" y="0"/>
                        <a:pt x="1295400" y="0"/>
                      </a:cubicBezTo>
                      <a:lnTo>
                        <a:pt x="1524000" y="0"/>
                      </a:lnTo>
                    </a:path>
                  </a:pathLst>
                </a:custGeom>
                <a:noFill/>
                <a:ln w="19050" cap="rnd">
                  <a:solidFill>
                    <a:srgbClr val="00B050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cxnSp>
          <p:nvCxnSpPr>
            <p:cNvPr id="130" name="Verbinder: gekrümmt 129">
              <a:extLst>
                <a:ext uri="{FF2B5EF4-FFF2-40B4-BE49-F238E27FC236}">
                  <a16:creationId xmlns:a16="http://schemas.microsoft.com/office/drawing/2014/main" id="{DB70CB43-7AA1-9B1D-BE53-9060D6728235}"/>
                </a:ext>
              </a:extLst>
            </p:cNvPr>
            <p:cNvCxnSpPr>
              <a:stCxn id="33" idx="6"/>
              <a:endCxn id="40" idx="2"/>
            </p:cNvCxnSpPr>
            <p:nvPr/>
          </p:nvCxnSpPr>
          <p:spPr>
            <a:xfrm>
              <a:off x="1806385" y="3721532"/>
              <a:ext cx="465146" cy="1040"/>
            </a:xfrm>
            <a:prstGeom prst="curvedConnector3">
              <a:avLst/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1" name="Verbinder: gekrümmt 130">
              <a:extLst>
                <a:ext uri="{FF2B5EF4-FFF2-40B4-BE49-F238E27FC236}">
                  <a16:creationId xmlns:a16="http://schemas.microsoft.com/office/drawing/2014/main" id="{2AD92190-A91F-8228-D3CF-776A9300BDC8}"/>
                </a:ext>
              </a:extLst>
            </p:cNvPr>
            <p:cNvCxnSpPr>
              <a:cxnSpLocks/>
              <a:stCxn id="40" idx="0"/>
              <a:endCxn id="75" idx="2"/>
            </p:cNvCxnSpPr>
            <p:nvPr/>
          </p:nvCxnSpPr>
          <p:spPr>
            <a:xfrm rot="5400000" flipH="1" flipV="1">
              <a:off x="2742713" y="3047520"/>
              <a:ext cx="203870" cy="354235"/>
            </a:xfrm>
            <a:prstGeom prst="curvedConnector2">
              <a:avLst/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4" name="Verbinder: gekrümmt 133">
              <a:extLst>
                <a:ext uri="{FF2B5EF4-FFF2-40B4-BE49-F238E27FC236}">
                  <a16:creationId xmlns:a16="http://schemas.microsoft.com/office/drawing/2014/main" id="{8BF396EE-1F73-0CB5-711E-C2789B32B310}"/>
                </a:ext>
              </a:extLst>
            </p:cNvPr>
            <p:cNvCxnSpPr>
              <a:cxnSpLocks/>
              <a:stCxn id="75" idx="6"/>
              <a:endCxn id="57" idx="0"/>
            </p:cNvCxnSpPr>
            <p:nvPr/>
          </p:nvCxnSpPr>
          <p:spPr>
            <a:xfrm>
              <a:off x="3561766" y="3122702"/>
              <a:ext cx="364145" cy="202264"/>
            </a:xfrm>
            <a:prstGeom prst="curvedConnector2">
              <a:avLst/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37" name="Verbinder: gekrümmt 136">
              <a:extLst>
                <a:ext uri="{FF2B5EF4-FFF2-40B4-BE49-F238E27FC236}">
                  <a16:creationId xmlns:a16="http://schemas.microsoft.com/office/drawing/2014/main" id="{B8989C35-1A80-F820-2637-70B76F3F86C0}"/>
                </a:ext>
              </a:extLst>
            </p:cNvPr>
            <p:cNvCxnSpPr>
              <a:cxnSpLocks/>
              <a:stCxn id="40" idx="6"/>
              <a:endCxn id="57" idx="2"/>
            </p:cNvCxnSpPr>
            <p:nvPr/>
          </p:nvCxnSpPr>
          <p:spPr>
            <a:xfrm flipV="1">
              <a:off x="3063531" y="3720966"/>
              <a:ext cx="466380" cy="1606"/>
            </a:xfrm>
            <a:prstGeom prst="curvedConnector3">
              <a:avLst>
                <a:gd name="adj1" fmla="val 50000"/>
              </a:avLst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40" name="Verbinder: gekrümmt 139">
              <a:extLst>
                <a:ext uri="{FF2B5EF4-FFF2-40B4-BE49-F238E27FC236}">
                  <a16:creationId xmlns:a16="http://schemas.microsoft.com/office/drawing/2014/main" id="{5981936F-CA84-C084-0576-D6C9ED016D64}"/>
                </a:ext>
              </a:extLst>
            </p:cNvPr>
            <p:cNvCxnSpPr>
              <a:cxnSpLocks/>
              <a:stCxn id="57" idx="6"/>
              <a:endCxn id="87" idx="2"/>
            </p:cNvCxnSpPr>
            <p:nvPr/>
          </p:nvCxnSpPr>
          <p:spPr>
            <a:xfrm>
              <a:off x="4321911" y="3720966"/>
              <a:ext cx="464764" cy="1320"/>
            </a:xfrm>
            <a:prstGeom prst="curvedConnector3">
              <a:avLst>
                <a:gd name="adj1" fmla="val 50000"/>
              </a:avLst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153" name="Gruppieren 152">
              <a:extLst>
                <a:ext uri="{FF2B5EF4-FFF2-40B4-BE49-F238E27FC236}">
                  <a16:creationId xmlns:a16="http://schemas.microsoft.com/office/drawing/2014/main" id="{A920F463-9208-E5AF-13E0-A9B9AFEAF0C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8722404" y="3317990"/>
              <a:ext cx="809238" cy="809238"/>
              <a:chOff x="7346118" y="3616338"/>
              <a:chExt cx="898977" cy="898977"/>
            </a:xfrm>
            <a:solidFill>
              <a:schemeClr val="bg1"/>
            </a:solidFill>
          </p:grpSpPr>
          <p:sp>
            <p:nvSpPr>
              <p:cNvPr id="154" name="Ellipse 153">
                <a:extLst>
                  <a:ext uri="{FF2B5EF4-FFF2-40B4-BE49-F238E27FC236}">
                    <a16:creationId xmlns:a16="http://schemas.microsoft.com/office/drawing/2014/main" id="{D2690ABB-C11F-93F8-2CE4-BACEB275301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7346118" y="3616338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rgbClr val="EF7D1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155" name="Grafik 2707">
                <a:extLst>
                  <a:ext uri="{FF2B5EF4-FFF2-40B4-BE49-F238E27FC236}">
                    <a16:creationId xmlns:a16="http://schemas.microsoft.com/office/drawing/2014/main" id="{92BEC88E-7791-7136-E199-C9DDE064C07A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7596124" y="3874279"/>
                <a:ext cx="398965" cy="398965"/>
                <a:chOff x="14420056" y="1447800"/>
                <a:chExt cx="3989650" cy="3989650"/>
              </a:xfrm>
              <a:grpFill/>
            </p:grpSpPr>
            <p:sp>
              <p:nvSpPr>
                <p:cNvPr id="156" name="Freihandform: Form 155">
                  <a:extLst>
                    <a:ext uri="{FF2B5EF4-FFF2-40B4-BE49-F238E27FC236}">
                      <a16:creationId xmlns:a16="http://schemas.microsoft.com/office/drawing/2014/main" id="{F57C36B5-2BB9-8773-8ACF-01B44A12C7BC}"/>
                    </a:ext>
                  </a:extLst>
                </p:cNvPr>
                <p:cNvSpPr/>
                <p:nvPr/>
              </p:nvSpPr>
              <p:spPr bwMode="gray">
                <a:xfrm>
                  <a:off x="17163256" y="4191000"/>
                  <a:ext cx="762000" cy="762000"/>
                </a:xfrm>
                <a:custGeom>
                  <a:avLst/>
                  <a:gdLst>
                    <a:gd name="connsiteX0" fmla="*/ 685800 w 762000"/>
                    <a:gd name="connsiteY0" fmla="*/ 0 h 762000"/>
                    <a:gd name="connsiteX1" fmla="*/ 762000 w 762000"/>
                    <a:gd name="connsiteY1" fmla="*/ 76200 h 762000"/>
                    <a:gd name="connsiteX2" fmla="*/ 762000 w 762000"/>
                    <a:gd name="connsiteY2" fmla="*/ 685800 h 762000"/>
                    <a:gd name="connsiteX3" fmla="*/ 685800 w 762000"/>
                    <a:gd name="connsiteY3" fmla="*/ 762000 h 762000"/>
                    <a:gd name="connsiteX4" fmla="*/ 76200 w 762000"/>
                    <a:gd name="connsiteY4" fmla="*/ 762000 h 762000"/>
                    <a:gd name="connsiteX5" fmla="*/ 0 w 762000"/>
                    <a:gd name="connsiteY5" fmla="*/ 685800 h 762000"/>
                    <a:gd name="connsiteX6" fmla="*/ 0 w 762000"/>
                    <a:gd name="connsiteY6" fmla="*/ 76200 h 762000"/>
                    <a:gd name="connsiteX7" fmla="*/ 76200 w 762000"/>
                    <a:gd name="connsiteY7" fmla="*/ 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2000" h="762000">
                      <a:moveTo>
                        <a:pt x="685800" y="0"/>
                      </a:moveTo>
                      <a:cubicBezTo>
                        <a:pt x="727884" y="0"/>
                        <a:pt x="762000" y="34116"/>
                        <a:pt x="762000" y="76200"/>
                      </a:cubicBezTo>
                      <a:lnTo>
                        <a:pt x="762000" y="685800"/>
                      </a:lnTo>
                      <a:cubicBezTo>
                        <a:pt x="762000" y="727884"/>
                        <a:pt x="727884" y="762000"/>
                        <a:pt x="685800" y="762000"/>
                      </a:cubicBezTo>
                      <a:lnTo>
                        <a:pt x="76200" y="762000"/>
                      </a:lnTo>
                      <a:cubicBezTo>
                        <a:pt x="34116" y="762000"/>
                        <a:pt x="0" y="727884"/>
                        <a:pt x="0" y="6858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57" name="Freihandform: Form 156">
                  <a:extLst>
                    <a:ext uri="{FF2B5EF4-FFF2-40B4-BE49-F238E27FC236}">
                      <a16:creationId xmlns:a16="http://schemas.microsoft.com/office/drawing/2014/main" id="{5042D597-4147-B28C-B153-13773DD6CB4E}"/>
                    </a:ext>
                  </a:extLst>
                </p:cNvPr>
                <p:cNvSpPr/>
                <p:nvPr/>
              </p:nvSpPr>
              <p:spPr bwMode="gray">
                <a:xfrm>
                  <a:off x="16706056" y="3733800"/>
                  <a:ext cx="457200" cy="457200"/>
                </a:xfrm>
                <a:custGeom>
                  <a:avLst/>
                  <a:gdLst>
                    <a:gd name="connsiteX0" fmla="*/ 533400 w 609600"/>
                    <a:gd name="connsiteY0" fmla="*/ 0 h 609600"/>
                    <a:gd name="connsiteX1" fmla="*/ 609600 w 609600"/>
                    <a:gd name="connsiteY1" fmla="*/ 76200 h 609600"/>
                    <a:gd name="connsiteX2" fmla="*/ 609600 w 609600"/>
                    <a:gd name="connsiteY2" fmla="*/ 533400 h 609600"/>
                    <a:gd name="connsiteX3" fmla="*/ 533400 w 609600"/>
                    <a:gd name="connsiteY3" fmla="*/ 609600 h 609600"/>
                    <a:gd name="connsiteX4" fmla="*/ 76200 w 609600"/>
                    <a:gd name="connsiteY4" fmla="*/ 609600 h 609600"/>
                    <a:gd name="connsiteX5" fmla="*/ 0 w 609600"/>
                    <a:gd name="connsiteY5" fmla="*/ 533400 h 609600"/>
                    <a:gd name="connsiteX6" fmla="*/ 0 w 609600"/>
                    <a:gd name="connsiteY6" fmla="*/ 76200 h 609600"/>
                    <a:gd name="connsiteX7" fmla="*/ 76200 w 609600"/>
                    <a:gd name="connsiteY7" fmla="*/ 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9600" h="609600">
                      <a:moveTo>
                        <a:pt x="533400" y="0"/>
                      </a:moveTo>
                      <a:cubicBezTo>
                        <a:pt x="575484" y="0"/>
                        <a:pt x="609600" y="34116"/>
                        <a:pt x="609600" y="76200"/>
                      </a:cubicBezTo>
                      <a:lnTo>
                        <a:pt x="609600" y="533400"/>
                      </a:lnTo>
                      <a:cubicBezTo>
                        <a:pt x="609600" y="575484"/>
                        <a:pt x="575484" y="609600"/>
                        <a:pt x="533400" y="609600"/>
                      </a:cubicBezTo>
                      <a:lnTo>
                        <a:pt x="76200" y="609600"/>
                      </a:lnTo>
                      <a:cubicBezTo>
                        <a:pt x="34116" y="609600"/>
                        <a:pt x="0" y="575484"/>
                        <a:pt x="0" y="5334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58" name="Freihandform: Form 157">
                  <a:extLst>
                    <a:ext uri="{FF2B5EF4-FFF2-40B4-BE49-F238E27FC236}">
                      <a16:creationId xmlns:a16="http://schemas.microsoft.com/office/drawing/2014/main" id="{413CC37D-D8F7-26DF-4120-A6F33C89C81B}"/>
                    </a:ext>
                  </a:extLst>
                </p:cNvPr>
                <p:cNvSpPr/>
                <p:nvPr/>
              </p:nvSpPr>
              <p:spPr bwMode="gray">
                <a:xfrm>
                  <a:off x="17925256" y="4953000"/>
                  <a:ext cx="484450" cy="484450"/>
                </a:xfrm>
                <a:custGeom>
                  <a:avLst/>
                  <a:gdLst>
                    <a:gd name="connsiteX0" fmla="*/ 533400 w 609600"/>
                    <a:gd name="connsiteY0" fmla="*/ 0 h 609600"/>
                    <a:gd name="connsiteX1" fmla="*/ 609600 w 609600"/>
                    <a:gd name="connsiteY1" fmla="*/ 76200 h 609600"/>
                    <a:gd name="connsiteX2" fmla="*/ 609600 w 609600"/>
                    <a:gd name="connsiteY2" fmla="*/ 533400 h 609600"/>
                    <a:gd name="connsiteX3" fmla="*/ 533400 w 609600"/>
                    <a:gd name="connsiteY3" fmla="*/ 609600 h 609600"/>
                    <a:gd name="connsiteX4" fmla="*/ 76200 w 609600"/>
                    <a:gd name="connsiteY4" fmla="*/ 609600 h 609600"/>
                    <a:gd name="connsiteX5" fmla="*/ 0 w 609600"/>
                    <a:gd name="connsiteY5" fmla="*/ 533400 h 609600"/>
                    <a:gd name="connsiteX6" fmla="*/ 0 w 609600"/>
                    <a:gd name="connsiteY6" fmla="*/ 76200 h 609600"/>
                    <a:gd name="connsiteX7" fmla="*/ 76200 w 609600"/>
                    <a:gd name="connsiteY7" fmla="*/ 0 h 6096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609600" h="609600">
                      <a:moveTo>
                        <a:pt x="533400" y="0"/>
                      </a:moveTo>
                      <a:cubicBezTo>
                        <a:pt x="575484" y="0"/>
                        <a:pt x="609600" y="34116"/>
                        <a:pt x="609600" y="76200"/>
                      </a:cubicBezTo>
                      <a:lnTo>
                        <a:pt x="609600" y="533400"/>
                      </a:lnTo>
                      <a:cubicBezTo>
                        <a:pt x="609600" y="575484"/>
                        <a:pt x="575484" y="609600"/>
                        <a:pt x="533400" y="609600"/>
                      </a:cubicBezTo>
                      <a:lnTo>
                        <a:pt x="76200" y="609600"/>
                      </a:lnTo>
                      <a:cubicBezTo>
                        <a:pt x="34116" y="609600"/>
                        <a:pt x="0" y="575484"/>
                        <a:pt x="0" y="5334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59" name="Freihandform: Form 158">
                  <a:extLst>
                    <a:ext uri="{FF2B5EF4-FFF2-40B4-BE49-F238E27FC236}">
                      <a16:creationId xmlns:a16="http://schemas.microsoft.com/office/drawing/2014/main" id="{B3C23DF6-4C9A-26B7-5535-3FE2B845C06F}"/>
                    </a:ext>
                  </a:extLst>
                </p:cNvPr>
                <p:cNvSpPr/>
                <p:nvPr/>
              </p:nvSpPr>
              <p:spPr bwMode="gray">
                <a:xfrm>
                  <a:off x="18077656" y="3706550"/>
                  <a:ext cx="332050" cy="332050"/>
                </a:xfrm>
                <a:custGeom>
                  <a:avLst/>
                  <a:gdLst>
                    <a:gd name="connsiteX0" fmla="*/ 381000 w 457200"/>
                    <a:gd name="connsiteY0" fmla="*/ 0 h 457200"/>
                    <a:gd name="connsiteX1" fmla="*/ 457200 w 457200"/>
                    <a:gd name="connsiteY1" fmla="*/ 76200 h 457200"/>
                    <a:gd name="connsiteX2" fmla="*/ 457200 w 457200"/>
                    <a:gd name="connsiteY2" fmla="*/ 381000 h 457200"/>
                    <a:gd name="connsiteX3" fmla="*/ 381000 w 457200"/>
                    <a:gd name="connsiteY3" fmla="*/ 457200 h 457200"/>
                    <a:gd name="connsiteX4" fmla="*/ 76200 w 457200"/>
                    <a:gd name="connsiteY4" fmla="*/ 457200 h 457200"/>
                    <a:gd name="connsiteX5" fmla="*/ 0 w 457200"/>
                    <a:gd name="connsiteY5" fmla="*/ 381000 h 457200"/>
                    <a:gd name="connsiteX6" fmla="*/ 0 w 457200"/>
                    <a:gd name="connsiteY6" fmla="*/ 76200 h 457200"/>
                    <a:gd name="connsiteX7" fmla="*/ 76200 w 457200"/>
                    <a:gd name="connsiteY7" fmla="*/ 0 h 457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57200" h="457200">
                      <a:moveTo>
                        <a:pt x="381000" y="0"/>
                      </a:moveTo>
                      <a:cubicBezTo>
                        <a:pt x="423084" y="0"/>
                        <a:pt x="457200" y="34116"/>
                        <a:pt x="457200" y="76200"/>
                      </a:cubicBezTo>
                      <a:lnTo>
                        <a:pt x="457200" y="381000"/>
                      </a:lnTo>
                      <a:cubicBezTo>
                        <a:pt x="457200" y="423084"/>
                        <a:pt x="423084" y="457200"/>
                        <a:pt x="381000" y="457200"/>
                      </a:cubicBezTo>
                      <a:lnTo>
                        <a:pt x="76200" y="457200"/>
                      </a:lnTo>
                      <a:cubicBezTo>
                        <a:pt x="34116" y="457200"/>
                        <a:pt x="0" y="423084"/>
                        <a:pt x="0" y="3810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0" name="Freihandform: Form 159">
                  <a:extLst>
                    <a:ext uri="{FF2B5EF4-FFF2-40B4-BE49-F238E27FC236}">
                      <a16:creationId xmlns:a16="http://schemas.microsoft.com/office/drawing/2014/main" id="{51BAC0A8-36B5-7733-9A13-3D0800A5DD1C}"/>
                    </a:ext>
                  </a:extLst>
                </p:cNvPr>
                <p:cNvSpPr/>
                <p:nvPr/>
              </p:nvSpPr>
              <p:spPr bwMode="gray">
                <a:xfrm>
                  <a:off x="16706056" y="5105400"/>
                  <a:ext cx="304800" cy="304800"/>
                </a:xfrm>
                <a:custGeom>
                  <a:avLst/>
                  <a:gdLst>
                    <a:gd name="connsiteX0" fmla="*/ 381000 w 457200"/>
                    <a:gd name="connsiteY0" fmla="*/ 0 h 457200"/>
                    <a:gd name="connsiteX1" fmla="*/ 457200 w 457200"/>
                    <a:gd name="connsiteY1" fmla="*/ 76200 h 457200"/>
                    <a:gd name="connsiteX2" fmla="*/ 457200 w 457200"/>
                    <a:gd name="connsiteY2" fmla="*/ 381000 h 457200"/>
                    <a:gd name="connsiteX3" fmla="*/ 381000 w 457200"/>
                    <a:gd name="connsiteY3" fmla="*/ 457200 h 457200"/>
                    <a:gd name="connsiteX4" fmla="*/ 76200 w 457200"/>
                    <a:gd name="connsiteY4" fmla="*/ 457200 h 457200"/>
                    <a:gd name="connsiteX5" fmla="*/ 0 w 457200"/>
                    <a:gd name="connsiteY5" fmla="*/ 381000 h 457200"/>
                    <a:gd name="connsiteX6" fmla="*/ 0 w 457200"/>
                    <a:gd name="connsiteY6" fmla="*/ 76200 h 457200"/>
                    <a:gd name="connsiteX7" fmla="*/ 76200 w 457200"/>
                    <a:gd name="connsiteY7" fmla="*/ 0 h 4572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457200" h="457200">
                      <a:moveTo>
                        <a:pt x="381000" y="0"/>
                      </a:moveTo>
                      <a:cubicBezTo>
                        <a:pt x="423084" y="0"/>
                        <a:pt x="457200" y="34116"/>
                        <a:pt x="457200" y="76200"/>
                      </a:cubicBezTo>
                      <a:lnTo>
                        <a:pt x="457200" y="381000"/>
                      </a:lnTo>
                      <a:cubicBezTo>
                        <a:pt x="457200" y="423084"/>
                        <a:pt x="423084" y="457200"/>
                        <a:pt x="381000" y="457200"/>
                      </a:cubicBezTo>
                      <a:lnTo>
                        <a:pt x="76200" y="457200"/>
                      </a:lnTo>
                      <a:cubicBezTo>
                        <a:pt x="34116" y="457200"/>
                        <a:pt x="0" y="423084"/>
                        <a:pt x="0" y="3810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1" name="Freihandform: Form 160">
                  <a:extLst>
                    <a:ext uri="{FF2B5EF4-FFF2-40B4-BE49-F238E27FC236}">
                      <a16:creationId xmlns:a16="http://schemas.microsoft.com/office/drawing/2014/main" id="{104F24C1-6571-6486-233C-DFBFDC6D960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17274256" y="2016000"/>
                  <a:ext cx="540000" cy="540000"/>
                </a:xfrm>
                <a:custGeom>
                  <a:avLst/>
                  <a:gdLst>
                    <a:gd name="connsiteX0" fmla="*/ 685800 w 762000"/>
                    <a:gd name="connsiteY0" fmla="*/ 0 h 762000"/>
                    <a:gd name="connsiteX1" fmla="*/ 762000 w 762000"/>
                    <a:gd name="connsiteY1" fmla="*/ 76200 h 762000"/>
                    <a:gd name="connsiteX2" fmla="*/ 762000 w 762000"/>
                    <a:gd name="connsiteY2" fmla="*/ 685800 h 762000"/>
                    <a:gd name="connsiteX3" fmla="*/ 685800 w 762000"/>
                    <a:gd name="connsiteY3" fmla="*/ 762000 h 762000"/>
                    <a:gd name="connsiteX4" fmla="*/ 76200 w 762000"/>
                    <a:gd name="connsiteY4" fmla="*/ 762000 h 762000"/>
                    <a:gd name="connsiteX5" fmla="*/ 0 w 762000"/>
                    <a:gd name="connsiteY5" fmla="*/ 685800 h 762000"/>
                    <a:gd name="connsiteX6" fmla="*/ 0 w 762000"/>
                    <a:gd name="connsiteY6" fmla="*/ 76200 h 762000"/>
                    <a:gd name="connsiteX7" fmla="*/ 76200 w 762000"/>
                    <a:gd name="connsiteY7" fmla="*/ 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2000" h="762000">
                      <a:moveTo>
                        <a:pt x="685800" y="0"/>
                      </a:moveTo>
                      <a:cubicBezTo>
                        <a:pt x="727884" y="0"/>
                        <a:pt x="762000" y="34116"/>
                        <a:pt x="762000" y="76200"/>
                      </a:cubicBezTo>
                      <a:lnTo>
                        <a:pt x="762000" y="685800"/>
                      </a:lnTo>
                      <a:cubicBezTo>
                        <a:pt x="762000" y="727884"/>
                        <a:pt x="727884" y="762000"/>
                        <a:pt x="685800" y="762000"/>
                      </a:cubicBezTo>
                      <a:lnTo>
                        <a:pt x="76200" y="762000"/>
                      </a:lnTo>
                      <a:cubicBezTo>
                        <a:pt x="34116" y="762000"/>
                        <a:pt x="0" y="727884"/>
                        <a:pt x="0" y="6858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2" name="Freihandform: Form 161">
                  <a:extLst>
                    <a:ext uri="{FF2B5EF4-FFF2-40B4-BE49-F238E27FC236}">
                      <a16:creationId xmlns:a16="http://schemas.microsoft.com/office/drawing/2014/main" id="{709D3491-1F82-E902-1702-6531D3AFED5A}"/>
                    </a:ext>
                  </a:extLst>
                </p:cNvPr>
                <p:cNvSpPr/>
                <p:nvPr/>
              </p:nvSpPr>
              <p:spPr bwMode="gray">
                <a:xfrm>
                  <a:off x="16706056" y="1447800"/>
                  <a:ext cx="1676400" cy="1676400"/>
                </a:xfrm>
                <a:custGeom>
                  <a:avLst/>
                  <a:gdLst>
                    <a:gd name="connsiteX0" fmla="*/ 1524000 w 1676400"/>
                    <a:gd name="connsiteY0" fmla="*/ 0 h 1676400"/>
                    <a:gd name="connsiteX1" fmla="*/ 1676400 w 1676400"/>
                    <a:gd name="connsiteY1" fmla="*/ 152400 h 1676400"/>
                    <a:gd name="connsiteX2" fmla="*/ 1676400 w 1676400"/>
                    <a:gd name="connsiteY2" fmla="*/ 1524000 h 1676400"/>
                    <a:gd name="connsiteX3" fmla="*/ 1524000 w 1676400"/>
                    <a:gd name="connsiteY3" fmla="*/ 1676400 h 1676400"/>
                    <a:gd name="connsiteX4" fmla="*/ 152400 w 1676400"/>
                    <a:gd name="connsiteY4" fmla="*/ 1676400 h 1676400"/>
                    <a:gd name="connsiteX5" fmla="*/ 0 w 1676400"/>
                    <a:gd name="connsiteY5" fmla="*/ 1524000 h 1676400"/>
                    <a:gd name="connsiteX6" fmla="*/ 0 w 1676400"/>
                    <a:gd name="connsiteY6" fmla="*/ 152400 h 1676400"/>
                    <a:gd name="connsiteX7" fmla="*/ 152400 w 1676400"/>
                    <a:gd name="connsiteY7" fmla="*/ 0 h 1676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76400" h="1676400">
                      <a:moveTo>
                        <a:pt x="1524000" y="0"/>
                      </a:moveTo>
                      <a:cubicBezTo>
                        <a:pt x="1608168" y="0"/>
                        <a:pt x="1676400" y="68232"/>
                        <a:pt x="1676400" y="152400"/>
                      </a:cubicBezTo>
                      <a:lnTo>
                        <a:pt x="1676400" y="1524000"/>
                      </a:lnTo>
                      <a:cubicBezTo>
                        <a:pt x="1676400" y="1608168"/>
                        <a:pt x="1608168" y="1676400"/>
                        <a:pt x="1524000" y="1676400"/>
                      </a:cubicBezTo>
                      <a:lnTo>
                        <a:pt x="152400" y="1676400"/>
                      </a:lnTo>
                      <a:cubicBezTo>
                        <a:pt x="68232" y="1676400"/>
                        <a:pt x="0" y="1608168"/>
                        <a:pt x="0" y="1524000"/>
                      </a:cubicBezTo>
                      <a:lnTo>
                        <a:pt x="0" y="152400"/>
                      </a:lnTo>
                      <a:cubicBezTo>
                        <a:pt x="0" y="68232"/>
                        <a:pt x="68232" y="0"/>
                        <a:pt x="152400" y="0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EF7D14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 dirty="0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3" name="Freihandform: Form 162">
                  <a:extLst>
                    <a:ext uri="{FF2B5EF4-FFF2-40B4-BE49-F238E27FC236}">
                      <a16:creationId xmlns:a16="http://schemas.microsoft.com/office/drawing/2014/main" id="{2BA04779-D4EE-9FE4-B390-0839F8C8506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14988256" y="2016000"/>
                  <a:ext cx="540000" cy="540000"/>
                </a:xfrm>
                <a:custGeom>
                  <a:avLst/>
                  <a:gdLst>
                    <a:gd name="connsiteX0" fmla="*/ 685800 w 762000"/>
                    <a:gd name="connsiteY0" fmla="*/ 0 h 762000"/>
                    <a:gd name="connsiteX1" fmla="*/ 762000 w 762000"/>
                    <a:gd name="connsiteY1" fmla="*/ 76200 h 762000"/>
                    <a:gd name="connsiteX2" fmla="*/ 762000 w 762000"/>
                    <a:gd name="connsiteY2" fmla="*/ 685800 h 762000"/>
                    <a:gd name="connsiteX3" fmla="*/ 685800 w 762000"/>
                    <a:gd name="connsiteY3" fmla="*/ 762000 h 762000"/>
                    <a:gd name="connsiteX4" fmla="*/ 76200 w 762000"/>
                    <a:gd name="connsiteY4" fmla="*/ 762000 h 762000"/>
                    <a:gd name="connsiteX5" fmla="*/ 0 w 762000"/>
                    <a:gd name="connsiteY5" fmla="*/ 685800 h 762000"/>
                    <a:gd name="connsiteX6" fmla="*/ 0 w 762000"/>
                    <a:gd name="connsiteY6" fmla="*/ 76200 h 762000"/>
                    <a:gd name="connsiteX7" fmla="*/ 76200 w 762000"/>
                    <a:gd name="connsiteY7" fmla="*/ 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2000" h="762000">
                      <a:moveTo>
                        <a:pt x="685800" y="0"/>
                      </a:moveTo>
                      <a:cubicBezTo>
                        <a:pt x="727884" y="0"/>
                        <a:pt x="762000" y="34116"/>
                        <a:pt x="762000" y="76200"/>
                      </a:cubicBezTo>
                      <a:lnTo>
                        <a:pt x="762000" y="685800"/>
                      </a:lnTo>
                      <a:cubicBezTo>
                        <a:pt x="762000" y="727884"/>
                        <a:pt x="727884" y="762000"/>
                        <a:pt x="685800" y="762000"/>
                      </a:cubicBezTo>
                      <a:lnTo>
                        <a:pt x="76200" y="762000"/>
                      </a:lnTo>
                      <a:cubicBezTo>
                        <a:pt x="34116" y="762000"/>
                        <a:pt x="0" y="727884"/>
                        <a:pt x="0" y="6858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4" name="Freihandform: Form 163">
                  <a:extLst>
                    <a:ext uri="{FF2B5EF4-FFF2-40B4-BE49-F238E27FC236}">
                      <a16:creationId xmlns:a16="http://schemas.microsoft.com/office/drawing/2014/main" id="{901D9458-2E33-0BD0-A992-08EFFD9AEDF7}"/>
                    </a:ext>
                  </a:extLst>
                </p:cNvPr>
                <p:cNvSpPr/>
                <p:nvPr/>
              </p:nvSpPr>
              <p:spPr bwMode="gray">
                <a:xfrm>
                  <a:off x="14420056" y="1447800"/>
                  <a:ext cx="1676400" cy="1676400"/>
                </a:xfrm>
                <a:custGeom>
                  <a:avLst/>
                  <a:gdLst>
                    <a:gd name="connsiteX0" fmla="*/ 1524000 w 1676400"/>
                    <a:gd name="connsiteY0" fmla="*/ 0 h 1676400"/>
                    <a:gd name="connsiteX1" fmla="*/ 1676400 w 1676400"/>
                    <a:gd name="connsiteY1" fmla="*/ 152400 h 1676400"/>
                    <a:gd name="connsiteX2" fmla="*/ 1676400 w 1676400"/>
                    <a:gd name="connsiteY2" fmla="*/ 1524000 h 1676400"/>
                    <a:gd name="connsiteX3" fmla="*/ 1524000 w 1676400"/>
                    <a:gd name="connsiteY3" fmla="*/ 1676400 h 1676400"/>
                    <a:gd name="connsiteX4" fmla="*/ 152400 w 1676400"/>
                    <a:gd name="connsiteY4" fmla="*/ 1676400 h 1676400"/>
                    <a:gd name="connsiteX5" fmla="*/ 0 w 1676400"/>
                    <a:gd name="connsiteY5" fmla="*/ 1524000 h 1676400"/>
                    <a:gd name="connsiteX6" fmla="*/ 0 w 1676400"/>
                    <a:gd name="connsiteY6" fmla="*/ 152400 h 1676400"/>
                    <a:gd name="connsiteX7" fmla="*/ 152400 w 1676400"/>
                    <a:gd name="connsiteY7" fmla="*/ 0 h 1676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76400" h="1676400">
                      <a:moveTo>
                        <a:pt x="1524000" y="0"/>
                      </a:moveTo>
                      <a:cubicBezTo>
                        <a:pt x="1608168" y="0"/>
                        <a:pt x="1676400" y="68232"/>
                        <a:pt x="1676400" y="152400"/>
                      </a:cubicBezTo>
                      <a:lnTo>
                        <a:pt x="1676400" y="1524000"/>
                      </a:lnTo>
                      <a:cubicBezTo>
                        <a:pt x="1676400" y="1608168"/>
                        <a:pt x="1608168" y="1676400"/>
                        <a:pt x="1524000" y="1676400"/>
                      </a:cubicBezTo>
                      <a:lnTo>
                        <a:pt x="152400" y="1676400"/>
                      </a:lnTo>
                      <a:cubicBezTo>
                        <a:pt x="68232" y="1676400"/>
                        <a:pt x="0" y="1608168"/>
                        <a:pt x="0" y="1524000"/>
                      </a:cubicBezTo>
                      <a:lnTo>
                        <a:pt x="0" y="152400"/>
                      </a:lnTo>
                      <a:cubicBezTo>
                        <a:pt x="0" y="68232"/>
                        <a:pt x="68232" y="0"/>
                        <a:pt x="152400" y="0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EF7D14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5" name="Freihandform: Form 164">
                  <a:extLst>
                    <a:ext uri="{FF2B5EF4-FFF2-40B4-BE49-F238E27FC236}">
                      <a16:creationId xmlns:a16="http://schemas.microsoft.com/office/drawing/2014/main" id="{22919D5F-1879-9F56-4EAC-00A366C9E97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14988256" y="4302000"/>
                  <a:ext cx="540000" cy="540000"/>
                </a:xfrm>
                <a:custGeom>
                  <a:avLst/>
                  <a:gdLst>
                    <a:gd name="connsiteX0" fmla="*/ 685800 w 762000"/>
                    <a:gd name="connsiteY0" fmla="*/ 0 h 762000"/>
                    <a:gd name="connsiteX1" fmla="*/ 762000 w 762000"/>
                    <a:gd name="connsiteY1" fmla="*/ 76200 h 762000"/>
                    <a:gd name="connsiteX2" fmla="*/ 762000 w 762000"/>
                    <a:gd name="connsiteY2" fmla="*/ 685800 h 762000"/>
                    <a:gd name="connsiteX3" fmla="*/ 685800 w 762000"/>
                    <a:gd name="connsiteY3" fmla="*/ 762000 h 762000"/>
                    <a:gd name="connsiteX4" fmla="*/ 76200 w 762000"/>
                    <a:gd name="connsiteY4" fmla="*/ 762000 h 762000"/>
                    <a:gd name="connsiteX5" fmla="*/ 0 w 762000"/>
                    <a:gd name="connsiteY5" fmla="*/ 685800 h 762000"/>
                    <a:gd name="connsiteX6" fmla="*/ 0 w 762000"/>
                    <a:gd name="connsiteY6" fmla="*/ 76200 h 762000"/>
                    <a:gd name="connsiteX7" fmla="*/ 76200 w 762000"/>
                    <a:gd name="connsiteY7" fmla="*/ 0 h 76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762000" h="762000">
                      <a:moveTo>
                        <a:pt x="685800" y="0"/>
                      </a:moveTo>
                      <a:cubicBezTo>
                        <a:pt x="727884" y="0"/>
                        <a:pt x="762000" y="34116"/>
                        <a:pt x="762000" y="76200"/>
                      </a:cubicBezTo>
                      <a:lnTo>
                        <a:pt x="762000" y="685800"/>
                      </a:lnTo>
                      <a:cubicBezTo>
                        <a:pt x="762000" y="727884"/>
                        <a:pt x="727884" y="762000"/>
                        <a:pt x="685800" y="762000"/>
                      </a:cubicBezTo>
                      <a:lnTo>
                        <a:pt x="76200" y="762000"/>
                      </a:lnTo>
                      <a:cubicBezTo>
                        <a:pt x="34116" y="762000"/>
                        <a:pt x="0" y="727884"/>
                        <a:pt x="0" y="685800"/>
                      </a:cubicBezTo>
                      <a:lnTo>
                        <a:pt x="0" y="76200"/>
                      </a:lnTo>
                      <a:cubicBezTo>
                        <a:pt x="0" y="34116"/>
                        <a:pt x="34116" y="0"/>
                        <a:pt x="76200" y="0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EF7D14"/>
                  </a:solidFill>
                  <a:prstDash val="solid"/>
                  <a:miter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66" name="Freihandform: Form 165">
                  <a:extLst>
                    <a:ext uri="{FF2B5EF4-FFF2-40B4-BE49-F238E27FC236}">
                      <a16:creationId xmlns:a16="http://schemas.microsoft.com/office/drawing/2014/main" id="{DB749A1F-323D-73B1-9D74-0129D90BADF4}"/>
                    </a:ext>
                  </a:extLst>
                </p:cNvPr>
                <p:cNvSpPr/>
                <p:nvPr/>
              </p:nvSpPr>
              <p:spPr bwMode="gray">
                <a:xfrm>
                  <a:off x="14420056" y="3733800"/>
                  <a:ext cx="1676400" cy="1676400"/>
                </a:xfrm>
                <a:custGeom>
                  <a:avLst/>
                  <a:gdLst>
                    <a:gd name="connsiteX0" fmla="*/ 1524000 w 1676400"/>
                    <a:gd name="connsiteY0" fmla="*/ 0 h 1676400"/>
                    <a:gd name="connsiteX1" fmla="*/ 1676400 w 1676400"/>
                    <a:gd name="connsiteY1" fmla="*/ 152400 h 1676400"/>
                    <a:gd name="connsiteX2" fmla="*/ 1676400 w 1676400"/>
                    <a:gd name="connsiteY2" fmla="*/ 1524000 h 1676400"/>
                    <a:gd name="connsiteX3" fmla="*/ 1524000 w 1676400"/>
                    <a:gd name="connsiteY3" fmla="*/ 1676400 h 1676400"/>
                    <a:gd name="connsiteX4" fmla="*/ 152400 w 1676400"/>
                    <a:gd name="connsiteY4" fmla="*/ 1676400 h 1676400"/>
                    <a:gd name="connsiteX5" fmla="*/ 0 w 1676400"/>
                    <a:gd name="connsiteY5" fmla="*/ 1524000 h 1676400"/>
                    <a:gd name="connsiteX6" fmla="*/ 0 w 1676400"/>
                    <a:gd name="connsiteY6" fmla="*/ 152400 h 1676400"/>
                    <a:gd name="connsiteX7" fmla="*/ 152400 w 1676400"/>
                    <a:gd name="connsiteY7" fmla="*/ 0 h 1676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676400" h="1676400">
                      <a:moveTo>
                        <a:pt x="1524000" y="0"/>
                      </a:moveTo>
                      <a:cubicBezTo>
                        <a:pt x="1608168" y="0"/>
                        <a:pt x="1676400" y="68232"/>
                        <a:pt x="1676400" y="152400"/>
                      </a:cubicBezTo>
                      <a:lnTo>
                        <a:pt x="1676400" y="1524000"/>
                      </a:lnTo>
                      <a:cubicBezTo>
                        <a:pt x="1676400" y="1608168"/>
                        <a:pt x="1608168" y="1676400"/>
                        <a:pt x="1524000" y="1676400"/>
                      </a:cubicBezTo>
                      <a:lnTo>
                        <a:pt x="152400" y="1676400"/>
                      </a:lnTo>
                      <a:cubicBezTo>
                        <a:pt x="68232" y="1676400"/>
                        <a:pt x="0" y="1608168"/>
                        <a:pt x="0" y="1524000"/>
                      </a:cubicBezTo>
                      <a:lnTo>
                        <a:pt x="0" y="152400"/>
                      </a:lnTo>
                      <a:cubicBezTo>
                        <a:pt x="0" y="68232"/>
                        <a:pt x="68232" y="0"/>
                        <a:pt x="152400" y="0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rgbClr val="EF7D14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</p:grpSp>
        </p:grpSp>
        <p:grpSp>
          <p:nvGrpSpPr>
            <p:cNvPr id="184" name="Gruppieren 105">
              <a:extLst>
                <a:ext uri="{FF2B5EF4-FFF2-40B4-BE49-F238E27FC236}">
                  <a16:creationId xmlns:a16="http://schemas.microsoft.com/office/drawing/2014/main" id="{C9179EAB-2B68-862D-2DAE-A9F8679001B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001166" y="3319354"/>
              <a:ext cx="809238" cy="809238"/>
              <a:chOff x="5077858" y="2470969"/>
              <a:chExt cx="898977" cy="898977"/>
            </a:xfrm>
          </p:grpSpPr>
          <p:sp>
            <p:nvSpPr>
              <p:cNvPr id="185" name="Ellipse 106">
                <a:extLst>
                  <a:ext uri="{FF2B5EF4-FFF2-40B4-BE49-F238E27FC236}">
                    <a16:creationId xmlns:a16="http://schemas.microsoft.com/office/drawing/2014/main" id="{9A4C1397-E192-8829-9BF5-0D47F6B56A4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077858" y="2470969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855980">
                  <a:lnSpc>
                    <a:spcPct val="90000"/>
                  </a:lnSpc>
                  <a:spcAft>
                    <a:spcPts val="900"/>
                  </a:spcAft>
                </a:pPr>
                <a:endParaRPr lang="de-DE" sz="1991">
                  <a:solidFill>
                    <a:prstClr val="white"/>
                  </a:solidFill>
                  <a:latin typeface="Calibri"/>
                </a:endParaRPr>
              </a:p>
            </p:txBody>
          </p:sp>
          <p:grpSp>
            <p:nvGrpSpPr>
              <p:cNvPr id="186" name="Gruppieren 107">
                <a:extLst>
                  <a:ext uri="{FF2B5EF4-FFF2-40B4-BE49-F238E27FC236}">
                    <a16:creationId xmlns:a16="http://schemas.microsoft.com/office/drawing/2014/main" id="{C85E22F8-0177-BAF7-8E5E-A9B030D58A77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5377806" y="2741388"/>
                <a:ext cx="299409" cy="358102"/>
                <a:chOff x="5377806" y="2741388"/>
                <a:chExt cx="299409" cy="358102"/>
              </a:xfrm>
            </p:grpSpPr>
            <p:sp>
              <p:nvSpPr>
                <p:cNvPr id="189" name="Freihandform: Form 113">
                  <a:extLst>
                    <a:ext uri="{FF2B5EF4-FFF2-40B4-BE49-F238E27FC236}">
                      <a16:creationId xmlns:a16="http://schemas.microsoft.com/office/drawing/2014/main" id="{AA22960C-1AE3-B583-8DAD-EBE2398935F9}"/>
                    </a:ext>
                  </a:extLst>
                </p:cNvPr>
                <p:cNvSpPr/>
                <p:nvPr/>
              </p:nvSpPr>
              <p:spPr bwMode="gray">
                <a:xfrm>
                  <a:off x="5445214" y="2865985"/>
                  <a:ext cx="155572" cy="155572"/>
                </a:xfrm>
                <a:custGeom>
                  <a:avLst/>
                  <a:gdLst>
                    <a:gd name="connsiteX0" fmla="*/ 1434275 w 1555718"/>
                    <a:gd name="connsiteY0" fmla="*/ 1434275 h 1555718"/>
                    <a:gd name="connsiteX1" fmla="*/ 1434275 w 1555718"/>
                    <a:gd name="connsiteY1" fmla="*/ 1434275 h 1555718"/>
                    <a:gd name="connsiteX2" fmla="*/ 847820 w 1555718"/>
                    <a:gd name="connsiteY2" fmla="*/ 1434275 h 1555718"/>
                    <a:gd name="connsiteX3" fmla="*/ 121444 w 1555718"/>
                    <a:gd name="connsiteY3" fmla="*/ 707898 h 1555718"/>
                    <a:gd name="connsiteX4" fmla="*/ 121444 w 1555718"/>
                    <a:gd name="connsiteY4" fmla="*/ 121444 h 1555718"/>
                    <a:gd name="connsiteX5" fmla="*/ 121444 w 1555718"/>
                    <a:gd name="connsiteY5" fmla="*/ 121444 h 1555718"/>
                    <a:gd name="connsiteX6" fmla="*/ 707898 w 1555718"/>
                    <a:gd name="connsiteY6" fmla="*/ 121444 h 1555718"/>
                    <a:gd name="connsiteX7" fmla="*/ 1049941 w 1555718"/>
                    <a:gd name="connsiteY7" fmla="*/ 463487 h 1555718"/>
                    <a:gd name="connsiteX8" fmla="*/ 1434275 w 1555718"/>
                    <a:gd name="connsiteY8" fmla="*/ 847820 h 1555718"/>
                    <a:gd name="connsiteX9" fmla="*/ 1434275 w 1555718"/>
                    <a:gd name="connsiteY9" fmla="*/ 1434275 h 15557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555718" h="1555718">
                      <a:moveTo>
                        <a:pt x="1434275" y="1434275"/>
                      </a:moveTo>
                      <a:lnTo>
                        <a:pt x="1434275" y="1434275"/>
                      </a:lnTo>
                      <a:cubicBezTo>
                        <a:pt x="1272350" y="1596200"/>
                        <a:pt x="1009745" y="1596200"/>
                        <a:pt x="847820" y="1434275"/>
                      </a:cubicBezTo>
                      <a:lnTo>
                        <a:pt x="121444" y="707898"/>
                      </a:lnTo>
                      <a:cubicBezTo>
                        <a:pt x="-40481" y="545973"/>
                        <a:pt x="-40481" y="283369"/>
                        <a:pt x="121444" y="121444"/>
                      </a:cubicBezTo>
                      <a:lnTo>
                        <a:pt x="121444" y="121444"/>
                      </a:lnTo>
                      <a:cubicBezTo>
                        <a:pt x="283369" y="-40481"/>
                        <a:pt x="545973" y="-40481"/>
                        <a:pt x="707898" y="121444"/>
                      </a:cubicBezTo>
                      <a:lnTo>
                        <a:pt x="1049941" y="463487"/>
                      </a:lnTo>
                      <a:lnTo>
                        <a:pt x="1434275" y="847820"/>
                      </a:lnTo>
                      <a:cubicBezTo>
                        <a:pt x="1596200" y="1009745"/>
                        <a:pt x="1596200" y="1272350"/>
                        <a:pt x="1434275" y="1434275"/>
                      </a:cubicBezTo>
                      <a:close/>
                    </a:path>
                  </a:pathLst>
                </a:custGeom>
                <a:noFill/>
                <a:ln w="19050" cap="rnd">
                  <a:solidFill>
                    <a:schemeClr val="accent6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90" name="Freihandform: Form 115">
                  <a:extLst>
                    <a:ext uri="{FF2B5EF4-FFF2-40B4-BE49-F238E27FC236}">
                      <a16:creationId xmlns:a16="http://schemas.microsoft.com/office/drawing/2014/main" id="{75FFC9CD-4088-730E-E12D-74EDF1A6CD74}"/>
                    </a:ext>
                  </a:extLst>
                </p:cNvPr>
                <p:cNvSpPr/>
                <p:nvPr/>
              </p:nvSpPr>
              <p:spPr bwMode="gray">
                <a:xfrm>
                  <a:off x="5491277" y="2912333"/>
                  <a:ext cx="58931" cy="58350"/>
                </a:xfrm>
                <a:custGeom>
                  <a:avLst/>
                  <a:gdLst>
                    <a:gd name="connsiteX0" fmla="*/ 0 w 589311"/>
                    <a:gd name="connsiteY0" fmla="*/ 583501 h 583501"/>
                    <a:gd name="connsiteX1" fmla="*/ 589312 w 589311"/>
                    <a:gd name="connsiteY1" fmla="*/ 0 h 5835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89311" h="583501">
                      <a:moveTo>
                        <a:pt x="0" y="583501"/>
                      </a:moveTo>
                      <a:lnTo>
                        <a:pt x="589312" y="0"/>
                      </a:lnTo>
                    </a:path>
                  </a:pathLst>
                </a:custGeom>
                <a:ln w="19050" cap="rnd">
                  <a:solidFill>
                    <a:schemeClr val="accent6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94" name="Freihandform: Form 117">
                  <a:extLst>
                    <a:ext uri="{FF2B5EF4-FFF2-40B4-BE49-F238E27FC236}">
                      <a16:creationId xmlns:a16="http://schemas.microsoft.com/office/drawing/2014/main" id="{60906715-D200-2EDD-862B-CD28E0B71A6F}"/>
                    </a:ext>
                  </a:extLst>
                </p:cNvPr>
                <p:cNvSpPr/>
                <p:nvPr/>
              </p:nvSpPr>
              <p:spPr bwMode="gray">
                <a:xfrm>
                  <a:off x="5377806" y="2741388"/>
                  <a:ext cx="299409" cy="358102"/>
                </a:xfrm>
                <a:custGeom>
                  <a:avLst/>
                  <a:gdLst>
                    <a:gd name="connsiteX0" fmla="*/ 1497044 w 2994088"/>
                    <a:gd name="connsiteY0" fmla="*/ 3581019 h 3581018"/>
                    <a:gd name="connsiteX1" fmla="*/ 0 w 2994088"/>
                    <a:gd name="connsiteY1" fmla="*/ 3581019 h 3581018"/>
                    <a:gd name="connsiteX2" fmla="*/ 0 w 2994088"/>
                    <a:gd name="connsiteY2" fmla="*/ 0 h 3581018"/>
                    <a:gd name="connsiteX3" fmla="*/ 2994089 w 2994088"/>
                    <a:gd name="connsiteY3" fmla="*/ 0 h 3581018"/>
                    <a:gd name="connsiteX4" fmla="*/ 2994089 w 2994088"/>
                    <a:gd name="connsiteY4" fmla="*/ 3581019 h 3581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94088" h="3581018">
                      <a:moveTo>
                        <a:pt x="1497044" y="3581019"/>
                      </a:moveTo>
                      <a:lnTo>
                        <a:pt x="0" y="3581019"/>
                      </a:lnTo>
                      <a:lnTo>
                        <a:pt x="0" y="0"/>
                      </a:lnTo>
                      <a:lnTo>
                        <a:pt x="2994089" y="0"/>
                      </a:lnTo>
                      <a:lnTo>
                        <a:pt x="2994089" y="3581019"/>
                      </a:lnTo>
                    </a:path>
                  </a:pathLst>
                </a:custGeom>
                <a:noFill/>
                <a:ln w="19050" cap="rnd">
                  <a:solidFill>
                    <a:schemeClr val="accent6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sp>
              <p:nvSpPr>
                <p:cNvPr id="195" name="Freihandform: Form 118">
                  <a:extLst>
                    <a:ext uri="{FF2B5EF4-FFF2-40B4-BE49-F238E27FC236}">
                      <a16:creationId xmlns:a16="http://schemas.microsoft.com/office/drawing/2014/main" id="{628F307B-47C1-2A07-841E-A22545912867}"/>
                    </a:ext>
                  </a:extLst>
                </p:cNvPr>
                <p:cNvSpPr/>
                <p:nvPr/>
              </p:nvSpPr>
              <p:spPr bwMode="gray">
                <a:xfrm>
                  <a:off x="5540722" y="2778764"/>
                  <a:ext cx="100536" cy="75390"/>
                </a:xfrm>
                <a:custGeom>
                  <a:avLst/>
                  <a:gdLst>
                    <a:gd name="connsiteX0" fmla="*/ 0 w 1005363"/>
                    <a:gd name="connsiteY0" fmla="*/ 0 h 753903"/>
                    <a:gd name="connsiteX1" fmla="*/ 1005364 w 1005363"/>
                    <a:gd name="connsiteY1" fmla="*/ 0 h 753903"/>
                    <a:gd name="connsiteX2" fmla="*/ 1005364 w 1005363"/>
                    <a:gd name="connsiteY2" fmla="*/ 753904 h 753903"/>
                    <a:gd name="connsiteX3" fmla="*/ 0 w 1005363"/>
                    <a:gd name="connsiteY3" fmla="*/ 753904 h 75390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5363" h="753903">
                      <a:moveTo>
                        <a:pt x="0" y="0"/>
                      </a:moveTo>
                      <a:lnTo>
                        <a:pt x="1005364" y="0"/>
                      </a:lnTo>
                      <a:lnTo>
                        <a:pt x="1005364" y="753904"/>
                      </a:lnTo>
                      <a:lnTo>
                        <a:pt x="0" y="753904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chemeClr val="accent6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pPr defTabSz="855980"/>
                  <a:endParaRPr lang="de-DE" sz="1991">
                    <a:solidFill>
                      <a:srgbClr val="000000"/>
                    </a:solidFill>
                    <a:latin typeface="Calibri"/>
                  </a:endParaRPr>
                </a:p>
              </p:txBody>
            </p:sp>
            <p:grpSp>
              <p:nvGrpSpPr>
                <p:cNvPr id="196" name="Gruppieren 120">
                  <a:extLst>
                    <a:ext uri="{FF2B5EF4-FFF2-40B4-BE49-F238E27FC236}">
                      <a16:creationId xmlns:a16="http://schemas.microsoft.com/office/drawing/2014/main" id="{DC19F8FF-83FC-23C7-1BCF-D8AA973C475C}"/>
                    </a:ext>
                  </a:extLst>
                </p:cNvPr>
                <p:cNvGrpSpPr/>
                <p:nvPr/>
              </p:nvGrpSpPr>
              <p:grpSpPr bwMode="gray">
                <a:xfrm>
                  <a:off x="5564000" y="2798459"/>
                  <a:ext cx="53981" cy="36000"/>
                  <a:chOff x="4874419" y="2297137"/>
                  <a:chExt cx="53981" cy="36000"/>
                </a:xfrm>
              </p:grpSpPr>
              <p:cxnSp>
                <p:nvCxnSpPr>
                  <p:cNvPr id="197" name="Gerader Verbinder 121">
                    <a:extLst>
                      <a:ext uri="{FF2B5EF4-FFF2-40B4-BE49-F238E27FC236}">
                        <a16:creationId xmlns:a16="http://schemas.microsoft.com/office/drawing/2014/main" id="{7F54A074-03CB-0606-ECF2-81A44C9925E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>
                    <a:off x="4928400" y="2297137"/>
                    <a:ext cx="0" cy="36000"/>
                  </a:xfrm>
                  <a:prstGeom prst="line">
                    <a:avLst/>
                  </a:prstGeom>
                  <a:noFill/>
                  <a:ln w="19050" cap="rnd">
                    <a:solidFill>
                      <a:schemeClr val="accent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198" name="Gerader Verbinder 122">
                    <a:extLst>
                      <a:ext uri="{FF2B5EF4-FFF2-40B4-BE49-F238E27FC236}">
                        <a16:creationId xmlns:a16="http://schemas.microsoft.com/office/drawing/2014/main" id="{48F688F9-0FA1-8B38-B9B4-5D4676C8421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>
                    <a:off x="4901410" y="2297137"/>
                    <a:ext cx="0" cy="36000"/>
                  </a:xfrm>
                  <a:prstGeom prst="line">
                    <a:avLst/>
                  </a:prstGeom>
                  <a:noFill/>
                  <a:ln w="19050" cap="rnd">
                    <a:solidFill>
                      <a:schemeClr val="accent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199" name="Gerader Verbinder 138">
                    <a:extLst>
                      <a:ext uri="{FF2B5EF4-FFF2-40B4-BE49-F238E27FC236}">
                        <a16:creationId xmlns:a16="http://schemas.microsoft.com/office/drawing/2014/main" id="{33588D3C-B75D-B357-43AA-72749C4B081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 bwMode="gray">
                  <a:xfrm>
                    <a:off x="4874419" y="2297137"/>
                    <a:ext cx="0" cy="36000"/>
                  </a:xfrm>
                  <a:prstGeom prst="line">
                    <a:avLst/>
                  </a:prstGeom>
                  <a:noFill/>
                  <a:ln w="19050" cap="rnd">
                    <a:solidFill>
                      <a:schemeClr val="accent6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</p:cxnSp>
            </p:grpSp>
          </p:grpSp>
        </p:grpSp>
        <p:cxnSp>
          <p:nvCxnSpPr>
            <p:cNvPr id="231" name="Verbinder: gekrümmt 230">
              <a:extLst>
                <a:ext uri="{FF2B5EF4-FFF2-40B4-BE49-F238E27FC236}">
                  <a16:creationId xmlns:a16="http://schemas.microsoft.com/office/drawing/2014/main" id="{DF715A5A-9FBD-CC19-899B-BADD1A8F447C}"/>
                </a:ext>
              </a:extLst>
            </p:cNvPr>
            <p:cNvCxnSpPr>
              <a:cxnSpLocks/>
              <a:stCxn id="154" idx="6"/>
              <a:endCxn id="185" idx="2"/>
            </p:cNvCxnSpPr>
            <p:nvPr/>
          </p:nvCxnSpPr>
          <p:spPr>
            <a:xfrm>
              <a:off x="9531642" y="3722609"/>
              <a:ext cx="469524" cy="1364"/>
            </a:xfrm>
            <a:prstGeom prst="curvedConnector3">
              <a:avLst>
                <a:gd name="adj1" fmla="val 50000"/>
              </a:avLst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249" name="Inhaltsplatzhalter 2">
              <a:extLst>
                <a:ext uri="{FF2B5EF4-FFF2-40B4-BE49-F238E27FC236}">
                  <a16:creationId xmlns:a16="http://schemas.microsoft.com/office/drawing/2014/main" id="{73E1E896-9AB1-19C0-217C-6119199417F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38739" y="4171629"/>
              <a:ext cx="972000" cy="845847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1500" b="1" dirty="0">
                  <a:solidFill>
                    <a:srgbClr val="0074BC"/>
                  </a:solidFill>
                  <a:latin typeface="Calibri"/>
                  <a:cs typeface="Calibri"/>
                </a:rPr>
                <a:t>Auswahl</a:t>
              </a: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dirty="0">
                  <a:solidFill>
                    <a:srgbClr val="000000"/>
                  </a:solidFill>
                  <a:latin typeface="Calibri"/>
                  <a:cs typeface="Calibri"/>
                </a:rPr>
                <a:t>Der Anwender wählt wie bisher die zu verordnenden Medikamente aus.</a:t>
              </a:r>
            </a:p>
          </p:txBody>
        </p:sp>
        <p:sp>
          <p:nvSpPr>
            <p:cNvPr id="250" name="Inhaltsplatzhalter 2">
              <a:extLst>
                <a:ext uri="{FF2B5EF4-FFF2-40B4-BE49-F238E27FC236}">
                  <a16:creationId xmlns:a16="http://schemas.microsoft.com/office/drawing/2014/main" id="{385B77DC-26E4-0443-084C-48E177FB867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175255" y="4172622"/>
              <a:ext cx="1136244" cy="728399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1524" b="1" dirty="0">
                  <a:solidFill>
                    <a:srgbClr val="0074BC"/>
                  </a:solidFill>
                  <a:latin typeface="Calibri"/>
                </a:rPr>
                <a:t>Verordnung</a:t>
              </a:r>
              <a:endParaRPr lang="de-DE" sz="1500" b="1" dirty="0">
                <a:solidFill>
                  <a:srgbClr val="0074BC"/>
                </a:solidFill>
                <a:latin typeface="Calibri"/>
                <a:cs typeface="Calibri"/>
              </a:endParaRP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Die Verordnung wird wie gewohnt in CGM TURBOMED erstellt.</a:t>
              </a:r>
              <a:endParaRPr lang="de-DE" sz="900" b="1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51" name="Inhaltsplatzhalter 2">
              <a:extLst>
                <a:ext uri="{FF2B5EF4-FFF2-40B4-BE49-F238E27FC236}">
                  <a16:creationId xmlns:a16="http://schemas.microsoft.com/office/drawing/2014/main" id="{A980AD49-7E10-4B98-E0CE-ED24F09E67F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97044" y="2237932"/>
              <a:ext cx="1049665" cy="56985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b="1" dirty="0">
                  <a:solidFill>
                    <a:srgbClr val="0074BC"/>
                  </a:solidFill>
                  <a:latin typeface="Calibri"/>
                </a:rPr>
                <a:t>Ablage</a:t>
              </a: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700" dirty="0">
                  <a:solidFill>
                    <a:srgbClr val="000000"/>
                  </a:solidFill>
                  <a:latin typeface="Calibri"/>
                </a:rPr>
                <a:t>Das E-Rezept kann optional von den MFA vorbereitet und auf einen virtuellen Stapel gelegt werden.</a:t>
              </a:r>
              <a:endParaRPr lang="de-DE" sz="700" b="1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53" name="Inhaltsplatzhalter 2">
              <a:extLst>
                <a:ext uri="{FF2B5EF4-FFF2-40B4-BE49-F238E27FC236}">
                  <a16:creationId xmlns:a16="http://schemas.microsoft.com/office/drawing/2014/main" id="{A2DF5702-690D-F5C2-CAAC-27C2E439D59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456644" y="4171629"/>
              <a:ext cx="972000" cy="845847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1524" b="1" dirty="0">
                  <a:solidFill>
                    <a:srgbClr val="0074BC"/>
                  </a:solidFill>
                  <a:latin typeface="Calibri"/>
                </a:rPr>
                <a:t>Signatur</a:t>
              </a: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Einzel- oder Stapelsignatur Idealerweise mit aktivierter Komfortsignatur </a:t>
              </a:r>
              <a:endParaRPr lang="de-DE" sz="900" b="1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54" name="Inhaltsplatzhalter 2">
              <a:extLst>
                <a:ext uri="{FF2B5EF4-FFF2-40B4-BE49-F238E27FC236}">
                  <a16:creationId xmlns:a16="http://schemas.microsoft.com/office/drawing/2014/main" id="{ACF44803-9A69-312F-2226-FC5DF9FA582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05294" y="4171629"/>
              <a:ext cx="972000" cy="95164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1524" b="1" dirty="0">
                  <a:solidFill>
                    <a:srgbClr val="595959"/>
                  </a:solidFill>
                  <a:latin typeface="Calibri"/>
                </a:rPr>
                <a:t>Versand</a:t>
              </a: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Ablage der </a:t>
              </a:r>
              <a:br>
                <a:rPr lang="de-DE" sz="900" dirty="0">
                  <a:solidFill>
                    <a:srgbClr val="000000"/>
                  </a:solidFill>
                  <a:latin typeface="Calibri"/>
                </a:rPr>
              </a:b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E-Rezepte auf dem Fachdienst (</a:t>
              </a:r>
              <a:r>
                <a:rPr lang="de-DE" sz="900" dirty="0" err="1">
                  <a:solidFill>
                    <a:srgbClr val="000000"/>
                  </a:solidFill>
                  <a:latin typeface="Calibri"/>
                </a:rPr>
                <a:t>gematik</a:t>
              </a: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)</a:t>
              </a:r>
              <a:br>
                <a:rPr lang="de-DE" sz="900" dirty="0">
                  <a:solidFill>
                    <a:srgbClr val="000000"/>
                  </a:solidFill>
                  <a:latin typeface="Calibri"/>
                </a:rPr>
              </a:b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durch das AIS</a:t>
              </a:r>
              <a:endParaRPr lang="de-DE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endParaRPr lang="de-DE" sz="1082" b="1" dirty="0">
                <a:solidFill>
                  <a:srgbClr val="000000"/>
                </a:solidFill>
                <a:latin typeface="Calibri"/>
              </a:endParaRPr>
            </a:p>
          </p:txBody>
        </p:sp>
        <p:pic>
          <p:nvPicPr>
            <p:cNvPr id="292" name="Grafik 291">
              <a:extLst>
                <a:ext uri="{FF2B5EF4-FFF2-40B4-BE49-F238E27FC236}">
                  <a16:creationId xmlns:a16="http://schemas.microsoft.com/office/drawing/2014/main" id="{35215553-7D8D-A717-4ED0-2D87ED73147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0189286">
              <a:off x="6790101" y="3445624"/>
              <a:ext cx="573353" cy="87536"/>
            </a:xfrm>
            <a:prstGeom prst="rect">
              <a:avLst/>
            </a:prstGeom>
          </p:spPr>
        </p:pic>
        <p:sp>
          <p:nvSpPr>
            <p:cNvPr id="298" name="Textfeld 297">
              <a:extLst>
                <a:ext uri="{FF2B5EF4-FFF2-40B4-BE49-F238E27FC236}">
                  <a16:creationId xmlns:a16="http://schemas.microsoft.com/office/drawing/2014/main" id="{7EC264D8-80B9-64AA-3935-4EE1203304C1}"/>
                </a:ext>
              </a:extLst>
            </p:cNvPr>
            <p:cNvSpPr txBox="1"/>
            <p:nvPr/>
          </p:nvSpPr>
          <p:spPr>
            <a:xfrm>
              <a:off x="6942702" y="3990174"/>
              <a:ext cx="466070" cy="221337"/>
            </a:xfrm>
            <a:prstGeom prst="round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>
              <a:spAutoFit/>
            </a:bodyPr>
            <a:lstStyle/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700" dirty="0">
                  <a:solidFill>
                    <a:schemeClr val="bg1"/>
                  </a:solidFill>
                  <a:latin typeface="Calibri"/>
                </a:rPr>
                <a:t>Handy</a:t>
              </a:r>
            </a:p>
          </p:txBody>
        </p:sp>
        <p:sp>
          <p:nvSpPr>
            <p:cNvPr id="300" name="Textfeld 299">
              <a:extLst>
                <a:ext uri="{FF2B5EF4-FFF2-40B4-BE49-F238E27FC236}">
                  <a16:creationId xmlns:a16="http://schemas.microsoft.com/office/drawing/2014/main" id="{570FCA11-D287-FBD0-3FE4-7FE4E0987E07}"/>
                </a:ext>
              </a:extLst>
            </p:cNvPr>
            <p:cNvSpPr txBox="1"/>
            <p:nvPr/>
          </p:nvSpPr>
          <p:spPr>
            <a:xfrm>
              <a:off x="7000427" y="5372238"/>
              <a:ext cx="356686" cy="221337"/>
            </a:xfrm>
            <a:prstGeom prst="round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>
              <a:spAutoFit/>
            </a:bodyPr>
            <a:lstStyle/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700" dirty="0">
                  <a:solidFill>
                    <a:schemeClr val="bg1"/>
                  </a:solidFill>
                  <a:latin typeface="Calibri"/>
                </a:rPr>
                <a:t>eGK</a:t>
              </a:r>
            </a:p>
          </p:txBody>
        </p:sp>
        <p:sp>
          <p:nvSpPr>
            <p:cNvPr id="301" name="Inhaltsplatzhalter 2">
              <a:extLst>
                <a:ext uri="{FF2B5EF4-FFF2-40B4-BE49-F238E27FC236}">
                  <a16:creationId xmlns:a16="http://schemas.microsoft.com/office/drawing/2014/main" id="{12F37B28-D9C5-5AEA-DE6A-191B3BC8E566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667234" y="4171629"/>
              <a:ext cx="972000" cy="95164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1524" b="1" dirty="0">
                  <a:solidFill>
                    <a:srgbClr val="EF7D14"/>
                  </a:solidFill>
                  <a:latin typeface="Calibri"/>
                </a:rPr>
                <a:t>Abruf</a:t>
              </a: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Abruf der E-Rezepte von dem Fachdienst (</a:t>
              </a:r>
              <a:r>
                <a:rPr lang="de-DE" sz="900" dirty="0" err="1">
                  <a:solidFill>
                    <a:srgbClr val="000000"/>
                  </a:solidFill>
                  <a:latin typeface="Calibri"/>
                </a:rPr>
                <a:t>gematik</a:t>
              </a: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)</a:t>
              </a:r>
              <a:endParaRPr lang="de-DE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endParaRPr lang="de-DE" sz="1082" b="1" dirty="0">
                <a:solidFill>
                  <a:srgbClr val="000000"/>
                </a:solidFill>
                <a:latin typeface="Calibri"/>
              </a:endParaRPr>
            </a:p>
          </p:txBody>
        </p:sp>
        <p:grpSp>
          <p:nvGrpSpPr>
            <p:cNvPr id="302" name="Gruppieren 301">
              <a:extLst>
                <a:ext uri="{FF2B5EF4-FFF2-40B4-BE49-F238E27FC236}">
                  <a16:creationId xmlns:a16="http://schemas.microsoft.com/office/drawing/2014/main" id="{341DCB36-2689-EC76-2198-5D675FC2A47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6765125" y="2050732"/>
              <a:ext cx="810000" cy="810000"/>
              <a:chOff x="2809598" y="4768506"/>
              <a:chExt cx="898977" cy="898977"/>
            </a:xfrm>
          </p:grpSpPr>
          <p:sp>
            <p:nvSpPr>
              <p:cNvPr id="303" name="Ellipse 302">
                <a:extLst>
                  <a:ext uri="{FF2B5EF4-FFF2-40B4-BE49-F238E27FC236}">
                    <a16:creationId xmlns:a16="http://schemas.microsoft.com/office/drawing/2014/main" id="{3A37B55F-1D40-C1B1-1D8E-02B6FBD114E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809598" y="4768506"/>
                <a:ext cx="898977" cy="898977"/>
              </a:xfrm>
              <a:prstGeom prst="ellipse">
                <a:avLst/>
              </a:prstGeom>
              <a:noFill/>
              <a:ln w="1905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de-DE" dirty="0"/>
              </a:p>
            </p:txBody>
          </p:sp>
          <p:grpSp>
            <p:nvGrpSpPr>
              <p:cNvPr id="304" name="Grafik 1542">
                <a:extLst>
                  <a:ext uri="{FF2B5EF4-FFF2-40B4-BE49-F238E27FC236}">
                    <a16:creationId xmlns:a16="http://schemas.microsoft.com/office/drawing/2014/main" id="{14E0C686-2CEB-0B02-333F-48E0ED6075F1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3015246" y="4974154"/>
                <a:ext cx="487680" cy="487680"/>
                <a:chOff x="13962856" y="990600"/>
                <a:chExt cx="4876800" cy="4876800"/>
              </a:xfrm>
            </p:grpSpPr>
            <p:sp>
              <p:nvSpPr>
                <p:cNvPr id="305" name="Freihandform: Form 304">
                  <a:extLst>
                    <a:ext uri="{FF2B5EF4-FFF2-40B4-BE49-F238E27FC236}">
                      <a16:creationId xmlns:a16="http://schemas.microsoft.com/office/drawing/2014/main" id="{E6EAF7DA-E0BD-AA4E-C436-D0AB34F9945A}"/>
                    </a:ext>
                  </a:extLst>
                </p:cNvPr>
                <p:cNvSpPr/>
                <p:nvPr/>
              </p:nvSpPr>
              <p:spPr bwMode="gray">
                <a:xfrm>
                  <a:off x="14877256" y="1447800"/>
                  <a:ext cx="3048000" cy="3962400"/>
                </a:xfrm>
                <a:custGeom>
                  <a:avLst/>
                  <a:gdLst>
                    <a:gd name="connsiteX0" fmla="*/ 3048000 w 3048000"/>
                    <a:gd name="connsiteY0" fmla="*/ 1650206 h 3962400"/>
                    <a:gd name="connsiteX1" fmla="*/ 3048000 w 3048000"/>
                    <a:gd name="connsiteY1" fmla="*/ 3505200 h 3962400"/>
                    <a:gd name="connsiteX2" fmla="*/ 2590800 w 3048000"/>
                    <a:gd name="connsiteY2" fmla="*/ 3962400 h 3962400"/>
                    <a:gd name="connsiteX3" fmla="*/ 457200 w 3048000"/>
                    <a:gd name="connsiteY3" fmla="*/ 3962400 h 3962400"/>
                    <a:gd name="connsiteX4" fmla="*/ 0 w 3048000"/>
                    <a:gd name="connsiteY4" fmla="*/ 3505200 h 3962400"/>
                    <a:gd name="connsiteX5" fmla="*/ 0 w 3048000"/>
                    <a:gd name="connsiteY5" fmla="*/ 457200 h 3962400"/>
                    <a:gd name="connsiteX6" fmla="*/ 457200 w 3048000"/>
                    <a:gd name="connsiteY6" fmla="*/ 0 h 3962400"/>
                    <a:gd name="connsiteX7" fmla="*/ 1397794 w 3048000"/>
                    <a:gd name="connsiteY7" fmla="*/ 0 h 3962400"/>
                    <a:gd name="connsiteX8" fmla="*/ 1613249 w 3048000"/>
                    <a:gd name="connsiteY8" fmla="*/ 89249 h 3962400"/>
                    <a:gd name="connsiteX9" fmla="*/ 2958751 w 3048000"/>
                    <a:gd name="connsiteY9" fmla="*/ 1434751 h 3962400"/>
                    <a:gd name="connsiteX10" fmla="*/ 3048000 w 3048000"/>
                    <a:gd name="connsiteY10" fmla="*/ 1650206 h 396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048000" h="3962400">
                      <a:moveTo>
                        <a:pt x="3048000" y="1650206"/>
                      </a:moveTo>
                      <a:lnTo>
                        <a:pt x="3048000" y="3505200"/>
                      </a:lnTo>
                      <a:cubicBezTo>
                        <a:pt x="3048000" y="3757705"/>
                        <a:pt x="2843305" y="3962400"/>
                        <a:pt x="2590800" y="3962400"/>
                      </a:cubicBezTo>
                      <a:lnTo>
                        <a:pt x="457200" y="3962400"/>
                      </a:lnTo>
                      <a:cubicBezTo>
                        <a:pt x="204695" y="3962400"/>
                        <a:pt x="0" y="3757705"/>
                        <a:pt x="0" y="3505200"/>
                      </a:cubicBezTo>
                      <a:lnTo>
                        <a:pt x="0" y="457200"/>
                      </a:lnTo>
                      <a:cubicBezTo>
                        <a:pt x="0" y="204695"/>
                        <a:pt x="204695" y="0"/>
                        <a:pt x="457200" y="0"/>
                      </a:cubicBezTo>
                      <a:lnTo>
                        <a:pt x="1397794" y="0"/>
                      </a:lnTo>
                      <a:cubicBezTo>
                        <a:pt x="1478604" y="12"/>
                        <a:pt x="1556102" y="32115"/>
                        <a:pt x="1613249" y="89249"/>
                      </a:cubicBezTo>
                      <a:lnTo>
                        <a:pt x="2958751" y="1434751"/>
                      </a:lnTo>
                      <a:cubicBezTo>
                        <a:pt x="3015886" y="1491899"/>
                        <a:pt x="3047988" y="1569396"/>
                        <a:pt x="3048000" y="1650206"/>
                      </a:cubicBezTo>
                      <a:close/>
                    </a:path>
                  </a:pathLst>
                </a:custGeom>
                <a:noFill/>
                <a:ln w="19050" cap="flat">
                  <a:solidFill>
                    <a:srgbClr val="00B050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endParaRPr lang="de-DE" dirty="0"/>
                </a:p>
              </p:txBody>
            </p:sp>
            <p:sp>
              <p:nvSpPr>
                <p:cNvPr id="306" name="Freihandform: Form 305">
                  <a:extLst>
                    <a:ext uri="{FF2B5EF4-FFF2-40B4-BE49-F238E27FC236}">
                      <a16:creationId xmlns:a16="http://schemas.microsoft.com/office/drawing/2014/main" id="{1725BF89-7CDC-73FF-D0A3-E878C312F024}"/>
                    </a:ext>
                  </a:extLst>
                </p:cNvPr>
                <p:cNvSpPr/>
                <p:nvPr/>
              </p:nvSpPr>
              <p:spPr bwMode="gray">
                <a:xfrm>
                  <a:off x="15639256" y="1524000"/>
                  <a:ext cx="2209800" cy="2971800"/>
                </a:xfrm>
                <a:custGeom>
                  <a:avLst/>
                  <a:gdLst>
                    <a:gd name="connsiteX0" fmla="*/ 762000 w 2209800"/>
                    <a:gd name="connsiteY0" fmla="*/ 0 h 2971800"/>
                    <a:gd name="connsiteX1" fmla="*/ 762000 w 2209800"/>
                    <a:gd name="connsiteY1" fmla="*/ 1143000 h 2971800"/>
                    <a:gd name="connsiteX2" fmla="*/ 1066800 w 2209800"/>
                    <a:gd name="connsiteY2" fmla="*/ 1447800 h 2971800"/>
                    <a:gd name="connsiteX3" fmla="*/ 2209800 w 2209800"/>
                    <a:gd name="connsiteY3" fmla="*/ 1447800 h 2971800"/>
                    <a:gd name="connsiteX4" fmla="*/ 0 w 2209800"/>
                    <a:gd name="connsiteY4" fmla="*/ 2209800 h 2971800"/>
                    <a:gd name="connsiteX5" fmla="*/ 1524000 w 2209800"/>
                    <a:gd name="connsiteY5" fmla="*/ 2209800 h 2971800"/>
                    <a:gd name="connsiteX6" fmla="*/ 0 w 2209800"/>
                    <a:gd name="connsiteY6" fmla="*/ 2971800 h 2971800"/>
                    <a:gd name="connsiteX7" fmla="*/ 1524000 w 2209800"/>
                    <a:gd name="connsiteY7" fmla="*/ 2971800 h 29718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209800" h="2971800">
                      <a:moveTo>
                        <a:pt x="762000" y="0"/>
                      </a:moveTo>
                      <a:lnTo>
                        <a:pt x="762000" y="1143000"/>
                      </a:lnTo>
                      <a:cubicBezTo>
                        <a:pt x="762000" y="1311336"/>
                        <a:pt x="898464" y="1447800"/>
                        <a:pt x="1066800" y="1447800"/>
                      </a:cubicBezTo>
                      <a:lnTo>
                        <a:pt x="2209800" y="1447800"/>
                      </a:lnTo>
                      <a:moveTo>
                        <a:pt x="0" y="2209800"/>
                      </a:moveTo>
                      <a:lnTo>
                        <a:pt x="1524000" y="2209800"/>
                      </a:lnTo>
                      <a:moveTo>
                        <a:pt x="0" y="2971800"/>
                      </a:moveTo>
                      <a:lnTo>
                        <a:pt x="1524000" y="2971800"/>
                      </a:lnTo>
                    </a:path>
                  </a:pathLst>
                </a:custGeom>
                <a:noFill/>
                <a:ln w="19050" cap="rnd">
                  <a:solidFill>
                    <a:srgbClr val="00B050"/>
                  </a:solidFill>
                  <a:prstDash val="solid"/>
                  <a:round/>
                </a:ln>
              </p:spPr>
              <p:txBody>
                <a:bodyPr lIns="0" tIns="0" rIns="0" bIns="0" rtlCol="0" anchor="ctr"/>
                <a:lstStyle/>
                <a:p>
                  <a:endParaRPr lang="de-DE" dirty="0"/>
                </a:p>
              </p:txBody>
            </p:sp>
          </p:grpSp>
        </p:grpSp>
        <p:sp>
          <p:nvSpPr>
            <p:cNvPr id="299" name="Textfeld 298">
              <a:extLst>
                <a:ext uri="{FF2B5EF4-FFF2-40B4-BE49-F238E27FC236}">
                  <a16:creationId xmlns:a16="http://schemas.microsoft.com/office/drawing/2014/main" id="{D0A7A578-93F2-FA37-BF47-C647AA57B18D}"/>
                </a:ext>
              </a:extLst>
            </p:cNvPr>
            <p:cNvSpPr txBox="1"/>
            <p:nvPr/>
          </p:nvSpPr>
          <p:spPr>
            <a:xfrm>
              <a:off x="6905464" y="2723936"/>
              <a:ext cx="543198" cy="221337"/>
            </a:xfrm>
            <a:prstGeom prst="round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txBody>
            <a:bodyPr wrap="square">
              <a:spAutoFit/>
            </a:bodyPr>
            <a:lstStyle/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700" dirty="0">
                  <a:solidFill>
                    <a:schemeClr val="bg1"/>
                  </a:solidFill>
                  <a:latin typeface="Calibri"/>
                </a:rPr>
                <a:t>Ausdruck</a:t>
              </a:r>
            </a:p>
          </p:txBody>
        </p:sp>
        <p:cxnSp>
          <p:nvCxnSpPr>
            <p:cNvPr id="318" name="Verbinder: gekrümmt 317">
              <a:extLst>
                <a:ext uri="{FF2B5EF4-FFF2-40B4-BE49-F238E27FC236}">
                  <a16:creationId xmlns:a16="http://schemas.microsoft.com/office/drawing/2014/main" id="{FFD44F08-1AC8-560C-7C95-71E8A6F9CA89}"/>
                </a:ext>
              </a:extLst>
            </p:cNvPr>
            <p:cNvCxnSpPr>
              <a:cxnSpLocks/>
              <a:stCxn id="87" idx="0"/>
              <a:endCxn id="115" idx="4"/>
            </p:cNvCxnSpPr>
            <p:nvPr/>
          </p:nvCxnSpPr>
          <p:spPr>
            <a:xfrm rot="16200000" flipV="1">
              <a:off x="5004563" y="3130935"/>
              <a:ext cx="371082" cy="2381"/>
            </a:xfrm>
            <a:prstGeom prst="curvedConnector3">
              <a:avLst>
                <a:gd name="adj1" fmla="val 50000"/>
              </a:avLst>
            </a:prstGeom>
            <a:noFill/>
            <a:ln w="38100">
              <a:solidFill>
                <a:schemeClr val="tx2">
                  <a:lumMod val="60000"/>
                  <a:lumOff val="40000"/>
                </a:schemeClr>
              </a:solidFill>
              <a:prstDash val="sysDash"/>
              <a:tailEnd type="triangle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325" name="Inhaltsplatzhalter 2">
              <a:extLst>
                <a:ext uri="{FF2B5EF4-FFF2-40B4-BE49-F238E27FC236}">
                  <a16:creationId xmlns:a16="http://schemas.microsoft.com/office/drawing/2014/main" id="{C46386BD-9DDC-44F3-E554-03FB7D94253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913840" y="4166999"/>
              <a:ext cx="972000" cy="951640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1524" b="1" dirty="0">
                  <a:solidFill>
                    <a:srgbClr val="EF7D14"/>
                  </a:solidFill>
                  <a:latin typeface="Calibri"/>
                </a:rPr>
                <a:t>Abgabe</a:t>
              </a: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dirty="0">
                  <a:solidFill>
                    <a:srgbClr val="000000"/>
                  </a:solidFill>
                  <a:latin typeface="Calibri"/>
                </a:rPr>
                <a:t>Ausgabe der Medikamente</a:t>
              </a:r>
              <a:endParaRPr lang="de-DE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endParaRPr lang="de-DE" sz="1082" b="1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27" name="Inhaltsplatzhalter 2">
              <a:extLst>
                <a:ext uri="{FF2B5EF4-FFF2-40B4-BE49-F238E27FC236}">
                  <a16:creationId xmlns:a16="http://schemas.microsoft.com/office/drawing/2014/main" id="{E6FA1920-F88F-4820-42E0-2CEA9E179450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664080" y="1974447"/>
              <a:ext cx="1049665" cy="413088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900" b="1" dirty="0">
                  <a:solidFill>
                    <a:srgbClr val="0074BC"/>
                  </a:solidFill>
                  <a:latin typeface="Calibri"/>
                </a:rPr>
                <a:t>Ausdruck</a:t>
              </a:r>
              <a:endParaRPr lang="de-DE" sz="1050" b="1" dirty="0">
                <a:solidFill>
                  <a:srgbClr val="0074BC"/>
                </a:solidFill>
                <a:latin typeface="Calibri"/>
              </a:endParaRPr>
            </a:p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700" dirty="0">
                  <a:latin typeface="Calibri"/>
                </a:rPr>
                <a:t>Optional kann ein Ausdruck der E-Rezepte erfolgen. </a:t>
              </a:r>
              <a:endParaRPr lang="de-DE" sz="900" b="1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30" name="Inhaltsplatzhalter 2">
              <a:extLst>
                <a:ext uri="{FF2B5EF4-FFF2-40B4-BE49-F238E27FC236}">
                  <a16:creationId xmlns:a16="http://schemas.microsoft.com/office/drawing/2014/main" id="{3D394E71-642A-2ED6-632C-60FAA01F01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783294" y="1515093"/>
              <a:ext cx="972000" cy="248151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2000" b="1" dirty="0">
                  <a:solidFill>
                    <a:srgbClr val="0074BC"/>
                  </a:solidFill>
                  <a:latin typeface="Calibri"/>
                  <a:cs typeface="Calibri"/>
                </a:rPr>
                <a:t>Praxis</a:t>
              </a:r>
            </a:p>
          </p:txBody>
        </p:sp>
        <p:sp>
          <p:nvSpPr>
            <p:cNvPr id="331" name="Inhaltsplatzhalter 2">
              <a:extLst>
                <a:ext uri="{FF2B5EF4-FFF2-40B4-BE49-F238E27FC236}">
                  <a16:creationId xmlns:a16="http://schemas.microsoft.com/office/drawing/2014/main" id="{D4356BE4-35CA-0363-8CC7-F28AA7BD09D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6715021" y="1512000"/>
              <a:ext cx="972000" cy="248151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2000" b="1" dirty="0">
                  <a:solidFill>
                    <a:srgbClr val="00B050"/>
                  </a:solidFill>
                  <a:latin typeface="Calibri"/>
                  <a:cs typeface="Calibri"/>
                </a:rPr>
                <a:t>Patient</a:t>
              </a:r>
            </a:p>
          </p:txBody>
        </p:sp>
        <p:sp>
          <p:nvSpPr>
            <p:cNvPr id="332" name="Inhaltsplatzhalter 2">
              <a:extLst>
                <a:ext uri="{FF2B5EF4-FFF2-40B4-BE49-F238E27FC236}">
                  <a16:creationId xmlns:a16="http://schemas.microsoft.com/office/drawing/2014/main" id="{6FC59346-99EE-CAED-AF8C-AA230495D96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232252" y="1520219"/>
              <a:ext cx="1038920" cy="248151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27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2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1pPr>
              <a:lvl2pPr marL="72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20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2pPr>
              <a:lvl3pPr marL="108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8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3pPr>
              <a:lvl4pPr marL="144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4pPr>
              <a:lvl5pPr marL="1800000" indent="-270000" algn="l" defTabSz="914400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Arial" panose="020B0604020202020204" pitchFamily="34" charset="0"/>
                <a:buChar char="–"/>
                <a:defRPr sz="1600" kern="1200">
                  <a:solidFill>
                    <a:srgbClr val="404040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 defTabSz="696825">
                <a:spcBef>
                  <a:spcPts val="361"/>
                </a:spcBef>
                <a:spcAft>
                  <a:spcPts val="0"/>
                </a:spcAft>
                <a:buNone/>
              </a:pPr>
              <a:r>
                <a:rPr lang="de-DE" sz="2000" b="1" dirty="0">
                  <a:solidFill>
                    <a:srgbClr val="EF7D14"/>
                  </a:solidFill>
                  <a:latin typeface="Calibri"/>
                  <a:cs typeface="Calibri"/>
                </a:rPr>
                <a:t>Apotheke</a:t>
              </a:r>
            </a:p>
          </p:txBody>
        </p:sp>
        <p:grpSp>
          <p:nvGrpSpPr>
            <p:cNvPr id="334" name="Gruppieren 333">
              <a:extLst>
                <a:ext uri="{FF2B5EF4-FFF2-40B4-BE49-F238E27FC236}">
                  <a16:creationId xmlns:a16="http://schemas.microsoft.com/office/drawing/2014/main" id="{A1D15813-5787-B322-A772-EE27C472D62F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056259" y="3003725"/>
              <a:ext cx="221337" cy="221337"/>
              <a:chOff x="10748511" y="2470969"/>
              <a:chExt cx="898977" cy="898977"/>
            </a:xfrm>
            <a:solidFill>
              <a:srgbClr val="00B050"/>
            </a:solidFill>
          </p:grpSpPr>
          <p:sp>
            <p:nvSpPr>
              <p:cNvPr id="335" name="Ellipse 334">
                <a:extLst>
                  <a:ext uri="{FF2B5EF4-FFF2-40B4-BE49-F238E27FC236}">
                    <a16:creationId xmlns:a16="http://schemas.microsoft.com/office/drawing/2014/main" id="{50BB5111-D4A7-17D9-AD4D-49D57BEA268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748511" y="2470969"/>
                <a:ext cx="898977" cy="898977"/>
              </a:xfrm>
              <a:prstGeom prst="ellipse">
                <a:avLst/>
              </a:pr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de-DE" dirty="0"/>
              </a:p>
            </p:txBody>
          </p:sp>
          <p:sp>
            <p:nvSpPr>
              <p:cNvPr id="336" name="Grafik 12">
                <a:extLst>
                  <a:ext uri="{FF2B5EF4-FFF2-40B4-BE49-F238E27FC236}">
                    <a16:creationId xmlns:a16="http://schemas.microsoft.com/office/drawing/2014/main" id="{DF8AD220-F204-E9DA-B6E3-8CE0CF534AD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060839" y="2783297"/>
                <a:ext cx="274320" cy="274320"/>
              </a:xfrm>
              <a:custGeom>
                <a:avLst/>
                <a:gdLst>
                  <a:gd name="connsiteX0" fmla="*/ 1371600 w 2743200"/>
                  <a:gd name="connsiteY0" fmla="*/ 0 h 2743200"/>
                  <a:gd name="connsiteX1" fmla="*/ 1371600 w 2743200"/>
                  <a:gd name="connsiteY1" fmla="*/ 2743200 h 2743200"/>
                  <a:gd name="connsiteX2" fmla="*/ 2743200 w 2743200"/>
                  <a:gd name="connsiteY2" fmla="*/ 1371600 h 2743200"/>
                  <a:gd name="connsiteX3" fmla="*/ 0 w 2743200"/>
                  <a:gd name="connsiteY3" fmla="*/ 1371600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43200" h="2743200">
                    <a:moveTo>
                      <a:pt x="1371600" y="0"/>
                    </a:moveTo>
                    <a:lnTo>
                      <a:pt x="1371600" y="2743200"/>
                    </a:lnTo>
                    <a:moveTo>
                      <a:pt x="2743200" y="1371600"/>
                    </a:moveTo>
                    <a:lnTo>
                      <a:pt x="0" y="1371600"/>
                    </a:lnTo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  <p:grpSp>
          <p:nvGrpSpPr>
            <p:cNvPr id="337" name="Gruppieren 336">
              <a:extLst>
                <a:ext uri="{FF2B5EF4-FFF2-40B4-BE49-F238E27FC236}">
                  <a16:creationId xmlns:a16="http://schemas.microsoft.com/office/drawing/2014/main" id="{02A9B956-41CA-20F0-CD6F-C4F0485321F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7057415" y="4328738"/>
              <a:ext cx="221337" cy="221337"/>
              <a:chOff x="10748511" y="2470969"/>
              <a:chExt cx="898977" cy="898977"/>
            </a:xfrm>
            <a:solidFill>
              <a:srgbClr val="00B050"/>
            </a:solidFill>
          </p:grpSpPr>
          <p:sp>
            <p:nvSpPr>
              <p:cNvPr id="338" name="Ellipse 337">
                <a:extLst>
                  <a:ext uri="{FF2B5EF4-FFF2-40B4-BE49-F238E27FC236}">
                    <a16:creationId xmlns:a16="http://schemas.microsoft.com/office/drawing/2014/main" id="{E334BAC1-0A3B-22EF-AFC0-067056A8A2A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0748511" y="2470969"/>
                <a:ext cx="898977" cy="898977"/>
              </a:xfrm>
              <a:prstGeom prst="ellipse">
                <a:avLst/>
              </a:pr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Aft>
                    <a:spcPts val="1000"/>
                  </a:spcAft>
                </a:pPr>
                <a:endParaRPr lang="de-DE" dirty="0"/>
              </a:p>
            </p:txBody>
          </p:sp>
          <p:sp>
            <p:nvSpPr>
              <p:cNvPr id="339" name="Grafik 12">
                <a:extLst>
                  <a:ext uri="{FF2B5EF4-FFF2-40B4-BE49-F238E27FC236}">
                    <a16:creationId xmlns:a16="http://schemas.microsoft.com/office/drawing/2014/main" id="{4ED9366A-E784-0120-E283-89F06CAD294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060839" y="2783297"/>
                <a:ext cx="274320" cy="274320"/>
              </a:xfrm>
              <a:custGeom>
                <a:avLst/>
                <a:gdLst>
                  <a:gd name="connsiteX0" fmla="*/ 1371600 w 2743200"/>
                  <a:gd name="connsiteY0" fmla="*/ 0 h 2743200"/>
                  <a:gd name="connsiteX1" fmla="*/ 1371600 w 2743200"/>
                  <a:gd name="connsiteY1" fmla="*/ 2743200 h 2743200"/>
                  <a:gd name="connsiteX2" fmla="*/ 2743200 w 2743200"/>
                  <a:gd name="connsiteY2" fmla="*/ 1371600 h 2743200"/>
                  <a:gd name="connsiteX3" fmla="*/ 0 w 2743200"/>
                  <a:gd name="connsiteY3" fmla="*/ 1371600 h 274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43200" h="2743200">
                    <a:moveTo>
                      <a:pt x="1371600" y="0"/>
                    </a:moveTo>
                    <a:lnTo>
                      <a:pt x="1371600" y="2743200"/>
                    </a:lnTo>
                    <a:moveTo>
                      <a:pt x="2743200" y="1371600"/>
                    </a:moveTo>
                    <a:lnTo>
                      <a:pt x="0" y="1371600"/>
                    </a:lnTo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</a:ln>
            </p:spPr>
            <p:txBody>
              <a:bodyPr lIns="0" tIns="0" rIns="0" bIns="0" rtlCol="0" anchor="ctr"/>
              <a:lstStyle/>
              <a:p>
                <a:endParaRPr lang="de-DE" dirty="0"/>
              </a:p>
            </p:txBody>
          </p:sp>
        </p:grpSp>
        <p:sp>
          <p:nvSpPr>
            <p:cNvPr id="340" name="Pfeil: nach rechts 339">
              <a:extLst>
                <a:ext uri="{FF2B5EF4-FFF2-40B4-BE49-F238E27FC236}">
                  <a16:creationId xmlns:a16="http://schemas.microsoft.com/office/drawing/2014/main" id="{4435710C-72CB-B3BF-0012-9A677B89E88A}"/>
                </a:ext>
              </a:extLst>
            </p:cNvPr>
            <p:cNvSpPr/>
            <p:nvPr/>
          </p:nvSpPr>
          <p:spPr>
            <a:xfrm>
              <a:off x="5870519" y="3273248"/>
              <a:ext cx="353218" cy="975912"/>
            </a:xfrm>
            <a:prstGeom prst="rightArrow">
              <a:avLst/>
            </a:prstGeom>
            <a:solidFill>
              <a:srgbClr val="0074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 err="1"/>
            </a:p>
          </p:txBody>
        </p:sp>
        <p:sp>
          <p:nvSpPr>
            <p:cNvPr id="341" name="Pfeil: nach rechts 340">
              <a:extLst>
                <a:ext uri="{FF2B5EF4-FFF2-40B4-BE49-F238E27FC236}">
                  <a16:creationId xmlns:a16="http://schemas.microsoft.com/office/drawing/2014/main" id="{EC72AB14-A81E-D46D-1A1A-34629C8BC3B2}"/>
                </a:ext>
              </a:extLst>
            </p:cNvPr>
            <p:cNvSpPr/>
            <p:nvPr/>
          </p:nvSpPr>
          <p:spPr>
            <a:xfrm>
              <a:off x="8218788" y="3272661"/>
              <a:ext cx="353218" cy="975912"/>
            </a:xfrm>
            <a:prstGeom prst="rightArrow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endParaRPr lang="de-DE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4034885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mpuGroup_Medical">
  <a:themeElements>
    <a:clrScheme name="CompuGroup Medical">
      <a:dk1>
        <a:srgbClr val="000000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4C7094"/>
      </a:accent2>
      <a:accent3>
        <a:srgbClr val="0074BC"/>
      </a:accent3>
      <a:accent4>
        <a:srgbClr val="4C9DD0"/>
      </a:accent4>
      <a:accent5>
        <a:srgbClr val="99C7E4"/>
      </a:accent5>
      <a:accent6>
        <a:srgbClr val="EF7D14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>
              <a:lumMod val="60000"/>
              <a:lumOff val="40000"/>
            </a:schemeClr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1000"/>
          </a:spcAft>
          <a:defRPr sz="1600" dirty="0" err="1">
            <a:solidFill>
              <a:schemeClr val="tx2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1-07 CGM TURBOMED_Unternehmenspraesentation_DE.potx" id="{4877FD6C-42DC-4970-95AE-E75A2E5C14DE}" vid="{561AFE44-78C2-4136-908D-3FF1298DEBA5}"/>
    </a:ext>
  </a:extLst>
</a:theme>
</file>

<file path=ppt/theme/theme2.xml><?xml version="1.0" encoding="utf-8"?>
<a:theme xmlns:a="http://schemas.openxmlformats.org/drawingml/2006/main" name="CompuGroup_Medical">
  <a:themeElements>
    <a:clrScheme name="CompuGroup Medical">
      <a:dk1>
        <a:srgbClr val="000000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4C7094"/>
      </a:accent2>
      <a:accent3>
        <a:srgbClr val="0074BC"/>
      </a:accent3>
      <a:accent4>
        <a:srgbClr val="4C9DD0"/>
      </a:accent4>
      <a:accent5>
        <a:srgbClr val="99C7E4"/>
      </a:accent5>
      <a:accent6>
        <a:srgbClr val="EF7D14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>
              <a:lumMod val="60000"/>
              <a:lumOff val="40000"/>
            </a:schemeClr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1000"/>
          </a:spcAft>
          <a:defRPr sz="1600" dirty="0" err="1">
            <a:solidFill>
              <a:schemeClr val="tx2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1-07 CGM TURBOMED_Unternehmenspraesentation_DE.potx" id="{4877FD6C-42DC-4970-95AE-E75A2E5C14DE}" vid="{561AFE44-78C2-4136-908D-3FF1298DEBA5}"/>
    </a:ext>
  </a:extLst>
</a:theme>
</file>

<file path=ppt/theme/theme3.xml><?xml version="1.0" encoding="utf-8"?>
<a:theme xmlns:a="http://schemas.openxmlformats.org/drawingml/2006/main" name="CompuGroup_Medical">
  <a:themeElements>
    <a:clrScheme name="CompuGroup Medical">
      <a:dk1>
        <a:srgbClr val="000000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4C7094"/>
      </a:accent2>
      <a:accent3>
        <a:srgbClr val="0074BC"/>
      </a:accent3>
      <a:accent4>
        <a:srgbClr val="4C9DD0"/>
      </a:accent4>
      <a:accent5>
        <a:srgbClr val="99C7E4"/>
      </a:accent5>
      <a:accent6>
        <a:srgbClr val="EF7D14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>
              <a:lumMod val="60000"/>
              <a:lumOff val="40000"/>
            </a:schemeClr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1000"/>
          </a:spcAft>
          <a:defRPr sz="1600" dirty="0" err="1">
            <a:solidFill>
              <a:schemeClr val="tx2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1-07 CGM TURBOMED_Unternehmenspraesentation_DE.potx" id="{4877FD6C-42DC-4970-95AE-E75A2E5C14DE}" vid="{561AFE44-78C2-4136-908D-3FF1298DEBA5}"/>
    </a:ext>
  </a:extLst>
</a:theme>
</file>

<file path=ppt/theme/theme4.xml><?xml version="1.0" encoding="utf-8"?>
<a:theme xmlns:a="http://schemas.openxmlformats.org/drawingml/2006/main" name="CompuGroup_Medical">
  <a:themeElements>
    <a:clrScheme name="CompuGroup">
      <a:dk1>
        <a:srgbClr val="003366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0074BC"/>
      </a:accent2>
      <a:accent3>
        <a:srgbClr val="94C11C"/>
      </a:accent3>
      <a:accent4>
        <a:srgbClr val="FBBA00"/>
      </a:accent4>
      <a:accent5>
        <a:srgbClr val="EF7D14"/>
      </a:accent5>
      <a:accent6>
        <a:srgbClr val="E3000F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>
              <a:lumMod val="60000"/>
              <a:lumOff val="40000"/>
            </a:schemeClr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1000"/>
          </a:spcAft>
          <a:defRPr sz="1600" dirty="0" err="1">
            <a:solidFill>
              <a:schemeClr val="tx2">
                <a:lumMod val="75000"/>
              </a:schemeClr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CompuGroup_Medical">
  <a:themeElements>
    <a:clrScheme name="CompuGroup Medical">
      <a:dk1>
        <a:srgbClr val="000000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4C7094"/>
      </a:accent2>
      <a:accent3>
        <a:srgbClr val="0074BC"/>
      </a:accent3>
      <a:accent4>
        <a:srgbClr val="4C9DD0"/>
      </a:accent4>
      <a:accent5>
        <a:srgbClr val="99C7E4"/>
      </a:accent5>
      <a:accent6>
        <a:srgbClr val="EF7D14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36000" tIns="36000" rIns="36000" bIns="36000" rtlCol="0" anchor="ctr"/>
      <a:lstStyle>
        <a:defPPr algn="ctr">
          <a:lnSpc>
            <a:spcPct val="90000"/>
          </a:lnSpc>
          <a:spcAft>
            <a:spcPts val="1000"/>
          </a:spcAft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12700">
          <a:solidFill>
            <a:schemeClr val="tx2">
              <a:lumMod val="60000"/>
              <a:lumOff val="40000"/>
            </a:schemeClr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90000"/>
          </a:lnSpc>
          <a:spcAft>
            <a:spcPts val="1000"/>
          </a:spcAft>
          <a:defRPr sz="1600" dirty="0" err="1">
            <a:solidFill>
              <a:schemeClr val="tx2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1-07 CGM TURBOMED_Unternehmenspraesentation_DE.potx" id="{4877FD6C-42DC-4970-95AE-E75A2E5C14DE}" vid="{561AFE44-78C2-4136-908D-3FF1298DEBA5}"/>
    </a:ext>
  </a:extLst>
</a:theme>
</file>

<file path=ppt/theme/theme6.xml><?xml version="1.0" encoding="utf-8"?>
<a:theme xmlns:a="http://schemas.openxmlformats.org/drawingml/2006/main" name="Larissa">
  <a:themeElements>
    <a:clrScheme name="CompuGroup">
      <a:dk1>
        <a:srgbClr val="003366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0074BC"/>
      </a:accent2>
      <a:accent3>
        <a:srgbClr val="94C11C"/>
      </a:accent3>
      <a:accent4>
        <a:srgbClr val="FBBA00"/>
      </a:accent4>
      <a:accent5>
        <a:srgbClr val="EF7D14"/>
      </a:accent5>
      <a:accent6>
        <a:srgbClr val="E3000F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CompuGroup">
      <a:dk1>
        <a:srgbClr val="003366"/>
      </a:dk1>
      <a:lt1>
        <a:sysClr val="window" lastClr="FFFFFF"/>
      </a:lt1>
      <a:dk2>
        <a:srgbClr val="919191"/>
      </a:dk2>
      <a:lt2>
        <a:srgbClr val="FFFFFF"/>
      </a:lt2>
      <a:accent1>
        <a:srgbClr val="003366"/>
      </a:accent1>
      <a:accent2>
        <a:srgbClr val="0074BC"/>
      </a:accent2>
      <a:accent3>
        <a:srgbClr val="94C11C"/>
      </a:accent3>
      <a:accent4>
        <a:srgbClr val="FBBA00"/>
      </a:accent4>
      <a:accent5>
        <a:srgbClr val="EF7D14"/>
      </a:accent5>
      <a:accent6>
        <a:srgbClr val="E3000F"/>
      </a:accent6>
      <a:hlink>
        <a:srgbClr val="003366"/>
      </a:hlink>
      <a:folHlink>
        <a:srgbClr val="919191"/>
      </a:folHlink>
    </a:clrScheme>
    <a:fontScheme name="Benutzerdefiniert 5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ca3a8f7-3b57-4c4f-9217-b1f4e74f9ac6">
      <UserInfo>
        <DisplayName>Donhauser, Klaus</DisplayName>
        <AccountId>26</AccountId>
        <AccountType/>
      </UserInfo>
      <UserInfo>
        <DisplayName>Schmeling, André</DisplayName>
        <AccountId>24</AccountId>
        <AccountType/>
      </UserInfo>
    </SharedWithUsers>
    <TaxCatchAll xmlns="4ca3a8f7-3b57-4c4f-9217-b1f4e74f9ac6" xsi:nil="true"/>
    <lcf76f155ced4ddcb4097134ff3c332f xmlns="4c82e035-340d-4714-be06-c86f20838a96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E9A2166A5428E42B22249CD6A820219" ma:contentTypeVersion="13" ma:contentTypeDescription="Create a new document." ma:contentTypeScope="" ma:versionID="152afa51537daaf6f65a534b4b243b94">
  <xsd:schema xmlns:xsd="http://www.w3.org/2001/XMLSchema" xmlns:xs="http://www.w3.org/2001/XMLSchema" xmlns:p="http://schemas.microsoft.com/office/2006/metadata/properties" xmlns:ns2="4c82e035-340d-4714-be06-c86f20838a96" xmlns:ns3="4ca3a8f7-3b57-4c4f-9217-b1f4e74f9ac6" targetNamespace="http://schemas.microsoft.com/office/2006/metadata/properties" ma:root="true" ma:fieldsID="77f258f2d455d34b5aa7cdfdfd74ff76" ns2:_="" ns3:_="">
    <xsd:import namespace="4c82e035-340d-4714-be06-c86f20838a96"/>
    <xsd:import namespace="4ca3a8f7-3b57-4c4f-9217-b1f4e74f9a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82e035-340d-4714-be06-c86f20838a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990af69b-c846-403d-9fc4-338040c298d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a3a8f7-3b57-4c4f-9217-b1f4e74f9ac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f6c7174-472a-4b3f-b56d-c22ffe065b81}" ma:internalName="TaxCatchAll" ma:showField="CatchAllData" ma:web="4ca3a8f7-3b57-4c4f-9217-b1f4e74f9ac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E215A6E-7F77-4898-99A0-857F65D518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835ACFA-9E99-40EE-A55F-8D7AD424D96F}">
  <ds:schemaRefs>
    <ds:schemaRef ds:uri="4c82e035-340d-4714-be06-c86f20838a96"/>
    <ds:schemaRef ds:uri="4ca3a8f7-3b57-4c4f-9217-b1f4e74f9ac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B23718E9-2875-4FDA-88B0-CEBA4070E3C6}">
  <ds:schemaRefs>
    <ds:schemaRef ds:uri="4c82e035-340d-4714-be06-c86f20838a96"/>
    <ds:schemaRef ds:uri="4ca3a8f7-3b57-4c4f-9217-b1f4e74f9ac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bf47bbe-a0a2-4c04-9ba4-22f94012202d}" enabled="1" method="Standard" siteId="{69602cf4-a76e-4265-955f-03c329c5060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1-07 CGM TURBOMED_Unternehmenspraesentation_DE</Template>
  <TotalTime>0</TotalTime>
  <Words>468</Words>
  <Application>Microsoft Office PowerPoint</Application>
  <PresentationFormat>Benutzerdefiniert</PresentationFormat>
  <Paragraphs>102</Paragraphs>
  <Slides>1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4" baseType="lpstr">
      <vt:lpstr>Calibri</vt:lpstr>
      <vt:lpstr>Wingdings</vt:lpstr>
      <vt:lpstr>Arial</vt:lpstr>
      <vt:lpstr>CompuGroup_Medical</vt:lpstr>
      <vt:lpstr>CompuGroup_Medical</vt:lpstr>
      <vt:lpstr>CompuGroup_Medical</vt:lpstr>
      <vt:lpstr>CompuGroup_Medical</vt:lpstr>
      <vt:lpstr>CompuGroup_Medical</vt:lpstr>
      <vt:lpstr>think-cell Folie</vt:lpstr>
      <vt:lpstr>Vorstellung E-Rezept CGM TURBOMED</vt:lpstr>
      <vt:lpstr>PowerPoint-Präsentation</vt:lpstr>
      <vt:lpstr>01 </vt:lpstr>
      <vt:lpstr>VORAUSSETZUNGEN E-Rezept</vt:lpstr>
      <vt:lpstr>02</vt:lpstr>
      <vt:lpstr>Aktivierung E-Rezept in CGM TURBOMED</vt:lpstr>
      <vt:lpstr>Aktivierung E-Rezept in CGM TURBOMED</vt:lpstr>
      <vt:lpstr>03</vt:lpstr>
      <vt:lpstr>Funktionsweise</vt:lpstr>
      <vt:lpstr>04</vt:lpstr>
      <vt:lpstr>Fragen &amp; Antworten</vt:lpstr>
      <vt:lpstr>Fragen &amp; Antworten</vt:lpstr>
      <vt:lpstr>Infomaterial</vt:lpstr>
      <vt:lpstr>04 </vt:lpstr>
      <vt:lpstr>VIELEN DANK FÜR IHRE AUFMERKSAMKEIT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RZLICH WILLKOMMEN zu CGM TURBOMED Infotag!</dc:title>
  <dc:creator>Hölscher, Dirk</dc:creator>
  <cp:lastModifiedBy>Schmeling, André</cp:lastModifiedBy>
  <cp:revision>26</cp:revision>
  <dcterms:created xsi:type="dcterms:W3CDTF">2022-05-31T19:15:03Z</dcterms:created>
  <dcterms:modified xsi:type="dcterms:W3CDTF">2023-12-03T16:1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fbf47bbe-a0a2-4c04-9ba4-22f94012202d_Enabled">
    <vt:lpwstr>true</vt:lpwstr>
  </property>
  <property fmtid="{D5CDD505-2E9C-101B-9397-08002B2CF9AE}" pid="3" name="MSIP_Label_fbf47bbe-a0a2-4c04-9ba4-22f94012202d_SetDate">
    <vt:lpwstr>2021-07-02T09:19:05Z</vt:lpwstr>
  </property>
  <property fmtid="{D5CDD505-2E9C-101B-9397-08002B2CF9AE}" pid="4" name="MSIP_Label_fbf47bbe-a0a2-4c04-9ba4-22f94012202d_Method">
    <vt:lpwstr>Standard</vt:lpwstr>
  </property>
  <property fmtid="{D5CDD505-2E9C-101B-9397-08002B2CF9AE}" pid="5" name="MSIP_Label_fbf47bbe-a0a2-4c04-9ba4-22f94012202d_Name">
    <vt:lpwstr>Internal</vt:lpwstr>
  </property>
  <property fmtid="{D5CDD505-2E9C-101B-9397-08002B2CF9AE}" pid="6" name="MSIP_Label_fbf47bbe-a0a2-4c04-9ba4-22f94012202d_SiteId">
    <vt:lpwstr>69602cf4-a76e-4265-955f-03c329c50608</vt:lpwstr>
  </property>
  <property fmtid="{D5CDD505-2E9C-101B-9397-08002B2CF9AE}" pid="7" name="MSIP_Label_fbf47bbe-a0a2-4c04-9ba4-22f94012202d_ActionId">
    <vt:lpwstr>b2ff1859-7b4f-4d0c-850d-bb7b088a1cb4</vt:lpwstr>
  </property>
  <property fmtid="{D5CDD505-2E9C-101B-9397-08002B2CF9AE}" pid="8" name="MSIP_Label_fbf47bbe-a0a2-4c04-9ba4-22f94012202d_ContentBits">
    <vt:lpwstr>2</vt:lpwstr>
  </property>
  <property fmtid="{D5CDD505-2E9C-101B-9397-08002B2CF9AE}" pid="9" name="ClassificationContentMarkingFooterLocations">
    <vt:lpwstr>CompuGroup_Medical:8</vt:lpwstr>
  </property>
  <property fmtid="{D5CDD505-2E9C-101B-9397-08002B2CF9AE}" pid="10" name="ClassificationContentMarkingFooterText">
    <vt:lpwstr>Internal Use Only</vt:lpwstr>
  </property>
  <property fmtid="{D5CDD505-2E9C-101B-9397-08002B2CF9AE}" pid="11" name="ContentTypeId">
    <vt:lpwstr>0x0101000E9A2166A5428E42B22249CD6A820219</vt:lpwstr>
  </property>
  <property fmtid="{D5CDD505-2E9C-101B-9397-08002B2CF9AE}" pid="12" name="MediaServiceImageTags">
    <vt:lpwstr/>
  </property>
</Properties>
</file>